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notesSlides/notesSlide2.xml" ContentType="application/vnd.openxmlformats-officedocument.presentationml.notesSlid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notesSlides/notesSlide3.xml" ContentType="application/vnd.openxmlformats-officedocument.presentationml.notesSlid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notesSlides/notesSlide4.xml" ContentType="application/vnd.openxmlformats-officedocument.presentationml.notesSlid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notesSlides/notesSlide5.xml" ContentType="application/vnd.openxmlformats-officedocument.presentationml.notesSlide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notesSlides/notesSlide6.xml" ContentType="application/vnd.openxmlformats-officedocument.presentationml.notesSlide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ppt/tags/tag695.xml" ContentType="application/vnd.openxmlformats-officedocument.presentationml.tags+xml"/>
  <Override PartName="/ppt/tags/tag696.xml" ContentType="application/vnd.openxmlformats-officedocument.presentationml.tags+xml"/>
  <Override PartName="/ppt/tags/tag69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39"/>
  </p:notesMasterIdLst>
  <p:handoutMasterIdLst>
    <p:handoutMasterId r:id="rId40"/>
  </p:handoutMasterIdLst>
  <p:sldIdLst>
    <p:sldId id="665" r:id="rId2"/>
    <p:sldId id="813" r:id="rId3"/>
    <p:sldId id="816" r:id="rId4"/>
    <p:sldId id="846" r:id="rId5"/>
    <p:sldId id="858" r:id="rId6"/>
    <p:sldId id="847" r:id="rId7"/>
    <p:sldId id="826" r:id="rId8"/>
    <p:sldId id="852" r:id="rId9"/>
    <p:sldId id="854" r:id="rId10"/>
    <p:sldId id="845" r:id="rId11"/>
    <p:sldId id="812" r:id="rId12"/>
    <p:sldId id="848" r:id="rId13"/>
    <p:sldId id="803" r:id="rId14"/>
    <p:sldId id="798" r:id="rId15"/>
    <p:sldId id="837" r:id="rId16"/>
    <p:sldId id="838" r:id="rId17"/>
    <p:sldId id="819" r:id="rId18"/>
    <p:sldId id="839" r:id="rId19"/>
    <p:sldId id="840" r:id="rId20"/>
    <p:sldId id="832" r:id="rId21"/>
    <p:sldId id="841" r:id="rId22"/>
    <p:sldId id="834" r:id="rId23"/>
    <p:sldId id="842" r:id="rId24"/>
    <p:sldId id="739" r:id="rId25"/>
    <p:sldId id="843" r:id="rId26"/>
    <p:sldId id="743" r:id="rId27"/>
    <p:sldId id="799" r:id="rId28"/>
    <p:sldId id="801" r:id="rId29"/>
    <p:sldId id="802" r:id="rId30"/>
    <p:sldId id="756" r:id="rId31"/>
    <p:sldId id="757" r:id="rId32"/>
    <p:sldId id="759" r:id="rId33"/>
    <p:sldId id="807" r:id="rId34"/>
    <p:sldId id="788" r:id="rId35"/>
    <p:sldId id="855" r:id="rId36"/>
    <p:sldId id="859" r:id="rId37"/>
    <p:sldId id="786" r:id="rId38"/>
  </p:sldIdLst>
  <p:sldSz cx="8961438" cy="6721475"/>
  <p:notesSz cx="7315200" cy="9601200"/>
  <p:custDataLst>
    <p:tags r:id="rId4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1pPr>
    <a:lvl2pPr marL="45716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2pPr>
    <a:lvl3pPr marL="91431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3pPr>
    <a:lvl4pPr marL="137147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4pPr>
    <a:lvl5pPr marL="1828639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5pPr>
    <a:lvl6pPr marL="2285798" algn="l" defTabSz="914319" rtl="0" eaLnBrk="1" latinLnBrk="0" hangingPunct="1"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6pPr>
    <a:lvl7pPr marL="2742958" algn="l" defTabSz="914319" rtl="0" eaLnBrk="1" latinLnBrk="0" hangingPunct="1"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7pPr>
    <a:lvl8pPr marL="3200118" algn="l" defTabSz="914319" rtl="0" eaLnBrk="1" latinLnBrk="0" hangingPunct="1"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8pPr>
    <a:lvl9pPr marL="3657278" algn="l" defTabSz="914319" rtl="0" eaLnBrk="1" latinLnBrk="0" hangingPunct="1">
      <a:defRPr sz="1600" kern="1200">
        <a:solidFill>
          <a:schemeClr val="tx1"/>
        </a:solidFill>
        <a:latin typeface="Arial" charset="0"/>
        <a:ea typeface="MS PGothic" pitchFamily="34" charset="-128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34">
          <p15:clr>
            <a:srgbClr val="A4A3A4"/>
          </p15:clr>
        </p15:guide>
        <p15:guide id="2" orient="horz" pos="707">
          <p15:clr>
            <a:srgbClr val="A4A3A4"/>
          </p15:clr>
        </p15:guide>
        <p15:guide id="3" pos="78">
          <p15:clr>
            <a:srgbClr val="A4A3A4"/>
          </p15:clr>
        </p15:guide>
        <p15:guide id="4" pos="550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9A35"/>
    <a:srgbClr val="D1EDFF"/>
    <a:srgbClr val="CCECFF"/>
    <a:srgbClr val="66B5F6"/>
    <a:srgbClr val="0B337B"/>
    <a:srgbClr val="D7ECF3"/>
    <a:srgbClr val="0D3E97"/>
    <a:srgbClr val="DDF2FF"/>
    <a:srgbClr val="1153C9"/>
    <a:srgbClr val="1259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019" autoAdjust="0"/>
    <p:restoredTop sz="96327" autoAdjust="0"/>
  </p:normalViewPr>
  <p:slideViewPr>
    <p:cSldViewPr snapToGrid="0">
      <p:cViewPr varScale="1">
        <p:scale>
          <a:sx n="126" d="100"/>
          <a:sy n="126" d="100"/>
        </p:scale>
        <p:origin x="1728" y="192"/>
      </p:cViewPr>
      <p:guideLst>
        <p:guide orient="horz" pos="2434"/>
        <p:guide orient="horz" pos="707"/>
        <p:guide pos="78"/>
        <p:guide pos="5508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70" d="100"/>
        <a:sy n="17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-2106" y="-102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notesMaster" Target="notesMasters/notesMaster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presProps" Target="presProp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handoutMaster" Target="handoutMasters/handoutMaster1.xml"/><Relationship Id="rId45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viewProps" Target="view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20" Type="http://schemas.openxmlformats.org/officeDocument/2006/relationships/slide" Target="slides/slide19.xml"/><Relationship Id="rId41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726874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gray">
          <a:xfrm>
            <a:off x="842963" y="601663"/>
            <a:ext cx="5635625" cy="42259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gray">
          <a:xfrm>
            <a:off x="592137" y="5159376"/>
            <a:ext cx="6234113" cy="12697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gray">
          <a:xfrm>
            <a:off x="6527800" y="9221828"/>
            <a:ext cx="581025" cy="1904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ea typeface="+mn-ea"/>
                <a:cs typeface="+mn-cs"/>
              </a:defRPr>
            </a:lvl1pPr>
          </a:lstStyle>
          <a:p>
            <a:pPr>
              <a:defRPr/>
            </a:pPr>
            <a:fld id="{9563844F-9A2C-4FE2-BA9F-375EEB810FE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gray">
          <a:xfrm>
            <a:off x="7108763" y="102316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95730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72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5" indent="-115878" algn="l" defTabSz="89527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12" indent="-180959" algn="l" defTabSz="895272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01" indent="-125403" algn="l" defTabSz="895272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78" indent="-114290" algn="l" defTabSz="895272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98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58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118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78" algn="l" defTabSz="91431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2969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92305" y="5159663"/>
            <a:ext cx="6233529" cy="252491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B4C63-11ED-412E-BB7E-668F47F03D3C}" type="slidenum">
              <a:rPr lang="en-US" altLang="ja-JP" smtClean="0"/>
              <a:pPr/>
              <a:t>2</a:t>
            </a:fld>
            <a:endParaRPr lang="en-US" altLang="ja-JP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B4C63-11ED-412E-BB7E-668F47F03D3C}" type="slidenum">
              <a:rPr lang="en-US" altLang="ja-JP" smtClean="0"/>
              <a:pPr/>
              <a:t>7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30271004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5B4C63-11ED-412E-BB7E-668F47F03D3C}" type="slidenum">
              <a:rPr lang="en-US" altLang="ja-JP" smtClean="0"/>
              <a:pPr/>
              <a:t>8</a:t>
            </a:fld>
            <a:endParaRPr lang="en-US" altLang="ja-JP"/>
          </a:p>
        </p:txBody>
      </p:sp>
    </p:spTree>
    <p:extLst>
      <p:ext uri="{BB962C8B-B14F-4D97-AF65-F5344CB8AC3E}">
        <p14:creationId xmlns:p14="http://schemas.microsoft.com/office/powerpoint/2010/main" val="1131439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92137" y="5159376"/>
            <a:ext cx="6234113" cy="2462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563844F-9A2C-4FE2-BA9F-375EEB810FEC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56014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3" name="Slide Image Placeholder 1"/>
          <p:cNvSpPr>
            <a:spLocks noGrp="1" noRot="1" noChangeAspect="1"/>
          </p:cNvSpPr>
          <p:nvPr>
            <p:ph type="sldImg"/>
          </p:nvPr>
        </p:nvSpPr>
        <p:spPr>
          <a:ln/>
        </p:spPr>
      </p:sp>
      <p:sp>
        <p:nvSpPr>
          <p:cNvPr id="95234" name="Notes Placeholder 2"/>
          <p:cNvSpPr>
            <a:spLocks noGrp="1"/>
          </p:cNvSpPr>
          <p:nvPr>
            <p:ph type="body" idx="1"/>
          </p:nvPr>
        </p:nvSpPr>
        <p:spPr>
          <a:xfrm>
            <a:off x="592380" y="5159107"/>
            <a:ext cx="6233763" cy="253947"/>
          </a:xfrm>
          <a:noFill/>
        </p:spPr>
        <p:txBody>
          <a:bodyPr/>
          <a:lstStyle/>
          <a:p>
            <a:endParaRPr lang="en-US">
              <a:sym typeface="Wingdings" pitchFamily="2" charset="2"/>
            </a:endParaRPr>
          </a:p>
        </p:txBody>
      </p:sp>
      <p:sp>
        <p:nvSpPr>
          <p:cNvPr id="95235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>
            <a:miter lim="800000"/>
            <a:headEnd/>
            <a:tailEnd/>
          </a:ln>
        </p:spPr>
        <p:txBody>
          <a:bodyPr/>
          <a:lstStyle/>
          <a:p>
            <a:fld id="{67F30D51-F523-47EA-A3A0-01916578C1F7}" type="slidenum">
              <a:rPr lang="en-US" smtClean="0">
                <a:ea typeface="ＭＳ Ｐゴシック" pitchFamily="34" charset="-128"/>
              </a:rPr>
              <a:pPr/>
              <a:t>32</a:t>
            </a:fld>
            <a:endParaRPr 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790712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2640014" y="342902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>
                <a:latin typeface="+mn-lt"/>
                <a:ea typeface="+mn-ea"/>
                <a:cs typeface="+mn-cs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latin typeface="+mn-lt"/>
              <a:ea typeface="+mn-ea"/>
              <a:cs typeface="+mn-cs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2640013" y="498475"/>
            <a:ext cx="29495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/>
            <a:r>
              <a:rPr lang="en-US" sz="900"/>
              <a:t>Last Modified 3/4/2013 3:08 PM E. Africa Standard Time</a:t>
            </a:r>
          </a:p>
        </p:txBody>
      </p:sp>
      <p:sp>
        <p:nvSpPr>
          <p:cNvPr id="7" name="Printed"/>
          <p:cNvSpPr txBox="1">
            <a:spLocks noChangeArrowheads="1"/>
          </p:cNvSpPr>
          <p:nvPr/>
        </p:nvSpPr>
        <p:spPr bwMode="auto">
          <a:xfrm>
            <a:off x="2640015" y="655639"/>
            <a:ext cx="262892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>
                <a:latin typeface="+mn-lt"/>
                <a:ea typeface="+mn-ea"/>
                <a:cs typeface="+mn-cs"/>
              </a:rPr>
              <a:t>Printed 2/26/2013 6:22 PM E. Africa Standard Time</a:t>
            </a:r>
            <a:endParaRPr lang="en-US" sz="900" dirty="0">
              <a:latin typeface="+mn-lt"/>
              <a:ea typeface="+mn-ea"/>
              <a:cs typeface="+mn-cs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>
                  <a:latin typeface="+mn-lt"/>
                  <a:ea typeface="+mn-ea"/>
                  <a:cs typeface="+mn-cs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04863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04863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>
                <a:defRPr/>
              </a:pPr>
              <a:r>
                <a:rPr lang="en-US" sz="800"/>
                <a:t>CONFIDENTIAL AND PROPRIETARY</a:t>
              </a:r>
            </a:p>
            <a:p>
              <a:pPr>
                <a:defRPr/>
              </a:pPr>
              <a:r>
                <a:rPr lang="en-US" sz="800"/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/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/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endParaRPr lang="en-US"/>
            </a:p>
          </p:txBody>
        </p:sp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3" y="6443665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5" y="2133602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5" y="3867150"/>
            <a:ext cx="4935537" cy="215444"/>
          </a:xfrm>
        </p:spPr>
        <p:txBody>
          <a:bodyPr/>
          <a:lstStyle>
            <a:lvl1pPr>
              <a:defRPr sz="14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57183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195410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82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oc id"/>
          <p:cNvSpPr>
            <a:spLocks noChangeArrowheads="1"/>
          </p:cNvSpPr>
          <p:nvPr/>
        </p:nvSpPr>
        <p:spPr bwMode="auto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8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9" name="McK 3. Unit of measure" hidden="1"/>
          <p:cNvSpPr txBox="1">
            <a:spLocks noChangeArrowheads="1"/>
          </p:cNvSpPr>
          <p:nvPr/>
        </p:nvSpPr>
        <p:spPr bwMode="auto">
          <a:xfrm>
            <a:off x="119063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0" name="McK Slide Elements" hidden="1"/>
          <p:cNvGrpSpPr>
            <a:grpSpLocks/>
          </p:cNvGrpSpPr>
          <p:nvPr/>
        </p:nvGrpSpPr>
        <p:grpSpPr bwMode="auto">
          <a:xfrm>
            <a:off x="119063" y="6078546"/>
            <a:ext cx="8548687" cy="511175"/>
            <a:chOff x="75" y="3829"/>
            <a:chExt cx="5385" cy="322"/>
          </a:xfrm>
        </p:grpSpPr>
        <p:sp>
          <p:nvSpPr>
            <p:cNvPr id="11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latin typeface="+mn-lt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2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/>
                <a:t>SOURCE: Source</a:t>
              </a:r>
            </a:p>
          </p:txBody>
        </p:sp>
      </p:grpSp>
      <p:grpSp>
        <p:nvGrpSpPr>
          <p:cNvPr id="13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4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/>
                <a:t>Title</a:t>
              </a:r>
            </a:p>
            <a:p>
              <a:pPr eaLnBrk="1" hangingPunct="1">
                <a:defRPr/>
              </a:pPr>
              <a:r>
                <a:rPr lang="en-US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6" name="SlideLogoText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6925353" y="6434983"/>
            <a:ext cx="14074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1000" dirty="0"/>
              <a:t>Republic of South Sudan</a:t>
            </a:r>
          </a:p>
        </p:txBody>
      </p:sp>
      <p:sp>
        <p:nvSpPr>
          <p:cNvPr id="17" name="SlideLogoSeparator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8418513" y="6403977"/>
            <a:ext cx="41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1200"/>
              <a:t>|</a:t>
            </a: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4" name="Slide Number"/>
          <p:cNvSpPr txBox="1">
            <a:spLocks/>
          </p:cNvSpPr>
          <p:nvPr userDrawn="1"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7522D632-7349-4E1B-9562-50EEA89550E7}" type="slidenum">
              <a:rPr lang="en-US" smtClean="0">
                <a:ea typeface="+mn-ea"/>
                <a:cs typeface="+mn-cs"/>
              </a:rPr>
              <a:pPr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1184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171567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254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16939" y="6429600"/>
            <a:ext cx="208756" cy="153888"/>
          </a:xfrm>
          <a:prstGeom prst="rect">
            <a:avLst/>
          </a:prstGeom>
          <a:ln/>
        </p:spPr>
        <p:txBody>
          <a:bodyPr lIns="0" tIns="0" rIns="0" bIns="0"/>
          <a:lstStyle>
            <a:lvl1pPr>
              <a:defRPr sz="1000"/>
            </a:lvl1pPr>
          </a:lstStyle>
          <a:p>
            <a:fld id="{F622F30F-23DB-4B1C-8DF2-F2ACCEFD2BEF}" type="slidenum">
              <a:rPr lang="en-US" altLang="ja-JP" smtClean="0"/>
              <a:pPr/>
              <a:t>‹#›</a:t>
            </a:fld>
            <a:r>
              <a:rPr lang="en-US" altLang="ja-JP"/>
              <a:t> </a:t>
            </a:r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6B0D6CA4-DC98-47F4-9DDD-115B52900C52}" type="slidenum">
              <a:rPr lang="en-ZA" sz="1000" b="0" i="0" baseline="0" smtClean="0"/>
              <a:pPr algn="l"/>
              <a:t>‹#›</a:t>
            </a:fld>
            <a:endParaRPr lang="en-ZA" sz="1000" b="0" i="0" baseline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3A2181F4-0E7F-41B3-9F07-99CF5DE403B1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F0F2389A-465E-4390-B79A-2CAB005169F5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algn="l"/>
            <a:fld id="{4B1F4909-D20A-4F63-A584-C86D63DA28CF}" type="slidenum">
              <a:rPr lang="en-US" sz="1000" b="0" i="0" baseline="0" smtClean="0"/>
              <a:pPr algn="l"/>
              <a:t>‹#›</a:t>
            </a:fld>
            <a:endParaRPr lang="en-US" sz="1000" b="0" i="0" baseline="0"/>
          </a:p>
        </p:txBody>
      </p:sp>
    </p:spTree>
    <p:extLst>
      <p:ext uri="{BB962C8B-B14F-4D97-AF65-F5344CB8AC3E}">
        <p14:creationId xmlns:p14="http://schemas.microsoft.com/office/powerpoint/2010/main" val="41486994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007026130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60" imgH="360" progId="">
                  <p:embed/>
                </p:oleObj>
              </mc:Choice>
              <mc:Fallback>
                <p:oleObj name="think-cell Slide" r:id="rId10" imgW="360" imgH="360" progId="">
                  <p:embed/>
                  <p:pic>
                    <p:nvPicPr>
                      <p:cNvPr id="0" name="Picture 11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doc id"/>
          <p:cNvSpPr>
            <a:spLocks noChangeArrowheads="1"/>
          </p:cNvSpPr>
          <p:nvPr/>
        </p:nvSpPr>
        <p:spPr bwMode="auto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endParaRPr lang="en-US" sz="800">
              <a:solidFill>
                <a:srgbClr val="000000"/>
              </a:solidFill>
            </a:endParaRPr>
          </a:p>
        </p:txBody>
      </p:sp>
      <p:sp>
        <p:nvSpPr>
          <p:cNvPr id="1031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3" y="230190"/>
            <a:ext cx="8618537" cy="301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33" name="McK 1. On-page tracker" hidden="1"/>
          <p:cNvSpPr>
            <a:spLocks noChangeArrowheads="1"/>
          </p:cNvSpPr>
          <p:nvPr/>
        </p:nvSpPr>
        <p:spPr bwMode="auto">
          <a:xfrm>
            <a:off x="1190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531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+mn-lt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2" name="McK Slide Elements" hidden="1"/>
          <p:cNvGrpSpPr>
            <a:grpSpLocks/>
          </p:cNvGrpSpPr>
          <p:nvPr/>
        </p:nvGrpSpPr>
        <p:grpSpPr bwMode="auto">
          <a:xfrm>
            <a:off x="119063" y="6078546"/>
            <a:ext cx="8548687" cy="511175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latin typeface="+mn-lt"/>
                  <a:ea typeface="+mn-ea"/>
                  <a:cs typeface="+mn-cs"/>
                </a:rPr>
                <a:t>1 Footnote</a:t>
              </a:r>
            </a:p>
          </p:txBody>
        </p:sp>
        <p:sp>
          <p:nvSpPr>
            <p:cNvPr id="1042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defTabSz="895350" eaLnBrk="0" hangingPunct="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sz="1000"/>
                <a:t>SOURCE: Source</a:t>
              </a:r>
            </a:p>
          </p:txBody>
        </p:sp>
      </p:grpSp>
      <p:grpSp>
        <p:nvGrpSpPr>
          <p:cNvPr id="1036" name="ACET" hidden="1"/>
          <p:cNvGrpSpPr>
            <a:grpSpLocks/>
          </p:cNvGrpSpPr>
          <p:nvPr/>
        </p:nvGrpSpPr>
        <p:grpSpPr bwMode="auto">
          <a:xfrm>
            <a:off x="1452565" y="1127125"/>
            <a:ext cx="4264025" cy="508000"/>
            <a:chOff x="915" y="710"/>
            <a:chExt cx="2686" cy="320"/>
          </a:xfrm>
        </p:grpSpPr>
        <p:cxnSp>
          <p:nvCxnSpPr>
            <p:cNvPr id="1039" name="AutoShape 249"/>
            <p:cNvCxnSpPr>
              <a:cxnSpLocks noChangeShapeType="1"/>
              <a:stCxn id="1040" idx="4"/>
              <a:endCxn id="1040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040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b="1"/>
                <a:t>Title</a:t>
              </a:r>
            </a:p>
            <a:p>
              <a:pPr eaLnBrk="1" hangingPunct="1">
                <a:defRPr/>
              </a:pPr>
              <a:r>
                <a:rPr lang="en-US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8" name="SlideLogoText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925353" y="6434983"/>
            <a:ext cx="1407437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1000" dirty="0"/>
              <a:t>Republic of South Sudan</a:t>
            </a:r>
          </a:p>
        </p:txBody>
      </p:sp>
      <p:sp>
        <p:nvSpPr>
          <p:cNvPr id="19" name="SlideLogoSeparator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8418513" y="6403977"/>
            <a:ext cx="41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>
            <a:lvl1pPr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sz="1200"/>
              <a:t>|</a:t>
            </a:r>
          </a:p>
        </p:txBody>
      </p:sp>
      <p:sp>
        <p:nvSpPr>
          <p:cNvPr id="20" name="Slide Number"/>
          <p:cNvSpPr txBox="1">
            <a:spLocks/>
          </p:cNvSpPr>
          <p:nvPr/>
        </p:nvSpPr>
        <p:spPr>
          <a:xfrm>
            <a:off x="8545513" y="6435725"/>
            <a:ext cx="209550" cy="152400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>
              <a:defRPr/>
            </a:pPr>
            <a:fld id="{7522D632-7349-4E1B-9562-50EEA89550E7}" type="slidenum">
              <a:rPr lang="en-US" smtClean="0">
                <a:ea typeface="+mn-ea"/>
                <a:cs typeface="+mn-cs"/>
              </a:rPr>
              <a:pPr>
                <a:defRPr/>
              </a:pPr>
              <a:t>‹#›</a:t>
            </a:fld>
            <a:endParaRPr lang="en-US" dirty="0"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</p:sldLayoutIdLst>
  <p:hf sldNum="0" hdr="0" ftr="0" dt="0"/>
  <p:txStyles>
    <p:titleStyle>
      <a:lvl1pPr algn="l" defTabSz="895272" rtl="0" eaLnBrk="0" fontAlgn="base" hangingPunct="0">
        <a:spcBef>
          <a:spcPct val="0"/>
        </a:spcBef>
        <a:spcAft>
          <a:spcPct val="0"/>
        </a:spcAft>
        <a:tabLst>
          <a:tab pos="269852" algn="l"/>
        </a:tabLst>
        <a:defRPr sz="1900" b="1">
          <a:solidFill>
            <a:schemeClr val="tx2"/>
          </a:solidFill>
          <a:latin typeface="+mj-lt"/>
          <a:ea typeface="MS PGothic" pitchFamily="34" charset="-128"/>
          <a:cs typeface="+mj-cs"/>
        </a:defRPr>
      </a:lvl1pPr>
      <a:lvl2pPr algn="l" defTabSz="895272" rtl="0" eaLnBrk="0" fontAlgn="base" hangingPunct="0">
        <a:spcBef>
          <a:spcPct val="0"/>
        </a:spcBef>
        <a:spcAft>
          <a:spcPct val="0"/>
        </a:spcAft>
        <a:tabLst>
          <a:tab pos="269852" algn="l"/>
        </a:tabLst>
        <a:defRPr sz="1900" b="1">
          <a:solidFill>
            <a:schemeClr val="tx2"/>
          </a:solidFill>
          <a:latin typeface="Arial" charset="0"/>
          <a:ea typeface="MS PGothic" pitchFamily="34" charset="-128"/>
        </a:defRPr>
      </a:lvl2pPr>
      <a:lvl3pPr algn="l" defTabSz="895272" rtl="0" eaLnBrk="0" fontAlgn="base" hangingPunct="0">
        <a:spcBef>
          <a:spcPct val="0"/>
        </a:spcBef>
        <a:spcAft>
          <a:spcPct val="0"/>
        </a:spcAft>
        <a:tabLst>
          <a:tab pos="269852" algn="l"/>
        </a:tabLst>
        <a:defRPr sz="1900" b="1">
          <a:solidFill>
            <a:schemeClr val="tx2"/>
          </a:solidFill>
          <a:latin typeface="Arial" charset="0"/>
          <a:ea typeface="MS PGothic" pitchFamily="34" charset="-128"/>
        </a:defRPr>
      </a:lvl3pPr>
      <a:lvl4pPr algn="l" defTabSz="895272" rtl="0" eaLnBrk="0" fontAlgn="base" hangingPunct="0">
        <a:spcBef>
          <a:spcPct val="0"/>
        </a:spcBef>
        <a:spcAft>
          <a:spcPct val="0"/>
        </a:spcAft>
        <a:tabLst>
          <a:tab pos="269852" algn="l"/>
        </a:tabLst>
        <a:defRPr sz="1900" b="1">
          <a:solidFill>
            <a:schemeClr val="tx2"/>
          </a:solidFill>
          <a:latin typeface="Arial" charset="0"/>
          <a:ea typeface="MS PGothic" pitchFamily="34" charset="-128"/>
        </a:defRPr>
      </a:lvl4pPr>
      <a:lvl5pPr algn="l" defTabSz="895272" rtl="0" eaLnBrk="0" fontAlgn="base" hangingPunct="0">
        <a:spcBef>
          <a:spcPct val="0"/>
        </a:spcBef>
        <a:spcAft>
          <a:spcPct val="0"/>
        </a:spcAft>
        <a:tabLst>
          <a:tab pos="269852" algn="l"/>
        </a:tabLst>
        <a:defRPr sz="1900" b="1">
          <a:solidFill>
            <a:schemeClr val="tx2"/>
          </a:solidFill>
          <a:latin typeface="Arial" charset="0"/>
          <a:ea typeface="MS PGothic" pitchFamily="34" charset="-128"/>
        </a:defRPr>
      </a:lvl5pPr>
      <a:lvl6pPr marL="457160" algn="l" defTabSz="8952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19" algn="l" defTabSz="8952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79" algn="l" defTabSz="8952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39" algn="l" defTabSz="89527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342870" indent="-342870" algn="l" defTabSz="895272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193658" indent="-192071" algn="l" defTabSz="895272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ea typeface="MS PGothic" pitchFamily="34" charset="-128"/>
        </a:defRPr>
      </a:lvl2pPr>
      <a:lvl3pPr marL="457160" indent="-261916" algn="l" defTabSz="895272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ea typeface="MS PGothic" pitchFamily="34" charset="-128"/>
        </a:defRPr>
      </a:lvl3pPr>
      <a:lvl4pPr marL="614309" indent="-155561" algn="l" defTabSz="895272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ea typeface="MS PGothic" pitchFamily="34" charset="-128"/>
        </a:defRPr>
      </a:lvl4pPr>
      <a:lvl5pPr marL="749234" indent="-130164" algn="l" defTabSz="895272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ea typeface="MS PGothic" pitchFamily="34" charset="-128"/>
        </a:defRPr>
      </a:lvl5pPr>
      <a:lvl6pPr marL="749742" indent="-130164" algn="l" defTabSz="8952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42" indent="-130164" algn="l" defTabSz="8952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42" indent="-130164" algn="l" defTabSz="8952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42" indent="-130164" algn="l" defTabSz="89527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0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39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98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58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18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78" algn="l" defTabSz="91431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3.bin"/><Relationship Id="rId18" Type="http://schemas.openxmlformats.org/officeDocument/2006/relationships/image" Target="../media/image7.jpeg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slideLayout" Target="../slideLayouts/slideLayout1.xml"/><Relationship Id="rId17" Type="http://schemas.openxmlformats.org/officeDocument/2006/relationships/image" Target="../media/image6.jpeg"/><Relationship Id="rId2" Type="http://schemas.openxmlformats.org/officeDocument/2006/relationships/tags" Target="../tags/tag9.xml"/><Relationship Id="rId16" Type="http://schemas.openxmlformats.org/officeDocument/2006/relationships/image" Target="../media/image5.jpeg"/><Relationship Id="rId20" Type="http://schemas.openxmlformats.org/officeDocument/2006/relationships/image" Target="../media/image9.jpeg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image" Target="../media/image4.jpeg"/><Relationship Id="rId10" Type="http://schemas.openxmlformats.org/officeDocument/2006/relationships/tags" Target="../tags/tag17.xml"/><Relationship Id="rId19" Type="http://schemas.openxmlformats.org/officeDocument/2006/relationships/image" Target="../media/image8.jpeg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image" Target="../media/image3.emf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73.xml"/><Relationship Id="rId7" Type="http://schemas.openxmlformats.org/officeDocument/2006/relationships/oleObject" Target="../embeddings/oleObject8.bin"/><Relationship Id="rId12" Type="http://schemas.openxmlformats.org/officeDocument/2006/relationships/image" Target="../media/image18.png"/><Relationship Id="rId2" Type="http://schemas.openxmlformats.org/officeDocument/2006/relationships/tags" Target="../tags/tag72.xml"/><Relationship Id="rId1" Type="http://schemas.openxmlformats.org/officeDocument/2006/relationships/tags" Target="../tags/tag71.x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17.png"/><Relationship Id="rId5" Type="http://schemas.openxmlformats.org/officeDocument/2006/relationships/tags" Target="../tags/tag75.xml"/><Relationship Id="rId10" Type="http://schemas.openxmlformats.org/officeDocument/2006/relationships/image" Target="../media/image16.jpeg"/><Relationship Id="rId4" Type="http://schemas.openxmlformats.org/officeDocument/2006/relationships/tags" Target="../tags/tag74.xml"/><Relationship Id="rId9" Type="http://schemas.openxmlformats.org/officeDocument/2006/relationships/image" Target="../media/image15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14.emf"/><Relationship Id="rId2" Type="http://schemas.openxmlformats.org/officeDocument/2006/relationships/tags" Target="../tags/tag80.xml"/><Relationship Id="rId1" Type="http://schemas.openxmlformats.org/officeDocument/2006/relationships/tags" Target="../tags/tag79.xml"/><Relationship Id="rId6" Type="http://schemas.openxmlformats.org/officeDocument/2006/relationships/oleObject" Target="../embeddings/oleObject9.bin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8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image" Target="../media/image19.emf"/><Relationship Id="rId1" Type="http://schemas.openxmlformats.org/officeDocument/2006/relationships/tags" Target="../tags/tag83.x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10" Type="http://schemas.openxmlformats.org/officeDocument/2006/relationships/tags" Target="../tags/tag92.xml"/><Relationship Id="rId19" Type="http://schemas.openxmlformats.org/officeDocument/2006/relationships/oleObject" Target="../embeddings/oleObject10.bin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9" Type="http://schemas.openxmlformats.org/officeDocument/2006/relationships/tags" Target="../tags/tag138.xml"/><Relationship Id="rId21" Type="http://schemas.openxmlformats.org/officeDocument/2006/relationships/tags" Target="../tags/tag120.xml"/><Relationship Id="rId34" Type="http://schemas.openxmlformats.org/officeDocument/2006/relationships/tags" Target="../tags/tag133.xml"/><Relationship Id="rId42" Type="http://schemas.openxmlformats.org/officeDocument/2006/relationships/tags" Target="../tags/tag141.xml"/><Relationship Id="rId47" Type="http://schemas.openxmlformats.org/officeDocument/2006/relationships/tags" Target="../tags/tag146.xml"/><Relationship Id="rId50" Type="http://schemas.openxmlformats.org/officeDocument/2006/relationships/tags" Target="../tags/tag149.xml"/><Relationship Id="rId7" Type="http://schemas.openxmlformats.org/officeDocument/2006/relationships/tags" Target="../tags/tag106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9" Type="http://schemas.openxmlformats.org/officeDocument/2006/relationships/tags" Target="../tags/tag128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40" Type="http://schemas.openxmlformats.org/officeDocument/2006/relationships/tags" Target="../tags/tag139.xml"/><Relationship Id="rId45" Type="http://schemas.openxmlformats.org/officeDocument/2006/relationships/tags" Target="../tags/tag144.xml"/><Relationship Id="rId53" Type="http://schemas.openxmlformats.org/officeDocument/2006/relationships/image" Target="../media/image20.emf"/><Relationship Id="rId5" Type="http://schemas.openxmlformats.org/officeDocument/2006/relationships/tags" Target="../tags/tag104.xml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4" Type="http://schemas.openxmlformats.org/officeDocument/2006/relationships/tags" Target="../tags/tag143.xml"/><Relationship Id="rId52" Type="http://schemas.openxmlformats.org/officeDocument/2006/relationships/oleObject" Target="../embeddings/oleObject11.bin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43" Type="http://schemas.openxmlformats.org/officeDocument/2006/relationships/tags" Target="../tags/tag142.xml"/><Relationship Id="rId48" Type="http://schemas.openxmlformats.org/officeDocument/2006/relationships/tags" Target="../tags/tag147.xml"/><Relationship Id="rId8" Type="http://schemas.openxmlformats.org/officeDocument/2006/relationships/tags" Target="../tags/tag107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102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38" Type="http://schemas.openxmlformats.org/officeDocument/2006/relationships/tags" Target="../tags/tag137.xml"/><Relationship Id="rId46" Type="http://schemas.openxmlformats.org/officeDocument/2006/relationships/tags" Target="../tags/tag145.xml"/><Relationship Id="rId20" Type="http://schemas.openxmlformats.org/officeDocument/2006/relationships/tags" Target="../tags/tag119.xml"/><Relationship Id="rId41" Type="http://schemas.openxmlformats.org/officeDocument/2006/relationships/tags" Target="../tags/tag140.xml"/><Relationship Id="rId1" Type="http://schemas.openxmlformats.org/officeDocument/2006/relationships/tags" Target="../tags/tag100.xml"/><Relationship Id="rId6" Type="http://schemas.openxmlformats.org/officeDocument/2006/relationships/tags" Target="../tags/tag105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tags" Target="../tags/tag135.xml"/><Relationship Id="rId49" Type="http://schemas.openxmlformats.org/officeDocument/2006/relationships/tags" Target="../tags/tag148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13" Type="http://schemas.openxmlformats.org/officeDocument/2006/relationships/tags" Target="../tags/tag162.xml"/><Relationship Id="rId18" Type="http://schemas.openxmlformats.org/officeDocument/2006/relationships/tags" Target="../tags/tag167.xml"/><Relationship Id="rId3" Type="http://schemas.openxmlformats.org/officeDocument/2006/relationships/tags" Target="../tags/tag152.xml"/><Relationship Id="rId21" Type="http://schemas.openxmlformats.org/officeDocument/2006/relationships/image" Target="../media/image20.emf"/><Relationship Id="rId7" Type="http://schemas.openxmlformats.org/officeDocument/2006/relationships/tags" Target="../tags/tag156.xml"/><Relationship Id="rId12" Type="http://schemas.openxmlformats.org/officeDocument/2006/relationships/tags" Target="../tags/tag161.xml"/><Relationship Id="rId17" Type="http://schemas.openxmlformats.org/officeDocument/2006/relationships/tags" Target="../tags/tag166.xml"/><Relationship Id="rId2" Type="http://schemas.openxmlformats.org/officeDocument/2006/relationships/tags" Target="../tags/tag151.xml"/><Relationship Id="rId16" Type="http://schemas.openxmlformats.org/officeDocument/2006/relationships/tags" Target="../tags/tag165.xml"/><Relationship Id="rId20" Type="http://schemas.openxmlformats.org/officeDocument/2006/relationships/oleObject" Target="../embeddings/oleObject12.bin"/><Relationship Id="rId1" Type="http://schemas.openxmlformats.org/officeDocument/2006/relationships/tags" Target="../tags/tag150.xml"/><Relationship Id="rId6" Type="http://schemas.openxmlformats.org/officeDocument/2006/relationships/tags" Target="../tags/tag155.xml"/><Relationship Id="rId11" Type="http://schemas.openxmlformats.org/officeDocument/2006/relationships/tags" Target="../tags/tag160.xml"/><Relationship Id="rId5" Type="http://schemas.openxmlformats.org/officeDocument/2006/relationships/tags" Target="../tags/tag154.xml"/><Relationship Id="rId15" Type="http://schemas.openxmlformats.org/officeDocument/2006/relationships/tags" Target="../tags/tag164.xml"/><Relationship Id="rId10" Type="http://schemas.openxmlformats.org/officeDocument/2006/relationships/tags" Target="../tags/tag159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153.xml"/><Relationship Id="rId9" Type="http://schemas.openxmlformats.org/officeDocument/2006/relationships/tags" Target="../tags/tag158.xml"/><Relationship Id="rId14" Type="http://schemas.openxmlformats.org/officeDocument/2006/relationships/tags" Target="../tags/tag163.xml"/><Relationship Id="rId22" Type="http://schemas.openxmlformats.org/officeDocument/2006/relationships/image" Target="../media/image2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13" Type="http://schemas.openxmlformats.org/officeDocument/2006/relationships/tags" Target="../tags/tag180.xml"/><Relationship Id="rId18" Type="http://schemas.openxmlformats.org/officeDocument/2006/relationships/oleObject" Target="../embeddings/oleObject13.bin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12" Type="http://schemas.openxmlformats.org/officeDocument/2006/relationships/tags" Target="../tags/tag179.xml"/><Relationship Id="rId17" Type="http://schemas.openxmlformats.org/officeDocument/2006/relationships/slideLayout" Target="../slideLayouts/slideLayout2.xml"/><Relationship Id="rId2" Type="http://schemas.openxmlformats.org/officeDocument/2006/relationships/tags" Target="../tags/tag169.xml"/><Relationship Id="rId16" Type="http://schemas.openxmlformats.org/officeDocument/2006/relationships/tags" Target="../tags/tag183.xml"/><Relationship Id="rId1" Type="http://schemas.openxmlformats.org/officeDocument/2006/relationships/tags" Target="../tags/tag168.xml"/><Relationship Id="rId6" Type="http://schemas.openxmlformats.org/officeDocument/2006/relationships/tags" Target="../tags/tag173.xml"/><Relationship Id="rId11" Type="http://schemas.openxmlformats.org/officeDocument/2006/relationships/tags" Target="../tags/tag178.xml"/><Relationship Id="rId5" Type="http://schemas.openxmlformats.org/officeDocument/2006/relationships/tags" Target="../tags/tag172.xml"/><Relationship Id="rId15" Type="http://schemas.openxmlformats.org/officeDocument/2006/relationships/tags" Target="../tags/tag182.xml"/><Relationship Id="rId10" Type="http://schemas.openxmlformats.org/officeDocument/2006/relationships/tags" Target="../tags/tag177.xml"/><Relationship Id="rId19" Type="http://schemas.openxmlformats.org/officeDocument/2006/relationships/image" Target="../media/image20.emf"/><Relationship Id="rId4" Type="http://schemas.openxmlformats.org/officeDocument/2006/relationships/tags" Target="../tags/tag171.xml"/><Relationship Id="rId9" Type="http://schemas.openxmlformats.org/officeDocument/2006/relationships/tags" Target="../tags/tag176.xml"/><Relationship Id="rId14" Type="http://schemas.openxmlformats.org/officeDocument/2006/relationships/tags" Target="../tags/tag181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196.xml"/><Relationship Id="rId18" Type="http://schemas.openxmlformats.org/officeDocument/2006/relationships/tags" Target="../tags/tag201.xml"/><Relationship Id="rId26" Type="http://schemas.openxmlformats.org/officeDocument/2006/relationships/tags" Target="../tags/tag209.xml"/><Relationship Id="rId39" Type="http://schemas.openxmlformats.org/officeDocument/2006/relationships/tags" Target="../tags/tag222.xml"/><Relationship Id="rId21" Type="http://schemas.openxmlformats.org/officeDocument/2006/relationships/tags" Target="../tags/tag204.xml"/><Relationship Id="rId34" Type="http://schemas.openxmlformats.org/officeDocument/2006/relationships/tags" Target="../tags/tag217.xml"/><Relationship Id="rId42" Type="http://schemas.openxmlformats.org/officeDocument/2006/relationships/tags" Target="../tags/tag225.xml"/><Relationship Id="rId47" Type="http://schemas.openxmlformats.org/officeDocument/2006/relationships/tags" Target="../tags/tag230.xml"/><Relationship Id="rId50" Type="http://schemas.openxmlformats.org/officeDocument/2006/relationships/tags" Target="../tags/tag233.xml"/><Relationship Id="rId55" Type="http://schemas.openxmlformats.org/officeDocument/2006/relationships/image" Target="../media/image23.png"/><Relationship Id="rId7" Type="http://schemas.openxmlformats.org/officeDocument/2006/relationships/tags" Target="../tags/tag190.xml"/><Relationship Id="rId2" Type="http://schemas.openxmlformats.org/officeDocument/2006/relationships/tags" Target="../tags/tag185.xml"/><Relationship Id="rId16" Type="http://schemas.openxmlformats.org/officeDocument/2006/relationships/tags" Target="../tags/tag199.xml"/><Relationship Id="rId29" Type="http://schemas.openxmlformats.org/officeDocument/2006/relationships/tags" Target="../tags/tag212.xml"/><Relationship Id="rId11" Type="http://schemas.openxmlformats.org/officeDocument/2006/relationships/tags" Target="../tags/tag194.xml"/><Relationship Id="rId24" Type="http://schemas.openxmlformats.org/officeDocument/2006/relationships/tags" Target="../tags/tag207.xml"/><Relationship Id="rId32" Type="http://schemas.openxmlformats.org/officeDocument/2006/relationships/tags" Target="../tags/tag215.xml"/><Relationship Id="rId37" Type="http://schemas.openxmlformats.org/officeDocument/2006/relationships/tags" Target="../tags/tag220.xml"/><Relationship Id="rId40" Type="http://schemas.openxmlformats.org/officeDocument/2006/relationships/tags" Target="../tags/tag223.xml"/><Relationship Id="rId45" Type="http://schemas.openxmlformats.org/officeDocument/2006/relationships/tags" Target="../tags/tag228.xml"/><Relationship Id="rId53" Type="http://schemas.openxmlformats.org/officeDocument/2006/relationships/image" Target="../media/image3.emf"/><Relationship Id="rId58" Type="http://schemas.openxmlformats.org/officeDocument/2006/relationships/image" Target="../media/image26.jpeg"/><Relationship Id="rId5" Type="http://schemas.openxmlformats.org/officeDocument/2006/relationships/tags" Target="../tags/tag188.xml"/><Relationship Id="rId61" Type="http://schemas.openxmlformats.org/officeDocument/2006/relationships/image" Target="../media/image29.jpeg"/><Relationship Id="rId19" Type="http://schemas.openxmlformats.org/officeDocument/2006/relationships/tags" Target="../tags/tag202.xml"/><Relationship Id="rId14" Type="http://schemas.openxmlformats.org/officeDocument/2006/relationships/tags" Target="../tags/tag197.xml"/><Relationship Id="rId22" Type="http://schemas.openxmlformats.org/officeDocument/2006/relationships/tags" Target="../tags/tag205.xml"/><Relationship Id="rId27" Type="http://schemas.openxmlformats.org/officeDocument/2006/relationships/tags" Target="../tags/tag210.xml"/><Relationship Id="rId30" Type="http://schemas.openxmlformats.org/officeDocument/2006/relationships/tags" Target="../tags/tag213.xml"/><Relationship Id="rId35" Type="http://schemas.openxmlformats.org/officeDocument/2006/relationships/tags" Target="../tags/tag218.xml"/><Relationship Id="rId43" Type="http://schemas.openxmlformats.org/officeDocument/2006/relationships/tags" Target="../tags/tag226.xml"/><Relationship Id="rId48" Type="http://schemas.openxmlformats.org/officeDocument/2006/relationships/tags" Target="../tags/tag231.xml"/><Relationship Id="rId56" Type="http://schemas.openxmlformats.org/officeDocument/2006/relationships/image" Target="../media/image24.jpeg"/><Relationship Id="rId8" Type="http://schemas.openxmlformats.org/officeDocument/2006/relationships/tags" Target="../tags/tag191.xml"/><Relationship Id="rId51" Type="http://schemas.openxmlformats.org/officeDocument/2006/relationships/slideLayout" Target="../slideLayouts/slideLayout2.xml"/><Relationship Id="rId3" Type="http://schemas.openxmlformats.org/officeDocument/2006/relationships/tags" Target="../tags/tag186.xml"/><Relationship Id="rId12" Type="http://schemas.openxmlformats.org/officeDocument/2006/relationships/tags" Target="../tags/tag195.xml"/><Relationship Id="rId17" Type="http://schemas.openxmlformats.org/officeDocument/2006/relationships/tags" Target="../tags/tag200.xml"/><Relationship Id="rId25" Type="http://schemas.openxmlformats.org/officeDocument/2006/relationships/tags" Target="../tags/tag208.xml"/><Relationship Id="rId33" Type="http://schemas.openxmlformats.org/officeDocument/2006/relationships/tags" Target="../tags/tag216.xml"/><Relationship Id="rId38" Type="http://schemas.openxmlformats.org/officeDocument/2006/relationships/tags" Target="../tags/tag221.xml"/><Relationship Id="rId46" Type="http://schemas.openxmlformats.org/officeDocument/2006/relationships/tags" Target="../tags/tag229.xml"/><Relationship Id="rId59" Type="http://schemas.openxmlformats.org/officeDocument/2006/relationships/image" Target="../media/image27.jpeg"/><Relationship Id="rId20" Type="http://schemas.openxmlformats.org/officeDocument/2006/relationships/tags" Target="../tags/tag203.xml"/><Relationship Id="rId41" Type="http://schemas.openxmlformats.org/officeDocument/2006/relationships/tags" Target="../tags/tag224.xml"/><Relationship Id="rId54" Type="http://schemas.openxmlformats.org/officeDocument/2006/relationships/image" Target="../media/image22.jpeg"/><Relationship Id="rId1" Type="http://schemas.openxmlformats.org/officeDocument/2006/relationships/tags" Target="../tags/tag184.xml"/><Relationship Id="rId6" Type="http://schemas.openxmlformats.org/officeDocument/2006/relationships/tags" Target="../tags/tag189.xml"/><Relationship Id="rId15" Type="http://schemas.openxmlformats.org/officeDocument/2006/relationships/tags" Target="../tags/tag198.xml"/><Relationship Id="rId23" Type="http://schemas.openxmlformats.org/officeDocument/2006/relationships/tags" Target="../tags/tag206.xml"/><Relationship Id="rId28" Type="http://schemas.openxmlformats.org/officeDocument/2006/relationships/tags" Target="../tags/tag211.xml"/><Relationship Id="rId36" Type="http://schemas.openxmlformats.org/officeDocument/2006/relationships/tags" Target="../tags/tag219.xml"/><Relationship Id="rId49" Type="http://schemas.openxmlformats.org/officeDocument/2006/relationships/tags" Target="../tags/tag232.xml"/><Relationship Id="rId57" Type="http://schemas.openxmlformats.org/officeDocument/2006/relationships/image" Target="../media/image25.jpeg"/><Relationship Id="rId10" Type="http://schemas.openxmlformats.org/officeDocument/2006/relationships/tags" Target="../tags/tag193.xml"/><Relationship Id="rId31" Type="http://schemas.openxmlformats.org/officeDocument/2006/relationships/tags" Target="../tags/tag214.xml"/><Relationship Id="rId44" Type="http://schemas.openxmlformats.org/officeDocument/2006/relationships/tags" Target="../tags/tag227.xml"/><Relationship Id="rId52" Type="http://schemas.openxmlformats.org/officeDocument/2006/relationships/oleObject" Target="../embeddings/oleObject14.bin"/><Relationship Id="rId60" Type="http://schemas.openxmlformats.org/officeDocument/2006/relationships/image" Target="../media/image28.png"/><Relationship Id="rId4" Type="http://schemas.openxmlformats.org/officeDocument/2006/relationships/tags" Target="../tags/tag187.xml"/><Relationship Id="rId9" Type="http://schemas.openxmlformats.org/officeDocument/2006/relationships/tags" Target="../tags/tag192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tags" Target="../tags/tag241.xml"/><Relationship Id="rId13" Type="http://schemas.openxmlformats.org/officeDocument/2006/relationships/image" Target="../media/image30.jpeg"/><Relationship Id="rId3" Type="http://schemas.openxmlformats.org/officeDocument/2006/relationships/tags" Target="../tags/tag236.xml"/><Relationship Id="rId7" Type="http://schemas.openxmlformats.org/officeDocument/2006/relationships/tags" Target="../tags/tag240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35.xml"/><Relationship Id="rId1" Type="http://schemas.openxmlformats.org/officeDocument/2006/relationships/tags" Target="../tags/tag234.xml"/><Relationship Id="rId6" Type="http://schemas.openxmlformats.org/officeDocument/2006/relationships/tags" Target="../tags/tag239.xml"/><Relationship Id="rId11" Type="http://schemas.openxmlformats.org/officeDocument/2006/relationships/tags" Target="../tags/tag244.xml"/><Relationship Id="rId5" Type="http://schemas.openxmlformats.org/officeDocument/2006/relationships/tags" Target="../tags/tag238.xml"/><Relationship Id="rId10" Type="http://schemas.openxmlformats.org/officeDocument/2006/relationships/tags" Target="../tags/tag243.xml"/><Relationship Id="rId4" Type="http://schemas.openxmlformats.org/officeDocument/2006/relationships/tags" Target="../tags/tag237.xml"/><Relationship Id="rId9" Type="http://schemas.openxmlformats.org/officeDocument/2006/relationships/tags" Target="../tags/tag24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notesSlide" Target="../notesSlides/notesSlide1.xml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20.xml"/><Relationship Id="rId16" Type="http://schemas.openxmlformats.org/officeDocument/2006/relationships/image" Target="../media/image10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image" Target="../media/image3.emf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oleObject" Target="../embeddings/oleObject4.bin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52.xml"/><Relationship Id="rId13" Type="http://schemas.openxmlformats.org/officeDocument/2006/relationships/tags" Target="../tags/tag257.xml"/><Relationship Id="rId18" Type="http://schemas.openxmlformats.org/officeDocument/2006/relationships/tags" Target="../tags/tag262.xml"/><Relationship Id="rId3" Type="http://schemas.openxmlformats.org/officeDocument/2006/relationships/tags" Target="../tags/tag247.xml"/><Relationship Id="rId21" Type="http://schemas.openxmlformats.org/officeDocument/2006/relationships/image" Target="../media/image20.emf"/><Relationship Id="rId7" Type="http://schemas.openxmlformats.org/officeDocument/2006/relationships/tags" Target="../tags/tag251.xml"/><Relationship Id="rId12" Type="http://schemas.openxmlformats.org/officeDocument/2006/relationships/tags" Target="../tags/tag256.xml"/><Relationship Id="rId17" Type="http://schemas.openxmlformats.org/officeDocument/2006/relationships/tags" Target="../tags/tag261.xml"/><Relationship Id="rId2" Type="http://schemas.openxmlformats.org/officeDocument/2006/relationships/tags" Target="../tags/tag246.xml"/><Relationship Id="rId16" Type="http://schemas.openxmlformats.org/officeDocument/2006/relationships/tags" Target="../tags/tag260.xml"/><Relationship Id="rId20" Type="http://schemas.openxmlformats.org/officeDocument/2006/relationships/oleObject" Target="../embeddings/oleObject15.bin"/><Relationship Id="rId1" Type="http://schemas.openxmlformats.org/officeDocument/2006/relationships/tags" Target="../tags/tag245.xml"/><Relationship Id="rId6" Type="http://schemas.openxmlformats.org/officeDocument/2006/relationships/tags" Target="../tags/tag250.xml"/><Relationship Id="rId11" Type="http://schemas.openxmlformats.org/officeDocument/2006/relationships/tags" Target="../tags/tag255.xml"/><Relationship Id="rId5" Type="http://schemas.openxmlformats.org/officeDocument/2006/relationships/tags" Target="../tags/tag249.xml"/><Relationship Id="rId15" Type="http://schemas.openxmlformats.org/officeDocument/2006/relationships/tags" Target="../tags/tag259.xml"/><Relationship Id="rId10" Type="http://schemas.openxmlformats.org/officeDocument/2006/relationships/tags" Target="../tags/tag254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248.xml"/><Relationship Id="rId9" Type="http://schemas.openxmlformats.org/officeDocument/2006/relationships/tags" Target="../tags/tag253.xml"/><Relationship Id="rId14" Type="http://schemas.openxmlformats.org/officeDocument/2006/relationships/tags" Target="../tags/tag258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275.xml"/><Relationship Id="rId18" Type="http://schemas.openxmlformats.org/officeDocument/2006/relationships/tags" Target="../tags/tag280.xml"/><Relationship Id="rId26" Type="http://schemas.openxmlformats.org/officeDocument/2006/relationships/tags" Target="../tags/tag288.xml"/><Relationship Id="rId39" Type="http://schemas.openxmlformats.org/officeDocument/2006/relationships/image" Target="../media/image33.jpeg"/><Relationship Id="rId21" Type="http://schemas.openxmlformats.org/officeDocument/2006/relationships/tags" Target="../tags/tag283.xml"/><Relationship Id="rId34" Type="http://schemas.openxmlformats.org/officeDocument/2006/relationships/tags" Target="../tags/tag296.xml"/><Relationship Id="rId42" Type="http://schemas.openxmlformats.org/officeDocument/2006/relationships/image" Target="../media/image35.png"/><Relationship Id="rId7" Type="http://schemas.openxmlformats.org/officeDocument/2006/relationships/tags" Target="../tags/tag269.xml"/><Relationship Id="rId2" Type="http://schemas.openxmlformats.org/officeDocument/2006/relationships/tags" Target="../tags/tag264.xml"/><Relationship Id="rId16" Type="http://schemas.openxmlformats.org/officeDocument/2006/relationships/tags" Target="../tags/tag278.xml"/><Relationship Id="rId20" Type="http://schemas.openxmlformats.org/officeDocument/2006/relationships/tags" Target="../tags/tag282.xml"/><Relationship Id="rId29" Type="http://schemas.openxmlformats.org/officeDocument/2006/relationships/tags" Target="../tags/tag291.xml"/><Relationship Id="rId41" Type="http://schemas.openxmlformats.org/officeDocument/2006/relationships/image" Target="../media/image27.jpeg"/><Relationship Id="rId1" Type="http://schemas.openxmlformats.org/officeDocument/2006/relationships/tags" Target="../tags/tag263.xml"/><Relationship Id="rId6" Type="http://schemas.openxmlformats.org/officeDocument/2006/relationships/tags" Target="../tags/tag268.xml"/><Relationship Id="rId11" Type="http://schemas.openxmlformats.org/officeDocument/2006/relationships/tags" Target="../tags/tag273.xml"/><Relationship Id="rId24" Type="http://schemas.openxmlformats.org/officeDocument/2006/relationships/tags" Target="../tags/tag286.xml"/><Relationship Id="rId32" Type="http://schemas.openxmlformats.org/officeDocument/2006/relationships/tags" Target="../tags/tag294.xml"/><Relationship Id="rId37" Type="http://schemas.openxmlformats.org/officeDocument/2006/relationships/image" Target="../media/image31.png"/><Relationship Id="rId40" Type="http://schemas.openxmlformats.org/officeDocument/2006/relationships/image" Target="../media/image34.jpeg"/><Relationship Id="rId5" Type="http://schemas.openxmlformats.org/officeDocument/2006/relationships/tags" Target="../tags/tag267.xml"/><Relationship Id="rId15" Type="http://schemas.openxmlformats.org/officeDocument/2006/relationships/tags" Target="../tags/tag277.xml"/><Relationship Id="rId23" Type="http://schemas.openxmlformats.org/officeDocument/2006/relationships/tags" Target="../tags/tag285.xml"/><Relationship Id="rId28" Type="http://schemas.openxmlformats.org/officeDocument/2006/relationships/tags" Target="../tags/tag290.xml"/><Relationship Id="rId36" Type="http://schemas.openxmlformats.org/officeDocument/2006/relationships/slideLayout" Target="../slideLayouts/slideLayout2.xml"/><Relationship Id="rId10" Type="http://schemas.openxmlformats.org/officeDocument/2006/relationships/tags" Target="../tags/tag272.xml"/><Relationship Id="rId19" Type="http://schemas.openxmlformats.org/officeDocument/2006/relationships/tags" Target="../tags/tag281.xml"/><Relationship Id="rId31" Type="http://schemas.openxmlformats.org/officeDocument/2006/relationships/tags" Target="../tags/tag293.xml"/><Relationship Id="rId4" Type="http://schemas.openxmlformats.org/officeDocument/2006/relationships/tags" Target="../tags/tag266.xml"/><Relationship Id="rId9" Type="http://schemas.openxmlformats.org/officeDocument/2006/relationships/tags" Target="../tags/tag271.xml"/><Relationship Id="rId14" Type="http://schemas.openxmlformats.org/officeDocument/2006/relationships/tags" Target="../tags/tag276.xml"/><Relationship Id="rId22" Type="http://schemas.openxmlformats.org/officeDocument/2006/relationships/tags" Target="../tags/tag284.xml"/><Relationship Id="rId27" Type="http://schemas.openxmlformats.org/officeDocument/2006/relationships/tags" Target="../tags/tag289.xml"/><Relationship Id="rId30" Type="http://schemas.openxmlformats.org/officeDocument/2006/relationships/tags" Target="../tags/tag292.xml"/><Relationship Id="rId35" Type="http://schemas.openxmlformats.org/officeDocument/2006/relationships/tags" Target="../tags/tag297.xml"/><Relationship Id="rId43" Type="http://schemas.openxmlformats.org/officeDocument/2006/relationships/image" Target="../media/image36.jpeg"/><Relationship Id="rId8" Type="http://schemas.openxmlformats.org/officeDocument/2006/relationships/tags" Target="../tags/tag270.xml"/><Relationship Id="rId3" Type="http://schemas.openxmlformats.org/officeDocument/2006/relationships/tags" Target="../tags/tag265.xml"/><Relationship Id="rId12" Type="http://schemas.openxmlformats.org/officeDocument/2006/relationships/tags" Target="../tags/tag274.xml"/><Relationship Id="rId17" Type="http://schemas.openxmlformats.org/officeDocument/2006/relationships/tags" Target="../tags/tag279.xml"/><Relationship Id="rId25" Type="http://schemas.openxmlformats.org/officeDocument/2006/relationships/tags" Target="../tags/tag287.xml"/><Relationship Id="rId33" Type="http://schemas.openxmlformats.org/officeDocument/2006/relationships/tags" Target="../tags/tag295.xml"/><Relationship Id="rId38" Type="http://schemas.openxmlformats.org/officeDocument/2006/relationships/image" Target="../media/image32.jpeg"/></Relationships>
</file>

<file path=ppt/slides/_rels/slide22.xml.rels><?xml version="1.0" encoding="UTF-8" standalone="yes"?>
<Relationships xmlns="http://schemas.openxmlformats.org/package/2006/relationships"><Relationship Id="rId26" Type="http://schemas.openxmlformats.org/officeDocument/2006/relationships/tags" Target="../tags/tag323.xml"/><Relationship Id="rId21" Type="http://schemas.openxmlformats.org/officeDocument/2006/relationships/tags" Target="../tags/tag318.xml"/><Relationship Id="rId42" Type="http://schemas.openxmlformats.org/officeDocument/2006/relationships/tags" Target="../tags/tag339.xml"/><Relationship Id="rId47" Type="http://schemas.openxmlformats.org/officeDocument/2006/relationships/tags" Target="../tags/tag344.xml"/><Relationship Id="rId63" Type="http://schemas.openxmlformats.org/officeDocument/2006/relationships/tags" Target="../tags/tag360.xml"/><Relationship Id="rId68" Type="http://schemas.openxmlformats.org/officeDocument/2006/relationships/tags" Target="../tags/tag365.xml"/><Relationship Id="rId84" Type="http://schemas.openxmlformats.org/officeDocument/2006/relationships/tags" Target="../tags/tag381.xml"/><Relationship Id="rId89" Type="http://schemas.openxmlformats.org/officeDocument/2006/relationships/notesSlide" Target="../notesSlides/notesSlide5.xml"/><Relationship Id="rId16" Type="http://schemas.openxmlformats.org/officeDocument/2006/relationships/tags" Target="../tags/tag313.xml"/><Relationship Id="rId11" Type="http://schemas.openxmlformats.org/officeDocument/2006/relationships/tags" Target="../tags/tag308.xml"/><Relationship Id="rId32" Type="http://schemas.openxmlformats.org/officeDocument/2006/relationships/tags" Target="../tags/tag329.xml"/><Relationship Id="rId37" Type="http://schemas.openxmlformats.org/officeDocument/2006/relationships/tags" Target="../tags/tag334.xml"/><Relationship Id="rId53" Type="http://schemas.openxmlformats.org/officeDocument/2006/relationships/tags" Target="../tags/tag350.xml"/><Relationship Id="rId58" Type="http://schemas.openxmlformats.org/officeDocument/2006/relationships/tags" Target="../tags/tag355.xml"/><Relationship Id="rId74" Type="http://schemas.openxmlformats.org/officeDocument/2006/relationships/tags" Target="../tags/tag371.xml"/><Relationship Id="rId79" Type="http://schemas.openxmlformats.org/officeDocument/2006/relationships/tags" Target="../tags/tag376.xml"/><Relationship Id="rId5" Type="http://schemas.openxmlformats.org/officeDocument/2006/relationships/tags" Target="../tags/tag302.xml"/><Relationship Id="rId90" Type="http://schemas.openxmlformats.org/officeDocument/2006/relationships/oleObject" Target="../embeddings/oleObject16.bin"/><Relationship Id="rId14" Type="http://schemas.openxmlformats.org/officeDocument/2006/relationships/tags" Target="../tags/tag311.xml"/><Relationship Id="rId22" Type="http://schemas.openxmlformats.org/officeDocument/2006/relationships/tags" Target="../tags/tag319.xml"/><Relationship Id="rId27" Type="http://schemas.openxmlformats.org/officeDocument/2006/relationships/tags" Target="../tags/tag324.xml"/><Relationship Id="rId30" Type="http://schemas.openxmlformats.org/officeDocument/2006/relationships/tags" Target="../tags/tag327.xml"/><Relationship Id="rId35" Type="http://schemas.openxmlformats.org/officeDocument/2006/relationships/tags" Target="../tags/tag332.xml"/><Relationship Id="rId43" Type="http://schemas.openxmlformats.org/officeDocument/2006/relationships/tags" Target="../tags/tag340.xml"/><Relationship Id="rId48" Type="http://schemas.openxmlformats.org/officeDocument/2006/relationships/tags" Target="../tags/tag345.xml"/><Relationship Id="rId56" Type="http://schemas.openxmlformats.org/officeDocument/2006/relationships/tags" Target="../tags/tag353.xml"/><Relationship Id="rId64" Type="http://schemas.openxmlformats.org/officeDocument/2006/relationships/tags" Target="../tags/tag361.xml"/><Relationship Id="rId69" Type="http://schemas.openxmlformats.org/officeDocument/2006/relationships/tags" Target="../tags/tag366.xml"/><Relationship Id="rId77" Type="http://schemas.openxmlformats.org/officeDocument/2006/relationships/tags" Target="../tags/tag374.xml"/><Relationship Id="rId8" Type="http://schemas.openxmlformats.org/officeDocument/2006/relationships/tags" Target="../tags/tag305.xml"/><Relationship Id="rId51" Type="http://schemas.openxmlformats.org/officeDocument/2006/relationships/tags" Target="../tags/tag348.xml"/><Relationship Id="rId72" Type="http://schemas.openxmlformats.org/officeDocument/2006/relationships/tags" Target="../tags/tag369.xml"/><Relationship Id="rId80" Type="http://schemas.openxmlformats.org/officeDocument/2006/relationships/tags" Target="../tags/tag377.xml"/><Relationship Id="rId85" Type="http://schemas.openxmlformats.org/officeDocument/2006/relationships/tags" Target="../tags/tag382.xml"/><Relationship Id="rId3" Type="http://schemas.openxmlformats.org/officeDocument/2006/relationships/tags" Target="../tags/tag300.xml"/><Relationship Id="rId12" Type="http://schemas.openxmlformats.org/officeDocument/2006/relationships/tags" Target="../tags/tag309.xml"/><Relationship Id="rId17" Type="http://schemas.openxmlformats.org/officeDocument/2006/relationships/tags" Target="../tags/tag314.xml"/><Relationship Id="rId25" Type="http://schemas.openxmlformats.org/officeDocument/2006/relationships/tags" Target="../tags/tag322.xml"/><Relationship Id="rId33" Type="http://schemas.openxmlformats.org/officeDocument/2006/relationships/tags" Target="../tags/tag330.xml"/><Relationship Id="rId38" Type="http://schemas.openxmlformats.org/officeDocument/2006/relationships/tags" Target="../tags/tag335.xml"/><Relationship Id="rId46" Type="http://schemas.openxmlformats.org/officeDocument/2006/relationships/tags" Target="../tags/tag343.xml"/><Relationship Id="rId59" Type="http://schemas.openxmlformats.org/officeDocument/2006/relationships/tags" Target="../tags/tag356.xml"/><Relationship Id="rId67" Type="http://schemas.openxmlformats.org/officeDocument/2006/relationships/tags" Target="../tags/tag364.xml"/><Relationship Id="rId20" Type="http://schemas.openxmlformats.org/officeDocument/2006/relationships/tags" Target="../tags/tag317.xml"/><Relationship Id="rId41" Type="http://schemas.openxmlformats.org/officeDocument/2006/relationships/tags" Target="../tags/tag338.xml"/><Relationship Id="rId54" Type="http://schemas.openxmlformats.org/officeDocument/2006/relationships/tags" Target="../tags/tag351.xml"/><Relationship Id="rId62" Type="http://schemas.openxmlformats.org/officeDocument/2006/relationships/tags" Target="../tags/tag359.xml"/><Relationship Id="rId70" Type="http://schemas.openxmlformats.org/officeDocument/2006/relationships/tags" Target="../tags/tag367.xml"/><Relationship Id="rId75" Type="http://schemas.openxmlformats.org/officeDocument/2006/relationships/tags" Target="../tags/tag372.xml"/><Relationship Id="rId83" Type="http://schemas.openxmlformats.org/officeDocument/2006/relationships/tags" Target="../tags/tag380.xml"/><Relationship Id="rId88" Type="http://schemas.openxmlformats.org/officeDocument/2006/relationships/slideLayout" Target="../slideLayouts/slideLayout2.xml"/><Relationship Id="rId91" Type="http://schemas.openxmlformats.org/officeDocument/2006/relationships/image" Target="../media/image20.emf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15" Type="http://schemas.openxmlformats.org/officeDocument/2006/relationships/tags" Target="../tags/tag312.xml"/><Relationship Id="rId23" Type="http://schemas.openxmlformats.org/officeDocument/2006/relationships/tags" Target="../tags/tag320.xml"/><Relationship Id="rId28" Type="http://schemas.openxmlformats.org/officeDocument/2006/relationships/tags" Target="../tags/tag325.xml"/><Relationship Id="rId36" Type="http://schemas.openxmlformats.org/officeDocument/2006/relationships/tags" Target="../tags/tag333.xml"/><Relationship Id="rId49" Type="http://schemas.openxmlformats.org/officeDocument/2006/relationships/tags" Target="../tags/tag346.xml"/><Relationship Id="rId57" Type="http://schemas.openxmlformats.org/officeDocument/2006/relationships/tags" Target="../tags/tag354.xml"/><Relationship Id="rId10" Type="http://schemas.openxmlformats.org/officeDocument/2006/relationships/tags" Target="../tags/tag307.xml"/><Relationship Id="rId31" Type="http://schemas.openxmlformats.org/officeDocument/2006/relationships/tags" Target="../tags/tag328.xml"/><Relationship Id="rId44" Type="http://schemas.openxmlformats.org/officeDocument/2006/relationships/tags" Target="../tags/tag341.xml"/><Relationship Id="rId52" Type="http://schemas.openxmlformats.org/officeDocument/2006/relationships/tags" Target="../tags/tag349.xml"/><Relationship Id="rId60" Type="http://schemas.openxmlformats.org/officeDocument/2006/relationships/tags" Target="../tags/tag357.xml"/><Relationship Id="rId65" Type="http://schemas.openxmlformats.org/officeDocument/2006/relationships/tags" Target="../tags/tag362.xml"/><Relationship Id="rId73" Type="http://schemas.openxmlformats.org/officeDocument/2006/relationships/tags" Target="../tags/tag370.xml"/><Relationship Id="rId78" Type="http://schemas.openxmlformats.org/officeDocument/2006/relationships/tags" Target="../tags/tag375.xml"/><Relationship Id="rId81" Type="http://schemas.openxmlformats.org/officeDocument/2006/relationships/tags" Target="../tags/tag378.xml"/><Relationship Id="rId86" Type="http://schemas.openxmlformats.org/officeDocument/2006/relationships/tags" Target="../tags/tag383.xml"/><Relationship Id="rId4" Type="http://schemas.openxmlformats.org/officeDocument/2006/relationships/tags" Target="../tags/tag301.xml"/><Relationship Id="rId9" Type="http://schemas.openxmlformats.org/officeDocument/2006/relationships/tags" Target="../tags/tag306.xml"/><Relationship Id="rId13" Type="http://schemas.openxmlformats.org/officeDocument/2006/relationships/tags" Target="../tags/tag310.xml"/><Relationship Id="rId18" Type="http://schemas.openxmlformats.org/officeDocument/2006/relationships/tags" Target="../tags/tag315.xml"/><Relationship Id="rId39" Type="http://schemas.openxmlformats.org/officeDocument/2006/relationships/tags" Target="../tags/tag336.xml"/><Relationship Id="rId34" Type="http://schemas.openxmlformats.org/officeDocument/2006/relationships/tags" Target="../tags/tag331.xml"/><Relationship Id="rId50" Type="http://schemas.openxmlformats.org/officeDocument/2006/relationships/tags" Target="../tags/tag347.xml"/><Relationship Id="rId55" Type="http://schemas.openxmlformats.org/officeDocument/2006/relationships/tags" Target="../tags/tag352.xml"/><Relationship Id="rId76" Type="http://schemas.openxmlformats.org/officeDocument/2006/relationships/tags" Target="../tags/tag373.xml"/><Relationship Id="rId7" Type="http://schemas.openxmlformats.org/officeDocument/2006/relationships/tags" Target="../tags/tag304.xml"/><Relationship Id="rId71" Type="http://schemas.openxmlformats.org/officeDocument/2006/relationships/tags" Target="../tags/tag368.xml"/><Relationship Id="rId2" Type="http://schemas.openxmlformats.org/officeDocument/2006/relationships/tags" Target="../tags/tag299.xml"/><Relationship Id="rId29" Type="http://schemas.openxmlformats.org/officeDocument/2006/relationships/tags" Target="../tags/tag326.xml"/><Relationship Id="rId24" Type="http://schemas.openxmlformats.org/officeDocument/2006/relationships/tags" Target="../tags/tag321.xml"/><Relationship Id="rId40" Type="http://schemas.openxmlformats.org/officeDocument/2006/relationships/tags" Target="../tags/tag337.xml"/><Relationship Id="rId45" Type="http://schemas.openxmlformats.org/officeDocument/2006/relationships/tags" Target="../tags/tag342.xml"/><Relationship Id="rId66" Type="http://schemas.openxmlformats.org/officeDocument/2006/relationships/tags" Target="../tags/tag363.xml"/><Relationship Id="rId87" Type="http://schemas.openxmlformats.org/officeDocument/2006/relationships/tags" Target="../tags/tag384.xml"/><Relationship Id="rId61" Type="http://schemas.openxmlformats.org/officeDocument/2006/relationships/tags" Target="../tags/tag358.xml"/><Relationship Id="rId82" Type="http://schemas.openxmlformats.org/officeDocument/2006/relationships/tags" Target="../tags/tag379.xml"/><Relationship Id="rId19" Type="http://schemas.openxmlformats.org/officeDocument/2006/relationships/tags" Target="../tags/tag316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tags" Target="../tags/tag392.xml"/><Relationship Id="rId13" Type="http://schemas.openxmlformats.org/officeDocument/2006/relationships/tags" Target="../tags/tag397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387.xml"/><Relationship Id="rId21" Type="http://schemas.openxmlformats.org/officeDocument/2006/relationships/image" Target="../media/image37.jpeg"/><Relationship Id="rId7" Type="http://schemas.openxmlformats.org/officeDocument/2006/relationships/tags" Target="../tags/tag391.xml"/><Relationship Id="rId12" Type="http://schemas.openxmlformats.org/officeDocument/2006/relationships/tags" Target="../tags/tag396.xml"/><Relationship Id="rId17" Type="http://schemas.openxmlformats.org/officeDocument/2006/relationships/tags" Target="../tags/tag401.xml"/><Relationship Id="rId2" Type="http://schemas.openxmlformats.org/officeDocument/2006/relationships/tags" Target="../tags/tag386.xml"/><Relationship Id="rId16" Type="http://schemas.openxmlformats.org/officeDocument/2006/relationships/tags" Target="../tags/tag400.xml"/><Relationship Id="rId20" Type="http://schemas.openxmlformats.org/officeDocument/2006/relationships/image" Target="../media/image20.emf"/><Relationship Id="rId1" Type="http://schemas.openxmlformats.org/officeDocument/2006/relationships/tags" Target="../tags/tag385.xml"/><Relationship Id="rId6" Type="http://schemas.openxmlformats.org/officeDocument/2006/relationships/tags" Target="../tags/tag390.xml"/><Relationship Id="rId11" Type="http://schemas.openxmlformats.org/officeDocument/2006/relationships/tags" Target="../tags/tag395.xml"/><Relationship Id="rId5" Type="http://schemas.openxmlformats.org/officeDocument/2006/relationships/tags" Target="../tags/tag389.xml"/><Relationship Id="rId15" Type="http://schemas.openxmlformats.org/officeDocument/2006/relationships/tags" Target="../tags/tag399.xml"/><Relationship Id="rId10" Type="http://schemas.openxmlformats.org/officeDocument/2006/relationships/tags" Target="../tags/tag394.xml"/><Relationship Id="rId19" Type="http://schemas.openxmlformats.org/officeDocument/2006/relationships/oleObject" Target="../embeddings/oleObject17.bin"/><Relationship Id="rId4" Type="http://schemas.openxmlformats.org/officeDocument/2006/relationships/tags" Target="../tags/tag388.xml"/><Relationship Id="rId9" Type="http://schemas.openxmlformats.org/officeDocument/2006/relationships/tags" Target="../tags/tag393.xml"/><Relationship Id="rId14" Type="http://schemas.openxmlformats.org/officeDocument/2006/relationships/tags" Target="../tags/tag398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tags" Target="../tags/tag409.xml"/><Relationship Id="rId13" Type="http://schemas.openxmlformats.org/officeDocument/2006/relationships/tags" Target="../tags/tag414.xml"/><Relationship Id="rId18" Type="http://schemas.openxmlformats.org/officeDocument/2006/relationships/slideLayout" Target="../slideLayouts/slideLayout2.xml"/><Relationship Id="rId3" Type="http://schemas.openxmlformats.org/officeDocument/2006/relationships/tags" Target="../tags/tag404.xml"/><Relationship Id="rId7" Type="http://schemas.openxmlformats.org/officeDocument/2006/relationships/tags" Target="../tags/tag408.xml"/><Relationship Id="rId12" Type="http://schemas.openxmlformats.org/officeDocument/2006/relationships/tags" Target="../tags/tag413.xml"/><Relationship Id="rId17" Type="http://schemas.openxmlformats.org/officeDocument/2006/relationships/tags" Target="../tags/tag418.xml"/><Relationship Id="rId2" Type="http://schemas.openxmlformats.org/officeDocument/2006/relationships/tags" Target="../tags/tag403.xml"/><Relationship Id="rId16" Type="http://schemas.openxmlformats.org/officeDocument/2006/relationships/tags" Target="../tags/tag417.xml"/><Relationship Id="rId20" Type="http://schemas.openxmlformats.org/officeDocument/2006/relationships/image" Target="../media/image20.emf"/><Relationship Id="rId1" Type="http://schemas.openxmlformats.org/officeDocument/2006/relationships/tags" Target="../tags/tag402.xml"/><Relationship Id="rId6" Type="http://schemas.openxmlformats.org/officeDocument/2006/relationships/tags" Target="../tags/tag407.xml"/><Relationship Id="rId11" Type="http://schemas.openxmlformats.org/officeDocument/2006/relationships/tags" Target="../tags/tag412.xml"/><Relationship Id="rId5" Type="http://schemas.openxmlformats.org/officeDocument/2006/relationships/tags" Target="../tags/tag406.xml"/><Relationship Id="rId15" Type="http://schemas.openxmlformats.org/officeDocument/2006/relationships/tags" Target="../tags/tag416.xml"/><Relationship Id="rId10" Type="http://schemas.openxmlformats.org/officeDocument/2006/relationships/tags" Target="../tags/tag411.xml"/><Relationship Id="rId19" Type="http://schemas.openxmlformats.org/officeDocument/2006/relationships/oleObject" Target="../embeddings/oleObject18.bin"/><Relationship Id="rId4" Type="http://schemas.openxmlformats.org/officeDocument/2006/relationships/tags" Target="../tags/tag405.xml"/><Relationship Id="rId9" Type="http://schemas.openxmlformats.org/officeDocument/2006/relationships/tags" Target="../tags/tag410.xml"/><Relationship Id="rId14" Type="http://schemas.openxmlformats.org/officeDocument/2006/relationships/tags" Target="../tags/tag415.xml"/></Relationships>
</file>

<file path=ppt/slides/_rels/slide25.xml.rels><?xml version="1.0" encoding="UTF-8" standalone="yes"?>
<Relationships xmlns="http://schemas.openxmlformats.org/package/2006/relationships"><Relationship Id="rId13" Type="http://schemas.openxmlformats.org/officeDocument/2006/relationships/tags" Target="../tags/tag431.xml"/><Relationship Id="rId18" Type="http://schemas.openxmlformats.org/officeDocument/2006/relationships/tags" Target="../tags/tag436.xml"/><Relationship Id="rId26" Type="http://schemas.openxmlformats.org/officeDocument/2006/relationships/tags" Target="../tags/tag444.xml"/><Relationship Id="rId39" Type="http://schemas.openxmlformats.org/officeDocument/2006/relationships/slideLayout" Target="../slideLayouts/slideLayout2.xml"/><Relationship Id="rId21" Type="http://schemas.openxmlformats.org/officeDocument/2006/relationships/tags" Target="../tags/tag439.xml"/><Relationship Id="rId34" Type="http://schemas.openxmlformats.org/officeDocument/2006/relationships/tags" Target="../tags/tag452.xml"/><Relationship Id="rId42" Type="http://schemas.openxmlformats.org/officeDocument/2006/relationships/image" Target="../media/image38.jpeg"/><Relationship Id="rId47" Type="http://schemas.openxmlformats.org/officeDocument/2006/relationships/image" Target="../media/image43.png"/><Relationship Id="rId7" Type="http://schemas.openxmlformats.org/officeDocument/2006/relationships/tags" Target="../tags/tag425.xml"/><Relationship Id="rId2" Type="http://schemas.openxmlformats.org/officeDocument/2006/relationships/tags" Target="../tags/tag420.xml"/><Relationship Id="rId16" Type="http://schemas.openxmlformats.org/officeDocument/2006/relationships/tags" Target="../tags/tag434.xml"/><Relationship Id="rId29" Type="http://schemas.openxmlformats.org/officeDocument/2006/relationships/tags" Target="../tags/tag447.xml"/><Relationship Id="rId1" Type="http://schemas.openxmlformats.org/officeDocument/2006/relationships/tags" Target="../tags/tag419.xml"/><Relationship Id="rId6" Type="http://schemas.openxmlformats.org/officeDocument/2006/relationships/tags" Target="../tags/tag424.xml"/><Relationship Id="rId11" Type="http://schemas.openxmlformats.org/officeDocument/2006/relationships/tags" Target="../tags/tag429.xml"/><Relationship Id="rId24" Type="http://schemas.openxmlformats.org/officeDocument/2006/relationships/tags" Target="../tags/tag442.xml"/><Relationship Id="rId32" Type="http://schemas.openxmlformats.org/officeDocument/2006/relationships/tags" Target="../tags/tag450.xml"/><Relationship Id="rId37" Type="http://schemas.openxmlformats.org/officeDocument/2006/relationships/tags" Target="../tags/tag455.xml"/><Relationship Id="rId40" Type="http://schemas.openxmlformats.org/officeDocument/2006/relationships/oleObject" Target="../embeddings/oleObject19.bin"/><Relationship Id="rId45" Type="http://schemas.openxmlformats.org/officeDocument/2006/relationships/image" Target="../media/image41.png"/><Relationship Id="rId5" Type="http://schemas.openxmlformats.org/officeDocument/2006/relationships/tags" Target="../tags/tag423.xml"/><Relationship Id="rId15" Type="http://schemas.openxmlformats.org/officeDocument/2006/relationships/tags" Target="../tags/tag433.xml"/><Relationship Id="rId23" Type="http://schemas.openxmlformats.org/officeDocument/2006/relationships/tags" Target="../tags/tag441.xml"/><Relationship Id="rId28" Type="http://schemas.openxmlformats.org/officeDocument/2006/relationships/tags" Target="../tags/tag446.xml"/><Relationship Id="rId36" Type="http://schemas.openxmlformats.org/officeDocument/2006/relationships/tags" Target="../tags/tag454.xml"/><Relationship Id="rId10" Type="http://schemas.openxmlformats.org/officeDocument/2006/relationships/tags" Target="../tags/tag428.xml"/><Relationship Id="rId19" Type="http://schemas.openxmlformats.org/officeDocument/2006/relationships/tags" Target="../tags/tag437.xml"/><Relationship Id="rId31" Type="http://schemas.openxmlformats.org/officeDocument/2006/relationships/tags" Target="../tags/tag449.xml"/><Relationship Id="rId44" Type="http://schemas.openxmlformats.org/officeDocument/2006/relationships/image" Target="../media/image40.jpeg"/><Relationship Id="rId4" Type="http://schemas.openxmlformats.org/officeDocument/2006/relationships/tags" Target="../tags/tag422.xml"/><Relationship Id="rId9" Type="http://schemas.openxmlformats.org/officeDocument/2006/relationships/tags" Target="../tags/tag427.xml"/><Relationship Id="rId14" Type="http://schemas.openxmlformats.org/officeDocument/2006/relationships/tags" Target="../tags/tag432.xml"/><Relationship Id="rId22" Type="http://schemas.openxmlformats.org/officeDocument/2006/relationships/tags" Target="../tags/tag440.xml"/><Relationship Id="rId27" Type="http://schemas.openxmlformats.org/officeDocument/2006/relationships/tags" Target="../tags/tag445.xml"/><Relationship Id="rId30" Type="http://schemas.openxmlformats.org/officeDocument/2006/relationships/tags" Target="../tags/tag448.xml"/><Relationship Id="rId35" Type="http://schemas.openxmlformats.org/officeDocument/2006/relationships/tags" Target="../tags/tag453.xml"/><Relationship Id="rId43" Type="http://schemas.openxmlformats.org/officeDocument/2006/relationships/image" Target="../media/image39.jpeg"/><Relationship Id="rId8" Type="http://schemas.openxmlformats.org/officeDocument/2006/relationships/tags" Target="../tags/tag426.xml"/><Relationship Id="rId3" Type="http://schemas.openxmlformats.org/officeDocument/2006/relationships/tags" Target="../tags/tag421.xml"/><Relationship Id="rId12" Type="http://schemas.openxmlformats.org/officeDocument/2006/relationships/tags" Target="../tags/tag430.xml"/><Relationship Id="rId17" Type="http://schemas.openxmlformats.org/officeDocument/2006/relationships/tags" Target="../tags/tag435.xml"/><Relationship Id="rId25" Type="http://schemas.openxmlformats.org/officeDocument/2006/relationships/tags" Target="../tags/tag443.xml"/><Relationship Id="rId33" Type="http://schemas.openxmlformats.org/officeDocument/2006/relationships/tags" Target="../tags/tag451.xml"/><Relationship Id="rId38" Type="http://schemas.openxmlformats.org/officeDocument/2006/relationships/tags" Target="../tags/tag456.xml"/><Relationship Id="rId46" Type="http://schemas.openxmlformats.org/officeDocument/2006/relationships/image" Target="../media/image42.jpeg"/><Relationship Id="rId20" Type="http://schemas.openxmlformats.org/officeDocument/2006/relationships/tags" Target="../tags/tag438.xml"/><Relationship Id="rId41" Type="http://schemas.openxmlformats.org/officeDocument/2006/relationships/image" Target="../media/image3.emf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64.xml"/><Relationship Id="rId13" Type="http://schemas.openxmlformats.org/officeDocument/2006/relationships/image" Target="../media/image20.emf"/><Relationship Id="rId3" Type="http://schemas.openxmlformats.org/officeDocument/2006/relationships/tags" Target="../tags/tag459.xml"/><Relationship Id="rId7" Type="http://schemas.openxmlformats.org/officeDocument/2006/relationships/tags" Target="../tags/tag463.xml"/><Relationship Id="rId12" Type="http://schemas.openxmlformats.org/officeDocument/2006/relationships/oleObject" Target="../embeddings/oleObject20.bin"/><Relationship Id="rId2" Type="http://schemas.openxmlformats.org/officeDocument/2006/relationships/tags" Target="../tags/tag458.xml"/><Relationship Id="rId1" Type="http://schemas.openxmlformats.org/officeDocument/2006/relationships/tags" Target="../tags/tag457.xml"/><Relationship Id="rId6" Type="http://schemas.openxmlformats.org/officeDocument/2006/relationships/tags" Target="../tags/tag462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461.xml"/><Relationship Id="rId10" Type="http://schemas.openxmlformats.org/officeDocument/2006/relationships/tags" Target="../tags/tag466.xml"/><Relationship Id="rId4" Type="http://schemas.openxmlformats.org/officeDocument/2006/relationships/tags" Target="../tags/tag460.xml"/><Relationship Id="rId9" Type="http://schemas.openxmlformats.org/officeDocument/2006/relationships/tags" Target="../tags/tag465.xml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tags" Target="../tags/tag474.xml"/><Relationship Id="rId13" Type="http://schemas.openxmlformats.org/officeDocument/2006/relationships/tags" Target="../tags/tag479.xml"/><Relationship Id="rId18" Type="http://schemas.openxmlformats.org/officeDocument/2006/relationships/tags" Target="../tags/tag484.xml"/><Relationship Id="rId3" Type="http://schemas.openxmlformats.org/officeDocument/2006/relationships/tags" Target="../tags/tag469.xml"/><Relationship Id="rId21" Type="http://schemas.openxmlformats.org/officeDocument/2006/relationships/tags" Target="../tags/tag487.xml"/><Relationship Id="rId7" Type="http://schemas.openxmlformats.org/officeDocument/2006/relationships/tags" Target="../tags/tag473.xml"/><Relationship Id="rId12" Type="http://schemas.openxmlformats.org/officeDocument/2006/relationships/tags" Target="../tags/tag478.xml"/><Relationship Id="rId17" Type="http://schemas.openxmlformats.org/officeDocument/2006/relationships/tags" Target="../tags/tag483.xml"/><Relationship Id="rId2" Type="http://schemas.openxmlformats.org/officeDocument/2006/relationships/tags" Target="../tags/tag468.xml"/><Relationship Id="rId16" Type="http://schemas.openxmlformats.org/officeDocument/2006/relationships/tags" Target="../tags/tag482.xml"/><Relationship Id="rId20" Type="http://schemas.openxmlformats.org/officeDocument/2006/relationships/tags" Target="../tags/tag486.xml"/><Relationship Id="rId1" Type="http://schemas.openxmlformats.org/officeDocument/2006/relationships/tags" Target="../tags/tag467.xml"/><Relationship Id="rId6" Type="http://schemas.openxmlformats.org/officeDocument/2006/relationships/tags" Target="../tags/tag472.xml"/><Relationship Id="rId11" Type="http://schemas.openxmlformats.org/officeDocument/2006/relationships/tags" Target="../tags/tag477.xml"/><Relationship Id="rId24" Type="http://schemas.openxmlformats.org/officeDocument/2006/relationships/image" Target="../media/image14.emf"/><Relationship Id="rId5" Type="http://schemas.openxmlformats.org/officeDocument/2006/relationships/tags" Target="../tags/tag471.xml"/><Relationship Id="rId15" Type="http://schemas.openxmlformats.org/officeDocument/2006/relationships/tags" Target="../tags/tag481.xml"/><Relationship Id="rId23" Type="http://schemas.openxmlformats.org/officeDocument/2006/relationships/oleObject" Target="../embeddings/oleObject21.bin"/><Relationship Id="rId10" Type="http://schemas.openxmlformats.org/officeDocument/2006/relationships/tags" Target="../tags/tag476.xml"/><Relationship Id="rId19" Type="http://schemas.openxmlformats.org/officeDocument/2006/relationships/tags" Target="../tags/tag485.xml"/><Relationship Id="rId4" Type="http://schemas.openxmlformats.org/officeDocument/2006/relationships/tags" Target="../tags/tag470.xml"/><Relationship Id="rId9" Type="http://schemas.openxmlformats.org/officeDocument/2006/relationships/tags" Target="../tags/tag475.xml"/><Relationship Id="rId14" Type="http://schemas.openxmlformats.org/officeDocument/2006/relationships/tags" Target="../tags/tag480.xml"/><Relationship Id="rId22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495.xml"/><Relationship Id="rId13" Type="http://schemas.openxmlformats.org/officeDocument/2006/relationships/tags" Target="../tags/tag500.xml"/><Relationship Id="rId18" Type="http://schemas.openxmlformats.org/officeDocument/2006/relationships/tags" Target="../tags/tag505.xml"/><Relationship Id="rId3" Type="http://schemas.openxmlformats.org/officeDocument/2006/relationships/tags" Target="../tags/tag490.xml"/><Relationship Id="rId21" Type="http://schemas.openxmlformats.org/officeDocument/2006/relationships/image" Target="../media/image20.emf"/><Relationship Id="rId7" Type="http://schemas.openxmlformats.org/officeDocument/2006/relationships/tags" Target="../tags/tag494.xml"/><Relationship Id="rId12" Type="http://schemas.openxmlformats.org/officeDocument/2006/relationships/tags" Target="../tags/tag499.xml"/><Relationship Id="rId17" Type="http://schemas.openxmlformats.org/officeDocument/2006/relationships/tags" Target="../tags/tag504.xml"/><Relationship Id="rId2" Type="http://schemas.openxmlformats.org/officeDocument/2006/relationships/tags" Target="../tags/tag489.xml"/><Relationship Id="rId16" Type="http://schemas.openxmlformats.org/officeDocument/2006/relationships/tags" Target="../tags/tag503.xml"/><Relationship Id="rId20" Type="http://schemas.openxmlformats.org/officeDocument/2006/relationships/oleObject" Target="../embeddings/oleObject22.bin"/><Relationship Id="rId1" Type="http://schemas.openxmlformats.org/officeDocument/2006/relationships/tags" Target="../tags/tag488.xml"/><Relationship Id="rId6" Type="http://schemas.openxmlformats.org/officeDocument/2006/relationships/tags" Target="../tags/tag493.xml"/><Relationship Id="rId11" Type="http://schemas.openxmlformats.org/officeDocument/2006/relationships/tags" Target="../tags/tag498.xml"/><Relationship Id="rId24" Type="http://schemas.openxmlformats.org/officeDocument/2006/relationships/image" Target="../media/image44.jpeg"/><Relationship Id="rId5" Type="http://schemas.openxmlformats.org/officeDocument/2006/relationships/tags" Target="../tags/tag492.xml"/><Relationship Id="rId15" Type="http://schemas.openxmlformats.org/officeDocument/2006/relationships/tags" Target="../tags/tag502.xml"/><Relationship Id="rId23" Type="http://schemas.openxmlformats.org/officeDocument/2006/relationships/image" Target="../media/image18.png"/><Relationship Id="rId10" Type="http://schemas.openxmlformats.org/officeDocument/2006/relationships/tags" Target="../tags/tag497.xml"/><Relationship Id="rId19" Type="http://schemas.openxmlformats.org/officeDocument/2006/relationships/slideLayout" Target="../slideLayouts/slideLayout2.xml"/><Relationship Id="rId4" Type="http://schemas.openxmlformats.org/officeDocument/2006/relationships/tags" Target="../tags/tag491.xml"/><Relationship Id="rId9" Type="http://schemas.openxmlformats.org/officeDocument/2006/relationships/tags" Target="../tags/tag496.xml"/><Relationship Id="rId14" Type="http://schemas.openxmlformats.org/officeDocument/2006/relationships/tags" Target="../tags/tag501.xml"/><Relationship Id="rId22" Type="http://schemas.openxmlformats.org/officeDocument/2006/relationships/image" Target="../media/image17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tags" Target="../tags/tag508.xml"/><Relationship Id="rId7" Type="http://schemas.openxmlformats.org/officeDocument/2006/relationships/image" Target="../media/image45.png"/><Relationship Id="rId2" Type="http://schemas.openxmlformats.org/officeDocument/2006/relationships/tags" Target="../tags/tag507.xml"/><Relationship Id="rId1" Type="http://schemas.openxmlformats.org/officeDocument/2006/relationships/tags" Target="../tags/tag506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510.xml"/><Relationship Id="rId4" Type="http://schemas.openxmlformats.org/officeDocument/2006/relationships/tags" Target="../tags/tag50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26" Type="http://schemas.openxmlformats.org/officeDocument/2006/relationships/image" Target="../media/image11.png"/><Relationship Id="rId3" Type="http://schemas.openxmlformats.org/officeDocument/2006/relationships/tags" Target="../tags/tag32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3.emf"/><Relationship Id="rId2" Type="http://schemas.openxmlformats.org/officeDocument/2006/relationships/tags" Target="../tags/tag31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tags" Target="../tags/tag30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oleObject" Target="../embeddings/oleObject5.bin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notesSlide" Target="../notesSlides/notesSlide2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tags" Target="../tags/tag518.xml"/><Relationship Id="rId13" Type="http://schemas.openxmlformats.org/officeDocument/2006/relationships/tags" Target="../tags/tag523.xml"/><Relationship Id="rId18" Type="http://schemas.openxmlformats.org/officeDocument/2006/relationships/tags" Target="../tags/tag528.xml"/><Relationship Id="rId26" Type="http://schemas.openxmlformats.org/officeDocument/2006/relationships/oleObject" Target="../embeddings/oleObject23.bin"/><Relationship Id="rId3" Type="http://schemas.openxmlformats.org/officeDocument/2006/relationships/tags" Target="../tags/tag513.xml"/><Relationship Id="rId21" Type="http://schemas.openxmlformats.org/officeDocument/2006/relationships/tags" Target="../tags/tag531.xml"/><Relationship Id="rId7" Type="http://schemas.openxmlformats.org/officeDocument/2006/relationships/tags" Target="../tags/tag517.xml"/><Relationship Id="rId12" Type="http://schemas.openxmlformats.org/officeDocument/2006/relationships/tags" Target="../tags/tag522.xml"/><Relationship Id="rId17" Type="http://schemas.openxmlformats.org/officeDocument/2006/relationships/tags" Target="../tags/tag527.xml"/><Relationship Id="rId25" Type="http://schemas.openxmlformats.org/officeDocument/2006/relationships/slideLayout" Target="../slideLayouts/slideLayout2.xml"/><Relationship Id="rId2" Type="http://schemas.openxmlformats.org/officeDocument/2006/relationships/tags" Target="../tags/tag512.xml"/><Relationship Id="rId16" Type="http://schemas.openxmlformats.org/officeDocument/2006/relationships/tags" Target="../tags/tag526.xml"/><Relationship Id="rId20" Type="http://schemas.openxmlformats.org/officeDocument/2006/relationships/tags" Target="../tags/tag530.xml"/><Relationship Id="rId29" Type="http://schemas.openxmlformats.org/officeDocument/2006/relationships/image" Target="../media/image47.jpeg"/><Relationship Id="rId1" Type="http://schemas.openxmlformats.org/officeDocument/2006/relationships/tags" Target="../tags/tag511.xml"/><Relationship Id="rId6" Type="http://schemas.openxmlformats.org/officeDocument/2006/relationships/tags" Target="../tags/tag516.xml"/><Relationship Id="rId11" Type="http://schemas.openxmlformats.org/officeDocument/2006/relationships/tags" Target="../tags/tag521.xml"/><Relationship Id="rId24" Type="http://schemas.openxmlformats.org/officeDocument/2006/relationships/tags" Target="../tags/tag534.xml"/><Relationship Id="rId5" Type="http://schemas.openxmlformats.org/officeDocument/2006/relationships/tags" Target="../tags/tag515.xml"/><Relationship Id="rId15" Type="http://schemas.openxmlformats.org/officeDocument/2006/relationships/tags" Target="../tags/tag525.xml"/><Relationship Id="rId23" Type="http://schemas.openxmlformats.org/officeDocument/2006/relationships/tags" Target="../tags/tag533.xml"/><Relationship Id="rId28" Type="http://schemas.openxmlformats.org/officeDocument/2006/relationships/image" Target="../media/image46.jpeg"/><Relationship Id="rId10" Type="http://schemas.openxmlformats.org/officeDocument/2006/relationships/tags" Target="../tags/tag520.xml"/><Relationship Id="rId19" Type="http://schemas.openxmlformats.org/officeDocument/2006/relationships/tags" Target="../tags/tag529.xml"/><Relationship Id="rId31" Type="http://schemas.openxmlformats.org/officeDocument/2006/relationships/image" Target="../media/image49.jpeg"/><Relationship Id="rId4" Type="http://schemas.openxmlformats.org/officeDocument/2006/relationships/tags" Target="../tags/tag514.xml"/><Relationship Id="rId9" Type="http://schemas.openxmlformats.org/officeDocument/2006/relationships/tags" Target="../tags/tag519.xml"/><Relationship Id="rId14" Type="http://schemas.openxmlformats.org/officeDocument/2006/relationships/tags" Target="../tags/tag524.xml"/><Relationship Id="rId22" Type="http://schemas.openxmlformats.org/officeDocument/2006/relationships/tags" Target="../tags/tag532.xml"/><Relationship Id="rId27" Type="http://schemas.openxmlformats.org/officeDocument/2006/relationships/image" Target="../media/image3.emf"/><Relationship Id="rId30" Type="http://schemas.openxmlformats.org/officeDocument/2006/relationships/image" Target="../media/image48.jpeg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tags" Target="../tags/tag542.xml"/><Relationship Id="rId13" Type="http://schemas.openxmlformats.org/officeDocument/2006/relationships/image" Target="../media/image3.emf"/><Relationship Id="rId18" Type="http://schemas.openxmlformats.org/officeDocument/2006/relationships/image" Target="../media/image54.jpeg"/><Relationship Id="rId3" Type="http://schemas.openxmlformats.org/officeDocument/2006/relationships/tags" Target="../tags/tag537.xml"/><Relationship Id="rId7" Type="http://schemas.openxmlformats.org/officeDocument/2006/relationships/tags" Target="../tags/tag541.xml"/><Relationship Id="rId12" Type="http://schemas.openxmlformats.org/officeDocument/2006/relationships/oleObject" Target="../embeddings/oleObject24.bin"/><Relationship Id="rId17" Type="http://schemas.openxmlformats.org/officeDocument/2006/relationships/image" Target="../media/image53.jpeg"/><Relationship Id="rId2" Type="http://schemas.openxmlformats.org/officeDocument/2006/relationships/tags" Target="../tags/tag536.xml"/><Relationship Id="rId16" Type="http://schemas.openxmlformats.org/officeDocument/2006/relationships/image" Target="../media/image52.jpeg"/><Relationship Id="rId1" Type="http://schemas.openxmlformats.org/officeDocument/2006/relationships/tags" Target="../tags/tag535.xml"/><Relationship Id="rId6" Type="http://schemas.openxmlformats.org/officeDocument/2006/relationships/tags" Target="../tags/tag540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39.xml"/><Relationship Id="rId15" Type="http://schemas.openxmlformats.org/officeDocument/2006/relationships/image" Target="../media/image51.jpeg"/><Relationship Id="rId10" Type="http://schemas.openxmlformats.org/officeDocument/2006/relationships/tags" Target="../tags/tag544.xml"/><Relationship Id="rId19" Type="http://schemas.openxmlformats.org/officeDocument/2006/relationships/image" Target="../media/image55.jpeg"/><Relationship Id="rId4" Type="http://schemas.openxmlformats.org/officeDocument/2006/relationships/tags" Target="../tags/tag538.xml"/><Relationship Id="rId9" Type="http://schemas.openxmlformats.org/officeDocument/2006/relationships/tags" Target="../tags/tag543.xml"/><Relationship Id="rId14" Type="http://schemas.openxmlformats.org/officeDocument/2006/relationships/image" Target="../media/image50.jpeg"/></Relationships>
</file>

<file path=ppt/slides/_rels/slide32.xml.rels><?xml version="1.0" encoding="UTF-8" standalone="yes"?>
<Relationships xmlns="http://schemas.openxmlformats.org/package/2006/relationships"><Relationship Id="rId26" Type="http://schemas.openxmlformats.org/officeDocument/2006/relationships/tags" Target="../tags/tag570.xml"/><Relationship Id="rId117" Type="http://schemas.openxmlformats.org/officeDocument/2006/relationships/tags" Target="../tags/tag661.xml"/><Relationship Id="rId21" Type="http://schemas.openxmlformats.org/officeDocument/2006/relationships/tags" Target="../tags/tag565.xml"/><Relationship Id="rId42" Type="http://schemas.openxmlformats.org/officeDocument/2006/relationships/tags" Target="../tags/tag586.xml"/><Relationship Id="rId47" Type="http://schemas.openxmlformats.org/officeDocument/2006/relationships/tags" Target="../tags/tag591.xml"/><Relationship Id="rId63" Type="http://schemas.openxmlformats.org/officeDocument/2006/relationships/tags" Target="../tags/tag607.xml"/><Relationship Id="rId68" Type="http://schemas.openxmlformats.org/officeDocument/2006/relationships/tags" Target="../tags/tag612.xml"/><Relationship Id="rId84" Type="http://schemas.openxmlformats.org/officeDocument/2006/relationships/tags" Target="../tags/tag628.xml"/><Relationship Id="rId89" Type="http://schemas.openxmlformats.org/officeDocument/2006/relationships/tags" Target="../tags/tag633.xml"/><Relationship Id="rId112" Type="http://schemas.openxmlformats.org/officeDocument/2006/relationships/tags" Target="../tags/tag656.xml"/><Relationship Id="rId16" Type="http://schemas.openxmlformats.org/officeDocument/2006/relationships/tags" Target="../tags/tag560.xml"/><Relationship Id="rId107" Type="http://schemas.openxmlformats.org/officeDocument/2006/relationships/tags" Target="../tags/tag651.xml"/><Relationship Id="rId11" Type="http://schemas.openxmlformats.org/officeDocument/2006/relationships/tags" Target="../tags/tag555.xml"/><Relationship Id="rId32" Type="http://schemas.openxmlformats.org/officeDocument/2006/relationships/tags" Target="../tags/tag576.xml"/><Relationship Id="rId37" Type="http://schemas.openxmlformats.org/officeDocument/2006/relationships/tags" Target="../tags/tag581.xml"/><Relationship Id="rId53" Type="http://schemas.openxmlformats.org/officeDocument/2006/relationships/tags" Target="../tags/tag597.xml"/><Relationship Id="rId58" Type="http://schemas.openxmlformats.org/officeDocument/2006/relationships/tags" Target="../tags/tag602.xml"/><Relationship Id="rId74" Type="http://schemas.openxmlformats.org/officeDocument/2006/relationships/tags" Target="../tags/tag618.xml"/><Relationship Id="rId79" Type="http://schemas.openxmlformats.org/officeDocument/2006/relationships/tags" Target="../tags/tag623.xml"/><Relationship Id="rId102" Type="http://schemas.openxmlformats.org/officeDocument/2006/relationships/tags" Target="../tags/tag646.xml"/><Relationship Id="rId123" Type="http://schemas.openxmlformats.org/officeDocument/2006/relationships/image" Target="../media/image3.emf"/><Relationship Id="rId5" Type="http://schemas.openxmlformats.org/officeDocument/2006/relationships/tags" Target="../tags/tag549.xml"/><Relationship Id="rId90" Type="http://schemas.openxmlformats.org/officeDocument/2006/relationships/tags" Target="../tags/tag634.xml"/><Relationship Id="rId95" Type="http://schemas.openxmlformats.org/officeDocument/2006/relationships/tags" Target="../tags/tag639.xml"/><Relationship Id="rId22" Type="http://schemas.openxmlformats.org/officeDocument/2006/relationships/tags" Target="../tags/tag566.xml"/><Relationship Id="rId27" Type="http://schemas.openxmlformats.org/officeDocument/2006/relationships/tags" Target="../tags/tag571.xml"/><Relationship Id="rId43" Type="http://schemas.openxmlformats.org/officeDocument/2006/relationships/tags" Target="../tags/tag587.xml"/><Relationship Id="rId48" Type="http://schemas.openxmlformats.org/officeDocument/2006/relationships/tags" Target="../tags/tag592.xml"/><Relationship Id="rId64" Type="http://schemas.openxmlformats.org/officeDocument/2006/relationships/tags" Target="../tags/tag608.xml"/><Relationship Id="rId69" Type="http://schemas.openxmlformats.org/officeDocument/2006/relationships/tags" Target="../tags/tag613.xml"/><Relationship Id="rId113" Type="http://schemas.openxmlformats.org/officeDocument/2006/relationships/tags" Target="../tags/tag657.xml"/><Relationship Id="rId118" Type="http://schemas.openxmlformats.org/officeDocument/2006/relationships/tags" Target="../tags/tag662.xml"/><Relationship Id="rId80" Type="http://schemas.openxmlformats.org/officeDocument/2006/relationships/tags" Target="../tags/tag624.xml"/><Relationship Id="rId85" Type="http://schemas.openxmlformats.org/officeDocument/2006/relationships/tags" Target="../tags/tag629.xml"/><Relationship Id="rId12" Type="http://schemas.openxmlformats.org/officeDocument/2006/relationships/tags" Target="../tags/tag556.xml"/><Relationship Id="rId17" Type="http://schemas.openxmlformats.org/officeDocument/2006/relationships/tags" Target="../tags/tag561.xml"/><Relationship Id="rId33" Type="http://schemas.openxmlformats.org/officeDocument/2006/relationships/tags" Target="../tags/tag577.xml"/><Relationship Id="rId38" Type="http://schemas.openxmlformats.org/officeDocument/2006/relationships/tags" Target="../tags/tag582.xml"/><Relationship Id="rId59" Type="http://schemas.openxmlformats.org/officeDocument/2006/relationships/tags" Target="../tags/tag603.xml"/><Relationship Id="rId103" Type="http://schemas.openxmlformats.org/officeDocument/2006/relationships/tags" Target="../tags/tag647.xml"/><Relationship Id="rId108" Type="http://schemas.openxmlformats.org/officeDocument/2006/relationships/tags" Target="../tags/tag652.xml"/><Relationship Id="rId54" Type="http://schemas.openxmlformats.org/officeDocument/2006/relationships/tags" Target="../tags/tag598.xml"/><Relationship Id="rId70" Type="http://schemas.openxmlformats.org/officeDocument/2006/relationships/tags" Target="../tags/tag614.xml"/><Relationship Id="rId75" Type="http://schemas.openxmlformats.org/officeDocument/2006/relationships/tags" Target="../tags/tag619.xml"/><Relationship Id="rId91" Type="http://schemas.openxmlformats.org/officeDocument/2006/relationships/tags" Target="../tags/tag635.xml"/><Relationship Id="rId96" Type="http://schemas.openxmlformats.org/officeDocument/2006/relationships/tags" Target="../tags/tag640.xml"/><Relationship Id="rId1" Type="http://schemas.openxmlformats.org/officeDocument/2006/relationships/tags" Target="../tags/tag545.xml"/><Relationship Id="rId6" Type="http://schemas.openxmlformats.org/officeDocument/2006/relationships/tags" Target="../tags/tag550.xml"/><Relationship Id="rId23" Type="http://schemas.openxmlformats.org/officeDocument/2006/relationships/tags" Target="../tags/tag567.xml"/><Relationship Id="rId28" Type="http://schemas.openxmlformats.org/officeDocument/2006/relationships/tags" Target="../tags/tag572.xml"/><Relationship Id="rId49" Type="http://schemas.openxmlformats.org/officeDocument/2006/relationships/tags" Target="../tags/tag593.xml"/><Relationship Id="rId114" Type="http://schemas.openxmlformats.org/officeDocument/2006/relationships/tags" Target="../tags/tag658.xml"/><Relationship Id="rId119" Type="http://schemas.openxmlformats.org/officeDocument/2006/relationships/tags" Target="../tags/tag663.xml"/><Relationship Id="rId44" Type="http://schemas.openxmlformats.org/officeDocument/2006/relationships/tags" Target="../tags/tag588.xml"/><Relationship Id="rId60" Type="http://schemas.openxmlformats.org/officeDocument/2006/relationships/tags" Target="../tags/tag604.xml"/><Relationship Id="rId65" Type="http://schemas.openxmlformats.org/officeDocument/2006/relationships/tags" Target="../tags/tag609.xml"/><Relationship Id="rId81" Type="http://schemas.openxmlformats.org/officeDocument/2006/relationships/tags" Target="../tags/tag625.xml"/><Relationship Id="rId86" Type="http://schemas.openxmlformats.org/officeDocument/2006/relationships/tags" Target="../tags/tag630.xml"/><Relationship Id="rId4" Type="http://schemas.openxmlformats.org/officeDocument/2006/relationships/tags" Target="../tags/tag548.xml"/><Relationship Id="rId9" Type="http://schemas.openxmlformats.org/officeDocument/2006/relationships/tags" Target="../tags/tag553.xml"/><Relationship Id="rId13" Type="http://schemas.openxmlformats.org/officeDocument/2006/relationships/tags" Target="../tags/tag557.xml"/><Relationship Id="rId18" Type="http://schemas.openxmlformats.org/officeDocument/2006/relationships/tags" Target="../tags/tag562.xml"/><Relationship Id="rId39" Type="http://schemas.openxmlformats.org/officeDocument/2006/relationships/tags" Target="../tags/tag583.xml"/><Relationship Id="rId109" Type="http://schemas.openxmlformats.org/officeDocument/2006/relationships/tags" Target="../tags/tag653.xml"/><Relationship Id="rId34" Type="http://schemas.openxmlformats.org/officeDocument/2006/relationships/tags" Target="../tags/tag578.xml"/><Relationship Id="rId50" Type="http://schemas.openxmlformats.org/officeDocument/2006/relationships/tags" Target="../tags/tag594.xml"/><Relationship Id="rId55" Type="http://schemas.openxmlformats.org/officeDocument/2006/relationships/tags" Target="../tags/tag599.xml"/><Relationship Id="rId76" Type="http://schemas.openxmlformats.org/officeDocument/2006/relationships/tags" Target="../tags/tag620.xml"/><Relationship Id="rId97" Type="http://schemas.openxmlformats.org/officeDocument/2006/relationships/tags" Target="../tags/tag641.xml"/><Relationship Id="rId104" Type="http://schemas.openxmlformats.org/officeDocument/2006/relationships/tags" Target="../tags/tag648.xml"/><Relationship Id="rId120" Type="http://schemas.openxmlformats.org/officeDocument/2006/relationships/tags" Target="../tags/tag664.xml"/><Relationship Id="rId7" Type="http://schemas.openxmlformats.org/officeDocument/2006/relationships/tags" Target="../tags/tag551.xml"/><Relationship Id="rId71" Type="http://schemas.openxmlformats.org/officeDocument/2006/relationships/tags" Target="../tags/tag615.xml"/><Relationship Id="rId92" Type="http://schemas.openxmlformats.org/officeDocument/2006/relationships/tags" Target="../tags/tag636.xml"/><Relationship Id="rId2" Type="http://schemas.openxmlformats.org/officeDocument/2006/relationships/tags" Target="../tags/tag546.xml"/><Relationship Id="rId29" Type="http://schemas.openxmlformats.org/officeDocument/2006/relationships/tags" Target="../tags/tag573.xml"/><Relationship Id="rId24" Type="http://schemas.openxmlformats.org/officeDocument/2006/relationships/tags" Target="../tags/tag568.xml"/><Relationship Id="rId40" Type="http://schemas.openxmlformats.org/officeDocument/2006/relationships/tags" Target="../tags/tag584.xml"/><Relationship Id="rId45" Type="http://schemas.openxmlformats.org/officeDocument/2006/relationships/tags" Target="../tags/tag589.xml"/><Relationship Id="rId66" Type="http://schemas.openxmlformats.org/officeDocument/2006/relationships/tags" Target="../tags/tag610.xml"/><Relationship Id="rId87" Type="http://schemas.openxmlformats.org/officeDocument/2006/relationships/tags" Target="../tags/tag631.xml"/><Relationship Id="rId110" Type="http://schemas.openxmlformats.org/officeDocument/2006/relationships/tags" Target="../tags/tag654.xml"/><Relationship Id="rId115" Type="http://schemas.openxmlformats.org/officeDocument/2006/relationships/tags" Target="../tags/tag659.xml"/><Relationship Id="rId61" Type="http://schemas.openxmlformats.org/officeDocument/2006/relationships/tags" Target="../tags/tag605.xml"/><Relationship Id="rId82" Type="http://schemas.openxmlformats.org/officeDocument/2006/relationships/tags" Target="../tags/tag626.xml"/><Relationship Id="rId19" Type="http://schemas.openxmlformats.org/officeDocument/2006/relationships/tags" Target="../tags/tag563.xml"/><Relationship Id="rId14" Type="http://schemas.openxmlformats.org/officeDocument/2006/relationships/tags" Target="../tags/tag558.xml"/><Relationship Id="rId30" Type="http://schemas.openxmlformats.org/officeDocument/2006/relationships/tags" Target="../tags/tag574.xml"/><Relationship Id="rId35" Type="http://schemas.openxmlformats.org/officeDocument/2006/relationships/tags" Target="../tags/tag579.xml"/><Relationship Id="rId56" Type="http://schemas.openxmlformats.org/officeDocument/2006/relationships/tags" Target="../tags/tag600.xml"/><Relationship Id="rId77" Type="http://schemas.openxmlformats.org/officeDocument/2006/relationships/tags" Target="../tags/tag621.xml"/><Relationship Id="rId100" Type="http://schemas.openxmlformats.org/officeDocument/2006/relationships/tags" Target="../tags/tag644.xml"/><Relationship Id="rId105" Type="http://schemas.openxmlformats.org/officeDocument/2006/relationships/tags" Target="../tags/tag649.xml"/><Relationship Id="rId8" Type="http://schemas.openxmlformats.org/officeDocument/2006/relationships/tags" Target="../tags/tag552.xml"/><Relationship Id="rId51" Type="http://schemas.openxmlformats.org/officeDocument/2006/relationships/tags" Target="../tags/tag595.xml"/><Relationship Id="rId72" Type="http://schemas.openxmlformats.org/officeDocument/2006/relationships/tags" Target="../tags/tag616.xml"/><Relationship Id="rId93" Type="http://schemas.openxmlformats.org/officeDocument/2006/relationships/tags" Target="../tags/tag637.xml"/><Relationship Id="rId98" Type="http://schemas.openxmlformats.org/officeDocument/2006/relationships/tags" Target="../tags/tag642.xml"/><Relationship Id="rId121" Type="http://schemas.openxmlformats.org/officeDocument/2006/relationships/slideLayout" Target="../slideLayouts/slideLayout2.xml"/><Relationship Id="rId3" Type="http://schemas.openxmlformats.org/officeDocument/2006/relationships/tags" Target="../tags/tag547.xml"/><Relationship Id="rId25" Type="http://schemas.openxmlformats.org/officeDocument/2006/relationships/tags" Target="../tags/tag569.xml"/><Relationship Id="rId46" Type="http://schemas.openxmlformats.org/officeDocument/2006/relationships/tags" Target="../tags/tag590.xml"/><Relationship Id="rId67" Type="http://schemas.openxmlformats.org/officeDocument/2006/relationships/tags" Target="../tags/tag611.xml"/><Relationship Id="rId116" Type="http://schemas.openxmlformats.org/officeDocument/2006/relationships/tags" Target="../tags/tag660.xml"/><Relationship Id="rId20" Type="http://schemas.openxmlformats.org/officeDocument/2006/relationships/tags" Target="../tags/tag564.xml"/><Relationship Id="rId41" Type="http://schemas.openxmlformats.org/officeDocument/2006/relationships/tags" Target="../tags/tag585.xml"/><Relationship Id="rId62" Type="http://schemas.openxmlformats.org/officeDocument/2006/relationships/tags" Target="../tags/tag606.xml"/><Relationship Id="rId83" Type="http://schemas.openxmlformats.org/officeDocument/2006/relationships/tags" Target="../tags/tag627.xml"/><Relationship Id="rId88" Type="http://schemas.openxmlformats.org/officeDocument/2006/relationships/tags" Target="../tags/tag632.xml"/><Relationship Id="rId111" Type="http://schemas.openxmlformats.org/officeDocument/2006/relationships/tags" Target="../tags/tag655.xml"/><Relationship Id="rId15" Type="http://schemas.openxmlformats.org/officeDocument/2006/relationships/tags" Target="../tags/tag559.xml"/><Relationship Id="rId36" Type="http://schemas.openxmlformats.org/officeDocument/2006/relationships/tags" Target="../tags/tag580.xml"/><Relationship Id="rId57" Type="http://schemas.openxmlformats.org/officeDocument/2006/relationships/tags" Target="../tags/tag601.xml"/><Relationship Id="rId106" Type="http://schemas.openxmlformats.org/officeDocument/2006/relationships/tags" Target="../tags/tag650.xml"/><Relationship Id="rId10" Type="http://schemas.openxmlformats.org/officeDocument/2006/relationships/tags" Target="../tags/tag554.xml"/><Relationship Id="rId31" Type="http://schemas.openxmlformats.org/officeDocument/2006/relationships/tags" Target="../tags/tag575.xml"/><Relationship Id="rId52" Type="http://schemas.openxmlformats.org/officeDocument/2006/relationships/tags" Target="../tags/tag596.xml"/><Relationship Id="rId73" Type="http://schemas.openxmlformats.org/officeDocument/2006/relationships/tags" Target="../tags/tag617.xml"/><Relationship Id="rId78" Type="http://schemas.openxmlformats.org/officeDocument/2006/relationships/tags" Target="../tags/tag622.xml"/><Relationship Id="rId94" Type="http://schemas.openxmlformats.org/officeDocument/2006/relationships/tags" Target="../tags/tag638.xml"/><Relationship Id="rId99" Type="http://schemas.openxmlformats.org/officeDocument/2006/relationships/tags" Target="../tags/tag643.xml"/><Relationship Id="rId101" Type="http://schemas.openxmlformats.org/officeDocument/2006/relationships/tags" Target="../tags/tag645.xml"/><Relationship Id="rId122" Type="http://schemas.openxmlformats.org/officeDocument/2006/relationships/oleObject" Target="../embeddings/oleObject25.bin"/></Relationships>
</file>

<file path=ppt/slides/_rels/slide33.xml.rels><?xml version="1.0" encoding="UTF-8" standalone="yes"?>
<Relationships xmlns="http://schemas.openxmlformats.org/package/2006/relationships"><Relationship Id="rId8" Type="http://schemas.openxmlformats.org/officeDocument/2006/relationships/tags" Target="../tags/tag672.xml"/><Relationship Id="rId13" Type="http://schemas.openxmlformats.org/officeDocument/2006/relationships/tags" Target="../tags/tag677.xml"/><Relationship Id="rId18" Type="http://schemas.openxmlformats.org/officeDocument/2006/relationships/image" Target="../media/image14.emf"/><Relationship Id="rId3" Type="http://schemas.openxmlformats.org/officeDocument/2006/relationships/tags" Target="../tags/tag667.xml"/><Relationship Id="rId7" Type="http://schemas.openxmlformats.org/officeDocument/2006/relationships/tags" Target="../tags/tag671.xml"/><Relationship Id="rId12" Type="http://schemas.openxmlformats.org/officeDocument/2006/relationships/tags" Target="../tags/tag676.xml"/><Relationship Id="rId17" Type="http://schemas.openxmlformats.org/officeDocument/2006/relationships/oleObject" Target="../embeddings/oleObject26.bin"/><Relationship Id="rId2" Type="http://schemas.openxmlformats.org/officeDocument/2006/relationships/tags" Target="../tags/tag666.xml"/><Relationship Id="rId16" Type="http://schemas.openxmlformats.org/officeDocument/2006/relationships/notesSlide" Target="../notesSlides/notesSlide6.xml"/><Relationship Id="rId20" Type="http://schemas.openxmlformats.org/officeDocument/2006/relationships/image" Target="../media/image57.png"/><Relationship Id="rId1" Type="http://schemas.openxmlformats.org/officeDocument/2006/relationships/tags" Target="../tags/tag665.xml"/><Relationship Id="rId6" Type="http://schemas.openxmlformats.org/officeDocument/2006/relationships/tags" Target="../tags/tag670.xml"/><Relationship Id="rId11" Type="http://schemas.openxmlformats.org/officeDocument/2006/relationships/tags" Target="../tags/tag675.xml"/><Relationship Id="rId5" Type="http://schemas.openxmlformats.org/officeDocument/2006/relationships/tags" Target="../tags/tag669.xml"/><Relationship Id="rId15" Type="http://schemas.openxmlformats.org/officeDocument/2006/relationships/slideLayout" Target="../slideLayouts/slideLayout2.xml"/><Relationship Id="rId10" Type="http://schemas.openxmlformats.org/officeDocument/2006/relationships/tags" Target="../tags/tag674.xml"/><Relationship Id="rId19" Type="http://schemas.openxmlformats.org/officeDocument/2006/relationships/image" Target="../media/image56.jpeg"/><Relationship Id="rId4" Type="http://schemas.openxmlformats.org/officeDocument/2006/relationships/tags" Target="../tags/tag668.xml"/><Relationship Id="rId9" Type="http://schemas.openxmlformats.org/officeDocument/2006/relationships/tags" Target="../tags/tag673.xml"/><Relationship Id="rId14" Type="http://schemas.openxmlformats.org/officeDocument/2006/relationships/tags" Target="../tags/tag678.xml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tags" Target="../tags/tag686.xml"/><Relationship Id="rId13" Type="http://schemas.openxmlformats.org/officeDocument/2006/relationships/tags" Target="../tags/tag691.xml"/><Relationship Id="rId3" Type="http://schemas.openxmlformats.org/officeDocument/2006/relationships/tags" Target="../tags/tag681.xml"/><Relationship Id="rId7" Type="http://schemas.openxmlformats.org/officeDocument/2006/relationships/tags" Target="../tags/tag685.xml"/><Relationship Id="rId12" Type="http://schemas.openxmlformats.org/officeDocument/2006/relationships/tags" Target="../tags/tag690.xml"/><Relationship Id="rId2" Type="http://schemas.openxmlformats.org/officeDocument/2006/relationships/tags" Target="../tags/tag680.xml"/><Relationship Id="rId16" Type="http://schemas.openxmlformats.org/officeDocument/2006/relationships/slideLayout" Target="../slideLayouts/slideLayout2.xml"/><Relationship Id="rId1" Type="http://schemas.openxmlformats.org/officeDocument/2006/relationships/tags" Target="../tags/tag679.xml"/><Relationship Id="rId6" Type="http://schemas.openxmlformats.org/officeDocument/2006/relationships/tags" Target="../tags/tag684.xml"/><Relationship Id="rId11" Type="http://schemas.openxmlformats.org/officeDocument/2006/relationships/tags" Target="../tags/tag689.xml"/><Relationship Id="rId5" Type="http://schemas.openxmlformats.org/officeDocument/2006/relationships/tags" Target="../tags/tag683.xml"/><Relationship Id="rId15" Type="http://schemas.openxmlformats.org/officeDocument/2006/relationships/tags" Target="../tags/tag693.xml"/><Relationship Id="rId10" Type="http://schemas.openxmlformats.org/officeDocument/2006/relationships/tags" Target="../tags/tag688.xml"/><Relationship Id="rId4" Type="http://schemas.openxmlformats.org/officeDocument/2006/relationships/tags" Target="../tags/tag682.xml"/><Relationship Id="rId9" Type="http://schemas.openxmlformats.org/officeDocument/2006/relationships/tags" Target="../tags/tag687.xml"/><Relationship Id="rId14" Type="http://schemas.openxmlformats.org/officeDocument/2006/relationships/tags" Target="../tags/tag692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94.xml"/><Relationship Id="rId4" Type="http://schemas.openxmlformats.org/officeDocument/2006/relationships/image" Target="../media/image3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tags" Target="../tags/tag697.xml"/><Relationship Id="rId2" Type="http://schemas.openxmlformats.org/officeDocument/2006/relationships/tags" Target="../tags/tag696.xml"/><Relationship Id="rId1" Type="http://schemas.openxmlformats.org/officeDocument/2006/relationships/tags" Target="../tags/tag695.xml"/><Relationship Id="rId6" Type="http://schemas.openxmlformats.org/officeDocument/2006/relationships/image" Target="../media/image20.emf"/><Relationship Id="rId5" Type="http://schemas.openxmlformats.org/officeDocument/2006/relationships/oleObject" Target="../embeddings/oleObject28.bin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5.xml"/><Relationship Id="rId1" Type="http://schemas.openxmlformats.org/officeDocument/2006/relationships/tags" Target="../tags/tag5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7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6.jpeg"/><Relationship Id="rId2" Type="http://schemas.openxmlformats.org/officeDocument/2006/relationships/tags" Target="../tags/tag53.xml"/><Relationship Id="rId16" Type="http://schemas.openxmlformats.org/officeDocument/2006/relationships/image" Target="../media/image15.jpeg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image" Target="../media/image14.emf"/><Relationship Id="rId10" Type="http://schemas.openxmlformats.org/officeDocument/2006/relationships/tags" Target="../tags/tag61.xml"/><Relationship Id="rId19" Type="http://schemas.openxmlformats.org/officeDocument/2006/relationships/image" Target="../media/image18.png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66.xml"/><Relationship Id="rId7" Type="http://schemas.openxmlformats.org/officeDocument/2006/relationships/oleObject" Target="../embeddings/oleObject7.bin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notesSlide" Target="../notesSlides/notesSlide3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6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image" Target="../media/image3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137973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Picture 236"/>
                      <p:cNvPicPr>
                        <a:picLocks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8812" name="Picture 92" descr="C:\Users\Zach Marks\Pictures\Field photos\Yei-Morobo-Lainya\IMG_2547.JPG"/>
          <p:cNvPicPr>
            <a:picLocks noChangeArrowheads="1"/>
          </p:cNvPicPr>
          <p:nvPr>
            <p:custDataLst>
              <p:tags r:id="rId2"/>
            </p:custDataLst>
          </p:nvPr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644"/>
          <a:stretch/>
        </p:blipFill>
        <p:spPr bwMode="auto">
          <a:xfrm>
            <a:off x="7010498" y="2940254"/>
            <a:ext cx="1878683" cy="182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8815" name="Picture 95"/>
          <p:cNvPicPr>
            <a:picLocks noChangeArrowheads="1"/>
          </p:cNvPicPr>
          <p:nvPr>
            <p:custDataLst>
              <p:tags r:id="rId3"/>
            </p:custDataLst>
          </p:nvPr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10498" y="4829176"/>
            <a:ext cx="1878683" cy="18266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Rectangle 30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2754" y="275303"/>
            <a:ext cx="4805850" cy="6394399"/>
          </a:xfrm>
          <a:prstGeom prst="rect">
            <a:avLst/>
          </a:prstGeom>
          <a:solidFill>
            <a:srgbClr val="067428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Right Triangle 32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2754" y="1068818"/>
            <a:ext cx="4638665" cy="5600884"/>
          </a:xfrm>
          <a:prstGeom prst="rtTriangle">
            <a:avLst/>
          </a:prstGeom>
          <a:solidFill>
            <a:schemeClr val="bg1">
              <a:alpha val="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5" name="doc id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latin typeface="+mn-lt"/>
              <a:ea typeface="+mn-ea"/>
              <a:cs typeface="+mn-cs"/>
            </a:endParaRPr>
          </a:p>
        </p:txBody>
      </p:sp>
      <p:pic>
        <p:nvPicPr>
          <p:cNvPr id="36" name="Picture 609" descr="C:\Users\Krithika R\Desktop\742867_29062324.jpg"/>
          <p:cNvPicPr>
            <a:picLocks noChangeArrowheads="1"/>
          </p:cNvPicPr>
          <p:nvPr>
            <p:custDataLst>
              <p:tags r:id="rId7"/>
            </p:custDataLst>
          </p:nvPr>
        </p:nvPicPr>
        <p:blipFill rotWithShape="1"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858604" y="275303"/>
            <a:ext cx="2101128" cy="2606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" name="Picture 608" descr="C:\Users\Krithika R\Desktop\1059132_76962046.jpg"/>
          <p:cNvPicPr>
            <a:picLocks noChangeArrowheads="1"/>
          </p:cNvPicPr>
          <p:nvPr>
            <p:custDataLst>
              <p:tags r:id="rId8"/>
            </p:custDataLst>
          </p:nvPr>
        </p:nvPicPr>
        <p:blipFill rotWithShape="1"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858602" y="2881495"/>
            <a:ext cx="2101129" cy="1826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  <p:custDataLst>
              <p:tags r:id="rId9"/>
            </p:custDataLst>
          </p:nvPr>
        </p:nvSpPr>
        <p:spPr bwMode="gray">
          <a:xfrm>
            <a:off x="268185" y="1010289"/>
            <a:ext cx="4455854" cy="2462213"/>
          </a:xfr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South Sudan’s National Effort for Agricultural Transformation (NEAT) and Strengthening Food Security </a:t>
            </a:r>
          </a:p>
        </p:txBody>
      </p:sp>
      <p:sp>
        <p:nvSpPr>
          <p:cNvPr id="5" name="McK Document type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221506" y="4922605"/>
            <a:ext cx="4520680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r. Betty A. </a:t>
            </a:r>
            <a:r>
              <a:rPr lang="en-US" dirty="0" err="1">
                <a:solidFill>
                  <a:schemeClr val="bg1"/>
                </a:solidFill>
                <a:latin typeface="+mn-lt"/>
                <a:ea typeface="+mn-ea"/>
                <a:cs typeface="+mn-cs"/>
              </a:rPr>
              <a:t>Ogwaro</a:t>
            </a:r>
            <a:endParaRPr lang="en-U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  <a:p>
            <a:pPr eaLnBrk="1" hangingPunct="1"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Juba, South Sudan</a:t>
            </a:r>
          </a:p>
          <a:p>
            <a:pPr eaLnBrk="1" hangingPunct="1">
              <a:defRPr/>
            </a:pP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5</a:t>
            </a:r>
            <a:r>
              <a:rPr lang="en-US" baseline="30000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th</a:t>
            </a:r>
            <a:r>
              <a:rPr lang="en-US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 Sept, 2023</a:t>
            </a:r>
          </a:p>
          <a:p>
            <a:pPr eaLnBrk="1" hangingPunct="1">
              <a:defRPr/>
            </a:pPr>
            <a:endParaRPr lang="en-US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39" name="Picture 20" descr="354974-cattle"/>
          <p:cNvPicPr>
            <a:picLocks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776716" y="4809911"/>
            <a:ext cx="2183015" cy="18266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0" name="Picture 2" descr="http://news.bbcimg.co.uk/media/images/53957000/jpg/_53957961_012413454-1.jpg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0498" y="275303"/>
            <a:ext cx="1878683" cy="26061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6807663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2E8C29-F4CE-A865-A933-55E5512578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063" y="230190"/>
            <a:ext cx="8618537" cy="369332"/>
          </a:xfrm>
        </p:spPr>
        <p:txBody>
          <a:bodyPr/>
          <a:lstStyle/>
          <a:p>
            <a:r>
              <a:rPr lang="en-US" sz="2400" b="1" dirty="0">
                <a:solidFill>
                  <a:srgbClr val="FF0000"/>
                </a:solidFill>
              </a:rPr>
              <a:t>Direct support to ZEAT activities </a:t>
            </a:r>
            <a:r>
              <a:rPr lang="en-US" sz="2400" b="1" dirty="0" err="1">
                <a:solidFill>
                  <a:srgbClr val="FF0000"/>
                </a:solidFill>
              </a:rPr>
              <a:t>cont</a:t>
            </a:r>
            <a:r>
              <a:rPr lang="en-US" sz="2400" b="1" dirty="0">
                <a:solidFill>
                  <a:srgbClr val="FF0000"/>
                </a:solidFill>
              </a:rPr>
              <a:t>…</a:t>
            </a:r>
            <a:endParaRPr lang="en-US" sz="240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71A14A-5A83-AD19-D1C7-A68B9263C6CF}"/>
              </a:ext>
            </a:extLst>
          </p:cNvPr>
          <p:cNvSpPr txBox="1"/>
          <p:nvPr/>
        </p:nvSpPr>
        <p:spPr>
          <a:xfrm>
            <a:off x="-120358" y="1722797"/>
            <a:ext cx="8058151" cy="39703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/>
            <a:r>
              <a:rPr lang="en-GB" sz="2800" dirty="0"/>
              <a:t>The programme will set-up 6 </a:t>
            </a:r>
            <a:r>
              <a:rPr lang="en-GB" sz="2800" dirty="0" err="1"/>
              <a:t>agro</a:t>
            </a:r>
            <a:r>
              <a:rPr lang="en-GB" sz="2800" dirty="0"/>
              <a:t>-processing hubs across South Sudan using a one-stop-shop rapid Public Private Partners for local and export markets.</a:t>
            </a:r>
          </a:p>
          <a:p>
            <a:endParaRPr lang="en-GB" sz="2800" dirty="0"/>
          </a:p>
          <a:p>
            <a:r>
              <a:rPr lang="en-GB" sz="2800" dirty="0"/>
              <a:t>Unlock 100 large-scale private farms (larger than 2,500 acres) and sustainable water supply for more than 300,000 acres of irrigation from existing infrastructure (</a:t>
            </a:r>
            <a:r>
              <a:rPr lang="en-GB" sz="2800" dirty="0" err="1"/>
              <a:t>Renk</a:t>
            </a:r>
            <a:r>
              <a:rPr lang="en-GB" sz="2800" dirty="0"/>
              <a:t> and other areas)</a:t>
            </a:r>
            <a:endParaRPr lang="en-US" sz="2800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0B3C89D-322A-7B32-DA81-F600010F1EC0}"/>
              </a:ext>
            </a:extLst>
          </p:cNvPr>
          <p:cNvSpPr txBox="1"/>
          <p:nvPr/>
        </p:nvSpPr>
        <p:spPr>
          <a:xfrm>
            <a:off x="-45211" y="768690"/>
            <a:ext cx="7576721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800" b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Increase agricultural output and value addition</a:t>
            </a:r>
            <a:endParaRPr lang="en-US" sz="2800" b="1" dirty="0">
              <a:solidFill>
                <a:schemeClr val="accent4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0702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9408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Rectangle 27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104793" y="4516343"/>
            <a:ext cx="7921215" cy="1166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34" name="Rectangle 30"/>
          <p:cNvSpPr txBox="1"/>
          <p:nvPr/>
        </p:nvSpPr>
        <p:spPr>
          <a:xfrm>
            <a:off x="315786" y="1952276"/>
            <a:ext cx="6372632" cy="3323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just">
              <a:buNone/>
            </a:pPr>
            <a:r>
              <a:rPr lang="en-US" sz="2400" dirty="0"/>
              <a:t>Investments that </a:t>
            </a:r>
            <a:r>
              <a:rPr lang="en-US" sz="2400" b="1" dirty="0">
                <a:solidFill>
                  <a:schemeClr val="tx2"/>
                </a:solidFill>
              </a:rPr>
              <a:t>promote a strong enabling environment for agriculture</a:t>
            </a:r>
            <a:r>
              <a:rPr lang="en-US" sz="2400" dirty="0">
                <a:solidFill>
                  <a:schemeClr val="tx2"/>
                </a:solidFill>
              </a:rPr>
              <a:t> </a:t>
            </a:r>
            <a:r>
              <a:rPr lang="en-US" sz="2400" dirty="0"/>
              <a:t>via research, trade, land, and private sector development programs and policies. </a:t>
            </a:r>
          </a:p>
          <a:p>
            <a:pPr marL="1587" lvl="1" indent="0" algn="just">
              <a:buNone/>
            </a:pPr>
            <a:endParaRPr lang="en-US" sz="2400" dirty="0"/>
          </a:p>
          <a:p>
            <a:pPr marL="1587" lvl="1" indent="0" algn="just">
              <a:buNone/>
            </a:pPr>
            <a:r>
              <a:rPr lang="en-GB" sz="2400" dirty="0"/>
              <a:t>1.m high-needs farming households and empower them to access a range of inputs from multiple providers, enabled by supporting years 1-2 preparation delivery system</a:t>
            </a:r>
            <a:endParaRPr lang="en-US" sz="2400" dirty="0"/>
          </a:p>
        </p:txBody>
      </p:sp>
      <p:sp>
        <p:nvSpPr>
          <p:cNvPr id="36" name="Rectangle 30"/>
          <p:cNvSpPr txBox="1"/>
          <p:nvPr/>
        </p:nvSpPr>
        <p:spPr>
          <a:xfrm>
            <a:off x="488019" y="603993"/>
            <a:ext cx="6207749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GB" sz="3200" b="1" dirty="0">
                <a:solidFill>
                  <a:srgbClr val="C00000"/>
                </a:solidFill>
              </a:rPr>
              <a:t>3. </a:t>
            </a:r>
            <a:r>
              <a:rPr lang="en-US" sz="3200" b="1" dirty="0">
                <a:solidFill>
                  <a:srgbClr val="C00000"/>
                </a:solidFill>
              </a:rPr>
              <a:t>Programs supporting cross-cutting enabling activities</a:t>
            </a:r>
          </a:p>
        </p:txBody>
      </p:sp>
      <p:pic>
        <p:nvPicPr>
          <p:cNvPr id="44" name="Picture 74" descr="http://t3.gstatic.com/images?q=tbn:ANd9GcQBI7mShdUkrrOJdWfvVu7NYLbVImQ245TRhHTDiUknnrDYLPVv0a4_hvImkQ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899410" y="709814"/>
            <a:ext cx="1541723" cy="1166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05" descr="C:\Users\Zach Marks\Pictures\Visit to Yambio\CIMG0256.JPG"/>
          <p:cNvPicPr>
            <a:picLocks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9411" y="3249261"/>
            <a:ext cx="1541723" cy="116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9"/>
          <p:cNvPicPr>
            <a:picLocks noChangeArrowheads="1"/>
          </p:cNvPicPr>
          <p:nvPr>
            <p:custDataLst>
              <p:tags r:id="rId4"/>
            </p:custDataLst>
          </p:nvPr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899411" y="4516343"/>
            <a:ext cx="1541723" cy="116611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1" name="Picture 8"/>
          <p:cNvPicPr>
            <a:picLocks noChangeArrowheads="1"/>
          </p:cNvPicPr>
          <p:nvPr>
            <p:custDataLst>
              <p:tags r:id="rId5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9411" y="1985721"/>
            <a:ext cx="1541721" cy="1166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1957540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1">
            <a:extLst>
              <a:ext uri="{FF2B5EF4-FFF2-40B4-BE49-F238E27FC236}">
                <a16:creationId xmlns:a16="http://schemas.microsoft.com/office/drawing/2014/main" id="{96F29474-2A99-711E-2936-E02F8AE7CCF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627936" y="603844"/>
            <a:ext cx="6795419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800" b="1" dirty="0"/>
              <a:t>4. Support to ZEAT implementation unit</a:t>
            </a:r>
          </a:p>
        </p:txBody>
      </p:sp>
      <p:sp>
        <p:nvSpPr>
          <p:cNvPr id="4" name="Rectangle 30">
            <a:extLst>
              <a:ext uri="{FF2B5EF4-FFF2-40B4-BE49-F238E27FC236}">
                <a16:creationId xmlns:a16="http://schemas.microsoft.com/office/drawing/2014/main" id="{E32BD19C-1C98-E7A1-A89C-9DF04A20CBD3}"/>
              </a:ext>
            </a:extLst>
          </p:cNvPr>
          <p:cNvSpPr txBox="1"/>
          <p:nvPr/>
        </p:nvSpPr>
        <p:spPr>
          <a:xfrm>
            <a:off x="778029" y="1404512"/>
            <a:ext cx="6645326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just">
              <a:buNone/>
            </a:pPr>
            <a:r>
              <a:rPr lang="en-US" sz="2800" dirty="0"/>
              <a:t>Investments that </a:t>
            </a:r>
            <a:r>
              <a:rPr lang="en-US" sz="2800" b="1" dirty="0">
                <a:solidFill>
                  <a:schemeClr val="tx2"/>
                </a:solidFill>
              </a:rPr>
              <a:t>promote the recruiting, staffing, training, and ongoing administrative needs </a:t>
            </a:r>
            <a:r>
              <a:rPr lang="en-US" sz="2800" dirty="0"/>
              <a:t>of the NEAT implementation organization</a:t>
            </a:r>
            <a:r>
              <a:rPr lang="en-US" sz="2400" dirty="0"/>
              <a:t>.</a:t>
            </a:r>
          </a:p>
        </p:txBody>
      </p:sp>
      <p:sp>
        <p:nvSpPr>
          <p:cNvPr id="6" name="TextBox 53">
            <a:extLst>
              <a:ext uri="{FF2B5EF4-FFF2-40B4-BE49-F238E27FC236}">
                <a16:creationId xmlns:a16="http://schemas.microsoft.com/office/drawing/2014/main" id="{058C93AA-EF8B-29E4-7BCC-BCB265608B24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368683" y="5316963"/>
            <a:ext cx="7464017" cy="580853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4300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dirty="0"/>
              <a:t>All four types of programs are essential for agricultural development</a:t>
            </a:r>
          </a:p>
          <a:p>
            <a:pPr algn="l"/>
            <a:r>
              <a:rPr lang="en-US" dirty="0"/>
              <a:t>A shared vision for each type of program will help align all stakeholders</a:t>
            </a:r>
          </a:p>
        </p:txBody>
      </p:sp>
      <p:sp>
        <p:nvSpPr>
          <p:cNvPr id="7" name="Rectangle 21">
            <a:extLst>
              <a:ext uri="{FF2B5EF4-FFF2-40B4-BE49-F238E27FC236}">
                <a16:creationId xmlns:a16="http://schemas.microsoft.com/office/drawing/2014/main" id="{38856664-C048-C7E6-27B5-0A7A1DA9E09B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43062" y="3473873"/>
            <a:ext cx="6915257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800" b="1" dirty="0"/>
              <a:t>Skills training programs for NEAT leaders, youth and women-led leaders and extension agents</a:t>
            </a:r>
          </a:p>
        </p:txBody>
      </p:sp>
    </p:spTree>
    <p:extLst>
      <p:ext uri="{BB962C8B-B14F-4D97-AF65-F5344CB8AC3E}">
        <p14:creationId xmlns:p14="http://schemas.microsoft.com/office/powerpoint/2010/main" val="292454515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802254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6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/>
          <p:cNvSpPr/>
          <p:nvPr>
            <p:custDataLst>
              <p:tags r:id="rId2"/>
            </p:custDataLst>
          </p:nvPr>
        </p:nvSpPr>
        <p:spPr>
          <a:xfrm>
            <a:off x="246763" y="691117"/>
            <a:ext cx="8542395" cy="4957844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/>
          <p:nvPr>
            <p:custDataLst>
              <p:tags r:id="rId3"/>
            </p:custDataLst>
          </p:nvPr>
        </p:nvSpPr>
        <p:spPr>
          <a:xfrm>
            <a:off x="306355" y="1390612"/>
            <a:ext cx="8423210" cy="4124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800" dirty="0"/>
              <a:t>This plan will serve as a </a:t>
            </a:r>
            <a:r>
              <a:rPr lang="en-US" sz="1800" b="1" dirty="0">
                <a:solidFill>
                  <a:schemeClr val="accent3">
                    <a:lumMod val="75000"/>
                  </a:schemeClr>
                </a:solidFill>
              </a:rPr>
              <a:t>framework to align all stakeholders </a:t>
            </a:r>
            <a:r>
              <a:rPr lang="en-US" sz="1800" dirty="0"/>
              <a:t>around a common approach towards agricultural investments in South Sudan, including zonal transformations and coordinating investments</a:t>
            </a:r>
          </a:p>
          <a:p>
            <a:pPr lvl="1"/>
            <a:endParaRPr lang="en-US" sz="1800" dirty="0"/>
          </a:p>
          <a:p>
            <a:pPr lvl="1"/>
            <a:r>
              <a:rPr lang="en-US" sz="1800" b="1" dirty="0">
                <a:solidFill>
                  <a:schemeClr val="accent3">
                    <a:lumMod val="75000"/>
                  </a:schemeClr>
                </a:solidFill>
              </a:rPr>
              <a:t>This framework allows stakeholders to share information</a:t>
            </a:r>
            <a:r>
              <a:rPr lang="en-US" sz="1800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r>
              <a:rPr lang="en-US" sz="1800" dirty="0"/>
              <a:t>about their ongoing programs and proposed new investments</a:t>
            </a:r>
          </a:p>
          <a:p>
            <a:pPr lvl="1"/>
            <a:endParaRPr lang="en-US" sz="1800" dirty="0">
              <a:solidFill>
                <a:schemeClr val="tx2"/>
              </a:solidFill>
            </a:endParaRPr>
          </a:p>
          <a:p>
            <a:pPr lvl="1"/>
            <a:r>
              <a:rPr lang="en-US" sz="1800" b="1" dirty="0">
                <a:solidFill>
                  <a:schemeClr val="tx2"/>
                </a:solidFill>
              </a:rPr>
              <a:t>An Excel file with detailed instructions will be distributed for all States, counties and Development Partners to easily list programs. </a:t>
            </a:r>
            <a:r>
              <a:rPr lang="en-US" sz="1800" dirty="0"/>
              <a:t>Then the NEAT technical working team will compile all programs in this plan </a:t>
            </a:r>
          </a:p>
          <a:p>
            <a:pPr lvl="1"/>
            <a:endParaRPr lang="en-US" sz="1800" b="1" dirty="0">
              <a:solidFill>
                <a:schemeClr val="accent3">
                  <a:lumMod val="75000"/>
                </a:schemeClr>
              </a:solidFill>
            </a:endParaRPr>
          </a:p>
          <a:p>
            <a:pPr lvl="1"/>
            <a:r>
              <a:rPr lang="en-US" sz="1800" b="1" dirty="0">
                <a:solidFill>
                  <a:schemeClr val="accent3">
                    <a:lumMod val="75000"/>
                  </a:schemeClr>
                </a:solidFill>
              </a:rPr>
              <a:t>The compiled program summary from these worksheets will be shared across all stakeholders </a:t>
            </a:r>
            <a:r>
              <a:rPr lang="en-US" sz="1800" dirty="0"/>
              <a:t>to provide a common information base and allow the Ministry of Agriculture to balance resources against programs</a:t>
            </a:r>
          </a:p>
          <a:p>
            <a:pPr lvl="1"/>
            <a:endParaRPr lang="en-US" dirty="0"/>
          </a:p>
        </p:txBody>
      </p:sp>
      <p:sp>
        <p:nvSpPr>
          <p:cNvPr id="9" name="TextBox 5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257396" y="691117"/>
            <a:ext cx="8531762" cy="51554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4300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dirty="0"/>
              <a:t>     </a:t>
            </a:r>
            <a:r>
              <a:rPr lang="en-US" sz="2000" b="1" dirty="0"/>
              <a:t>Documenting all Agricultural programs in South Sudan</a:t>
            </a:r>
            <a:endParaRPr lang="en-US" sz="2000" dirty="0"/>
          </a:p>
        </p:txBody>
      </p:sp>
      <p:sp>
        <p:nvSpPr>
          <p:cNvPr id="10" name="Isosceles Triangle 9"/>
          <p:cNvSpPr/>
          <p:nvPr/>
        </p:nvSpPr>
        <p:spPr>
          <a:xfrm rot="5400000">
            <a:off x="220109" y="698184"/>
            <a:ext cx="372139" cy="318830"/>
          </a:xfrm>
          <a:prstGeom prst="triangle">
            <a:avLst/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6811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35977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6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6376" name="Rectangle 186375"/>
          <p:cNvSpPr/>
          <p:nvPr>
            <p:custDataLst>
              <p:tags r:id="rId2"/>
            </p:custDataLst>
          </p:nvPr>
        </p:nvSpPr>
        <p:spPr bwMode="gray">
          <a:xfrm>
            <a:off x="0" y="892897"/>
            <a:ext cx="8961438" cy="5828577"/>
          </a:xfrm>
          <a:prstGeom prst="rect">
            <a:avLst/>
          </a:prstGeom>
          <a:solidFill>
            <a:schemeClr val="bg1">
              <a:alpha val="94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19063" y="77790"/>
            <a:ext cx="8618537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Guiding principles to help complete investment matrices</a:t>
            </a:r>
          </a:p>
        </p:txBody>
      </p:sp>
      <p:sp>
        <p:nvSpPr>
          <p:cNvPr id="13" name="Rectangle 1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54362" y="785748"/>
            <a:ext cx="394635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b="1" dirty="0">
                <a:solidFill>
                  <a:srgbClr val="002960"/>
                </a:solidFill>
              </a:rPr>
              <a:t>PRINCIPLE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140714" y="5346895"/>
            <a:ext cx="8690814" cy="1143262"/>
            <a:chOff x="140714" y="5346895"/>
            <a:chExt cx="8690814" cy="1143262"/>
          </a:xfrm>
        </p:grpSpPr>
        <p:sp>
          <p:nvSpPr>
            <p:cNvPr id="10" name="Rectangle 13"/>
            <p:cNvSpPr txBox="1"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140714" y="5346895"/>
              <a:ext cx="4362594" cy="1143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b="1" dirty="0">
                  <a:solidFill>
                    <a:srgbClr val="002960"/>
                  </a:solidFill>
                  <a:cs typeface="Arial" charset="0"/>
                </a:rPr>
                <a:t>The Government through the National and State ministries must contribute resources </a:t>
              </a: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to activities, not just depend on donor commitments</a:t>
              </a:r>
            </a:p>
          </p:txBody>
        </p:sp>
        <p:sp>
          <p:nvSpPr>
            <p:cNvPr id="29" name="Rectangle 13"/>
            <p:cNvSpPr txBox="1">
              <a:spLocks/>
            </p:cNvSpPr>
            <p:nvPr>
              <p:custDataLst>
                <p:tags r:id="rId17"/>
              </p:custDataLst>
            </p:nvPr>
          </p:nvSpPr>
          <p:spPr bwMode="gray">
            <a:xfrm>
              <a:off x="4753987" y="5346895"/>
              <a:ext cx="4077541" cy="1143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i="1" dirty="0">
                  <a:solidFill>
                    <a:srgbClr val="002960"/>
                  </a:solidFill>
                  <a:cs typeface="Arial" charset="0"/>
                </a:rPr>
                <a:t>State Ministry of Agriculture with support from the Development partners  trains high-performing extension agents and deploys them to priority counties</a:t>
              </a:r>
            </a:p>
          </p:txBody>
        </p:sp>
      </p:grpSp>
      <p:sp>
        <p:nvSpPr>
          <p:cNvPr id="30" name="Rectangle 17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4753987" y="785748"/>
            <a:ext cx="4077541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800" b="1" dirty="0">
                <a:solidFill>
                  <a:srgbClr val="002960"/>
                </a:solidFill>
              </a:rPr>
              <a:t>EXAMPLE</a:t>
            </a:r>
          </a:p>
        </p:txBody>
      </p:sp>
      <p:sp>
        <p:nvSpPr>
          <p:cNvPr id="42" name="Rectangle 41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236250" y="1019021"/>
            <a:ext cx="8725188" cy="8587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 err="1">
              <a:solidFill>
                <a:srgbClr val="000000"/>
              </a:solidFill>
              <a:cs typeface="Arial"/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140713" y="1132188"/>
            <a:ext cx="862257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140713" y="4005774"/>
            <a:ext cx="8690815" cy="1163395"/>
            <a:chOff x="140713" y="3411832"/>
            <a:chExt cx="8690815" cy="1163395"/>
          </a:xfrm>
        </p:grpSpPr>
        <p:sp>
          <p:nvSpPr>
            <p:cNvPr id="26" name="Rectangle 13"/>
            <p:cNvSpPr txBox="1"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140713" y="3411832"/>
              <a:ext cx="4362594" cy="872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Investment commitments should </a:t>
              </a:r>
              <a:r>
                <a:rPr lang="en-US" sz="1800" b="1" dirty="0">
                  <a:solidFill>
                    <a:srgbClr val="002960"/>
                  </a:solidFill>
                  <a:cs typeface="Arial" charset="0"/>
                </a:rPr>
                <a:t>take advantage of the unique strengths of the implementer</a:t>
              </a:r>
            </a:p>
          </p:txBody>
        </p:sp>
        <p:sp>
          <p:nvSpPr>
            <p:cNvPr id="27" name="Rectangle 13"/>
            <p:cNvSpPr txBox="1">
              <a:spLocks/>
            </p:cNvSpPr>
            <p:nvPr>
              <p:custDataLst>
                <p:tags r:id="rId15"/>
              </p:custDataLst>
            </p:nvPr>
          </p:nvSpPr>
          <p:spPr bwMode="gray">
            <a:xfrm>
              <a:off x="4753987" y="3411832"/>
              <a:ext cx="4077541" cy="1163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b="1" i="1" dirty="0">
                  <a:solidFill>
                    <a:srgbClr val="002960"/>
                  </a:solidFill>
                </a:rPr>
                <a:t>Implementer A </a:t>
              </a:r>
              <a:r>
                <a:rPr lang="en-US" sz="1800" i="1" dirty="0">
                  <a:solidFill>
                    <a:srgbClr val="002960"/>
                  </a:solidFill>
                  <a:cs typeface="Arial" charset="0"/>
                </a:rPr>
                <a:t>specializes in warehouse management, while </a:t>
              </a:r>
              <a:r>
                <a:rPr lang="en-US" sz="1800" b="1" i="1" dirty="0">
                  <a:solidFill>
                    <a:srgbClr val="002960"/>
                  </a:solidFill>
                  <a:cs typeface="Arial" charset="0"/>
                </a:rPr>
                <a:t>Implementer B </a:t>
              </a:r>
              <a:r>
                <a:rPr lang="en-US" sz="1800" i="1" dirty="0">
                  <a:solidFill>
                    <a:srgbClr val="002960"/>
                  </a:solidFill>
                  <a:cs typeface="Arial" charset="0"/>
                </a:rPr>
                <a:t>utilizes teams already on-the-ground in some counties</a:t>
              </a:r>
            </a:p>
          </p:txBody>
        </p:sp>
      </p:grpSp>
      <p:sp>
        <p:nvSpPr>
          <p:cNvPr id="31" name="Rectangle 30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36250" y="5206151"/>
            <a:ext cx="8725188" cy="8587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 err="1">
              <a:solidFill>
                <a:srgbClr val="000000"/>
              </a:solidFill>
              <a:cs typeface="Arial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40713" y="2664656"/>
            <a:ext cx="8690815" cy="1163395"/>
            <a:chOff x="140713" y="2304537"/>
            <a:chExt cx="8690815" cy="1163395"/>
          </a:xfrm>
        </p:grpSpPr>
        <p:sp>
          <p:nvSpPr>
            <p:cNvPr id="32" name="Rectangle 13"/>
            <p:cNvSpPr txBox="1">
              <a:spLocks/>
            </p:cNvSpPr>
            <p:nvPr>
              <p:custDataLst>
                <p:tags r:id="rId12"/>
              </p:custDataLst>
            </p:nvPr>
          </p:nvSpPr>
          <p:spPr bwMode="gray">
            <a:xfrm>
              <a:off x="140713" y="2304537"/>
              <a:ext cx="4362594" cy="872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Donor/Development Partner commitments should be for </a:t>
              </a:r>
              <a:r>
                <a:rPr lang="en-US" sz="1800" b="1" dirty="0">
                  <a:solidFill>
                    <a:srgbClr val="002960"/>
                  </a:solidFill>
                  <a:cs typeface="Arial" charset="0"/>
                </a:rPr>
                <a:t>multiple years </a:t>
              </a: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to build local knowledge</a:t>
              </a:r>
            </a:p>
          </p:txBody>
        </p:sp>
        <p:sp>
          <p:nvSpPr>
            <p:cNvPr id="33" name="Rectangle 13"/>
            <p:cNvSpPr txBox="1">
              <a:spLocks/>
            </p:cNvSpPr>
            <p:nvPr>
              <p:custDataLst>
                <p:tags r:id="rId13"/>
              </p:custDataLst>
            </p:nvPr>
          </p:nvSpPr>
          <p:spPr bwMode="gray">
            <a:xfrm>
              <a:off x="4753987" y="2304537"/>
              <a:ext cx="4077541" cy="11633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b="1" i="1" dirty="0">
                  <a:solidFill>
                    <a:srgbClr val="002960"/>
                  </a:solidFill>
                </a:rPr>
                <a:t>Development Partner A </a:t>
              </a:r>
              <a:r>
                <a:rPr lang="en-US" sz="1800" i="1" dirty="0">
                  <a:solidFill>
                    <a:srgbClr val="002960"/>
                  </a:solidFill>
                  <a:cs typeface="Arial" charset="0"/>
                </a:rPr>
                <a:t>funds the training of 30 entrepreneurs in year 1, and builds on successes to scale to 100 by year 3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140713" y="1323538"/>
            <a:ext cx="8690815" cy="1143262"/>
            <a:chOff x="140713" y="1224173"/>
            <a:chExt cx="8690815" cy="1143262"/>
          </a:xfrm>
        </p:grpSpPr>
        <p:sp>
          <p:nvSpPr>
            <p:cNvPr id="34" name="Rectangle 13"/>
            <p:cNvSpPr txBox="1"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140713" y="1224173"/>
              <a:ext cx="4362594" cy="11432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The Government, Donors/Development Partners should ideally </a:t>
              </a:r>
              <a:r>
                <a:rPr lang="en-US" sz="1800" b="1" dirty="0">
                  <a:solidFill>
                    <a:srgbClr val="002960"/>
                  </a:solidFill>
                  <a:cs typeface="Arial" charset="0"/>
                </a:rPr>
                <a:t>commit to most of the activities for a geography</a:t>
              </a:r>
              <a:r>
                <a:rPr lang="en-US" sz="1800" dirty="0">
                  <a:solidFill>
                    <a:srgbClr val="002960"/>
                  </a:solidFill>
                  <a:cs typeface="Arial" charset="0"/>
                </a:rPr>
                <a:t> to reduce handoffs</a:t>
              </a:r>
            </a:p>
          </p:txBody>
        </p:sp>
        <p:sp>
          <p:nvSpPr>
            <p:cNvPr id="35" name="Rectangle 13"/>
            <p:cNvSpPr txBox="1"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753987" y="1224173"/>
              <a:ext cx="4077541" cy="872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lnSpc>
                  <a:spcPct val="105000"/>
                </a:lnSpc>
                <a:spcBef>
                  <a:spcPct val="50000"/>
                </a:spcBef>
                <a:buClr>
                  <a:srgbClr val="002960"/>
                </a:buClr>
                <a:buFont typeface="Arial" charset="0"/>
                <a:buNone/>
              </a:pPr>
              <a:r>
                <a:rPr lang="en-US" sz="1800" i="1" dirty="0">
                  <a:solidFill>
                    <a:srgbClr val="002960"/>
                  </a:solidFill>
                  <a:cs typeface="Arial" charset="0"/>
                </a:rPr>
                <a:t>A single donor should support farmers in production and marketing rather than dividing and risking a failure to link</a:t>
              </a:r>
            </a:p>
          </p:txBody>
        </p:sp>
      </p:grpSp>
      <p:sp>
        <p:nvSpPr>
          <p:cNvPr id="36" name="Rectangle 35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36250" y="2387435"/>
            <a:ext cx="8725188" cy="8587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 err="1">
              <a:solidFill>
                <a:srgbClr val="000000"/>
              </a:solidFill>
              <a:cs typeface="Arial"/>
            </a:endParaRPr>
          </a:p>
        </p:txBody>
      </p:sp>
      <p:sp>
        <p:nvSpPr>
          <p:cNvPr id="37" name="Rectangle 36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236250" y="3728553"/>
            <a:ext cx="8725188" cy="85871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bg2">
                  <a:alpha val="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800" dirty="0" err="1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061598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" name="Object 6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06887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60" imgH="360" progId="">
                  <p:embed/>
                </p:oleObj>
              </mc:Choice>
              <mc:Fallback>
                <p:oleObj name="think-cell Slide" r:id="rId52" imgW="360" imgH="360" progId="">
                  <p:embed/>
                  <p:pic>
                    <p:nvPicPr>
                      <p:cNvPr id="0" name="Picture 2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7" name="Rectangle 76"/>
          <p:cNvSpPr>
            <a:spLocks/>
          </p:cNvSpPr>
          <p:nvPr>
            <p:custDataLst>
              <p:tags r:id="rId2"/>
            </p:custDataLst>
          </p:nvPr>
        </p:nvSpPr>
        <p:spPr>
          <a:xfrm>
            <a:off x="-5221" y="838789"/>
            <a:ext cx="3196175" cy="551329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2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endParaRPr lang="en-US" sz="1500" b="1" dirty="0">
              <a:solidFill>
                <a:schemeClr val="accent4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2481261" y="218652"/>
            <a:ext cx="4506139" cy="292388"/>
          </a:xfrm>
        </p:spPr>
        <p:txBody>
          <a:bodyPr/>
          <a:lstStyle/>
          <a:p>
            <a:r>
              <a:rPr lang="en-US" dirty="0"/>
              <a:t>A Completed ZEAT Investment plan</a:t>
            </a:r>
          </a:p>
        </p:txBody>
      </p:sp>
      <p:grpSp>
        <p:nvGrpSpPr>
          <p:cNvPr id="12" name="Group 11"/>
          <p:cNvGrpSpPr/>
          <p:nvPr>
            <p:custDataLst>
              <p:tags r:id="rId4"/>
            </p:custDataLst>
          </p:nvPr>
        </p:nvGrpSpPr>
        <p:grpSpPr>
          <a:xfrm>
            <a:off x="6315443" y="4298321"/>
            <a:ext cx="2390925" cy="1768853"/>
            <a:chOff x="1531966" y="4591606"/>
            <a:chExt cx="2390925" cy="1768853"/>
          </a:xfrm>
        </p:grpSpPr>
        <p:sp>
          <p:nvSpPr>
            <p:cNvPr id="64" name="Rectangle 63"/>
            <p:cNvSpPr>
              <a:spLocks/>
            </p:cNvSpPr>
            <p:nvPr>
              <p:custDataLst>
                <p:tags r:id="rId45"/>
              </p:custDataLst>
            </p:nvPr>
          </p:nvSpPr>
          <p:spPr>
            <a:xfrm>
              <a:off x="1531966" y="4591606"/>
              <a:ext cx="2390925" cy="176885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 err="1"/>
            </a:p>
          </p:txBody>
        </p:sp>
        <p:sp>
          <p:nvSpPr>
            <p:cNvPr id="60" name="TextBox 48"/>
            <p:cNvSpPr txBox="1"/>
            <p:nvPr>
              <p:custDataLst>
                <p:tags r:id="rId46"/>
              </p:custDataLst>
            </p:nvPr>
          </p:nvSpPr>
          <p:spPr>
            <a:xfrm>
              <a:off x="1715867" y="4688624"/>
              <a:ext cx="371753" cy="371753"/>
            </a:xfrm>
            <a:prstGeom prst="ellipse">
              <a:avLst/>
            </a:prstGeom>
            <a:solidFill>
              <a:schemeClr val="accent2">
                <a:lumMod val="75000"/>
              </a:schemeClr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>
                <a:defRPr sz="1500">
                  <a:latin typeface="+mn-lt"/>
                </a:defRPr>
              </a:lvl1pPr>
            </a:lstStyle>
            <a:p>
              <a:pPr algn="ctr"/>
              <a:r>
                <a:rPr lang="en-US" b="1" dirty="0"/>
                <a:t>3</a:t>
              </a:r>
            </a:p>
          </p:txBody>
        </p:sp>
        <p:sp>
          <p:nvSpPr>
            <p:cNvPr id="62" name="Rectangle 51"/>
            <p:cNvSpPr txBox="1"/>
            <p:nvPr>
              <p:custDataLst>
                <p:tags r:id="rId47"/>
              </p:custDataLst>
            </p:nvPr>
          </p:nvSpPr>
          <p:spPr>
            <a:xfrm>
              <a:off x="1715867" y="5317888"/>
              <a:ext cx="2151062" cy="923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accent4"/>
                  </a:solidFill>
                </a:rPr>
                <a:t>Phase 3: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Eastern Flood Plains - South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Nile </a:t>
              </a:r>
              <a:r>
                <a:rPr lang="en-US" sz="1500" b="1" dirty="0" err="1">
                  <a:solidFill>
                    <a:schemeClr val="accent4"/>
                  </a:solidFill>
                </a:rPr>
                <a:t>Sobat</a:t>
              </a:r>
              <a:endParaRPr lang="en-US" sz="1500" b="1" dirty="0">
                <a:solidFill>
                  <a:schemeClr val="accent4"/>
                </a:solidFill>
              </a:endParaRPr>
            </a:p>
          </p:txBody>
        </p:sp>
        <p:sp>
          <p:nvSpPr>
            <p:cNvPr id="136" name="Freeform 135"/>
            <p:cNvSpPr/>
            <p:nvPr>
              <p:custDataLst>
                <p:tags r:id="rId48"/>
              </p:custDataLst>
            </p:nvPr>
          </p:nvSpPr>
          <p:spPr>
            <a:xfrm>
              <a:off x="2740397" y="4843008"/>
              <a:ext cx="1088154" cy="713386"/>
            </a:xfrm>
            <a:custGeom>
              <a:avLst/>
              <a:gdLst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33388 w 2233613"/>
                <a:gd name="connsiteY28" fmla="*/ 921417 h 1464342"/>
                <a:gd name="connsiteX29" fmla="*/ 404813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28738 w 2233613"/>
                <a:gd name="connsiteY118" fmla="*/ 816642 h 1464342"/>
                <a:gd name="connsiteX119" fmla="*/ 1343025 w 2233613"/>
                <a:gd name="connsiteY119" fmla="*/ 826167 h 1464342"/>
                <a:gd name="connsiteX120" fmla="*/ 1357313 w 2233613"/>
                <a:gd name="connsiteY120" fmla="*/ 830930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404813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28738 w 2233613"/>
                <a:gd name="connsiteY118" fmla="*/ 816642 h 1464342"/>
                <a:gd name="connsiteX119" fmla="*/ 1343025 w 2233613"/>
                <a:gd name="connsiteY119" fmla="*/ 826167 h 1464342"/>
                <a:gd name="connsiteX120" fmla="*/ 1357313 w 2233613"/>
                <a:gd name="connsiteY120" fmla="*/ 830930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28738 w 2233613"/>
                <a:gd name="connsiteY118" fmla="*/ 816642 h 1464342"/>
                <a:gd name="connsiteX119" fmla="*/ 1343025 w 2233613"/>
                <a:gd name="connsiteY119" fmla="*/ 826167 h 1464342"/>
                <a:gd name="connsiteX120" fmla="*/ 1357313 w 2233613"/>
                <a:gd name="connsiteY120" fmla="*/ 830930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28738 w 2233613"/>
                <a:gd name="connsiteY118" fmla="*/ 816642 h 1464342"/>
                <a:gd name="connsiteX119" fmla="*/ 1343025 w 2233613"/>
                <a:gd name="connsiteY119" fmla="*/ 826167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43025 w 2233613"/>
                <a:gd name="connsiteY119" fmla="*/ 826167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50169 w 2233613"/>
                <a:gd name="connsiteY119" fmla="*/ 811880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43100 w 2233613"/>
                <a:gd name="connsiteY140" fmla="*/ 1150017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50169 w 2233613"/>
                <a:gd name="connsiteY119" fmla="*/ 811880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0238 w 2233613"/>
                <a:gd name="connsiteY139" fmla="*/ 1126205 h 1464342"/>
                <a:gd name="connsiteX140" fmla="*/ 1959769 w 2233613"/>
                <a:gd name="connsiteY140" fmla="*/ 1140492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47750 w 2233613"/>
                <a:gd name="connsiteY100" fmla="*/ 440405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50169 w 2233613"/>
                <a:gd name="connsiteY119" fmla="*/ 811880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9763 w 2233613"/>
                <a:gd name="connsiteY139" fmla="*/ 1119061 h 1464342"/>
                <a:gd name="connsiteX140" fmla="*/ 1959769 w 2233613"/>
                <a:gd name="connsiteY140" fmla="*/ 1140492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59656 w 2233613"/>
                <a:gd name="connsiteY100" fmla="*/ 428499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50169 w 2233613"/>
                <a:gd name="connsiteY119" fmla="*/ 811880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35705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9763 w 2233613"/>
                <a:gd name="connsiteY139" fmla="*/ 1119061 h 1464342"/>
                <a:gd name="connsiteX140" fmla="*/ 1959769 w 2233613"/>
                <a:gd name="connsiteY140" fmla="*/ 1140492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  <a:gd name="connsiteX0" fmla="*/ 2233613 w 2233613"/>
                <a:gd name="connsiteY0" fmla="*/ 1416717 h 1464342"/>
                <a:gd name="connsiteX1" fmla="*/ 1547813 w 2233613"/>
                <a:gd name="connsiteY1" fmla="*/ 1421480 h 1464342"/>
                <a:gd name="connsiteX2" fmla="*/ 1476375 w 2233613"/>
                <a:gd name="connsiteY2" fmla="*/ 1464342 h 1464342"/>
                <a:gd name="connsiteX3" fmla="*/ 1362075 w 2233613"/>
                <a:gd name="connsiteY3" fmla="*/ 1373855 h 1464342"/>
                <a:gd name="connsiteX4" fmla="*/ 1309688 w 2233613"/>
                <a:gd name="connsiteY4" fmla="*/ 1402430 h 1464342"/>
                <a:gd name="connsiteX5" fmla="*/ 1028700 w 2233613"/>
                <a:gd name="connsiteY5" fmla="*/ 1397667 h 1464342"/>
                <a:gd name="connsiteX6" fmla="*/ 971550 w 2233613"/>
                <a:gd name="connsiteY6" fmla="*/ 1378617 h 1464342"/>
                <a:gd name="connsiteX7" fmla="*/ 857250 w 2233613"/>
                <a:gd name="connsiteY7" fmla="*/ 1373855 h 1464342"/>
                <a:gd name="connsiteX8" fmla="*/ 776288 w 2233613"/>
                <a:gd name="connsiteY8" fmla="*/ 1359567 h 1464342"/>
                <a:gd name="connsiteX9" fmla="*/ 704850 w 2233613"/>
                <a:gd name="connsiteY9" fmla="*/ 1335755 h 1464342"/>
                <a:gd name="connsiteX10" fmla="*/ 657225 w 2233613"/>
                <a:gd name="connsiteY10" fmla="*/ 1340517 h 1464342"/>
                <a:gd name="connsiteX11" fmla="*/ 566738 w 2233613"/>
                <a:gd name="connsiteY11" fmla="*/ 1307180 h 1464342"/>
                <a:gd name="connsiteX12" fmla="*/ 509588 w 2233613"/>
                <a:gd name="connsiteY12" fmla="*/ 1302417 h 1464342"/>
                <a:gd name="connsiteX13" fmla="*/ 476250 w 2233613"/>
                <a:gd name="connsiteY13" fmla="*/ 1297655 h 1464342"/>
                <a:gd name="connsiteX14" fmla="*/ 442913 w 2233613"/>
                <a:gd name="connsiteY14" fmla="*/ 1288130 h 1464342"/>
                <a:gd name="connsiteX15" fmla="*/ 404813 w 2233613"/>
                <a:gd name="connsiteY15" fmla="*/ 1288130 h 1464342"/>
                <a:gd name="connsiteX16" fmla="*/ 404813 w 2233613"/>
                <a:gd name="connsiteY16" fmla="*/ 1235742 h 1464342"/>
                <a:gd name="connsiteX17" fmla="*/ 400050 w 2233613"/>
                <a:gd name="connsiteY17" fmla="*/ 1226217 h 1464342"/>
                <a:gd name="connsiteX18" fmla="*/ 433388 w 2233613"/>
                <a:gd name="connsiteY18" fmla="*/ 1197642 h 1464342"/>
                <a:gd name="connsiteX19" fmla="*/ 438150 w 2233613"/>
                <a:gd name="connsiteY19" fmla="*/ 1183355 h 1464342"/>
                <a:gd name="connsiteX20" fmla="*/ 461963 w 2233613"/>
                <a:gd name="connsiteY20" fmla="*/ 1154780 h 1464342"/>
                <a:gd name="connsiteX21" fmla="*/ 466725 w 2233613"/>
                <a:gd name="connsiteY21" fmla="*/ 1135730 h 1464342"/>
                <a:gd name="connsiteX22" fmla="*/ 471488 w 2233613"/>
                <a:gd name="connsiteY22" fmla="*/ 1121442 h 1464342"/>
                <a:gd name="connsiteX23" fmla="*/ 466725 w 2233613"/>
                <a:gd name="connsiteY23" fmla="*/ 1073817 h 1464342"/>
                <a:gd name="connsiteX24" fmla="*/ 461963 w 2233613"/>
                <a:gd name="connsiteY24" fmla="*/ 1040480 h 1464342"/>
                <a:gd name="connsiteX25" fmla="*/ 452438 w 2233613"/>
                <a:gd name="connsiteY25" fmla="*/ 1011905 h 1464342"/>
                <a:gd name="connsiteX26" fmla="*/ 447675 w 2233613"/>
                <a:gd name="connsiteY26" fmla="*/ 964280 h 1464342"/>
                <a:gd name="connsiteX27" fmla="*/ 438150 w 2233613"/>
                <a:gd name="connsiteY27" fmla="*/ 935705 h 1464342"/>
                <a:gd name="connsiteX28" fmla="*/ 409575 w 2233613"/>
                <a:gd name="connsiteY28" fmla="*/ 930942 h 1464342"/>
                <a:gd name="connsiteX29" fmla="*/ 395288 w 2233613"/>
                <a:gd name="connsiteY29" fmla="*/ 902367 h 1464342"/>
                <a:gd name="connsiteX30" fmla="*/ 390525 w 2233613"/>
                <a:gd name="connsiteY30" fmla="*/ 892842 h 1464342"/>
                <a:gd name="connsiteX31" fmla="*/ 371475 w 2233613"/>
                <a:gd name="connsiteY31" fmla="*/ 873792 h 1464342"/>
                <a:gd name="connsiteX32" fmla="*/ 366713 w 2233613"/>
                <a:gd name="connsiteY32" fmla="*/ 859505 h 1464342"/>
                <a:gd name="connsiteX33" fmla="*/ 333375 w 2233613"/>
                <a:gd name="connsiteY33" fmla="*/ 821405 h 1464342"/>
                <a:gd name="connsiteX34" fmla="*/ 323850 w 2233613"/>
                <a:gd name="connsiteY34" fmla="*/ 788067 h 1464342"/>
                <a:gd name="connsiteX35" fmla="*/ 295275 w 2233613"/>
                <a:gd name="connsiteY35" fmla="*/ 769017 h 1464342"/>
                <a:gd name="connsiteX36" fmla="*/ 285750 w 2233613"/>
                <a:gd name="connsiteY36" fmla="*/ 754730 h 1464342"/>
                <a:gd name="connsiteX37" fmla="*/ 257175 w 2233613"/>
                <a:gd name="connsiteY37" fmla="*/ 735680 h 1464342"/>
                <a:gd name="connsiteX38" fmla="*/ 228600 w 2233613"/>
                <a:gd name="connsiteY38" fmla="*/ 716630 h 1464342"/>
                <a:gd name="connsiteX39" fmla="*/ 214313 w 2233613"/>
                <a:gd name="connsiteY39" fmla="*/ 711867 h 1464342"/>
                <a:gd name="connsiteX40" fmla="*/ 185738 w 2233613"/>
                <a:gd name="connsiteY40" fmla="*/ 692817 h 1464342"/>
                <a:gd name="connsiteX41" fmla="*/ 171450 w 2233613"/>
                <a:gd name="connsiteY41" fmla="*/ 683292 h 1464342"/>
                <a:gd name="connsiteX42" fmla="*/ 142875 w 2233613"/>
                <a:gd name="connsiteY42" fmla="*/ 640430 h 1464342"/>
                <a:gd name="connsiteX43" fmla="*/ 128588 w 2233613"/>
                <a:gd name="connsiteY43" fmla="*/ 630905 h 1464342"/>
                <a:gd name="connsiteX44" fmla="*/ 119063 w 2233613"/>
                <a:gd name="connsiteY44" fmla="*/ 616617 h 1464342"/>
                <a:gd name="connsiteX45" fmla="*/ 100013 w 2233613"/>
                <a:gd name="connsiteY45" fmla="*/ 592805 h 1464342"/>
                <a:gd name="connsiteX46" fmla="*/ 90488 w 2233613"/>
                <a:gd name="connsiteY46" fmla="*/ 564230 h 1464342"/>
                <a:gd name="connsiteX47" fmla="*/ 80963 w 2233613"/>
                <a:gd name="connsiteY47" fmla="*/ 549942 h 1464342"/>
                <a:gd name="connsiteX48" fmla="*/ 71438 w 2233613"/>
                <a:gd name="connsiteY48" fmla="*/ 507080 h 1464342"/>
                <a:gd name="connsiteX49" fmla="*/ 61913 w 2233613"/>
                <a:gd name="connsiteY49" fmla="*/ 492792 h 1464342"/>
                <a:gd name="connsiteX50" fmla="*/ 52388 w 2233613"/>
                <a:gd name="connsiteY50" fmla="*/ 464217 h 1464342"/>
                <a:gd name="connsiteX51" fmla="*/ 42863 w 2233613"/>
                <a:gd name="connsiteY51" fmla="*/ 445167 h 1464342"/>
                <a:gd name="connsiteX52" fmla="*/ 33338 w 2233613"/>
                <a:gd name="connsiteY52" fmla="*/ 416592 h 1464342"/>
                <a:gd name="connsiteX53" fmla="*/ 28575 w 2233613"/>
                <a:gd name="connsiteY53" fmla="*/ 402305 h 1464342"/>
                <a:gd name="connsiteX54" fmla="*/ 23813 w 2233613"/>
                <a:gd name="connsiteY54" fmla="*/ 388017 h 1464342"/>
                <a:gd name="connsiteX55" fmla="*/ 19050 w 2233613"/>
                <a:gd name="connsiteY55" fmla="*/ 373730 h 1464342"/>
                <a:gd name="connsiteX56" fmla="*/ 9525 w 2233613"/>
                <a:gd name="connsiteY56" fmla="*/ 307055 h 1464342"/>
                <a:gd name="connsiteX57" fmla="*/ 0 w 2233613"/>
                <a:gd name="connsiteY57" fmla="*/ 259430 h 1464342"/>
                <a:gd name="connsiteX58" fmla="*/ 9525 w 2233613"/>
                <a:gd name="connsiteY58" fmla="*/ 130842 h 1464342"/>
                <a:gd name="connsiteX59" fmla="*/ 14288 w 2233613"/>
                <a:gd name="connsiteY59" fmla="*/ 116555 h 1464342"/>
                <a:gd name="connsiteX60" fmla="*/ 19050 w 2233613"/>
                <a:gd name="connsiteY60" fmla="*/ 97505 h 1464342"/>
                <a:gd name="connsiteX61" fmla="*/ 47625 w 2233613"/>
                <a:gd name="connsiteY61" fmla="*/ 78455 h 1464342"/>
                <a:gd name="connsiteX62" fmla="*/ 85725 w 2233613"/>
                <a:gd name="connsiteY62" fmla="*/ 54642 h 1464342"/>
                <a:gd name="connsiteX63" fmla="*/ 114300 w 2233613"/>
                <a:gd name="connsiteY63" fmla="*/ 35592 h 1464342"/>
                <a:gd name="connsiteX64" fmla="*/ 195263 w 2233613"/>
                <a:gd name="connsiteY64" fmla="*/ 26067 h 1464342"/>
                <a:gd name="connsiteX65" fmla="*/ 219075 w 2233613"/>
                <a:gd name="connsiteY65" fmla="*/ 21305 h 1464342"/>
                <a:gd name="connsiteX66" fmla="*/ 252413 w 2233613"/>
                <a:gd name="connsiteY66" fmla="*/ 16542 h 1464342"/>
                <a:gd name="connsiteX67" fmla="*/ 280988 w 2233613"/>
                <a:gd name="connsiteY67" fmla="*/ 11780 h 1464342"/>
                <a:gd name="connsiteX68" fmla="*/ 404813 w 2233613"/>
                <a:gd name="connsiteY68" fmla="*/ 7017 h 1464342"/>
                <a:gd name="connsiteX69" fmla="*/ 442913 w 2233613"/>
                <a:gd name="connsiteY69" fmla="*/ 16542 h 1464342"/>
                <a:gd name="connsiteX70" fmla="*/ 471488 w 2233613"/>
                <a:gd name="connsiteY70" fmla="*/ 35592 h 1464342"/>
                <a:gd name="connsiteX71" fmla="*/ 485775 w 2233613"/>
                <a:gd name="connsiteY71" fmla="*/ 45117 h 1464342"/>
                <a:gd name="connsiteX72" fmla="*/ 528638 w 2233613"/>
                <a:gd name="connsiteY72" fmla="*/ 59405 h 1464342"/>
                <a:gd name="connsiteX73" fmla="*/ 557213 w 2233613"/>
                <a:gd name="connsiteY73" fmla="*/ 78455 h 1464342"/>
                <a:gd name="connsiteX74" fmla="*/ 571500 w 2233613"/>
                <a:gd name="connsiteY74" fmla="*/ 83217 h 1464342"/>
                <a:gd name="connsiteX75" fmla="*/ 585788 w 2233613"/>
                <a:gd name="connsiteY75" fmla="*/ 92742 h 1464342"/>
                <a:gd name="connsiteX76" fmla="*/ 600075 w 2233613"/>
                <a:gd name="connsiteY76" fmla="*/ 107030 h 1464342"/>
                <a:gd name="connsiteX77" fmla="*/ 619125 w 2233613"/>
                <a:gd name="connsiteY77" fmla="*/ 111792 h 1464342"/>
                <a:gd name="connsiteX78" fmla="*/ 623888 w 2233613"/>
                <a:gd name="connsiteY78" fmla="*/ 126080 h 1464342"/>
                <a:gd name="connsiteX79" fmla="*/ 657225 w 2233613"/>
                <a:gd name="connsiteY79" fmla="*/ 154655 h 1464342"/>
                <a:gd name="connsiteX80" fmla="*/ 671513 w 2233613"/>
                <a:gd name="connsiteY80" fmla="*/ 168942 h 1464342"/>
                <a:gd name="connsiteX81" fmla="*/ 685800 w 2233613"/>
                <a:gd name="connsiteY81" fmla="*/ 178467 h 1464342"/>
                <a:gd name="connsiteX82" fmla="*/ 700088 w 2233613"/>
                <a:gd name="connsiteY82" fmla="*/ 192755 h 1464342"/>
                <a:gd name="connsiteX83" fmla="*/ 714375 w 2233613"/>
                <a:gd name="connsiteY83" fmla="*/ 197517 h 1464342"/>
                <a:gd name="connsiteX84" fmla="*/ 738188 w 2233613"/>
                <a:gd name="connsiteY84" fmla="*/ 207042 h 1464342"/>
                <a:gd name="connsiteX85" fmla="*/ 752475 w 2233613"/>
                <a:gd name="connsiteY85" fmla="*/ 216567 h 1464342"/>
                <a:gd name="connsiteX86" fmla="*/ 766763 w 2233613"/>
                <a:gd name="connsiteY86" fmla="*/ 221330 h 1464342"/>
                <a:gd name="connsiteX87" fmla="*/ 804863 w 2233613"/>
                <a:gd name="connsiteY87" fmla="*/ 245142 h 1464342"/>
                <a:gd name="connsiteX88" fmla="*/ 823913 w 2233613"/>
                <a:gd name="connsiteY88" fmla="*/ 273717 h 1464342"/>
                <a:gd name="connsiteX89" fmla="*/ 842963 w 2233613"/>
                <a:gd name="connsiteY89" fmla="*/ 302292 h 1464342"/>
                <a:gd name="connsiteX90" fmla="*/ 852488 w 2233613"/>
                <a:gd name="connsiteY90" fmla="*/ 316580 h 1464342"/>
                <a:gd name="connsiteX91" fmla="*/ 857250 w 2233613"/>
                <a:gd name="connsiteY91" fmla="*/ 330867 h 1464342"/>
                <a:gd name="connsiteX92" fmla="*/ 862013 w 2233613"/>
                <a:gd name="connsiteY92" fmla="*/ 407067 h 1464342"/>
                <a:gd name="connsiteX93" fmla="*/ 876300 w 2233613"/>
                <a:gd name="connsiteY93" fmla="*/ 416592 h 1464342"/>
                <a:gd name="connsiteX94" fmla="*/ 890588 w 2233613"/>
                <a:gd name="connsiteY94" fmla="*/ 411830 h 1464342"/>
                <a:gd name="connsiteX95" fmla="*/ 904875 w 2233613"/>
                <a:gd name="connsiteY95" fmla="*/ 402305 h 1464342"/>
                <a:gd name="connsiteX96" fmla="*/ 933450 w 2233613"/>
                <a:gd name="connsiteY96" fmla="*/ 392780 h 1464342"/>
                <a:gd name="connsiteX97" fmla="*/ 976313 w 2233613"/>
                <a:gd name="connsiteY97" fmla="*/ 416592 h 1464342"/>
                <a:gd name="connsiteX98" fmla="*/ 990600 w 2233613"/>
                <a:gd name="connsiteY98" fmla="*/ 421355 h 1464342"/>
                <a:gd name="connsiteX99" fmla="*/ 1033463 w 2233613"/>
                <a:gd name="connsiteY99" fmla="*/ 426117 h 1464342"/>
                <a:gd name="connsiteX100" fmla="*/ 1059656 w 2233613"/>
                <a:gd name="connsiteY100" fmla="*/ 428499 h 1464342"/>
                <a:gd name="connsiteX101" fmla="*/ 1095375 w 2233613"/>
                <a:gd name="connsiteY101" fmla="*/ 440405 h 1464342"/>
                <a:gd name="connsiteX102" fmla="*/ 1109663 w 2233613"/>
                <a:gd name="connsiteY102" fmla="*/ 435642 h 1464342"/>
                <a:gd name="connsiteX103" fmla="*/ 1143000 w 2233613"/>
                <a:gd name="connsiteY103" fmla="*/ 430880 h 1464342"/>
                <a:gd name="connsiteX104" fmla="*/ 1185863 w 2233613"/>
                <a:gd name="connsiteY104" fmla="*/ 435642 h 1464342"/>
                <a:gd name="connsiteX105" fmla="*/ 1209675 w 2233613"/>
                <a:gd name="connsiteY105" fmla="*/ 459455 h 1464342"/>
                <a:gd name="connsiteX106" fmla="*/ 1223963 w 2233613"/>
                <a:gd name="connsiteY106" fmla="*/ 464217 h 1464342"/>
                <a:gd name="connsiteX107" fmla="*/ 1219200 w 2233613"/>
                <a:gd name="connsiteY107" fmla="*/ 535655 h 1464342"/>
                <a:gd name="connsiteX108" fmla="*/ 1190625 w 2233613"/>
                <a:gd name="connsiteY108" fmla="*/ 554705 h 1464342"/>
                <a:gd name="connsiteX109" fmla="*/ 1185863 w 2233613"/>
                <a:gd name="connsiteY109" fmla="*/ 597567 h 1464342"/>
                <a:gd name="connsiteX110" fmla="*/ 1200150 w 2233613"/>
                <a:gd name="connsiteY110" fmla="*/ 669005 h 1464342"/>
                <a:gd name="connsiteX111" fmla="*/ 1204913 w 2233613"/>
                <a:gd name="connsiteY111" fmla="*/ 683292 h 1464342"/>
                <a:gd name="connsiteX112" fmla="*/ 1209675 w 2233613"/>
                <a:gd name="connsiteY112" fmla="*/ 697580 h 1464342"/>
                <a:gd name="connsiteX113" fmla="*/ 1233488 w 2233613"/>
                <a:gd name="connsiteY113" fmla="*/ 726155 h 1464342"/>
                <a:gd name="connsiteX114" fmla="*/ 1252538 w 2233613"/>
                <a:gd name="connsiteY114" fmla="*/ 749967 h 1464342"/>
                <a:gd name="connsiteX115" fmla="*/ 1271588 w 2233613"/>
                <a:gd name="connsiteY115" fmla="*/ 773780 h 1464342"/>
                <a:gd name="connsiteX116" fmla="*/ 1285875 w 2233613"/>
                <a:gd name="connsiteY116" fmla="*/ 802355 h 1464342"/>
                <a:gd name="connsiteX117" fmla="*/ 1314450 w 2233613"/>
                <a:gd name="connsiteY117" fmla="*/ 811880 h 1464342"/>
                <a:gd name="connsiteX118" fmla="*/ 1333500 w 2233613"/>
                <a:gd name="connsiteY118" fmla="*/ 807117 h 1464342"/>
                <a:gd name="connsiteX119" fmla="*/ 1350169 w 2233613"/>
                <a:gd name="connsiteY119" fmla="*/ 811880 h 1464342"/>
                <a:gd name="connsiteX120" fmla="*/ 1369219 w 2233613"/>
                <a:gd name="connsiteY120" fmla="*/ 821405 h 1464342"/>
                <a:gd name="connsiteX121" fmla="*/ 1414463 w 2233613"/>
                <a:gd name="connsiteY121" fmla="*/ 840455 h 1464342"/>
                <a:gd name="connsiteX122" fmla="*/ 1433513 w 2233613"/>
                <a:gd name="connsiteY122" fmla="*/ 845217 h 1464342"/>
                <a:gd name="connsiteX123" fmla="*/ 1447800 w 2233613"/>
                <a:gd name="connsiteY123" fmla="*/ 849980 h 1464342"/>
                <a:gd name="connsiteX124" fmla="*/ 1524000 w 2233613"/>
                <a:gd name="connsiteY124" fmla="*/ 854742 h 1464342"/>
                <a:gd name="connsiteX125" fmla="*/ 1543050 w 2233613"/>
                <a:gd name="connsiteY125" fmla="*/ 859505 h 1464342"/>
                <a:gd name="connsiteX126" fmla="*/ 1585913 w 2233613"/>
                <a:gd name="connsiteY126" fmla="*/ 873792 h 1464342"/>
                <a:gd name="connsiteX127" fmla="*/ 1609725 w 2233613"/>
                <a:gd name="connsiteY127" fmla="*/ 878555 h 1464342"/>
                <a:gd name="connsiteX128" fmla="*/ 1709738 w 2233613"/>
                <a:gd name="connsiteY128" fmla="*/ 892842 h 1464342"/>
                <a:gd name="connsiteX129" fmla="*/ 1752600 w 2233613"/>
                <a:gd name="connsiteY129" fmla="*/ 907130 h 1464342"/>
                <a:gd name="connsiteX130" fmla="*/ 1766888 w 2233613"/>
                <a:gd name="connsiteY130" fmla="*/ 911892 h 1464342"/>
                <a:gd name="connsiteX131" fmla="*/ 1809750 w 2233613"/>
                <a:gd name="connsiteY131" fmla="*/ 919036 h 1464342"/>
                <a:gd name="connsiteX132" fmla="*/ 1824038 w 2233613"/>
                <a:gd name="connsiteY132" fmla="*/ 940467 h 1464342"/>
                <a:gd name="connsiteX133" fmla="*/ 1824038 w 2233613"/>
                <a:gd name="connsiteY133" fmla="*/ 983330 h 1464342"/>
                <a:gd name="connsiteX134" fmla="*/ 1828800 w 2233613"/>
                <a:gd name="connsiteY134" fmla="*/ 1016667 h 1464342"/>
                <a:gd name="connsiteX135" fmla="*/ 1838325 w 2233613"/>
                <a:gd name="connsiteY135" fmla="*/ 1030955 h 1464342"/>
                <a:gd name="connsiteX136" fmla="*/ 1843088 w 2233613"/>
                <a:gd name="connsiteY136" fmla="*/ 1045242 h 1464342"/>
                <a:gd name="connsiteX137" fmla="*/ 1876425 w 2233613"/>
                <a:gd name="connsiteY137" fmla="*/ 1083342 h 1464342"/>
                <a:gd name="connsiteX138" fmla="*/ 1885950 w 2233613"/>
                <a:gd name="connsiteY138" fmla="*/ 1097630 h 1464342"/>
                <a:gd name="connsiteX139" fmla="*/ 1909763 w 2233613"/>
                <a:gd name="connsiteY139" fmla="*/ 1119061 h 1464342"/>
                <a:gd name="connsiteX140" fmla="*/ 1959769 w 2233613"/>
                <a:gd name="connsiteY140" fmla="*/ 1140492 h 1464342"/>
                <a:gd name="connsiteX141" fmla="*/ 1957388 w 2233613"/>
                <a:gd name="connsiteY141" fmla="*/ 1178592 h 1464342"/>
                <a:gd name="connsiteX142" fmla="*/ 1962150 w 2233613"/>
                <a:gd name="connsiteY142" fmla="*/ 1202405 h 1464342"/>
                <a:gd name="connsiteX143" fmla="*/ 1976438 w 2233613"/>
                <a:gd name="connsiteY143" fmla="*/ 1207167 h 1464342"/>
                <a:gd name="connsiteX144" fmla="*/ 1985963 w 2233613"/>
                <a:gd name="connsiteY144" fmla="*/ 1192880 h 1464342"/>
                <a:gd name="connsiteX145" fmla="*/ 2043113 w 2233613"/>
                <a:gd name="connsiteY145" fmla="*/ 1178592 h 1464342"/>
                <a:gd name="connsiteX146" fmla="*/ 2057400 w 2233613"/>
                <a:gd name="connsiteY146" fmla="*/ 1173830 h 1464342"/>
                <a:gd name="connsiteX147" fmla="*/ 2109788 w 2233613"/>
                <a:gd name="connsiteY147" fmla="*/ 1178592 h 1464342"/>
                <a:gd name="connsiteX148" fmla="*/ 2124075 w 2233613"/>
                <a:gd name="connsiteY148" fmla="*/ 1183355 h 1464342"/>
                <a:gd name="connsiteX149" fmla="*/ 2166938 w 2233613"/>
                <a:gd name="connsiteY149" fmla="*/ 1188117 h 1464342"/>
                <a:gd name="connsiteX150" fmla="*/ 2200275 w 2233613"/>
                <a:gd name="connsiteY150" fmla="*/ 1211930 h 1464342"/>
                <a:gd name="connsiteX151" fmla="*/ 2185988 w 2233613"/>
                <a:gd name="connsiteY151" fmla="*/ 1264317 h 1464342"/>
                <a:gd name="connsiteX152" fmla="*/ 2176463 w 2233613"/>
                <a:gd name="connsiteY152" fmla="*/ 1350042 h 1464342"/>
                <a:gd name="connsiteX153" fmla="*/ 2185988 w 2233613"/>
                <a:gd name="connsiteY153" fmla="*/ 1383380 h 1464342"/>
                <a:gd name="connsiteX154" fmla="*/ 2200275 w 2233613"/>
                <a:gd name="connsiteY154" fmla="*/ 1392905 h 1464342"/>
                <a:gd name="connsiteX155" fmla="*/ 2224088 w 2233613"/>
                <a:gd name="connsiteY155" fmla="*/ 1416717 h 1464342"/>
                <a:gd name="connsiteX156" fmla="*/ 2233613 w 2233613"/>
                <a:gd name="connsiteY156" fmla="*/ 1416717 h 14643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</a:cxnLst>
              <a:rect l="l" t="t" r="r" b="b"/>
              <a:pathLst>
                <a:path w="2233613" h="1464342">
                  <a:moveTo>
                    <a:pt x="2233613" y="1416717"/>
                  </a:moveTo>
                  <a:lnTo>
                    <a:pt x="1547813" y="1421480"/>
                  </a:lnTo>
                  <a:lnTo>
                    <a:pt x="1476375" y="1464342"/>
                  </a:lnTo>
                  <a:lnTo>
                    <a:pt x="1362075" y="1373855"/>
                  </a:lnTo>
                  <a:lnTo>
                    <a:pt x="1309688" y="1402430"/>
                  </a:lnTo>
                  <a:lnTo>
                    <a:pt x="1028700" y="1397667"/>
                  </a:lnTo>
                  <a:lnTo>
                    <a:pt x="971550" y="1378617"/>
                  </a:lnTo>
                  <a:lnTo>
                    <a:pt x="857250" y="1373855"/>
                  </a:lnTo>
                  <a:lnTo>
                    <a:pt x="776288" y="1359567"/>
                  </a:lnTo>
                  <a:lnTo>
                    <a:pt x="704850" y="1335755"/>
                  </a:lnTo>
                  <a:lnTo>
                    <a:pt x="657225" y="1340517"/>
                  </a:lnTo>
                  <a:lnTo>
                    <a:pt x="566738" y="1307180"/>
                  </a:lnTo>
                  <a:lnTo>
                    <a:pt x="509588" y="1302417"/>
                  </a:lnTo>
                  <a:lnTo>
                    <a:pt x="476250" y="1297655"/>
                  </a:lnTo>
                  <a:lnTo>
                    <a:pt x="442913" y="1288130"/>
                  </a:lnTo>
                  <a:lnTo>
                    <a:pt x="404813" y="1288130"/>
                  </a:lnTo>
                  <a:lnTo>
                    <a:pt x="404813" y="1235742"/>
                  </a:lnTo>
                  <a:lnTo>
                    <a:pt x="400050" y="1226217"/>
                  </a:lnTo>
                  <a:cubicBezTo>
                    <a:pt x="411163" y="1216692"/>
                    <a:pt x="423664" y="1208581"/>
                    <a:pt x="433388" y="1197642"/>
                  </a:cubicBezTo>
                  <a:cubicBezTo>
                    <a:pt x="436723" y="1193890"/>
                    <a:pt x="435905" y="1187845"/>
                    <a:pt x="438150" y="1183355"/>
                  </a:cubicBezTo>
                  <a:cubicBezTo>
                    <a:pt x="444781" y="1170092"/>
                    <a:pt x="451428" y="1165314"/>
                    <a:pt x="461963" y="1154780"/>
                  </a:cubicBezTo>
                  <a:cubicBezTo>
                    <a:pt x="463550" y="1148430"/>
                    <a:pt x="464927" y="1142024"/>
                    <a:pt x="466725" y="1135730"/>
                  </a:cubicBezTo>
                  <a:cubicBezTo>
                    <a:pt x="468104" y="1130903"/>
                    <a:pt x="471488" y="1126462"/>
                    <a:pt x="471488" y="1121442"/>
                  </a:cubicBezTo>
                  <a:cubicBezTo>
                    <a:pt x="471488" y="1105488"/>
                    <a:pt x="468589" y="1089662"/>
                    <a:pt x="466725" y="1073817"/>
                  </a:cubicBezTo>
                  <a:cubicBezTo>
                    <a:pt x="465413" y="1062669"/>
                    <a:pt x="464487" y="1051418"/>
                    <a:pt x="461963" y="1040480"/>
                  </a:cubicBezTo>
                  <a:cubicBezTo>
                    <a:pt x="459705" y="1030697"/>
                    <a:pt x="452438" y="1011905"/>
                    <a:pt x="452438" y="1011905"/>
                  </a:cubicBezTo>
                  <a:cubicBezTo>
                    <a:pt x="450850" y="996030"/>
                    <a:pt x="450615" y="979961"/>
                    <a:pt x="447675" y="964280"/>
                  </a:cubicBezTo>
                  <a:cubicBezTo>
                    <a:pt x="445825" y="954412"/>
                    <a:pt x="444500" y="941261"/>
                    <a:pt x="438150" y="935705"/>
                  </a:cubicBezTo>
                  <a:cubicBezTo>
                    <a:pt x="431800" y="930149"/>
                    <a:pt x="416719" y="936498"/>
                    <a:pt x="409575" y="930942"/>
                  </a:cubicBezTo>
                  <a:cubicBezTo>
                    <a:pt x="402431" y="925386"/>
                    <a:pt x="398463" y="908717"/>
                    <a:pt x="395288" y="902367"/>
                  </a:cubicBezTo>
                  <a:cubicBezTo>
                    <a:pt x="392113" y="896017"/>
                    <a:pt x="394494" y="897604"/>
                    <a:pt x="390525" y="892842"/>
                  </a:cubicBezTo>
                  <a:cubicBezTo>
                    <a:pt x="386556" y="888080"/>
                    <a:pt x="396874" y="899191"/>
                    <a:pt x="371475" y="873792"/>
                  </a:cubicBezTo>
                  <a:cubicBezTo>
                    <a:pt x="367925" y="870242"/>
                    <a:pt x="369151" y="863893"/>
                    <a:pt x="366713" y="859505"/>
                  </a:cubicBezTo>
                  <a:cubicBezTo>
                    <a:pt x="350371" y="830089"/>
                    <a:pt x="354246" y="835319"/>
                    <a:pt x="333375" y="821405"/>
                  </a:cubicBezTo>
                  <a:cubicBezTo>
                    <a:pt x="333333" y="821238"/>
                    <a:pt x="326129" y="790346"/>
                    <a:pt x="323850" y="788067"/>
                  </a:cubicBezTo>
                  <a:cubicBezTo>
                    <a:pt x="315755" y="779972"/>
                    <a:pt x="295275" y="769017"/>
                    <a:pt x="295275" y="769017"/>
                  </a:cubicBezTo>
                  <a:cubicBezTo>
                    <a:pt x="292100" y="764255"/>
                    <a:pt x="290058" y="758499"/>
                    <a:pt x="285750" y="754730"/>
                  </a:cubicBezTo>
                  <a:cubicBezTo>
                    <a:pt x="277135" y="747192"/>
                    <a:pt x="266700" y="742030"/>
                    <a:pt x="257175" y="735680"/>
                  </a:cubicBezTo>
                  <a:lnTo>
                    <a:pt x="228600" y="716630"/>
                  </a:lnTo>
                  <a:cubicBezTo>
                    <a:pt x="224423" y="713845"/>
                    <a:pt x="218701" y="714305"/>
                    <a:pt x="214313" y="711867"/>
                  </a:cubicBezTo>
                  <a:cubicBezTo>
                    <a:pt x="204306" y="706307"/>
                    <a:pt x="195263" y="699167"/>
                    <a:pt x="185738" y="692817"/>
                  </a:cubicBezTo>
                  <a:lnTo>
                    <a:pt x="171450" y="683292"/>
                  </a:lnTo>
                  <a:lnTo>
                    <a:pt x="142875" y="640430"/>
                  </a:lnTo>
                  <a:cubicBezTo>
                    <a:pt x="139700" y="635668"/>
                    <a:pt x="133350" y="634080"/>
                    <a:pt x="128588" y="630905"/>
                  </a:cubicBezTo>
                  <a:cubicBezTo>
                    <a:pt x="125413" y="626142"/>
                    <a:pt x="122497" y="621196"/>
                    <a:pt x="119063" y="616617"/>
                  </a:cubicBezTo>
                  <a:cubicBezTo>
                    <a:pt x="112964" y="608485"/>
                    <a:pt x="104880" y="601729"/>
                    <a:pt x="100013" y="592805"/>
                  </a:cubicBezTo>
                  <a:cubicBezTo>
                    <a:pt x="95205" y="583991"/>
                    <a:pt x="96057" y="572584"/>
                    <a:pt x="90488" y="564230"/>
                  </a:cubicBezTo>
                  <a:lnTo>
                    <a:pt x="80963" y="549942"/>
                  </a:lnTo>
                  <a:cubicBezTo>
                    <a:pt x="79134" y="538971"/>
                    <a:pt x="77299" y="518802"/>
                    <a:pt x="71438" y="507080"/>
                  </a:cubicBezTo>
                  <a:cubicBezTo>
                    <a:pt x="68878" y="501960"/>
                    <a:pt x="64238" y="498023"/>
                    <a:pt x="61913" y="492792"/>
                  </a:cubicBezTo>
                  <a:cubicBezTo>
                    <a:pt x="57835" y="483617"/>
                    <a:pt x="56878" y="473197"/>
                    <a:pt x="52388" y="464217"/>
                  </a:cubicBezTo>
                  <a:cubicBezTo>
                    <a:pt x="49213" y="457867"/>
                    <a:pt x="45500" y="451759"/>
                    <a:pt x="42863" y="445167"/>
                  </a:cubicBezTo>
                  <a:cubicBezTo>
                    <a:pt x="39134" y="435845"/>
                    <a:pt x="36513" y="426117"/>
                    <a:pt x="33338" y="416592"/>
                  </a:cubicBezTo>
                  <a:lnTo>
                    <a:pt x="28575" y="402305"/>
                  </a:lnTo>
                  <a:lnTo>
                    <a:pt x="23813" y="388017"/>
                  </a:lnTo>
                  <a:lnTo>
                    <a:pt x="19050" y="373730"/>
                  </a:lnTo>
                  <a:cubicBezTo>
                    <a:pt x="10687" y="323547"/>
                    <a:pt x="17470" y="366643"/>
                    <a:pt x="9525" y="307055"/>
                  </a:cubicBezTo>
                  <a:cubicBezTo>
                    <a:pt x="4660" y="270568"/>
                    <a:pt x="8042" y="283552"/>
                    <a:pt x="0" y="259430"/>
                  </a:cubicBezTo>
                  <a:cubicBezTo>
                    <a:pt x="3095" y="188262"/>
                    <a:pt x="-3750" y="177305"/>
                    <a:pt x="9525" y="130842"/>
                  </a:cubicBezTo>
                  <a:cubicBezTo>
                    <a:pt x="10904" y="126015"/>
                    <a:pt x="12909" y="121382"/>
                    <a:pt x="14288" y="116555"/>
                  </a:cubicBezTo>
                  <a:cubicBezTo>
                    <a:pt x="16086" y="110261"/>
                    <a:pt x="14740" y="102431"/>
                    <a:pt x="19050" y="97505"/>
                  </a:cubicBezTo>
                  <a:cubicBezTo>
                    <a:pt x="26588" y="88890"/>
                    <a:pt x="47625" y="78455"/>
                    <a:pt x="47625" y="78455"/>
                  </a:cubicBezTo>
                  <a:cubicBezTo>
                    <a:pt x="70473" y="44181"/>
                    <a:pt x="38119" y="86380"/>
                    <a:pt x="85725" y="54642"/>
                  </a:cubicBezTo>
                  <a:cubicBezTo>
                    <a:pt x="95250" y="48292"/>
                    <a:pt x="103008" y="37474"/>
                    <a:pt x="114300" y="35592"/>
                  </a:cubicBezTo>
                  <a:cubicBezTo>
                    <a:pt x="160171" y="27948"/>
                    <a:pt x="133258" y="31704"/>
                    <a:pt x="195263" y="26067"/>
                  </a:cubicBezTo>
                  <a:cubicBezTo>
                    <a:pt x="203200" y="24480"/>
                    <a:pt x="211091" y="22636"/>
                    <a:pt x="219075" y="21305"/>
                  </a:cubicBezTo>
                  <a:cubicBezTo>
                    <a:pt x="230148" y="19460"/>
                    <a:pt x="241318" y="18249"/>
                    <a:pt x="252413" y="16542"/>
                  </a:cubicBezTo>
                  <a:cubicBezTo>
                    <a:pt x="261957" y="15074"/>
                    <a:pt x="271463" y="13367"/>
                    <a:pt x="280988" y="11780"/>
                  </a:cubicBezTo>
                  <a:cubicBezTo>
                    <a:pt x="339721" y="-7798"/>
                    <a:pt x="299535" y="1754"/>
                    <a:pt x="404813" y="7017"/>
                  </a:cubicBezTo>
                  <a:cubicBezTo>
                    <a:pt x="411405" y="8336"/>
                    <a:pt x="434679" y="11968"/>
                    <a:pt x="442913" y="16542"/>
                  </a:cubicBezTo>
                  <a:cubicBezTo>
                    <a:pt x="452920" y="22101"/>
                    <a:pt x="461963" y="29242"/>
                    <a:pt x="471488" y="35592"/>
                  </a:cubicBezTo>
                  <a:cubicBezTo>
                    <a:pt x="476250" y="38767"/>
                    <a:pt x="480345" y="43307"/>
                    <a:pt x="485775" y="45117"/>
                  </a:cubicBezTo>
                  <a:lnTo>
                    <a:pt x="528638" y="59405"/>
                  </a:lnTo>
                  <a:cubicBezTo>
                    <a:pt x="539498" y="63025"/>
                    <a:pt x="546353" y="74835"/>
                    <a:pt x="557213" y="78455"/>
                  </a:cubicBezTo>
                  <a:lnTo>
                    <a:pt x="571500" y="83217"/>
                  </a:lnTo>
                  <a:cubicBezTo>
                    <a:pt x="576263" y="86392"/>
                    <a:pt x="581391" y="89078"/>
                    <a:pt x="585788" y="92742"/>
                  </a:cubicBezTo>
                  <a:cubicBezTo>
                    <a:pt x="590962" y="97054"/>
                    <a:pt x="594227" y="103688"/>
                    <a:pt x="600075" y="107030"/>
                  </a:cubicBezTo>
                  <a:cubicBezTo>
                    <a:pt x="605758" y="110277"/>
                    <a:pt x="612775" y="110205"/>
                    <a:pt x="619125" y="111792"/>
                  </a:cubicBezTo>
                  <a:cubicBezTo>
                    <a:pt x="620713" y="116555"/>
                    <a:pt x="621103" y="121903"/>
                    <a:pt x="623888" y="126080"/>
                  </a:cubicBezTo>
                  <a:cubicBezTo>
                    <a:pt x="631765" y="137896"/>
                    <a:pt x="646957" y="145854"/>
                    <a:pt x="657225" y="154655"/>
                  </a:cubicBezTo>
                  <a:cubicBezTo>
                    <a:pt x="662339" y="159038"/>
                    <a:pt x="666339" y="164630"/>
                    <a:pt x="671513" y="168942"/>
                  </a:cubicBezTo>
                  <a:cubicBezTo>
                    <a:pt x="675910" y="172606"/>
                    <a:pt x="681403" y="174803"/>
                    <a:pt x="685800" y="178467"/>
                  </a:cubicBezTo>
                  <a:cubicBezTo>
                    <a:pt x="690974" y="182779"/>
                    <a:pt x="694484" y="189019"/>
                    <a:pt x="700088" y="192755"/>
                  </a:cubicBezTo>
                  <a:cubicBezTo>
                    <a:pt x="704265" y="195540"/>
                    <a:pt x="709675" y="195754"/>
                    <a:pt x="714375" y="197517"/>
                  </a:cubicBezTo>
                  <a:cubicBezTo>
                    <a:pt x="722380" y="200519"/>
                    <a:pt x="730541" y="203219"/>
                    <a:pt x="738188" y="207042"/>
                  </a:cubicBezTo>
                  <a:cubicBezTo>
                    <a:pt x="743307" y="209602"/>
                    <a:pt x="747356" y="214007"/>
                    <a:pt x="752475" y="216567"/>
                  </a:cubicBezTo>
                  <a:cubicBezTo>
                    <a:pt x="756965" y="218812"/>
                    <a:pt x="762273" y="219085"/>
                    <a:pt x="766763" y="221330"/>
                  </a:cubicBezTo>
                  <a:cubicBezTo>
                    <a:pt x="778250" y="227074"/>
                    <a:pt x="793530" y="237587"/>
                    <a:pt x="804863" y="245142"/>
                  </a:cubicBezTo>
                  <a:cubicBezTo>
                    <a:pt x="813970" y="272468"/>
                    <a:pt x="803102" y="246961"/>
                    <a:pt x="823913" y="273717"/>
                  </a:cubicBezTo>
                  <a:cubicBezTo>
                    <a:pt x="830941" y="282753"/>
                    <a:pt x="836613" y="292767"/>
                    <a:pt x="842963" y="302292"/>
                  </a:cubicBezTo>
                  <a:lnTo>
                    <a:pt x="852488" y="316580"/>
                  </a:lnTo>
                  <a:cubicBezTo>
                    <a:pt x="854075" y="321342"/>
                    <a:pt x="856724" y="325875"/>
                    <a:pt x="857250" y="330867"/>
                  </a:cubicBezTo>
                  <a:cubicBezTo>
                    <a:pt x="859914" y="356177"/>
                    <a:pt x="856492" y="382223"/>
                    <a:pt x="862013" y="407067"/>
                  </a:cubicBezTo>
                  <a:cubicBezTo>
                    <a:pt x="863255" y="412654"/>
                    <a:pt x="871538" y="413417"/>
                    <a:pt x="876300" y="416592"/>
                  </a:cubicBezTo>
                  <a:cubicBezTo>
                    <a:pt x="881063" y="415005"/>
                    <a:pt x="886098" y="414075"/>
                    <a:pt x="890588" y="411830"/>
                  </a:cubicBezTo>
                  <a:cubicBezTo>
                    <a:pt x="895707" y="409270"/>
                    <a:pt x="899645" y="404630"/>
                    <a:pt x="904875" y="402305"/>
                  </a:cubicBezTo>
                  <a:cubicBezTo>
                    <a:pt x="914050" y="398227"/>
                    <a:pt x="933450" y="392780"/>
                    <a:pt x="933450" y="392780"/>
                  </a:cubicBezTo>
                  <a:cubicBezTo>
                    <a:pt x="1000291" y="415060"/>
                    <a:pt x="933542" y="388078"/>
                    <a:pt x="976313" y="416592"/>
                  </a:cubicBezTo>
                  <a:cubicBezTo>
                    <a:pt x="980490" y="419377"/>
                    <a:pt x="985648" y="420530"/>
                    <a:pt x="990600" y="421355"/>
                  </a:cubicBezTo>
                  <a:cubicBezTo>
                    <a:pt x="1004780" y="423718"/>
                    <a:pt x="1019175" y="424530"/>
                    <a:pt x="1033463" y="426117"/>
                  </a:cubicBezTo>
                  <a:cubicBezTo>
                    <a:pt x="1038225" y="430880"/>
                    <a:pt x="1053632" y="425487"/>
                    <a:pt x="1059656" y="428499"/>
                  </a:cubicBezTo>
                  <a:cubicBezTo>
                    <a:pt x="1076588" y="436965"/>
                    <a:pt x="1087041" y="439215"/>
                    <a:pt x="1095375" y="440405"/>
                  </a:cubicBezTo>
                  <a:cubicBezTo>
                    <a:pt x="1103709" y="441595"/>
                    <a:pt x="1104740" y="436627"/>
                    <a:pt x="1109663" y="435642"/>
                  </a:cubicBezTo>
                  <a:cubicBezTo>
                    <a:pt x="1120670" y="433441"/>
                    <a:pt x="1131888" y="432467"/>
                    <a:pt x="1143000" y="430880"/>
                  </a:cubicBezTo>
                  <a:cubicBezTo>
                    <a:pt x="1157288" y="432467"/>
                    <a:pt x="1171917" y="432156"/>
                    <a:pt x="1185863" y="435642"/>
                  </a:cubicBezTo>
                  <a:cubicBezTo>
                    <a:pt x="1206644" y="440837"/>
                    <a:pt x="1195243" y="447910"/>
                    <a:pt x="1209675" y="459455"/>
                  </a:cubicBezTo>
                  <a:cubicBezTo>
                    <a:pt x="1213595" y="462591"/>
                    <a:pt x="1219200" y="462630"/>
                    <a:pt x="1223963" y="464217"/>
                  </a:cubicBezTo>
                  <a:cubicBezTo>
                    <a:pt x="1222375" y="488030"/>
                    <a:pt x="1227451" y="513261"/>
                    <a:pt x="1219200" y="535655"/>
                  </a:cubicBezTo>
                  <a:cubicBezTo>
                    <a:pt x="1215242" y="546397"/>
                    <a:pt x="1190625" y="554705"/>
                    <a:pt x="1190625" y="554705"/>
                  </a:cubicBezTo>
                  <a:cubicBezTo>
                    <a:pt x="1189038" y="568992"/>
                    <a:pt x="1185863" y="583192"/>
                    <a:pt x="1185863" y="597567"/>
                  </a:cubicBezTo>
                  <a:cubicBezTo>
                    <a:pt x="1185863" y="632795"/>
                    <a:pt x="1190179" y="639094"/>
                    <a:pt x="1200150" y="669005"/>
                  </a:cubicBezTo>
                  <a:lnTo>
                    <a:pt x="1204913" y="683292"/>
                  </a:lnTo>
                  <a:cubicBezTo>
                    <a:pt x="1206501" y="688055"/>
                    <a:pt x="1206125" y="694030"/>
                    <a:pt x="1209675" y="697580"/>
                  </a:cubicBezTo>
                  <a:cubicBezTo>
                    <a:pt x="1228011" y="715914"/>
                    <a:pt x="1220227" y="706263"/>
                    <a:pt x="1233488" y="726155"/>
                  </a:cubicBezTo>
                  <a:cubicBezTo>
                    <a:pt x="1245458" y="762067"/>
                    <a:pt x="1227918" y="719192"/>
                    <a:pt x="1252538" y="749967"/>
                  </a:cubicBezTo>
                  <a:cubicBezTo>
                    <a:pt x="1278828" y="782830"/>
                    <a:pt x="1230640" y="746483"/>
                    <a:pt x="1271588" y="773780"/>
                  </a:cubicBezTo>
                  <a:cubicBezTo>
                    <a:pt x="1274183" y="781565"/>
                    <a:pt x="1278100" y="797496"/>
                    <a:pt x="1285875" y="802355"/>
                  </a:cubicBezTo>
                  <a:cubicBezTo>
                    <a:pt x="1294389" y="807676"/>
                    <a:pt x="1306513" y="811086"/>
                    <a:pt x="1314450" y="811880"/>
                  </a:cubicBezTo>
                  <a:cubicBezTo>
                    <a:pt x="1322387" y="812674"/>
                    <a:pt x="1327547" y="807117"/>
                    <a:pt x="1333500" y="807117"/>
                  </a:cubicBezTo>
                  <a:cubicBezTo>
                    <a:pt x="1339453" y="807117"/>
                    <a:pt x="1344216" y="809499"/>
                    <a:pt x="1350169" y="811880"/>
                  </a:cubicBezTo>
                  <a:cubicBezTo>
                    <a:pt x="1356122" y="814261"/>
                    <a:pt x="1358503" y="816643"/>
                    <a:pt x="1369219" y="821405"/>
                  </a:cubicBezTo>
                  <a:cubicBezTo>
                    <a:pt x="1379935" y="826167"/>
                    <a:pt x="1403747" y="836486"/>
                    <a:pt x="1414463" y="840455"/>
                  </a:cubicBezTo>
                  <a:cubicBezTo>
                    <a:pt x="1425179" y="844424"/>
                    <a:pt x="1427219" y="843419"/>
                    <a:pt x="1433513" y="845217"/>
                  </a:cubicBezTo>
                  <a:cubicBezTo>
                    <a:pt x="1438340" y="846596"/>
                    <a:pt x="1442808" y="849454"/>
                    <a:pt x="1447800" y="849980"/>
                  </a:cubicBezTo>
                  <a:cubicBezTo>
                    <a:pt x="1473110" y="852644"/>
                    <a:pt x="1498600" y="853155"/>
                    <a:pt x="1524000" y="854742"/>
                  </a:cubicBezTo>
                  <a:cubicBezTo>
                    <a:pt x="1530350" y="856330"/>
                    <a:pt x="1536781" y="857624"/>
                    <a:pt x="1543050" y="859505"/>
                  </a:cubicBezTo>
                  <a:cubicBezTo>
                    <a:pt x="1557475" y="863833"/>
                    <a:pt x="1571625" y="869030"/>
                    <a:pt x="1585913" y="873792"/>
                  </a:cubicBezTo>
                  <a:cubicBezTo>
                    <a:pt x="1593592" y="876351"/>
                    <a:pt x="1601754" y="877148"/>
                    <a:pt x="1609725" y="878555"/>
                  </a:cubicBezTo>
                  <a:cubicBezTo>
                    <a:pt x="1670351" y="889254"/>
                    <a:pt x="1655648" y="886833"/>
                    <a:pt x="1709738" y="892842"/>
                  </a:cubicBezTo>
                  <a:lnTo>
                    <a:pt x="1752600" y="907130"/>
                  </a:lnTo>
                  <a:cubicBezTo>
                    <a:pt x="1757363" y="908717"/>
                    <a:pt x="1757363" y="909908"/>
                    <a:pt x="1766888" y="911892"/>
                  </a:cubicBezTo>
                  <a:cubicBezTo>
                    <a:pt x="1776413" y="913876"/>
                    <a:pt x="1774786" y="907382"/>
                    <a:pt x="1809750" y="919036"/>
                  </a:cubicBezTo>
                  <a:cubicBezTo>
                    <a:pt x="1814513" y="926180"/>
                    <a:pt x="1821657" y="929751"/>
                    <a:pt x="1824038" y="940467"/>
                  </a:cubicBezTo>
                  <a:cubicBezTo>
                    <a:pt x="1826419" y="951183"/>
                    <a:pt x="1818744" y="948920"/>
                    <a:pt x="1824038" y="983330"/>
                  </a:cubicBezTo>
                  <a:cubicBezTo>
                    <a:pt x="1825745" y="994425"/>
                    <a:pt x="1825575" y="1005915"/>
                    <a:pt x="1828800" y="1016667"/>
                  </a:cubicBezTo>
                  <a:cubicBezTo>
                    <a:pt x="1830445" y="1022150"/>
                    <a:pt x="1835765" y="1025835"/>
                    <a:pt x="1838325" y="1030955"/>
                  </a:cubicBezTo>
                  <a:cubicBezTo>
                    <a:pt x="1840570" y="1035445"/>
                    <a:pt x="1840650" y="1040854"/>
                    <a:pt x="1843088" y="1045242"/>
                  </a:cubicBezTo>
                  <a:cubicBezTo>
                    <a:pt x="1859431" y="1074658"/>
                    <a:pt x="1855554" y="1069428"/>
                    <a:pt x="1876425" y="1083342"/>
                  </a:cubicBezTo>
                  <a:cubicBezTo>
                    <a:pt x="1879600" y="1088105"/>
                    <a:pt x="1880394" y="1091677"/>
                    <a:pt x="1885950" y="1097630"/>
                  </a:cubicBezTo>
                  <a:cubicBezTo>
                    <a:pt x="1891506" y="1103583"/>
                    <a:pt x="1897460" y="1111917"/>
                    <a:pt x="1909763" y="1119061"/>
                  </a:cubicBezTo>
                  <a:cubicBezTo>
                    <a:pt x="1922066" y="1126205"/>
                    <a:pt x="1940146" y="1133951"/>
                    <a:pt x="1959769" y="1140492"/>
                  </a:cubicBezTo>
                  <a:cubicBezTo>
                    <a:pt x="1969079" y="1154458"/>
                    <a:pt x="1956991" y="1168273"/>
                    <a:pt x="1957388" y="1178592"/>
                  </a:cubicBezTo>
                  <a:cubicBezTo>
                    <a:pt x="1957785" y="1188911"/>
                    <a:pt x="1957660" y="1195670"/>
                    <a:pt x="1962150" y="1202405"/>
                  </a:cubicBezTo>
                  <a:cubicBezTo>
                    <a:pt x="1964935" y="1206582"/>
                    <a:pt x="1971675" y="1205580"/>
                    <a:pt x="1976438" y="1207167"/>
                  </a:cubicBezTo>
                  <a:cubicBezTo>
                    <a:pt x="1979613" y="1202405"/>
                    <a:pt x="1981109" y="1195913"/>
                    <a:pt x="1985963" y="1192880"/>
                  </a:cubicBezTo>
                  <a:cubicBezTo>
                    <a:pt x="2001890" y="1182926"/>
                    <a:pt x="2025609" y="1182482"/>
                    <a:pt x="2043113" y="1178592"/>
                  </a:cubicBezTo>
                  <a:cubicBezTo>
                    <a:pt x="2048013" y="1177503"/>
                    <a:pt x="2052638" y="1175417"/>
                    <a:pt x="2057400" y="1173830"/>
                  </a:cubicBezTo>
                  <a:cubicBezTo>
                    <a:pt x="2074863" y="1175417"/>
                    <a:pt x="2092430" y="1176112"/>
                    <a:pt x="2109788" y="1178592"/>
                  </a:cubicBezTo>
                  <a:cubicBezTo>
                    <a:pt x="2114758" y="1179302"/>
                    <a:pt x="2119123" y="1182530"/>
                    <a:pt x="2124075" y="1183355"/>
                  </a:cubicBezTo>
                  <a:cubicBezTo>
                    <a:pt x="2138255" y="1185718"/>
                    <a:pt x="2152650" y="1186530"/>
                    <a:pt x="2166938" y="1188117"/>
                  </a:cubicBezTo>
                  <a:cubicBezTo>
                    <a:pt x="2200276" y="1199230"/>
                    <a:pt x="2192338" y="1188117"/>
                    <a:pt x="2200275" y="1211930"/>
                  </a:cubicBezTo>
                  <a:cubicBezTo>
                    <a:pt x="2184226" y="1236003"/>
                    <a:pt x="2190173" y="1222468"/>
                    <a:pt x="2185988" y="1264317"/>
                  </a:cubicBezTo>
                  <a:cubicBezTo>
                    <a:pt x="2177642" y="1347779"/>
                    <a:pt x="2185772" y="1294181"/>
                    <a:pt x="2176463" y="1350042"/>
                  </a:cubicBezTo>
                  <a:cubicBezTo>
                    <a:pt x="2176775" y="1351290"/>
                    <a:pt x="2183502" y="1380273"/>
                    <a:pt x="2185988" y="1383380"/>
                  </a:cubicBezTo>
                  <a:cubicBezTo>
                    <a:pt x="2189564" y="1387849"/>
                    <a:pt x="2195513" y="1389730"/>
                    <a:pt x="2200275" y="1392905"/>
                  </a:cubicBezTo>
                  <a:cubicBezTo>
                    <a:pt x="2208357" y="1405028"/>
                    <a:pt x="2209656" y="1410944"/>
                    <a:pt x="2224088" y="1416717"/>
                  </a:cubicBezTo>
                  <a:cubicBezTo>
                    <a:pt x="2227036" y="1417896"/>
                    <a:pt x="2230438" y="1416717"/>
                    <a:pt x="2233613" y="1416717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152" name="Rectangle 21"/>
            <p:cNvSpPr/>
            <p:nvPr>
              <p:custDataLst>
                <p:tags r:id="rId49"/>
              </p:custDataLst>
            </p:nvPr>
          </p:nvSpPr>
          <p:spPr>
            <a:xfrm>
              <a:off x="2371088" y="4627048"/>
              <a:ext cx="883786" cy="837867"/>
            </a:xfrm>
            <a:custGeom>
              <a:avLst/>
              <a:gdLst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41141 h 1707953"/>
                <a:gd name="connsiteX80" fmla="*/ 1234347 w 1814116"/>
                <a:gd name="connsiteY80" fmla="*/ 534655 h 1707953"/>
                <a:gd name="connsiteX81" fmla="*/ 1230480 w 1814116"/>
                <a:gd name="connsiteY81" fmla="*/ 529969 h 1707953"/>
                <a:gd name="connsiteX82" fmla="*/ 1214263 w 1814116"/>
                <a:gd name="connsiteY82" fmla="*/ 536379 h 1707953"/>
                <a:gd name="connsiteX83" fmla="*/ 1206090 w 1814116"/>
                <a:gd name="connsiteY83" fmla="*/ 517535 h 1707953"/>
                <a:gd name="connsiteX84" fmla="*/ 1200082 w 1814116"/>
                <a:gd name="connsiteY84" fmla="*/ 515505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41141 h 1707953"/>
                <a:gd name="connsiteX80" fmla="*/ 1234347 w 1814116"/>
                <a:gd name="connsiteY80" fmla="*/ 534655 h 1707953"/>
                <a:gd name="connsiteX81" fmla="*/ 1230480 w 1814116"/>
                <a:gd name="connsiteY81" fmla="*/ 556163 h 1707953"/>
                <a:gd name="connsiteX82" fmla="*/ 1214263 w 1814116"/>
                <a:gd name="connsiteY82" fmla="*/ 536379 h 1707953"/>
                <a:gd name="connsiteX83" fmla="*/ 1206090 w 1814116"/>
                <a:gd name="connsiteY83" fmla="*/ 517535 h 1707953"/>
                <a:gd name="connsiteX84" fmla="*/ 1200082 w 1814116"/>
                <a:gd name="connsiteY84" fmla="*/ 515505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34347 w 1814116"/>
                <a:gd name="connsiteY80" fmla="*/ 534655 h 1707953"/>
                <a:gd name="connsiteX81" fmla="*/ 1230480 w 1814116"/>
                <a:gd name="connsiteY81" fmla="*/ 556163 h 1707953"/>
                <a:gd name="connsiteX82" fmla="*/ 1214263 w 1814116"/>
                <a:gd name="connsiteY82" fmla="*/ 536379 h 1707953"/>
                <a:gd name="connsiteX83" fmla="*/ 1206090 w 1814116"/>
                <a:gd name="connsiteY83" fmla="*/ 517535 h 1707953"/>
                <a:gd name="connsiteX84" fmla="*/ 1200082 w 1814116"/>
                <a:gd name="connsiteY84" fmla="*/ 515505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24822 w 1814116"/>
                <a:gd name="connsiteY80" fmla="*/ 551324 h 1707953"/>
                <a:gd name="connsiteX81" fmla="*/ 1230480 w 1814116"/>
                <a:gd name="connsiteY81" fmla="*/ 556163 h 1707953"/>
                <a:gd name="connsiteX82" fmla="*/ 1214263 w 1814116"/>
                <a:gd name="connsiteY82" fmla="*/ 536379 h 1707953"/>
                <a:gd name="connsiteX83" fmla="*/ 1206090 w 1814116"/>
                <a:gd name="connsiteY83" fmla="*/ 517535 h 1707953"/>
                <a:gd name="connsiteX84" fmla="*/ 1200082 w 1814116"/>
                <a:gd name="connsiteY84" fmla="*/ 515505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24822 w 1814116"/>
                <a:gd name="connsiteY80" fmla="*/ 551324 h 1707953"/>
                <a:gd name="connsiteX81" fmla="*/ 1230480 w 1814116"/>
                <a:gd name="connsiteY81" fmla="*/ 556163 h 1707953"/>
                <a:gd name="connsiteX82" fmla="*/ 1202356 w 1814116"/>
                <a:gd name="connsiteY82" fmla="*/ 536379 h 1707953"/>
                <a:gd name="connsiteX83" fmla="*/ 1206090 w 1814116"/>
                <a:gd name="connsiteY83" fmla="*/ 517535 h 1707953"/>
                <a:gd name="connsiteX84" fmla="*/ 1200082 w 1814116"/>
                <a:gd name="connsiteY84" fmla="*/ 515505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24822 w 1814116"/>
                <a:gd name="connsiteY80" fmla="*/ 551324 h 1707953"/>
                <a:gd name="connsiteX81" fmla="*/ 1230480 w 1814116"/>
                <a:gd name="connsiteY81" fmla="*/ 556163 h 1707953"/>
                <a:gd name="connsiteX82" fmla="*/ 1202356 w 1814116"/>
                <a:gd name="connsiteY82" fmla="*/ 536379 h 1707953"/>
                <a:gd name="connsiteX83" fmla="*/ 1206090 w 1814116"/>
                <a:gd name="connsiteY83" fmla="*/ 517535 h 1707953"/>
                <a:gd name="connsiteX84" fmla="*/ 1183413 w 1814116"/>
                <a:gd name="connsiteY84" fmla="*/ 525030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24822 w 1814116"/>
                <a:gd name="connsiteY80" fmla="*/ 551324 h 1707953"/>
                <a:gd name="connsiteX81" fmla="*/ 1230480 w 1814116"/>
                <a:gd name="connsiteY81" fmla="*/ 556163 h 1707953"/>
                <a:gd name="connsiteX82" fmla="*/ 1202356 w 1814116"/>
                <a:gd name="connsiteY82" fmla="*/ 536379 h 1707953"/>
                <a:gd name="connsiteX83" fmla="*/ 1175133 w 1814116"/>
                <a:gd name="connsiteY83" fmla="*/ 505629 h 1707953"/>
                <a:gd name="connsiteX84" fmla="*/ 1183413 w 1814116"/>
                <a:gd name="connsiteY84" fmla="*/ 525030 h 1707953"/>
                <a:gd name="connsiteX85" fmla="*/ 1188069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07953"/>
                <a:gd name="connsiteX1" fmla="*/ 1209570 w 1814116"/>
                <a:gd name="connsiteY1" fmla="*/ 283875 h 1707953"/>
                <a:gd name="connsiteX2" fmla="*/ 1209243 w 1814116"/>
                <a:gd name="connsiteY2" fmla="*/ 283841 h 1707953"/>
                <a:gd name="connsiteX3" fmla="*/ 1209397 w 1814116"/>
                <a:gd name="connsiteY3" fmla="*/ 283834 h 1707953"/>
                <a:gd name="connsiteX4" fmla="*/ 1310540 w 1814116"/>
                <a:gd name="connsiteY4" fmla="*/ 4 h 1707953"/>
                <a:gd name="connsiteX5" fmla="*/ 1330944 w 1814116"/>
                <a:gd name="connsiteY5" fmla="*/ 2978 h 1707953"/>
                <a:gd name="connsiteX6" fmla="*/ 1335706 w 1814116"/>
                <a:gd name="connsiteY6" fmla="*/ 17266 h 1707953"/>
                <a:gd name="connsiteX7" fmla="*/ 1349994 w 1814116"/>
                <a:gd name="connsiteY7" fmla="*/ 22028 h 1707953"/>
                <a:gd name="connsiteX8" fmla="*/ 1354756 w 1814116"/>
                <a:gd name="connsiteY8" fmla="*/ 41078 h 1707953"/>
                <a:gd name="connsiteX9" fmla="*/ 1354756 w 1814116"/>
                <a:gd name="connsiteY9" fmla="*/ 102991 h 1707953"/>
                <a:gd name="connsiteX10" fmla="*/ 1345231 w 1814116"/>
                <a:gd name="connsiteY10" fmla="*/ 117278 h 1707953"/>
                <a:gd name="connsiteX11" fmla="*/ 1326181 w 1814116"/>
                <a:gd name="connsiteY11" fmla="*/ 145853 h 1707953"/>
                <a:gd name="connsiteX12" fmla="*/ 1283319 w 1814116"/>
                <a:gd name="connsiteY12" fmla="*/ 183953 h 1707953"/>
                <a:gd name="connsiteX13" fmla="*/ 1273794 w 1814116"/>
                <a:gd name="connsiteY13" fmla="*/ 198241 h 1707953"/>
                <a:gd name="connsiteX14" fmla="*/ 1259506 w 1814116"/>
                <a:gd name="connsiteY14" fmla="*/ 207766 h 1707953"/>
                <a:gd name="connsiteX15" fmla="*/ 1245219 w 1814116"/>
                <a:gd name="connsiteY15" fmla="*/ 217291 h 1707953"/>
                <a:gd name="connsiteX16" fmla="*/ 1202356 w 1814116"/>
                <a:gd name="connsiteY16" fmla="*/ 245866 h 1707953"/>
                <a:gd name="connsiteX17" fmla="*/ 1188069 w 1814116"/>
                <a:gd name="connsiteY17" fmla="*/ 250628 h 1707953"/>
                <a:gd name="connsiteX18" fmla="*/ 1178544 w 1814116"/>
                <a:gd name="connsiteY18" fmla="*/ 264916 h 1707953"/>
                <a:gd name="connsiteX19" fmla="*/ 1164256 w 1814116"/>
                <a:gd name="connsiteY19" fmla="*/ 279203 h 1707953"/>
                <a:gd name="connsiteX20" fmla="*/ 1209243 w 1814116"/>
                <a:gd name="connsiteY20" fmla="*/ 283841 h 1707953"/>
                <a:gd name="connsiteX21" fmla="*/ 1226169 w 1814116"/>
                <a:gd name="connsiteY21" fmla="*/ 288728 h 1707953"/>
                <a:gd name="connsiteX22" fmla="*/ 1254744 w 1814116"/>
                <a:gd name="connsiteY22" fmla="*/ 293491 h 1707953"/>
                <a:gd name="connsiteX23" fmla="*/ 1269031 w 1814116"/>
                <a:gd name="connsiteY23" fmla="*/ 298253 h 1707953"/>
                <a:gd name="connsiteX24" fmla="*/ 1297606 w 1814116"/>
                <a:gd name="connsiteY24" fmla="*/ 307778 h 1707953"/>
                <a:gd name="connsiteX25" fmla="*/ 1311894 w 1814116"/>
                <a:gd name="connsiteY25" fmla="*/ 317303 h 1707953"/>
                <a:gd name="connsiteX26" fmla="*/ 1359519 w 1814116"/>
                <a:gd name="connsiteY26" fmla="*/ 331591 h 1707953"/>
                <a:gd name="connsiteX27" fmla="*/ 1397619 w 1814116"/>
                <a:gd name="connsiteY27" fmla="*/ 336353 h 1707953"/>
                <a:gd name="connsiteX28" fmla="*/ 1473819 w 1814116"/>
                <a:gd name="connsiteY28" fmla="*/ 341116 h 1707953"/>
                <a:gd name="connsiteX29" fmla="*/ 1530969 w 1814116"/>
                <a:gd name="connsiteY29" fmla="*/ 360166 h 1707953"/>
                <a:gd name="connsiteX30" fmla="*/ 1602406 w 1814116"/>
                <a:gd name="connsiteY30" fmla="*/ 364928 h 1707953"/>
                <a:gd name="connsiteX31" fmla="*/ 1645269 w 1814116"/>
                <a:gd name="connsiteY31" fmla="*/ 369691 h 1707953"/>
                <a:gd name="connsiteX32" fmla="*/ 1745281 w 1814116"/>
                <a:gd name="connsiteY32" fmla="*/ 379216 h 1707953"/>
                <a:gd name="connsiteX33" fmla="*/ 1759569 w 1814116"/>
                <a:gd name="connsiteY33" fmla="*/ 383978 h 1707953"/>
                <a:gd name="connsiteX34" fmla="*/ 1788144 w 1814116"/>
                <a:gd name="connsiteY34" fmla="*/ 403028 h 1707953"/>
                <a:gd name="connsiteX35" fmla="*/ 1801728 w 1814116"/>
                <a:gd name="connsiteY35" fmla="*/ 407765 h 1707953"/>
                <a:gd name="connsiteX36" fmla="*/ 1804035 w 1814116"/>
                <a:gd name="connsiteY36" fmla="*/ 411824 h 1707953"/>
                <a:gd name="connsiteX37" fmla="*/ 1807194 w 1814116"/>
                <a:gd name="connsiteY37" fmla="*/ 426841 h 1707953"/>
                <a:gd name="connsiteX38" fmla="*/ 1802431 w 1814116"/>
                <a:gd name="connsiteY38" fmla="*/ 441128 h 1707953"/>
                <a:gd name="connsiteX39" fmla="*/ 1797669 w 1814116"/>
                <a:gd name="connsiteY39" fmla="*/ 455416 h 1707953"/>
                <a:gd name="connsiteX40" fmla="*/ 1788144 w 1814116"/>
                <a:gd name="connsiteY40" fmla="*/ 483991 h 1707953"/>
                <a:gd name="connsiteX41" fmla="*/ 1778619 w 1814116"/>
                <a:gd name="connsiteY41" fmla="*/ 526853 h 1707953"/>
                <a:gd name="connsiteX42" fmla="*/ 1797669 w 1814116"/>
                <a:gd name="connsiteY42" fmla="*/ 555428 h 1707953"/>
                <a:gd name="connsiteX43" fmla="*/ 1802431 w 1814116"/>
                <a:gd name="connsiteY43" fmla="*/ 626866 h 1707953"/>
                <a:gd name="connsiteX44" fmla="*/ 1814116 w 1814116"/>
                <a:gd name="connsiteY44" fmla="*/ 635493 h 1707953"/>
                <a:gd name="connsiteX45" fmla="*/ 1804317 w 1814116"/>
                <a:gd name="connsiteY45" fmla="*/ 642402 h 1707953"/>
                <a:gd name="connsiteX46" fmla="*/ 1785267 w 1814116"/>
                <a:gd name="connsiteY46" fmla="*/ 685264 h 1707953"/>
                <a:gd name="connsiteX47" fmla="*/ 1766217 w 1814116"/>
                <a:gd name="connsiteY47" fmla="*/ 713839 h 1707953"/>
                <a:gd name="connsiteX48" fmla="*/ 1751929 w 1814116"/>
                <a:gd name="connsiteY48" fmla="*/ 742414 h 1707953"/>
                <a:gd name="connsiteX49" fmla="*/ 1738387 w 1814116"/>
                <a:gd name="connsiteY49" fmla="*/ 754171 h 1707953"/>
                <a:gd name="connsiteX50" fmla="*/ 1728117 w 1814116"/>
                <a:gd name="connsiteY50" fmla="*/ 766227 h 1707953"/>
                <a:gd name="connsiteX51" fmla="*/ 1713829 w 1814116"/>
                <a:gd name="connsiteY51" fmla="*/ 775752 h 1707953"/>
                <a:gd name="connsiteX52" fmla="*/ 1709067 w 1814116"/>
                <a:gd name="connsiteY52" fmla="*/ 790039 h 1707953"/>
                <a:gd name="connsiteX53" fmla="*/ 1702491 w 1814116"/>
                <a:gd name="connsiteY53" fmla="*/ 801932 h 1707953"/>
                <a:gd name="connsiteX54" fmla="*/ 1698881 w 1814116"/>
                <a:gd name="connsiteY54" fmla="*/ 806067 h 1707953"/>
                <a:gd name="connsiteX55" fmla="*/ 1694779 w 1814116"/>
                <a:gd name="connsiteY55" fmla="*/ 823377 h 1707953"/>
                <a:gd name="connsiteX56" fmla="*/ 1699542 w 1814116"/>
                <a:gd name="connsiteY56" fmla="*/ 837664 h 1707953"/>
                <a:gd name="connsiteX57" fmla="*/ 1701127 w 1814116"/>
                <a:gd name="connsiteY57" fmla="*/ 851861 h 1707953"/>
                <a:gd name="connsiteX58" fmla="*/ 1683369 w 1814116"/>
                <a:gd name="connsiteY58" fmla="*/ 845941 h 1707953"/>
                <a:gd name="connsiteX59" fmla="*/ 1640506 w 1814116"/>
                <a:gd name="connsiteY59" fmla="*/ 850703 h 1707953"/>
                <a:gd name="connsiteX60" fmla="*/ 1592881 w 1814116"/>
                <a:gd name="connsiteY60" fmla="*/ 855466 h 1707953"/>
                <a:gd name="connsiteX61" fmla="*/ 1578594 w 1814116"/>
                <a:gd name="connsiteY61" fmla="*/ 850703 h 1707953"/>
                <a:gd name="connsiteX62" fmla="*/ 1573831 w 1814116"/>
                <a:gd name="connsiteY62" fmla="*/ 817366 h 1707953"/>
                <a:gd name="connsiteX63" fmla="*/ 1569069 w 1814116"/>
                <a:gd name="connsiteY63" fmla="*/ 803078 h 1707953"/>
                <a:gd name="connsiteX64" fmla="*/ 1564306 w 1814116"/>
                <a:gd name="connsiteY64" fmla="*/ 788791 h 1707953"/>
                <a:gd name="connsiteX65" fmla="*/ 1545256 w 1814116"/>
                <a:gd name="connsiteY65" fmla="*/ 745928 h 1707953"/>
                <a:gd name="connsiteX66" fmla="*/ 1530065 w 1814116"/>
                <a:gd name="connsiteY66" fmla="*/ 734542 h 1707953"/>
                <a:gd name="connsiteX67" fmla="*/ 1526206 w 1814116"/>
                <a:gd name="connsiteY67" fmla="*/ 722116 h 1707953"/>
                <a:gd name="connsiteX68" fmla="*/ 1511919 w 1814116"/>
                <a:gd name="connsiteY68" fmla="*/ 707828 h 1707953"/>
                <a:gd name="connsiteX69" fmla="*/ 1478581 w 1814116"/>
                <a:gd name="connsiteY69" fmla="*/ 688778 h 1707953"/>
                <a:gd name="connsiteX70" fmla="*/ 1464294 w 1814116"/>
                <a:gd name="connsiteY70" fmla="*/ 679253 h 1707953"/>
                <a:gd name="connsiteX71" fmla="*/ 1416669 w 1814116"/>
                <a:gd name="connsiteY71" fmla="*/ 650678 h 1707953"/>
                <a:gd name="connsiteX72" fmla="*/ 1402381 w 1814116"/>
                <a:gd name="connsiteY72" fmla="*/ 645916 h 1707953"/>
                <a:gd name="connsiteX73" fmla="*/ 1373806 w 1814116"/>
                <a:gd name="connsiteY73" fmla="*/ 636391 h 1707953"/>
                <a:gd name="connsiteX74" fmla="*/ 1345231 w 1814116"/>
                <a:gd name="connsiteY74" fmla="*/ 617341 h 1707953"/>
                <a:gd name="connsiteX75" fmla="*/ 1330944 w 1814116"/>
                <a:gd name="connsiteY75" fmla="*/ 612578 h 1707953"/>
                <a:gd name="connsiteX76" fmla="*/ 1326181 w 1814116"/>
                <a:gd name="connsiteY76" fmla="*/ 598291 h 1707953"/>
                <a:gd name="connsiteX77" fmla="*/ 1292844 w 1814116"/>
                <a:gd name="connsiteY77" fmla="*/ 560191 h 1707953"/>
                <a:gd name="connsiteX78" fmla="*/ 1270745 w 1814116"/>
                <a:gd name="connsiteY78" fmla="*/ 548714 h 1707953"/>
                <a:gd name="connsiteX79" fmla="*/ 1249981 w 1814116"/>
                <a:gd name="connsiteY79" fmla="*/ 555428 h 1707953"/>
                <a:gd name="connsiteX80" fmla="*/ 1224822 w 1814116"/>
                <a:gd name="connsiteY80" fmla="*/ 551324 h 1707953"/>
                <a:gd name="connsiteX81" fmla="*/ 1230480 w 1814116"/>
                <a:gd name="connsiteY81" fmla="*/ 556163 h 1707953"/>
                <a:gd name="connsiteX82" fmla="*/ 1202356 w 1814116"/>
                <a:gd name="connsiteY82" fmla="*/ 536379 h 1707953"/>
                <a:gd name="connsiteX83" fmla="*/ 1175133 w 1814116"/>
                <a:gd name="connsiteY83" fmla="*/ 505629 h 1707953"/>
                <a:gd name="connsiteX84" fmla="*/ 1183413 w 1814116"/>
                <a:gd name="connsiteY84" fmla="*/ 525030 h 1707953"/>
                <a:gd name="connsiteX85" fmla="*/ 1166638 w 1814116"/>
                <a:gd name="connsiteY85" fmla="*/ 503041 h 1707953"/>
                <a:gd name="connsiteX86" fmla="*/ 1116631 w 1814116"/>
                <a:gd name="connsiteY86" fmla="*/ 493516 h 1707953"/>
                <a:gd name="connsiteX87" fmla="*/ 968994 w 1814116"/>
                <a:gd name="connsiteY87" fmla="*/ 488753 h 1707953"/>
                <a:gd name="connsiteX88" fmla="*/ 949944 w 1814116"/>
                <a:gd name="connsiteY88" fmla="*/ 493516 h 1707953"/>
                <a:gd name="connsiteX89" fmla="*/ 921369 w 1814116"/>
                <a:gd name="connsiteY89" fmla="*/ 503041 h 1707953"/>
                <a:gd name="connsiteX90" fmla="*/ 892794 w 1814116"/>
                <a:gd name="connsiteY90" fmla="*/ 512566 h 1707953"/>
                <a:gd name="connsiteX91" fmla="*/ 864219 w 1814116"/>
                <a:gd name="connsiteY91" fmla="*/ 531616 h 1707953"/>
                <a:gd name="connsiteX92" fmla="*/ 849931 w 1814116"/>
                <a:gd name="connsiteY92" fmla="*/ 536378 h 1707953"/>
                <a:gd name="connsiteX93" fmla="*/ 821356 w 1814116"/>
                <a:gd name="connsiteY93" fmla="*/ 579241 h 1707953"/>
                <a:gd name="connsiteX94" fmla="*/ 797544 w 1814116"/>
                <a:gd name="connsiteY94" fmla="*/ 622103 h 1707953"/>
                <a:gd name="connsiteX95" fmla="*/ 788019 w 1814116"/>
                <a:gd name="connsiteY95" fmla="*/ 636391 h 1707953"/>
                <a:gd name="connsiteX96" fmla="*/ 768969 w 1814116"/>
                <a:gd name="connsiteY96" fmla="*/ 664966 h 1707953"/>
                <a:gd name="connsiteX97" fmla="*/ 759444 w 1814116"/>
                <a:gd name="connsiteY97" fmla="*/ 703066 h 1707953"/>
                <a:gd name="connsiteX98" fmla="*/ 764206 w 1814116"/>
                <a:gd name="connsiteY98" fmla="*/ 717353 h 1707953"/>
                <a:gd name="connsiteX99" fmla="*/ 768969 w 1814116"/>
                <a:gd name="connsiteY99" fmla="*/ 741166 h 1707953"/>
                <a:gd name="connsiteX100" fmla="*/ 773731 w 1814116"/>
                <a:gd name="connsiteY100" fmla="*/ 760216 h 1707953"/>
                <a:gd name="connsiteX101" fmla="*/ 788019 w 1814116"/>
                <a:gd name="connsiteY101" fmla="*/ 788791 h 1707953"/>
                <a:gd name="connsiteX102" fmla="*/ 797544 w 1814116"/>
                <a:gd name="connsiteY102" fmla="*/ 803078 h 1707953"/>
                <a:gd name="connsiteX103" fmla="*/ 802306 w 1814116"/>
                <a:gd name="connsiteY103" fmla="*/ 817366 h 1707953"/>
                <a:gd name="connsiteX104" fmla="*/ 811831 w 1814116"/>
                <a:gd name="connsiteY104" fmla="*/ 845941 h 1707953"/>
                <a:gd name="connsiteX105" fmla="*/ 821356 w 1814116"/>
                <a:gd name="connsiteY105" fmla="*/ 922141 h 1707953"/>
                <a:gd name="connsiteX106" fmla="*/ 826119 w 1814116"/>
                <a:gd name="connsiteY106" fmla="*/ 941191 h 1707953"/>
                <a:gd name="connsiteX107" fmla="*/ 835644 w 1814116"/>
                <a:gd name="connsiteY107" fmla="*/ 955478 h 1707953"/>
                <a:gd name="connsiteX108" fmla="*/ 840406 w 1814116"/>
                <a:gd name="connsiteY108" fmla="*/ 979291 h 1707953"/>
                <a:gd name="connsiteX109" fmla="*/ 859456 w 1814116"/>
                <a:gd name="connsiteY109" fmla="*/ 1007866 h 1707953"/>
                <a:gd name="connsiteX110" fmla="*/ 873744 w 1814116"/>
                <a:gd name="connsiteY110" fmla="*/ 1022153 h 1707953"/>
                <a:gd name="connsiteX111" fmla="*/ 916606 w 1814116"/>
                <a:gd name="connsiteY111" fmla="*/ 1069778 h 1707953"/>
                <a:gd name="connsiteX112" fmla="*/ 945181 w 1814116"/>
                <a:gd name="connsiteY112" fmla="*/ 1093591 h 1707953"/>
                <a:gd name="connsiteX113" fmla="*/ 949944 w 1814116"/>
                <a:gd name="connsiteY113" fmla="*/ 1107878 h 1707953"/>
                <a:gd name="connsiteX114" fmla="*/ 964231 w 1814116"/>
                <a:gd name="connsiteY114" fmla="*/ 1117403 h 1707953"/>
                <a:gd name="connsiteX115" fmla="*/ 992806 w 1814116"/>
                <a:gd name="connsiteY115" fmla="*/ 1131691 h 1707953"/>
                <a:gd name="connsiteX116" fmla="*/ 997569 w 1814116"/>
                <a:gd name="connsiteY116" fmla="*/ 1145978 h 1707953"/>
                <a:gd name="connsiteX117" fmla="*/ 1026144 w 1814116"/>
                <a:gd name="connsiteY117" fmla="*/ 1165028 h 1707953"/>
                <a:gd name="connsiteX118" fmla="*/ 1035669 w 1814116"/>
                <a:gd name="connsiteY118" fmla="*/ 1179316 h 1707953"/>
                <a:gd name="connsiteX119" fmla="*/ 1049956 w 1814116"/>
                <a:gd name="connsiteY119" fmla="*/ 1193603 h 1707953"/>
                <a:gd name="connsiteX120" fmla="*/ 1078531 w 1814116"/>
                <a:gd name="connsiteY120" fmla="*/ 1222178 h 1707953"/>
                <a:gd name="connsiteX121" fmla="*/ 1097581 w 1814116"/>
                <a:gd name="connsiteY121" fmla="*/ 1265041 h 1707953"/>
                <a:gd name="connsiteX122" fmla="*/ 1135681 w 1814116"/>
                <a:gd name="connsiteY122" fmla="*/ 1331716 h 1707953"/>
                <a:gd name="connsiteX123" fmla="*/ 1145206 w 1814116"/>
                <a:gd name="connsiteY123" fmla="*/ 1346003 h 1707953"/>
                <a:gd name="connsiteX124" fmla="*/ 1159494 w 1814116"/>
                <a:gd name="connsiteY124" fmla="*/ 1355528 h 1707953"/>
                <a:gd name="connsiteX125" fmla="*/ 1173781 w 1814116"/>
                <a:gd name="connsiteY125" fmla="*/ 1369816 h 1707953"/>
                <a:gd name="connsiteX126" fmla="*/ 1188069 w 1814116"/>
                <a:gd name="connsiteY126" fmla="*/ 1374578 h 1707953"/>
                <a:gd name="connsiteX127" fmla="*/ 1197594 w 1814116"/>
                <a:gd name="connsiteY127" fmla="*/ 1388866 h 1707953"/>
                <a:gd name="connsiteX128" fmla="*/ 1207119 w 1814116"/>
                <a:gd name="connsiteY128" fmla="*/ 1436491 h 1707953"/>
                <a:gd name="connsiteX129" fmla="*/ 1211881 w 1814116"/>
                <a:gd name="connsiteY129" fmla="*/ 1460303 h 1707953"/>
                <a:gd name="connsiteX130" fmla="*/ 1216644 w 1814116"/>
                <a:gd name="connsiteY130" fmla="*/ 1474591 h 1707953"/>
                <a:gd name="connsiteX131" fmla="*/ 1221406 w 1814116"/>
                <a:gd name="connsiteY131" fmla="*/ 1507928 h 1707953"/>
                <a:gd name="connsiteX132" fmla="*/ 1226169 w 1814116"/>
                <a:gd name="connsiteY132" fmla="*/ 1588891 h 1707953"/>
                <a:gd name="connsiteX133" fmla="*/ 1207119 w 1814116"/>
                <a:gd name="connsiteY133" fmla="*/ 1617466 h 1707953"/>
                <a:gd name="connsiteX134" fmla="*/ 1173781 w 1814116"/>
                <a:gd name="connsiteY134" fmla="*/ 1655566 h 1707953"/>
                <a:gd name="connsiteX135" fmla="*/ 1159494 w 1814116"/>
                <a:gd name="connsiteY135" fmla="*/ 1660328 h 1707953"/>
                <a:gd name="connsiteX136" fmla="*/ 1149969 w 1814116"/>
                <a:gd name="connsiteY136" fmla="*/ 1688903 h 1707953"/>
                <a:gd name="connsiteX137" fmla="*/ 1140444 w 1814116"/>
                <a:gd name="connsiteY137" fmla="*/ 1703191 h 1707953"/>
                <a:gd name="connsiteX138" fmla="*/ 1126156 w 1814116"/>
                <a:gd name="connsiteY138" fmla="*/ 1707953 h 1707953"/>
                <a:gd name="connsiteX139" fmla="*/ 1097581 w 1814116"/>
                <a:gd name="connsiteY139" fmla="*/ 1693666 h 1707953"/>
                <a:gd name="connsiteX140" fmla="*/ 1092819 w 1814116"/>
                <a:gd name="connsiteY140" fmla="*/ 1679378 h 1707953"/>
                <a:gd name="connsiteX141" fmla="*/ 1083294 w 1814116"/>
                <a:gd name="connsiteY141" fmla="*/ 1598416 h 1707953"/>
                <a:gd name="connsiteX142" fmla="*/ 1078531 w 1814116"/>
                <a:gd name="connsiteY142" fmla="*/ 1584128 h 1707953"/>
                <a:gd name="connsiteX143" fmla="*/ 1069006 w 1814116"/>
                <a:gd name="connsiteY143" fmla="*/ 1569841 h 1707953"/>
                <a:gd name="connsiteX144" fmla="*/ 1054719 w 1814116"/>
                <a:gd name="connsiteY144" fmla="*/ 1512691 h 1707953"/>
                <a:gd name="connsiteX145" fmla="*/ 1042164 w 1814116"/>
                <a:gd name="connsiteY145" fmla="*/ 1493488 h 1707953"/>
                <a:gd name="connsiteX146" fmla="*/ 1026144 w 1814116"/>
                <a:gd name="connsiteY146" fmla="*/ 1479353 h 1707953"/>
                <a:gd name="connsiteX147" fmla="*/ 1011856 w 1814116"/>
                <a:gd name="connsiteY147" fmla="*/ 1460303 h 1707953"/>
                <a:gd name="connsiteX148" fmla="*/ 1000184 w 1814116"/>
                <a:gd name="connsiteY148" fmla="*/ 1456613 h 1707953"/>
                <a:gd name="connsiteX149" fmla="*/ 983281 w 1814116"/>
                <a:gd name="connsiteY149" fmla="*/ 1436491 h 1707953"/>
                <a:gd name="connsiteX150" fmla="*/ 968994 w 1814116"/>
                <a:gd name="connsiteY150" fmla="*/ 1422203 h 1707953"/>
                <a:gd name="connsiteX151" fmla="*/ 954706 w 1814116"/>
                <a:gd name="connsiteY151" fmla="*/ 1412678 h 1707953"/>
                <a:gd name="connsiteX152" fmla="*/ 926131 w 1814116"/>
                <a:gd name="connsiteY152" fmla="*/ 1369816 h 1707953"/>
                <a:gd name="connsiteX153" fmla="*/ 921369 w 1814116"/>
                <a:gd name="connsiteY153" fmla="*/ 1350766 h 1707953"/>
                <a:gd name="connsiteX154" fmla="*/ 859456 w 1814116"/>
                <a:gd name="connsiteY154" fmla="*/ 1293616 h 1707953"/>
                <a:gd name="connsiteX155" fmla="*/ 835644 w 1814116"/>
                <a:gd name="connsiteY155" fmla="*/ 1255516 h 1707953"/>
                <a:gd name="connsiteX156" fmla="*/ 830881 w 1814116"/>
                <a:gd name="connsiteY156" fmla="*/ 1241228 h 1707953"/>
                <a:gd name="connsiteX157" fmla="*/ 821356 w 1814116"/>
                <a:gd name="connsiteY157" fmla="*/ 1226941 h 1707953"/>
                <a:gd name="connsiteX158" fmla="*/ 807069 w 1814116"/>
                <a:gd name="connsiteY158" fmla="*/ 1217416 h 1707953"/>
                <a:gd name="connsiteX159" fmla="*/ 792781 w 1814116"/>
                <a:gd name="connsiteY159" fmla="*/ 1212653 h 1707953"/>
                <a:gd name="connsiteX160" fmla="*/ 778494 w 1814116"/>
                <a:gd name="connsiteY160" fmla="*/ 1198366 h 1707953"/>
                <a:gd name="connsiteX161" fmla="*/ 740394 w 1814116"/>
                <a:gd name="connsiteY161" fmla="*/ 1188841 h 1707953"/>
                <a:gd name="connsiteX162" fmla="*/ 726106 w 1814116"/>
                <a:gd name="connsiteY162" fmla="*/ 1179316 h 1707953"/>
                <a:gd name="connsiteX163" fmla="*/ 707056 w 1814116"/>
                <a:gd name="connsiteY163" fmla="*/ 1169791 h 1707953"/>
                <a:gd name="connsiteX164" fmla="*/ 678481 w 1814116"/>
                <a:gd name="connsiteY164" fmla="*/ 1160266 h 1707953"/>
                <a:gd name="connsiteX165" fmla="*/ 635619 w 1814116"/>
                <a:gd name="connsiteY165" fmla="*/ 1126928 h 1707953"/>
                <a:gd name="connsiteX166" fmla="*/ 626094 w 1814116"/>
                <a:gd name="connsiteY166" fmla="*/ 1112641 h 1707953"/>
                <a:gd name="connsiteX167" fmla="*/ 610690 w 1814116"/>
                <a:gd name="connsiteY167" fmla="*/ 1100139 h 1707953"/>
                <a:gd name="connsiteX168" fmla="*/ 602281 w 1814116"/>
                <a:gd name="connsiteY168" fmla="*/ 1088828 h 1707953"/>
                <a:gd name="connsiteX169" fmla="*/ 578469 w 1814116"/>
                <a:gd name="connsiteY169" fmla="*/ 1060253 h 1707953"/>
                <a:gd name="connsiteX170" fmla="*/ 573706 w 1814116"/>
                <a:gd name="connsiteY170" fmla="*/ 1045966 h 1707953"/>
                <a:gd name="connsiteX171" fmla="*/ 559419 w 1814116"/>
                <a:gd name="connsiteY171" fmla="*/ 1017391 h 1707953"/>
                <a:gd name="connsiteX172" fmla="*/ 534545 w 1814116"/>
                <a:gd name="connsiteY172" fmla="*/ 1001160 h 1707953"/>
                <a:gd name="connsiteX173" fmla="*/ 521319 w 1814116"/>
                <a:gd name="connsiteY173" fmla="*/ 988816 h 1707953"/>
                <a:gd name="connsiteX174" fmla="*/ 500406 w 1814116"/>
                <a:gd name="connsiteY174" fmla="*/ 971994 h 1707953"/>
                <a:gd name="connsiteX175" fmla="*/ 492744 w 1814116"/>
                <a:gd name="connsiteY175" fmla="*/ 960241 h 1707953"/>
                <a:gd name="connsiteX176" fmla="*/ 459406 w 1814116"/>
                <a:gd name="connsiteY176" fmla="*/ 931666 h 1707953"/>
                <a:gd name="connsiteX177" fmla="*/ 449881 w 1814116"/>
                <a:gd name="connsiteY177" fmla="*/ 912616 h 1707953"/>
                <a:gd name="connsiteX178" fmla="*/ 435594 w 1814116"/>
                <a:gd name="connsiteY178" fmla="*/ 907853 h 1707953"/>
                <a:gd name="connsiteX179" fmla="*/ 421306 w 1814116"/>
                <a:gd name="connsiteY179" fmla="*/ 888803 h 1707953"/>
                <a:gd name="connsiteX180" fmla="*/ 378444 w 1814116"/>
                <a:gd name="connsiteY180" fmla="*/ 864991 h 1707953"/>
                <a:gd name="connsiteX181" fmla="*/ 364156 w 1814116"/>
                <a:gd name="connsiteY181" fmla="*/ 850703 h 1707953"/>
                <a:gd name="connsiteX182" fmla="*/ 359394 w 1814116"/>
                <a:gd name="connsiteY182" fmla="*/ 836416 h 1707953"/>
                <a:gd name="connsiteX183" fmla="*/ 345106 w 1814116"/>
                <a:gd name="connsiteY183" fmla="*/ 822128 h 1707953"/>
                <a:gd name="connsiteX184" fmla="*/ 330819 w 1814116"/>
                <a:gd name="connsiteY184" fmla="*/ 788791 h 1707953"/>
                <a:gd name="connsiteX185" fmla="*/ 287956 w 1814116"/>
                <a:gd name="connsiteY185" fmla="*/ 750691 h 1707953"/>
                <a:gd name="connsiteX186" fmla="*/ 273669 w 1814116"/>
                <a:gd name="connsiteY186" fmla="*/ 703066 h 1707953"/>
                <a:gd name="connsiteX187" fmla="*/ 259381 w 1814116"/>
                <a:gd name="connsiteY187" fmla="*/ 674491 h 1707953"/>
                <a:gd name="connsiteX188" fmla="*/ 249856 w 1814116"/>
                <a:gd name="connsiteY188" fmla="*/ 660203 h 1707953"/>
                <a:gd name="connsiteX189" fmla="*/ 245094 w 1814116"/>
                <a:gd name="connsiteY189" fmla="*/ 645916 h 1707953"/>
                <a:gd name="connsiteX190" fmla="*/ 230806 w 1814116"/>
                <a:gd name="connsiteY190" fmla="*/ 631628 h 1707953"/>
                <a:gd name="connsiteX191" fmla="*/ 221281 w 1814116"/>
                <a:gd name="connsiteY191" fmla="*/ 617341 h 1707953"/>
                <a:gd name="connsiteX192" fmla="*/ 173656 w 1814116"/>
                <a:gd name="connsiteY192" fmla="*/ 603053 h 1707953"/>
                <a:gd name="connsiteX193" fmla="*/ 159369 w 1814116"/>
                <a:gd name="connsiteY193" fmla="*/ 607816 h 1707953"/>
                <a:gd name="connsiteX194" fmla="*/ 78406 w 1814116"/>
                <a:gd name="connsiteY194" fmla="*/ 617341 h 1707953"/>
                <a:gd name="connsiteX195" fmla="*/ 64119 w 1814116"/>
                <a:gd name="connsiteY195" fmla="*/ 612578 h 1707953"/>
                <a:gd name="connsiteX196" fmla="*/ 49831 w 1814116"/>
                <a:gd name="connsiteY196" fmla="*/ 598291 h 1707953"/>
                <a:gd name="connsiteX197" fmla="*/ 35544 w 1814116"/>
                <a:gd name="connsiteY197" fmla="*/ 593528 h 1707953"/>
                <a:gd name="connsiteX198" fmla="*/ 30781 w 1814116"/>
                <a:gd name="connsiteY198" fmla="*/ 579241 h 1707953"/>
                <a:gd name="connsiteX199" fmla="*/ 30781 w 1814116"/>
                <a:gd name="connsiteY199" fmla="*/ 474466 h 1707953"/>
                <a:gd name="connsiteX200" fmla="*/ 26019 w 1814116"/>
                <a:gd name="connsiteY200" fmla="*/ 460178 h 1707953"/>
                <a:gd name="connsiteX201" fmla="*/ 11731 w 1814116"/>
                <a:gd name="connsiteY201" fmla="*/ 450653 h 1707953"/>
                <a:gd name="connsiteX202" fmla="*/ 6969 w 1814116"/>
                <a:gd name="connsiteY202" fmla="*/ 436366 h 1707953"/>
                <a:gd name="connsiteX203" fmla="*/ 6969 w 1814116"/>
                <a:gd name="connsiteY203" fmla="*/ 331591 h 1707953"/>
                <a:gd name="connsiteX204" fmla="*/ 16494 w 1814116"/>
                <a:gd name="connsiteY204" fmla="*/ 317303 h 1707953"/>
                <a:gd name="connsiteX205" fmla="*/ 45069 w 1814116"/>
                <a:gd name="connsiteY205" fmla="*/ 298253 h 1707953"/>
                <a:gd name="connsiteX206" fmla="*/ 59356 w 1814116"/>
                <a:gd name="connsiteY206" fmla="*/ 283966 h 1707953"/>
                <a:gd name="connsiteX207" fmla="*/ 73644 w 1814116"/>
                <a:gd name="connsiteY207" fmla="*/ 279203 h 1707953"/>
                <a:gd name="connsiteX208" fmla="*/ 87931 w 1814116"/>
                <a:gd name="connsiteY208" fmla="*/ 269678 h 1707953"/>
                <a:gd name="connsiteX209" fmla="*/ 230806 w 1814116"/>
                <a:gd name="connsiteY209" fmla="*/ 264916 h 1707953"/>
                <a:gd name="connsiteX210" fmla="*/ 459406 w 1814116"/>
                <a:gd name="connsiteY210" fmla="*/ 260153 h 1707953"/>
                <a:gd name="connsiteX211" fmla="*/ 645144 w 1814116"/>
                <a:gd name="connsiteY211" fmla="*/ 255391 h 1707953"/>
                <a:gd name="connsiteX212" fmla="*/ 778494 w 1814116"/>
                <a:gd name="connsiteY212" fmla="*/ 260153 h 1707953"/>
                <a:gd name="connsiteX213" fmla="*/ 1002331 w 1814116"/>
                <a:gd name="connsiteY213" fmla="*/ 264916 h 1707953"/>
                <a:gd name="connsiteX214" fmla="*/ 1016619 w 1814116"/>
                <a:gd name="connsiteY214" fmla="*/ 260153 h 1707953"/>
                <a:gd name="connsiteX215" fmla="*/ 1030906 w 1814116"/>
                <a:gd name="connsiteY215" fmla="*/ 250628 h 1707953"/>
                <a:gd name="connsiteX216" fmla="*/ 1043102 w 1814116"/>
                <a:gd name="connsiteY216" fmla="*/ 246703 h 1707953"/>
                <a:gd name="connsiteX217" fmla="*/ 1044743 w 1814116"/>
                <a:gd name="connsiteY217" fmla="*/ 242996 h 1707953"/>
                <a:gd name="connsiteX218" fmla="*/ 1059481 w 1814116"/>
                <a:gd name="connsiteY218" fmla="*/ 231578 h 1707953"/>
                <a:gd name="connsiteX219" fmla="*/ 1070104 w 1814116"/>
                <a:gd name="connsiteY219" fmla="*/ 225724 h 1707953"/>
                <a:gd name="connsiteX220" fmla="*/ 1074468 w 1814116"/>
                <a:gd name="connsiteY220" fmla="*/ 226398 h 1707953"/>
                <a:gd name="connsiteX221" fmla="*/ 1083294 w 1814116"/>
                <a:gd name="connsiteY221" fmla="*/ 212528 h 1707953"/>
                <a:gd name="connsiteX222" fmla="*/ 1097581 w 1814116"/>
                <a:gd name="connsiteY222" fmla="*/ 207766 h 1707953"/>
                <a:gd name="connsiteX223" fmla="*/ 1140444 w 1814116"/>
                <a:gd name="connsiteY223" fmla="*/ 193478 h 1707953"/>
                <a:gd name="connsiteX224" fmla="*/ 1168059 w 1814116"/>
                <a:gd name="connsiteY224" fmla="*/ 183533 h 1707953"/>
                <a:gd name="connsiteX225" fmla="*/ 1188069 w 1814116"/>
                <a:gd name="connsiteY225" fmla="*/ 169666 h 1707953"/>
                <a:gd name="connsiteX226" fmla="*/ 1216644 w 1814116"/>
                <a:gd name="connsiteY226" fmla="*/ 160141 h 1707953"/>
                <a:gd name="connsiteX227" fmla="*/ 1240456 w 1814116"/>
                <a:gd name="connsiteY227" fmla="*/ 136328 h 1707953"/>
                <a:gd name="connsiteX228" fmla="*/ 1269031 w 1814116"/>
                <a:gd name="connsiteY228" fmla="*/ 117278 h 1707953"/>
                <a:gd name="connsiteX229" fmla="*/ 1278556 w 1814116"/>
                <a:gd name="connsiteY229" fmla="*/ 102991 h 1707953"/>
                <a:gd name="connsiteX230" fmla="*/ 1283319 w 1814116"/>
                <a:gd name="connsiteY230" fmla="*/ 22028 h 1707953"/>
                <a:gd name="connsiteX231" fmla="*/ 1310540 w 1814116"/>
                <a:gd name="connsiteY231" fmla="*/ 4 h 1707953"/>
                <a:gd name="connsiteX0" fmla="*/ 1209397 w 1814116"/>
                <a:gd name="connsiteY0" fmla="*/ 283834 h 1719859"/>
                <a:gd name="connsiteX1" fmla="*/ 1209570 w 1814116"/>
                <a:gd name="connsiteY1" fmla="*/ 283875 h 1719859"/>
                <a:gd name="connsiteX2" fmla="*/ 1209243 w 1814116"/>
                <a:gd name="connsiteY2" fmla="*/ 283841 h 1719859"/>
                <a:gd name="connsiteX3" fmla="*/ 1209397 w 1814116"/>
                <a:gd name="connsiteY3" fmla="*/ 283834 h 1719859"/>
                <a:gd name="connsiteX4" fmla="*/ 1310540 w 1814116"/>
                <a:gd name="connsiteY4" fmla="*/ 4 h 1719859"/>
                <a:gd name="connsiteX5" fmla="*/ 1330944 w 1814116"/>
                <a:gd name="connsiteY5" fmla="*/ 2978 h 1719859"/>
                <a:gd name="connsiteX6" fmla="*/ 1335706 w 1814116"/>
                <a:gd name="connsiteY6" fmla="*/ 17266 h 1719859"/>
                <a:gd name="connsiteX7" fmla="*/ 1349994 w 1814116"/>
                <a:gd name="connsiteY7" fmla="*/ 22028 h 1719859"/>
                <a:gd name="connsiteX8" fmla="*/ 1354756 w 1814116"/>
                <a:gd name="connsiteY8" fmla="*/ 41078 h 1719859"/>
                <a:gd name="connsiteX9" fmla="*/ 1354756 w 1814116"/>
                <a:gd name="connsiteY9" fmla="*/ 102991 h 1719859"/>
                <a:gd name="connsiteX10" fmla="*/ 1345231 w 1814116"/>
                <a:gd name="connsiteY10" fmla="*/ 117278 h 1719859"/>
                <a:gd name="connsiteX11" fmla="*/ 1326181 w 1814116"/>
                <a:gd name="connsiteY11" fmla="*/ 145853 h 1719859"/>
                <a:gd name="connsiteX12" fmla="*/ 1283319 w 1814116"/>
                <a:gd name="connsiteY12" fmla="*/ 183953 h 1719859"/>
                <a:gd name="connsiteX13" fmla="*/ 1273794 w 1814116"/>
                <a:gd name="connsiteY13" fmla="*/ 198241 h 1719859"/>
                <a:gd name="connsiteX14" fmla="*/ 1259506 w 1814116"/>
                <a:gd name="connsiteY14" fmla="*/ 207766 h 1719859"/>
                <a:gd name="connsiteX15" fmla="*/ 1245219 w 1814116"/>
                <a:gd name="connsiteY15" fmla="*/ 217291 h 1719859"/>
                <a:gd name="connsiteX16" fmla="*/ 1202356 w 1814116"/>
                <a:gd name="connsiteY16" fmla="*/ 245866 h 1719859"/>
                <a:gd name="connsiteX17" fmla="*/ 1188069 w 1814116"/>
                <a:gd name="connsiteY17" fmla="*/ 250628 h 1719859"/>
                <a:gd name="connsiteX18" fmla="*/ 1178544 w 1814116"/>
                <a:gd name="connsiteY18" fmla="*/ 264916 h 1719859"/>
                <a:gd name="connsiteX19" fmla="*/ 1164256 w 1814116"/>
                <a:gd name="connsiteY19" fmla="*/ 279203 h 1719859"/>
                <a:gd name="connsiteX20" fmla="*/ 1209243 w 1814116"/>
                <a:gd name="connsiteY20" fmla="*/ 283841 h 1719859"/>
                <a:gd name="connsiteX21" fmla="*/ 1226169 w 1814116"/>
                <a:gd name="connsiteY21" fmla="*/ 288728 h 1719859"/>
                <a:gd name="connsiteX22" fmla="*/ 1254744 w 1814116"/>
                <a:gd name="connsiteY22" fmla="*/ 293491 h 1719859"/>
                <a:gd name="connsiteX23" fmla="*/ 1269031 w 1814116"/>
                <a:gd name="connsiteY23" fmla="*/ 298253 h 1719859"/>
                <a:gd name="connsiteX24" fmla="*/ 1297606 w 1814116"/>
                <a:gd name="connsiteY24" fmla="*/ 307778 h 1719859"/>
                <a:gd name="connsiteX25" fmla="*/ 1311894 w 1814116"/>
                <a:gd name="connsiteY25" fmla="*/ 317303 h 1719859"/>
                <a:gd name="connsiteX26" fmla="*/ 1359519 w 1814116"/>
                <a:gd name="connsiteY26" fmla="*/ 331591 h 1719859"/>
                <a:gd name="connsiteX27" fmla="*/ 1397619 w 1814116"/>
                <a:gd name="connsiteY27" fmla="*/ 336353 h 1719859"/>
                <a:gd name="connsiteX28" fmla="*/ 1473819 w 1814116"/>
                <a:gd name="connsiteY28" fmla="*/ 341116 h 1719859"/>
                <a:gd name="connsiteX29" fmla="*/ 1530969 w 1814116"/>
                <a:gd name="connsiteY29" fmla="*/ 360166 h 1719859"/>
                <a:gd name="connsiteX30" fmla="*/ 1602406 w 1814116"/>
                <a:gd name="connsiteY30" fmla="*/ 364928 h 1719859"/>
                <a:gd name="connsiteX31" fmla="*/ 1645269 w 1814116"/>
                <a:gd name="connsiteY31" fmla="*/ 369691 h 1719859"/>
                <a:gd name="connsiteX32" fmla="*/ 1745281 w 1814116"/>
                <a:gd name="connsiteY32" fmla="*/ 379216 h 1719859"/>
                <a:gd name="connsiteX33" fmla="*/ 1759569 w 1814116"/>
                <a:gd name="connsiteY33" fmla="*/ 383978 h 1719859"/>
                <a:gd name="connsiteX34" fmla="*/ 1788144 w 1814116"/>
                <a:gd name="connsiteY34" fmla="*/ 403028 h 1719859"/>
                <a:gd name="connsiteX35" fmla="*/ 1801728 w 1814116"/>
                <a:gd name="connsiteY35" fmla="*/ 407765 h 1719859"/>
                <a:gd name="connsiteX36" fmla="*/ 1804035 w 1814116"/>
                <a:gd name="connsiteY36" fmla="*/ 411824 h 1719859"/>
                <a:gd name="connsiteX37" fmla="*/ 1807194 w 1814116"/>
                <a:gd name="connsiteY37" fmla="*/ 426841 h 1719859"/>
                <a:gd name="connsiteX38" fmla="*/ 1802431 w 1814116"/>
                <a:gd name="connsiteY38" fmla="*/ 441128 h 1719859"/>
                <a:gd name="connsiteX39" fmla="*/ 1797669 w 1814116"/>
                <a:gd name="connsiteY39" fmla="*/ 455416 h 1719859"/>
                <a:gd name="connsiteX40" fmla="*/ 1788144 w 1814116"/>
                <a:gd name="connsiteY40" fmla="*/ 483991 h 1719859"/>
                <a:gd name="connsiteX41" fmla="*/ 1778619 w 1814116"/>
                <a:gd name="connsiteY41" fmla="*/ 526853 h 1719859"/>
                <a:gd name="connsiteX42" fmla="*/ 1797669 w 1814116"/>
                <a:gd name="connsiteY42" fmla="*/ 555428 h 1719859"/>
                <a:gd name="connsiteX43" fmla="*/ 1802431 w 1814116"/>
                <a:gd name="connsiteY43" fmla="*/ 626866 h 1719859"/>
                <a:gd name="connsiteX44" fmla="*/ 1814116 w 1814116"/>
                <a:gd name="connsiteY44" fmla="*/ 635493 h 1719859"/>
                <a:gd name="connsiteX45" fmla="*/ 1804317 w 1814116"/>
                <a:gd name="connsiteY45" fmla="*/ 642402 h 1719859"/>
                <a:gd name="connsiteX46" fmla="*/ 1785267 w 1814116"/>
                <a:gd name="connsiteY46" fmla="*/ 685264 h 1719859"/>
                <a:gd name="connsiteX47" fmla="*/ 1766217 w 1814116"/>
                <a:gd name="connsiteY47" fmla="*/ 713839 h 1719859"/>
                <a:gd name="connsiteX48" fmla="*/ 1751929 w 1814116"/>
                <a:gd name="connsiteY48" fmla="*/ 742414 h 1719859"/>
                <a:gd name="connsiteX49" fmla="*/ 1738387 w 1814116"/>
                <a:gd name="connsiteY49" fmla="*/ 754171 h 1719859"/>
                <a:gd name="connsiteX50" fmla="*/ 1728117 w 1814116"/>
                <a:gd name="connsiteY50" fmla="*/ 766227 h 1719859"/>
                <a:gd name="connsiteX51" fmla="*/ 1713829 w 1814116"/>
                <a:gd name="connsiteY51" fmla="*/ 775752 h 1719859"/>
                <a:gd name="connsiteX52" fmla="*/ 1709067 w 1814116"/>
                <a:gd name="connsiteY52" fmla="*/ 790039 h 1719859"/>
                <a:gd name="connsiteX53" fmla="*/ 1702491 w 1814116"/>
                <a:gd name="connsiteY53" fmla="*/ 801932 h 1719859"/>
                <a:gd name="connsiteX54" fmla="*/ 1698881 w 1814116"/>
                <a:gd name="connsiteY54" fmla="*/ 806067 h 1719859"/>
                <a:gd name="connsiteX55" fmla="*/ 1694779 w 1814116"/>
                <a:gd name="connsiteY55" fmla="*/ 823377 h 1719859"/>
                <a:gd name="connsiteX56" fmla="*/ 1699542 w 1814116"/>
                <a:gd name="connsiteY56" fmla="*/ 837664 h 1719859"/>
                <a:gd name="connsiteX57" fmla="*/ 1701127 w 1814116"/>
                <a:gd name="connsiteY57" fmla="*/ 851861 h 1719859"/>
                <a:gd name="connsiteX58" fmla="*/ 1683369 w 1814116"/>
                <a:gd name="connsiteY58" fmla="*/ 845941 h 1719859"/>
                <a:gd name="connsiteX59" fmla="*/ 1640506 w 1814116"/>
                <a:gd name="connsiteY59" fmla="*/ 850703 h 1719859"/>
                <a:gd name="connsiteX60" fmla="*/ 1592881 w 1814116"/>
                <a:gd name="connsiteY60" fmla="*/ 855466 h 1719859"/>
                <a:gd name="connsiteX61" fmla="*/ 1578594 w 1814116"/>
                <a:gd name="connsiteY61" fmla="*/ 850703 h 1719859"/>
                <a:gd name="connsiteX62" fmla="*/ 1573831 w 1814116"/>
                <a:gd name="connsiteY62" fmla="*/ 817366 h 1719859"/>
                <a:gd name="connsiteX63" fmla="*/ 1569069 w 1814116"/>
                <a:gd name="connsiteY63" fmla="*/ 803078 h 1719859"/>
                <a:gd name="connsiteX64" fmla="*/ 1564306 w 1814116"/>
                <a:gd name="connsiteY64" fmla="*/ 788791 h 1719859"/>
                <a:gd name="connsiteX65" fmla="*/ 1545256 w 1814116"/>
                <a:gd name="connsiteY65" fmla="*/ 745928 h 1719859"/>
                <a:gd name="connsiteX66" fmla="*/ 1530065 w 1814116"/>
                <a:gd name="connsiteY66" fmla="*/ 734542 h 1719859"/>
                <a:gd name="connsiteX67" fmla="*/ 1526206 w 1814116"/>
                <a:gd name="connsiteY67" fmla="*/ 722116 h 1719859"/>
                <a:gd name="connsiteX68" fmla="*/ 1511919 w 1814116"/>
                <a:gd name="connsiteY68" fmla="*/ 707828 h 1719859"/>
                <a:gd name="connsiteX69" fmla="*/ 1478581 w 1814116"/>
                <a:gd name="connsiteY69" fmla="*/ 688778 h 1719859"/>
                <a:gd name="connsiteX70" fmla="*/ 1464294 w 1814116"/>
                <a:gd name="connsiteY70" fmla="*/ 679253 h 1719859"/>
                <a:gd name="connsiteX71" fmla="*/ 1416669 w 1814116"/>
                <a:gd name="connsiteY71" fmla="*/ 650678 h 1719859"/>
                <a:gd name="connsiteX72" fmla="*/ 1402381 w 1814116"/>
                <a:gd name="connsiteY72" fmla="*/ 645916 h 1719859"/>
                <a:gd name="connsiteX73" fmla="*/ 1373806 w 1814116"/>
                <a:gd name="connsiteY73" fmla="*/ 636391 h 1719859"/>
                <a:gd name="connsiteX74" fmla="*/ 1345231 w 1814116"/>
                <a:gd name="connsiteY74" fmla="*/ 617341 h 1719859"/>
                <a:gd name="connsiteX75" fmla="*/ 1330944 w 1814116"/>
                <a:gd name="connsiteY75" fmla="*/ 612578 h 1719859"/>
                <a:gd name="connsiteX76" fmla="*/ 1326181 w 1814116"/>
                <a:gd name="connsiteY76" fmla="*/ 598291 h 1719859"/>
                <a:gd name="connsiteX77" fmla="*/ 1292844 w 1814116"/>
                <a:gd name="connsiteY77" fmla="*/ 560191 h 1719859"/>
                <a:gd name="connsiteX78" fmla="*/ 1270745 w 1814116"/>
                <a:gd name="connsiteY78" fmla="*/ 548714 h 1719859"/>
                <a:gd name="connsiteX79" fmla="*/ 1249981 w 1814116"/>
                <a:gd name="connsiteY79" fmla="*/ 555428 h 1719859"/>
                <a:gd name="connsiteX80" fmla="*/ 1224822 w 1814116"/>
                <a:gd name="connsiteY80" fmla="*/ 551324 h 1719859"/>
                <a:gd name="connsiteX81" fmla="*/ 1230480 w 1814116"/>
                <a:gd name="connsiteY81" fmla="*/ 556163 h 1719859"/>
                <a:gd name="connsiteX82" fmla="*/ 1202356 w 1814116"/>
                <a:gd name="connsiteY82" fmla="*/ 536379 h 1719859"/>
                <a:gd name="connsiteX83" fmla="*/ 1175133 w 1814116"/>
                <a:gd name="connsiteY83" fmla="*/ 505629 h 1719859"/>
                <a:gd name="connsiteX84" fmla="*/ 1183413 w 1814116"/>
                <a:gd name="connsiteY84" fmla="*/ 525030 h 1719859"/>
                <a:gd name="connsiteX85" fmla="*/ 1166638 w 1814116"/>
                <a:gd name="connsiteY85" fmla="*/ 503041 h 1719859"/>
                <a:gd name="connsiteX86" fmla="*/ 1116631 w 1814116"/>
                <a:gd name="connsiteY86" fmla="*/ 493516 h 1719859"/>
                <a:gd name="connsiteX87" fmla="*/ 968994 w 1814116"/>
                <a:gd name="connsiteY87" fmla="*/ 488753 h 1719859"/>
                <a:gd name="connsiteX88" fmla="*/ 949944 w 1814116"/>
                <a:gd name="connsiteY88" fmla="*/ 493516 h 1719859"/>
                <a:gd name="connsiteX89" fmla="*/ 921369 w 1814116"/>
                <a:gd name="connsiteY89" fmla="*/ 503041 h 1719859"/>
                <a:gd name="connsiteX90" fmla="*/ 892794 w 1814116"/>
                <a:gd name="connsiteY90" fmla="*/ 512566 h 1719859"/>
                <a:gd name="connsiteX91" fmla="*/ 864219 w 1814116"/>
                <a:gd name="connsiteY91" fmla="*/ 531616 h 1719859"/>
                <a:gd name="connsiteX92" fmla="*/ 849931 w 1814116"/>
                <a:gd name="connsiteY92" fmla="*/ 536378 h 1719859"/>
                <a:gd name="connsiteX93" fmla="*/ 821356 w 1814116"/>
                <a:gd name="connsiteY93" fmla="*/ 579241 h 1719859"/>
                <a:gd name="connsiteX94" fmla="*/ 797544 w 1814116"/>
                <a:gd name="connsiteY94" fmla="*/ 622103 h 1719859"/>
                <a:gd name="connsiteX95" fmla="*/ 788019 w 1814116"/>
                <a:gd name="connsiteY95" fmla="*/ 636391 h 1719859"/>
                <a:gd name="connsiteX96" fmla="*/ 768969 w 1814116"/>
                <a:gd name="connsiteY96" fmla="*/ 664966 h 1719859"/>
                <a:gd name="connsiteX97" fmla="*/ 759444 w 1814116"/>
                <a:gd name="connsiteY97" fmla="*/ 703066 h 1719859"/>
                <a:gd name="connsiteX98" fmla="*/ 764206 w 1814116"/>
                <a:gd name="connsiteY98" fmla="*/ 717353 h 1719859"/>
                <a:gd name="connsiteX99" fmla="*/ 768969 w 1814116"/>
                <a:gd name="connsiteY99" fmla="*/ 741166 h 1719859"/>
                <a:gd name="connsiteX100" fmla="*/ 773731 w 1814116"/>
                <a:gd name="connsiteY100" fmla="*/ 760216 h 1719859"/>
                <a:gd name="connsiteX101" fmla="*/ 788019 w 1814116"/>
                <a:gd name="connsiteY101" fmla="*/ 788791 h 1719859"/>
                <a:gd name="connsiteX102" fmla="*/ 797544 w 1814116"/>
                <a:gd name="connsiteY102" fmla="*/ 803078 h 1719859"/>
                <a:gd name="connsiteX103" fmla="*/ 802306 w 1814116"/>
                <a:gd name="connsiteY103" fmla="*/ 817366 h 1719859"/>
                <a:gd name="connsiteX104" fmla="*/ 811831 w 1814116"/>
                <a:gd name="connsiteY104" fmla="*/ 845941 h 1719859"/>
                <a:gd name="connsiteX105" fmla="*/ 821356 w 1814116"/>
                <a:gd name="connsiteY105" fmla="*/ 922141 h 1719859"/>
                <a:gd name="connsiteX106" fmla="*/ 826119 w 1814116"/>
                <a:gd name="connsiteY106" fmla="*/ 941191 h 1719859"/>
                <a:gd name="connsiteX107" fmla="*/ 835644 w 1814116"/>
                <a:gd name="connsiteY107" fmla="*/ 955478 h 1719859"/>
                <a:gd name="connsiteX108" fmla="*/ 840406 w 1814116"/>
                <a:gd name="connsiteY108" fmla="*/ 979291 h 1719859"/>
                <a:gd name="connsiteX109" fmla="*/ 859456 w 1814116"/>
                <a:gd name="connsiteY109" fmla="*/ 1007866 h 1719859"/>
                <a:gd name="connsiteX110" fmla="*/ 873744 w 1814116"/>
                <a:gd name="connsiteY110" fmla="*/ 1022153 h 1719859"/>
                <a:gd name="connsiteX111" fmla="*/ 916606 w 1814116"/>
                <a:gd name="connsiteY111" fmla="*/ 1069778 h 1719859"/>
                <a:gd name="connsiteX112" fmla="*/ 945181 w 1814116"/>
                <a:gd name="connsiteY112" fmla="*/ 1093591 h 1719859"/>
                <a:gd name="connsiteX113" fmla="*/ 949944 w 1814116"/>
                <a:gd name="connsiteY113" fmla="*/ 1107878 h 1719859"/>
                <a:gd name="connsiteX114" fmla="*/ 964231 w 1814116"/>
                <a:gd name="connsiteY114" fmla="*/ 1117403 h 1719859"/>
                <a:gd name="connsiteX115" fmla="*/ 992806 w 1814116"/>
                <a:gd name="connsiteY115" fmla="*/ 1131691 h 1719859"/>
                <a:gd name="connsiteX116" fmla="*/ 997569 w 1814116"/>
                <a:gd name="connsiteY116" fmla="*/ 1145978 h 1719859"/>
                <a:gd name="connsiteX117" fmla="*/ 1026144 w 1814116"/>
                <a:gd name="connsiteY117" fmla="*/ 1165028 h 1719859"/>
                <a:gd name="connsiteX118" fmla="*/ 1035669 w 1814116"/>
                <a:gd name="connsiteY118" fmla="*/ 1179316 h 1719859"/>
                <a:gd name="connsiteX119" fmla="*/ 1049956 w 1814116"/>
                <a:gd name="connsiteY119" fmla="*/ 1193603 h 1719859"/>
                <a:gd name="connsiteX120" fmla="*/ 1078531 w 1814116"/>
                <a:gd name="connsiteY120" fmla="*/ 1222178 h 1719859"/>
                <a:gd name="connsiteX121" fmla="*/ 1097581 w 1814116"/>
                <a:gd name="connsiteY121" fmla="*/ 1265041 h 1719859"/>
                <a:gd name="connsiteX122" fmla="*/ 1135681 w 1814116"/>
                <a:gd name="connsiteY122" fmla="*/ 1331716 h 1719859"/>
                <a:gd name="connsiteX123" fmla="*/ 1145206 w 1814116"/>
                <a:gd name="connsiteY123" fmla="*/ 1346003 h 1719859"/>
                <a:gd name="connsiteX124" fmla="*/ 1159494 w 1814116"/>
                <a:gd name="connsiteY124" fmla="*/ 1355528 h 1719859"/>
                <a:gd name="connsiteX125" fmla="*/ 1173781 w 1814116"/>
                <a:gd name="connsiteY125" fmla="*/ 1369816 h 1719859"/>
                <a:gd name="connsiteX126" fmla="*/ 1188069 w 1814116"/>
                <a:gd name="connsiteY126" fmla="*/ 1374578 h 1719859"/>
                <a:gd name="connsiteX127" fmla="*/ 1197594 w 1814116"/>
                <a:gd name="connsiteY127" fmla="*/ 1388866 h 1719859"/>
                <a:gd name="connsiteX128" fmla="*/ 1207119 w 1814116"/>
                <a:gd name="connsiteY128" fmla="*/ 1436491 h 1719859"/>
                <a:gd name="connsiteX129" fmla="*/ 1211881 w 1814116"/>
                <a:gd name="connsiteY129" fmla="*/ 1460303 h 1719859"/>
                <a:gd name="connsiteX130" fmla="*/ 1216644 w 1814116"/>
                <a:gd name="connsiteY130" fmla="*/ 1474591 h 1719859"/>
                <a:gd name="connsiteX131" fmla="*/ 1221406 w 1814116"/>
                <a:gd name="connsiteY131" fmla="*/ 1507928 h 1719859"/>
                <a:gd name="connsiteX132" fmla="*/ 1226169 w 1814116"/>
                <a:gd name="connsiteY132" fmla="*/ 1588891 h 1719859"/>
                <a:gd name="connsiteX133" fmla="*/ 1207119 w 1814116"/>
                <a:gd name="connsiteY133" fmla="*/ 1617466 h 1719859"/>
                <a:gd name="connsiteX134" fmla="*/ 1173781 w 1814116"/>
                <a:gd name="connsiteY134" fmla="*/ 1655566 h 1719859"/>
                <a:gd name="connsiteX135" fmla="*/ 1159494 w 1814116"/>
                <a:gd name="connsiteY135" fmla="*/ 1660328 h 1719859"/>
                <a:gd name="connsiteX136" fmla="*/ 1149969 w 1814116"/>
                <a:gd name="connsiteY136" fmla="*/ 1688903 h 1719859"/>
                <a:gd name="connsiteX137" fmla="*/ 1140444 w 1814116"/>
                <a:gd name="connsiteY137" fmla="*/ 1703191 h 1719859"/>
                <a:gd name="connsiteX138" fmla="*/ 1130918 w 1814116"/>
                <a:gd name="connsiteY138" fmla="*/ 1719859 h 1719859"/>
                <a:gd name="connsiteX139" fmla="*/ 1097581 w 1814116"/>
                <a:gd name="connsiteY139" fmla="*/ 1693666 h 1719859"/>
                <a:gd name="connsiteX140" fmla="*/ 1092819 w 1814116"/>
                <a:gd name="connsiteY140" fmla="*/ 1679378 h 1719859"/>
                <a:gd name="connsiteX141" fmla="*/ 1083294 w 1814116"/>
                <a:gd name="connsiteY141" fmla="*/ 1598416 h 1719859"/>
                <a:gd name="connsiteX142" fmla="*/ 1078531 w 1814116"/>
                <a:gd name="connsiteY142" fmla="*/ 1584128 h 1719859"/>
                <a:gd name="connsiteX143" fmla="*/ 1069006 w 1814116"/>
                <a:gd name="connsiteY143" fmla="*/ 1569841 h 1719859"/>
                <a:gd name="connsiteX144" fmla="*/ 1054719 w 1814116"/>
                <a:gd name="connsiteY144" fmla="*/ 1512691 h 1719859"/>
                <a:gd name="connsiteX145" fmla="*/ 1042164 w 1814116"/>
                <a:gd name="connsiteY145" fmla="*/ 1493488 h 1719859"/>
                <a:gd name="connsiteX146" fmla="*/ 1026144 w 1814116"/>
                <a:gd name="connsiteY146" fmla="*/ 1479353 h 1719859"/>
                <a:gd name="connsiteX147" fmla="*/ 1011856 w 1814116"/>
                <a:gd name="connsiteY147" fmla="*/ 1460303 h 1719859"/>
                <a:gd name="connsiteX148" fmla="*/ 1000184 w 1814116"/>
                <a:gd name="connsiteY148" fmla="*/ 1456613 h 1719859"/>
                <a:gd name="connsiteX149" fmla="*/ 983281 w 1814116"/>
                <a:gd name="connsiteY149" fmla="*/ 1436491 h 1719859"/>
                <a:gd name="connsiteX150" fmla="*/ 968994 w 1814116"/>
                <a:gd name="connsiteY150" fmla="*/ 1422203 h 1719859"/>
                <a:gd name="connsiteX151" fmla="*/ 954706 w 1814116"/>
                <a:gd name="connsiteY151" fmla="*/ 1412678 h 1719859"/>
                <a:gd name="connsiteX152" fmla="*/ 926131 w 1814116"/>
                <a:gd name="connsiteY152" fmla="*/ 1369816 h 1719859"/>
                <a:gd name="connsiteX153" fmla="*/ 921369 w 1814116"/>
                <a:gd name="connsiteY153" fmla="*/ 1350766 h 1719859"/>
                <a:gd name="connsiteX154" fmla="*/ 859456 w 1814116"/>
                <a:gd name="connsiteY154" fmla="*/ 1293616 h 1719859"/>
                <a:gd name="connsiteX155" fmla="*/ 835644 w 1814116"/>
                <a:gd name="connsiteY155" fmla="*/ 1255516 h 1719859"/>
                <a:gd name="connsiteX156" fmla="*/ 830881 w 1814116"/>
                <a:gd name="connsiteY156" fmla="*/ 1241228 h 1719859"/>
                <a:gd name="connsiteX157" fmla="*/ 821356 w 1814116"/>
                <a:gd name="connsiteY157" fmla="*/ 1226941 h 1719859"/>
                <a:gd name="connsiteX158" fmla="*/ 807069 w 1814116"/>
                <a:gd name="connsiteY158" fmla="*/ 1217416 h 1719859"/>
                <a:gd name="connsiteX159" fmla="*/ 792781 w 1814116"/>
                <a:gd name="connsiteY159" fmla="*/ 1212653 h 1719859"/>
                <a:gd name="connsiteX160" fmla="*/ 778494 w 1814116"/>
                <a:gd name="connsiteY160" fmla="*/ 1198366 h 1719859"/>
                <a:gd name="connsiteX161" fmla="*/ 740394 w 1814116"/>
                <a:gd name="connsiteY161" fmla="*/ 1188841 h 1719859"/>
                <a:gd name="connsiteX162" fmla="*/ 726106 w 1814116"/>
                <a:gd name="connsiteY162" fmla="*/ 1179316 h 1719859"/>
                <a:gd name="connsiteX163" fmla="*/ 707056 w 1814116"/>
                <a:gd name="connsiteY163" fmla="*/ 1169791 h 1719859"/>
                <a:gd name="connsiteX164" fmla="*/ 678481 w 1814116"/>
                <a:gd name="connsiteY164" fmla="*/ 1160266 h 1719859"/>
                <a:gd name="connsiteX165" fmla="*/ 635619 w 1814116"/>
                <a:gd name="connsiteY165" fmla="*/ 1126928 h 1719859"/>
                <a:gd name="connsiteX166" fmla="*/ 626094 w 1814116"/>
                <a:gd name="connsiteY166" fmla="*/ 1112641 h 1719859"/>
                <a:gd name="connsiteX167" fmla="*/ 610690 w 1814116"/>
                <a:gd name="connsiteY167" fmla="*/ 1100139 h 1719859"/>
                <a:gd name="connsiteX168" fmla="*/ 602281 w 1814116"/>
                <a:gd name="connsiteY168" fmla="*/ 1088828 h 1719859"/>
                <a:gd name="connsiteX169" fmla="*/ 578469 w 1814116"/>
                <a:gd name="connsiteY169" fmla="*/ 1060253 h 1719859"/>
                <a:gd name="connsiteX170" fmla="*/ 573706 w 1814116"/>
                <a:gd name="connsiteY170" fmla="*/ 1045966 h 1719859"/>
                <a:gd name="connsiteX171" fmla="*/ 559419 w 1814116"/>
                <a:gd name="connsiteY171" fmla="*/ 1017391 h 1719859"/>
                <a:gd name="connsiteX172" fmla="*/ 534545 w 1814116"/>
                <a:gd name="connsiteY172" fmla="*/ 1001160 h 1719859"/>
                <a:gd name="connsiteX173" fmla="*/ 521319 w 1814116"/>
                <a:gd name="connsiteY173" fmla="*/ 988816 h 1719859"/>
                <a:gd name="connsiteX174" fmla="*/ 500406 w 1814116"/>
                <a:gd name="connsiteY174" fmla="*/ 971994 h 1719859"/>
                <a:gd name="connsiteX175" fmla="*/ 492744 w 1814116"/>
                <a:gd name="connsiteY175" fmla="*/ 960241 h 1719859"/>
                <a:gd name="connsiteX176" fmla="*/ 459406 w 1814116"/>
                <a:gd name="connsiteY176" fmla="*/ 931666 h 1719859"/>
                <a:gd name="connsiteX177" fmla="*/ 449881 w 1814116"/>
                <a:gd name="connsiteY177" fmla="*/ 912616 h 1719859"/>
                <a:gd name="connsiteX178" fmla="*/ 435594 w 1814116"/>
                <a:gd name="connsiteY178" fmla="*/ 907853 h 1719859"/>
                <a:gd name="connsiteX179" fmla="*/ 421306 w 1814116"/>
                <a:gd name="connsiteY179" fmla="*/ 888803 h 1719859"/>
                <a:gd name="connsiteX180" fmla="*/ 378444 w 1814116"/>
                <a:gd name="connsiteY180" fmla="*/ 864991 h 1719859"/>
                <a:gd name="connsiteX181" fmla="*/ 364156 w 1814116"/>
                <a:gd name="connsiteY181" fmla="*/ 850703 h 1719859"/>
                <a:gd name="connsiteX182" fmla="*/ 359394 w 1814116"/>
                <a:gd name="connsiteY182" fmla="*/ 836416 h 1719859"/>
                <a:gd name="connsiteX183" fmla="*/ 345106 w 1814116"/>
                <a:gd name="connsiteY183" fmla="*/ 822128 h 1719859"/>
                <a:gd name="connsiteX184" fmla="*/ 330819 w 1814116"/>
                <a:gd name="connsiteY184" fmla="*/ 788791 h 1719859"/>
                <a:gd name="connsiteX185" fmla="*/ 287956 w 1814116"/>
                <a:gd name="connsiteY185" fmla="*/ 750691 h 1719859"/>
                <a:gd name="connsiteX186" fmla="*/ 273669 w 1814116"/>
                <a:gd name="connsiteY186" fmla="*/ 703066 h 1719859"/>
                <a:gd name="connsiteX187" fmla="*/ 259381 w 1814116"/>
                <a:gd name="connsiteY187" fmla="*/ 674491 h 1719859"/>
                <a:gd name="connsiteX188" fmla="*/ 249856 w 1814116"/>
                <a:gd name="connsiteY188" fmla="*/ 660203 h 1719859"/>
                <a:gd name="connsiteX189" fmla="*/ 245094 w 1814116"/>
                <a:gd name="connsiteY189" fmla="*/ 645916 h 1719859"/>
                <a:gd name="connsiteX190" fmla="*/ 230806 w 1814116"/>
                <a:gd name="connsiteY190" fmla="*/ 631628 h 1719859"/>
                <a:gd name="connsiteX191" fmla="*/ 221281 w 1814116"/>
                <a:gd name="connsiteY191" fmla="*/ 617341 h 1719859"/>
                <a:gd name="connsiteX192" fmla="*/ 173656 w 1814116"/>
                <a:gd name="connsiteY192" fmla="*/ 603053 h 1719859"/>
                <a:gd name="connsiteX193" fmla="*/ 159369 w 1814116"/>
                <a:gd name="connsiteY193" fmla="*/ 607816 h 1719859"/>
                <a:gd name="connsiteX194" fmla="*/ 78406 w 1814116"/>
                <a:gd name="connsiteY194" fmla="*/ 617341 h 1719859"/>
                <a:gd name="connsiteX195" fmla="*/ 64119 w 1814116"/>
                <a:gd name="connsiteY195" fmla="*/ 612578 h 1719859"/>
                <a:gd name="connsiteX196" fmla="*/ 49831 w 1814116"/>
                <a:gd name="connsiteY196" fmla="*/ 598291 h 1719859"/>
                <a:gd name="connsiteX197" fmla="*/ 35544 w 1814116"/>
                <a:gd name="connsiteY197" fmla="*/ 593528 h 1719859"/>
                <a:gd name="connsiteX198" fmla="*/ 30781 w 1814116"/>
                <a:gd name="connsiteY198" fmla="*/ 579241 h 1719859"/>
                <a:gd name="connsiteX199" fmla="*/ 30781 w 1814116"/>
                <a:gd name="connsiteY199" fmla="*/ 474466 h 1719859"/>
                <a:gd name="connsiteX200" fmla="*/ 26019 w 1814116"/>
                <a:gd name="connsiteY200" fmla="*/ 460178 h 1719859"/>
                <a:gd name="connsiteX201" fmla="*/ 11731 w 1814116"/>
                <a:gd name="connsiteY201" fmla="*/ 450653 h 1719859"/>
                <a:gd name="connsiteX202" fmla="*/ 6969 w 1814116"/>
                <a:gd name="connsiteY202" fmla="*/ 436366 h 1719859"/>
                <a:gd name="connsiteX203" fmla="*/ 6969 w 1814116"/>
                <a:gd name="connsiteY203" fmla="*/ 331591 h 1719859"/>
                <a:gd name="connsiteX204" fmla="*/ 16494 w 1814116"/>
                <a:gd name="connsiteY204" fmla="*/ 317303 h 1719859"/>
                <a:gd name="connsiteX205" fmla="*/ 45069 w 1814116"/>
                <a:gd name="connsiteY205" fmla="*/ 298253 h 1719859"/>
                <a:gd name="connsiteX206" fmla="*/ 59356 w 1814116"/>
                <a:gd name="connsiteY206" fmla="*/ 283966 h 1719859"/>
                <a:gd name="connsiteX207" fmla="*/ 73644 w 1814116"/>
                <a:gd name="connsiteY207" fmla="*/ 279203 h 1719859"/>
                <a:gd name="connsiteX208" fmla="*/ 87931 w 1814116"/>
                <a:gd name="connsiteY208" fmla="*/ 269678 h 1719859"/>
                <a:gd name="connsiteX209" fmla="*/ 230806 w 1814116"/>
                <a:gd name="connsiteY209" fmla="*/ 264916 h 1719859"/>
                <a:gd name="connsiteX210" fmla="*/ 459406 w 1814116"/>
                <a:gd name="connsiteY210" fmla="*/ 260153 h 1719859"/>
                <a:gd name="connsiteX211" fmla="*/ 645144 w 1814116"/>
                <a:gd name="connsiteY211" fmla="*/ 255391 h 1719859"/>
                <a:gd name="connsiteX212" fmla="*/ 778494 w 1814116"/>
                <a:gd name="connsiteY212" fmla="*/ 260153 h 1719859"/>
                <a:gd name="connsiteX213" fmla="*/ 1002331 w 1814116"/>
                <a:gd name="connsiteY213" fmla="*/ 264916 h 1719859"/>
                <a:gd name="connsiteX214" fmla="*/ 1016619 w 1814116"/>
                <a:gd name="connsiteY214" fmla="*/ 260153 h 1719859"/>
                <a:gd name="connsiteX215" fmla="*/ 1030906 w 1814116"/>
                <a:gd name="connsiteY215" fmla="*/ 250628 h 1719859"/>
                <a:gd name="connsiteX216" fmla="*/ 1043102 w 1814116"/>
                <a:gd name="connsiteY216" fmla="*/ 246703 h 1719859"/>
                <a:gd name="connsiteX217" fmla="*/ 1044743 w 1814116"/>
                <a:gd name="connsiteY217" fmla="*/ 242996 h 1719859"/>
                <a:gd name="connsiteX218" fmla="*/ 1059481 w 1814116"/>
                <a:gd name="connsiteY218" fmla="*/ 231578 h 1719859"/>
                <a:gd name="connsiteX219" fmla="*/ 1070104 w 1814116"/>
                <a:gd name="connsiteY219" fmla="*/ 225724 h 1719859"/>
                <a:gd name="connsiteX220" fmla="*/ 1074468 w 1814116"/>
                <a:gd name="connsiteY220" fmla="*/ 226398 h 1719859"/>
                <a:gd name="connsiteX221" fmla="*/ 1083294 w 1814116"/>
                <a:gd name="connsiteY221" fmla="*/ 212528 h 1719859"/>
                <a:gd name="connsiteX222" fmla="*/ 1097581 w 1814116"/>
                <a:gd name="connsiteY222" fmla="*/ 207766 h 1719859"/>
                <a:gd name="connsiteX223" fmla="*/ 1140444 w 1814116"/>
                <a:gd name="connsiteY223" fmla="*/ 193478 h 1719859"/>
                <a:gd name="connsiteX224" fmla="*/ 1168059 w 1814116"/>
                <a:gd name="connsiteY224" fmla="*/ 183533 h 1719859"/>
                <a:gd name="connsiteX225" fmla="*/ 1188069 w 1814116"/>
                <a:gd name="connsiteY225" fmla="*/ 169666 h 1719859"/>
                <a:gd name="connsiteX226" fmla="*/ 1216644 w 1814116"/>
                <a:gd name="connsiteY226" fmla="*/ 160141 h 1719859"/>
                <a:gd name="connsiteX227" fmla="*/ 1240456 w 1814116"/>
                <a:gd name="connsiteY227" fmla="*/ 136328 h 1719859"/>
                <a:gd name="connsiteX228" fmla="*/ 1269031 w 1814116"/>
                <a:gd name="connsiteY228" fmla="*/ 117278 h 1719859"/>
                <a:gd name="connsiteX229" fmla="*/ 1278556 w 1814116"/>
                <a:gd name="connsiteY229" fmla="*/ 102991 h 1719859"/>
                <a:gd name="connsiteX230" fmla="*/ 1283319 w 1814116"/>
                <a:gd name="connsiteY230" fmla="*/ 22028 h 1719859"/>
                <a:gd name="connsiteX231" fmla="*/ 1310540 w 1814116"/>
                <a:gd name="connsiteY231" fmla="*/ 4 h 1719859"/>
                <a:gd name="connsiteX0" fmla="*/ 1209397 w 1814116"/>
                <a:gd name="connsiteY0" fmla="*/ 283834 h 1719859"/>
                <a:gd name="connsiteX1" fmla="*/ 1209570 w 1814116"/>
                <a:gd name="connsiteY1" fmla="*/ 283875 h 1719859"/>
                <a:gd name="connsiteX2" fmla="*/ 1209243 w 1814116"/>
                <a:gd name="connsiteY2" fmla="*/ 283841 h 1719859"/>
                <a:gd name="connsiteX3" fmla="*/ 1209397 w 1814116"/>
                <a:gd name="connsiteY3" fmla="*/ 283834 h 1719859"/>
                <a:gd name="connsiteX4" fmla="*/ 1310540 w 1814116"/>
                <a:gd name="connsiteY4" fmla="*/ 4 h 1719859"/>
                <a:gd name="connsiteX5" fmla="*/ 1330944 w 1814116"/>
                <a:gd name="connsiteY5" fmla="*/ 2978 h 1719859"/>
                <a:gd name="connsiteX6" fmla="*/ 1335706 w 1814116"/>
                <a:gd name="connsiteY6" fmla="*/ 17266 h 1719859"/>
                <a:gd name="connsiteX7" fmla="*/ 1349994 w 1814116"/>
                <a:gd name="connsiteY7" fmla="*/ 22028 h 1719859"/>
                <a:gd name="connsiteX8" fmla="*/ 1354756 w 1814116"/>
                <a:gd name="connsiteY8" fmla="*/ 41078 h 1719859"/>
                <a:gd name="connsiteX9" fmla="*/ 1354756 w 1814116"/>
                <a:gd name="connsiteY9" fmla="*/ 102991 h 1719859"/>
                <a:gd name="connsiteX10" fmla="*/ 1345231 w 1814116"/>
                <a:gd name="connsiteY10" fmla="*/ 117278 h 1719859"/>
                <a:gd name="connsiteX11" fmla="*/ 1326181 w 1814116"/>
                <a:gd name="connsiteY11" fmla="*/ 145853 h 1719859"/>
                <a:gd name="connsiteX12" fmla="*/ 1283319 w 1814116"/>
                <a:gd name="connsiteY12" fmla="*/ 183953 h 1719859"/>
                <a:gd name="connsiteX13" fmla="*/ 1273794 w 1814116"/>
                <a:gd name="connsiteY13" fmla="*/ 198241 h 1719859"/>
                <a:gd name="connsiteX14" fmla="*/ 1259506 w 1814116"/>
                <a:gd name="connsiteY14" fmla="*/ 207766 h 1719859"/>
                <a:gd name="connsiteX15" fmla="*/ 1245219 w 1814116"/>
                <a:gd name="connsiteY15" fmla="*/ 217291 h 1719859"/>
                <a:gd name="connsiteX16" fmla="*/ 1202356 w 1814116"/>
                <a:gd name="connsiteY16" fmla="*/ 245866 h 1719859"/>
                <a:gd name="connsiteX17" fmla="*/ 1188069 w 1814116"/>
                <a:gd name="connsiteY17" fmla="*/ 250628 h 1719859"/>
                <a:gd name="connsiteX18" fmla="*/ 1178544 w 1814116"/>
                <a:gd name="connsiteY18" fmla="*/ 264916 h 1719859"/>
                <a:gd name="connsiteX19" fmla="*/ 1164256 w 1814116"/>
                <a:gd name="connsiteY19" fmla="*/ 279203 h 1719859"/>
                <a:gd name="connsiteX20" fmla="*/ 1209243 w 1814116"/>
                <a:gd name="connsiteY20" fmla="*/ 283841 h 1719859"/>
                <a:gd name="connsiteX21" fmla="*/ 1226169 w 1814116"/>
                <a:gd name="connsiteY21" fmla="*/ 288728 h 1719859"/>
                <a:gd name="connsiteX22" fmla="*/ 1254744 w 1814116"/>
                <a:gd name="connsiteY22" fmla="*/ 293491 h 1719859"/>
                <a:gd name="connsiteX23" fmla="*/ 1269031 w 1814116"/>
                <a:gd name="connsiteY23" fmla="*/ 298253 h 1719859"/>
                <a:gd name="connsiteX24" fmla="*/ 1297606 w 1814116"/>
                <a:gd name="connsiteY24" fmla="*/ 307778 h 1719859"/>
                <a:gd name="connsiteX25" fmla="*/ 1311894 w 1814116"/>
                <a:gd name="connsiteY25" fmla="*/ 317303 h 1719859"/>
                <a:gd name="connsiteX26" fmla="*/ 1359519 w 1814116"/>
                <a:gd name="connsiteY26" fmla="*/ 331591 h 1719859"/>
                <a:gd name="connsiteX27" fmla="*/ 1397619 w 1814116"/>
                <a:gd name="connsiteY27" fmla="*/ 336353 h 1719859"/>
                <a:gd name="connsiteX28" fmla="*/ 1473819 w 1814116"/>
                <a:gd name="connsiteY28" fmla="*/ 341116 h 1719859"/>
                <a:gd name="connsiteX29" fmla="*/ 1530969 w 1814116"/>
                <a:gd name="connsiteY29" fmla="*/ 360166 h 1719859"/>
                <a:gd name="connsiteX30" fmla="*/ 1602406 w 1814116"/>
                <a:gd name="connsiteY30" fmla="*/ 364928 h 1719859"/>
                <a:gd name="connsiteX31" fmla="*/ 1645269 w 1814116"/>
                <a:gd name="connsiteY31" fmla="*/ 369691 h 1719859"/>
                <a:gd name="connsiteX32" fmla="*/ 1745281 w 1814116"/>
                <a:gd name="connsiteY32" fmla="*/ 379216 h 1719859"/>
                <a:gd name="connsiteX33" fmla="*/ 1759569 w 1814116"/>
                <a:gd name="connsiteY33" fmla="*/ 383978 h 1719859"/>
                <a:gd name="connsiteX34" fmla="*/ 1788144 w 1814116"/>
                <a:gd name="connsiteY34" fmla="*/ 403028 h 1719859"/>
                <a:gd name="connsiteX35" fmla="*/ 1801728 w 1814116"/>
                <a:gd name="connsiteY35" fmla="*/ 407765 h 1719859"/>
                <a:gd name="connsiteX36" fmla="*/ 1804035 w 1814116"/>
                <a:gd name="connsiteY36" fmla="*/ 411824 h 1719859"/>
                <a:gd name="connsiteX37" fmla="*/ 1807194 w 1814116"/>
                <a:gd name="connsiteY37" fmla="*/ 426841 h 1719859"/>
                <a:gd name="connsiteX38" fmla="*/ 1802431 w 1814116"/>
                <a:gd name="connsiteY38" fmla="*/ 441128 h 1719859"/>
                <a:gd name="connsiteX39" fmla="*/ 1797669 w 1814116"/>
                <a:gd name="connsiteY39" fmla="*/ 455416 h 1719859"/>
                <a:gd name="connsiteX40" fmla="*/ 1788144 w 1814116"/>
                <a:gd name="connsiteY40" fmla="*/ 483991 h 1719859"/>
                <a:gd name="connsiteX41" fmla="*/ 1778619 w 1814116"/>
                <a:gd name="connsiteY41" fmla="*/ 526853 h 1719859"/>
                <a:gd name="connsiteX42" fmla="*/ 1797669 w 1814116"/>
                <a:gd name="connsiteY42" fmla="*/ 555428 h 1719859"/>
                <a:gd name="connsiteX43" fmla="*/ 1802431 w 1814116"/>
                <a:gd name="connsiteY43" fmla="*/ 626866 h 1719859"/>
                <a:gd name="connsiteX44" fmla="*/ 1814116 w 1814116"/>
                <a:gd name="connsiteY44" fmla="*/ 635493 h 1719859"/>
                <a:gd name="connsiteX45" fmla="*/ 1804317 w 1814116"/>
                <a:gd name="connsiteY45" fmla="*/ 642402 h 1719859"/>
                <a:gd name="connsiteX46" fmla="*/ 1785267 w 1814116"/>
                <a:gd name="connsiteY46" fmla="*/ 685264 h 1719859"/>
                <a:gd name="connsiteX47" fmla="*/ 1766217 w 1814116"/>
                <a:gd name="connsiteY47" fmla="*/ 713839 h 1719859"/>
                <a:gd name="connsiteX48" fmla="*/ 1751929 w 1814116"/>
                <a:gd name="connsiteY48" fmla="*/ 742414 h 1719859"/>
                <a:gd name="connsiteX49" fmla="*/ 1738387 w 1814116"/>
                <a:gd name="connsiteY49" fmla="*/ 754171 h 1719859"/>
                <a:gd name="connsiteX50" fmla="*/ 1728117 w 1814116"/>
                <a:gd name="connsiteY50" fmla="*/ 766227 h 1719859"/>
                <a:gd name="connsiteX51" fmla="*/ 1713829 w 1814116"/>
                <a:gd name="connsiteY51" fmla="*/ 775752 h 1719859"/>
                <a:gd name="connsiteX52" fmla="*/ 1709067 w 1814116"/>
                <a:gd name="connsiteY52" fmla="*/ 790039 h 1719859"/>
                <a:gd name="connsiteX53" fmla="*/ 1702491 w 1814116"/>
                <a:gd name="connsiteY53" fmla="*/ 801932 h 1719859"/>
                <a:gd name="connsiteX54" fmla="*/ 1698881 w 1814116"/>
                <a:gd name="connsiteY54" fmla="*/ 806067 h 1719859"/>
                <a:gd name="connsiteX55" fmla="*/ 1694779 w 1814116"/>
                <a:gd name="connsiteY55" fmla="*/ 823377 h 1719859"/>
                <a:gd name="connsiteX56" fmla="*/ 1699542 w 1814116"/>
                <a:gd name="connsiteY56" fmla="*/ 837664 h 1719859"/>
                <a:gd name="connsiteX57" fmla="*/ 1701127 w 1814116"/>
                <a:gd name="connsiteY57" fmla="*/ 851861 h 1719859"/>
                <a:gd name="connsiteX58" fmla="*/ 1683369 w 1814116"/>
                <a:gd name="connsiteY58" fmla="*/ 845941 h 1719859"/>
                <a:gd name="connsiteX59" fmla="*/ 1640506 w 1814116"/>
                <a:gd name="connsiteY59" fmla="*/ 850703 h 1719859"/>
                <a:gd name="connsiteX60" fmla="*/ 1592881 w 1814116"/>
                <a:gd name="connsiteY60" fmla="*/ 855466 h 1719859"/>
                <a:gd name="connsiteX61" fmla="*/ 1578594 w 1814116"/>
                <a:gd name="connsiteY61" fmla="*/ 850703 h 1719859"/>
                <a:gd name="connsiteX62" fmla="*/ 1573831 w 1814116"/>
                <a:gd name="connsiteY62" fmla="*/ 817366 h 1719859"/>
                <a:gd name="connsiteX63" fmla="*/ 1569069 w 1814116"/>
                <a:gd name="connsiteY63" fmla="*/ 803078 h 1719859"/>
                <a:gd name="connsiteX64" fmla="*/ 1564306 w 1814116"/>
                <a:gd name="connsiteY64" fmla="*/ 788791 h 1719859"/>
                <a:gd name="connsiteX65" fmla="*/ 1545256 w 1814116"/>
                <a:gd name="connsiteY65" fmla="*/ 745928 h 1719859"/>
                <a:gd name="connsiteX66" fmla="*/ 1530065 w 1814116"/>
                <a:gd name="connsiteY66" fmla="*/ 734542 h 1719859"/>
                <a:gd name="connsiteX67" fmla="*/ 1526206 w 1814116"/>
                <a:gd name="connsiteY67" fmla="*/ 722116 h 1719859"/>
                <a:gd name="connsiteX68" fmla="*/ 1511919 w 1814116"/>
                <a:gd name="connsiteY68" fmla="*/ 707828 h 1719859"/>
                <a:gd name="connsiteX69" fmla="*/ 1478581 w 1814116"/>
                <a:gd name="connsiteY69" fmla="*/ 688778 h 1719859"/>
                <a:gd name="connsiteX70" fmla="*/ 1464294 w 1814116"/>
                <a:gd name="connsiteY70" fmla="*/ 679253 h 1719859"/>
                <a:gd name="connsiteX71" fmla="*/ 1416669 w 1814116"/>
                <a:gd name="connsiteY71" fmla="*/ 650678 h 1719859"/>
                <a:gd name="connsiteX72" fmla="*/ 1402381 w 1814116"/>
                <a:gd name="connsiteY72" fmla="*/ 645916 h 1719859"/>
                <a:gd name="connsiteX73" fmla="*/ 1373806 w 1814116"/>
                <a:gd name="connsiteY73" fmla="*/ 636391 h 1719859"/>
                <a:gd name="connsiteX74" fmla="*/ 1345231 w 1814116"/>
                <a:gd name="connsiteY74" fmla="*/ 617341 h 1719859"/>
                <a:gd name="connsiteX75" fmla="*/ 1330944 w 1814116"/>
                <a:gd name="connsiteY75" fmla="*/ 612578 h 1719859"/>
                <a:gd name="connsiteX76" fmla="*/ 1326181 w 1814116"/>
                <a:gd name="connsiteY76" fmla="*/ 598291 h 1719859"/>
                <a:gd name="connsiteX77" fmla="*/ 1292844 w 1814116"/>
                <a:gd name="connsiteY77" fmla="*/ 560191 h 1719859"/>
                <a:gd name="connsiteX78" fmla="*/ 1270745 w 1814116"/>
                <a:gd name="connsiteY78" fmla="*/ 548714 h 1719859"/>
                <a:gd name="connsiteX79" fmla="*/ 1249981 w 1814116"/>
                <a:gd name="connsiteY79" fmla="*/ 555428 h 1719859"/>
                <a:gd name="connsiteX80" fmla="*/ 1224822 w 1814116"/>
                <a:gd name="connsiteY80" fmla="*/ 551324 h 1719859"/>
                <a:gd name="connsiteX81" fmla="*/ 1230480 w 1814116"/>
                <a:gd name="connsiteY81" fmla="*/ 556163 h 1719859"/>
                <a:gd name="connsiteX82" fmla="*/ 1202356 w 1814116"/>
                <a:gd name="connsiteY82" fmla="*/ 536379 h 1719859"/>
                <a:gd name="connsiteX83" fmla="*/ 1175133 w 1814116"/>
                <a:gd name="connsiteY83" fmla="*/ 505629 h 1719859"/>
                <a:gd name="connsiteX84" fmla="*/ 1183413 w 1814116"/>
                <a:gd name="connsiteY84" fmla="*/ 525030 h 1719859"/>
                <a:gd name="connsiteX85" fmla="*/ 1166638 w 1814116"/>
                <a:gd name="connsiteY85" fmla="*/ 503041 h 1719859"/>
                <a:gd name="connsiteX86" fmla="*/ 1116631 w 1814116"/>
                <a:gd name="connsiteY86" fmla="*/ 493516 h 1719859"/>
                <a:gd name="connsiteX87" fmla="*/ 968994 w 1814116"/>
                <a:gd name="connsiteY87" fmla="*/ 488753 h 1719859"/>
                <a:gd name="connsiteX88" fmla="*/ 949944 w 1814116"/>
                <a:gd name="connsiteY88" fmla="*/ 493516 h 1719859"/>
                <a:gd name="connsiteX89" fmla="*/ 921369 w 1814116"/>
                <a:gd name="connsiteY89" fmla="*/ 503041 h 1719859"/>
                <a:gd name="connsiteX90" fmla="*/ 892794 w 1814116"/>
                <a:gd name="connsiteY90" fmla="*/ 512566 h 1719859"/>
                <a:gd name="connsiteX91" fmla="*/ 864219 w 1814116"/>
                <a:gd name="connsiteY91" fmla="*/ 531616 h 1719859"/>
                <a:gd name="connsiteX92" fmla="*/ 849931 w 1814116"/>
                <a:gd name="connsiteY92" fmla="*/ 536378 h 1719859"/>
                <a:gd name="connsiteX93" fmla="*/ 821356 w 1814116"/>
                <a:gd name="connsiteY93" fmla="*/ 579241 h 1719859"/>
                <a:gd name="connsiteX94" fmla="*/ 797544 w 1814116"/>
                <a:gd name="connsiteY94" fmla="*/ 622103 h 1719859"/>
                <a:gd name="connsiteX95" fmla="*/ 788019 w 1814116"/>
                <a:gd name="connsiteY95" fmla="*/ 636391 h 1719859"/>
                <a:gd name="connsiteX96" fmla="*/ 768969 w 1814116"/>
                <a:gd name="connsiteY96" fmla="*/ 664966 h 1719859"/>
                <a:gd name="connsiteX97" fmla="*/ 759444 w 1814116"/>
                <a:gd name="connsiteY97" fmla="*/ 703066 h 1719859"/>
                <a:gd name="connsiteX98" fmla="*/ 764206 w 1814116"/>
                <a:gd name="connsiteY98" fmla="*/ 717353 h 1719859"/>
                <a:gd name="connsiteX99" fmla="*/ 768969 w 1814116"/>
                <a:gd name="connsiteY99" fmla="*/ 741166 h 1719859"/>
                <a:gd name="connsiteX100" fmla="*/ 773731 w 1814116"/>
                <a:gd name="connsiteY100" fmla="*/ 760216 h 1719859"/>
                <a:gd name="connsiteX101" fmla="*/ 788019 w 1814116"/>
                <a:gd name="connsiteY101" fmla="*/ 788791 h 1719859"/>
                <a:gd name="connsiteX102" fmla="*/ 797544 w 1814116"/>
                <a:gd name="connsiteY102" fmla="*/ 803078 h 1719859"/>
                <a:gd name="connsiteX103" fmla="*/ 802306 w 1814116"/>
                <a:gd name="connsiteY103" fmla="*/ 817366 h 1719859"/>
                <a:gd name="connsiteX104" fmla="*/ 811831 w 1814116"/>
                <a:gd name="connsiteY104" fmla="*/ 845941 h 1719859"/>
                <a:gd name="connsiteX105" fmla="*/ 821356 w 1814116"/>
                <a:gd name="connsiteY105" fmla="*/ 922141 h 1719859"/>
                <a:gd name="connsiteX106" fmla="*/ 826119 w 1814116"/>
                <a:gd name="connsiteY106" fmla="*/ 941191 h 1719859"/>
                <a:gd name="connsiteX107" fmla="*/ 835644 w 1814116"/>
                <a:gd name="connsiteY107" fmla="*/ 955478 h 1719859"/>
                <a:gd name="connsiteX108" fmla="*/ 840406 w 1814116"/>
                <a:gd name="connsiteY108" fmla="*/ 979291 h 1719859"/>
                <a:gd name="connsiteX109" fmla="*/ 859456 w 1814116"/>
                <a:gd name="connsiteY109" fmla="*/ 1007866 h 1719859"/>
                <a:gd name="connsiteX110" fmla="*/ 873744 w 1814116"/>
                <a:gd name="connsiteY110" fmla="*/ 1022153 h 1719859"/>
                <a:gd name="connsiteX111" fmla="*/ 916606 w 1814116"/>
                <a:gd name="connsiteY111" fmla="*/ 1069778 h 1719859"/>
                <a:gd name="connsiteX112" fmla="*/ 945181 w 1814116"/>
                <a:gd name="connsiteY112" fmla="*/ 1093591 h 1719859"/>
                <a:gd name="connsiteX113" fmla="*/ 949944 w 1814116"/>
                <a:gd name="connsiteY113" fmla="*/ 1107878 h 1719859"/>
                <a:gd name="connsiteX114" fmla="*/ 964231 w 1814116"/>
                <a:gd name="connsiteY114" fmla="*/ 1117403 h 1719859"/>
                <a:gd name="connsiteX115" fmla="*/ 992806 w 1814116"/>
                <a:gd name="connsiteY115" fmla="*/ 1131691 h 1719859"/>
                <a:gd name="connsiteX116" fmla="*/ 997569 w 1814116"/>
                <a:gd name="connsiteY116" fmla="*/ 1145978 h 1719859"/>
                <a:gd name="connsiteX117" fmla="*/ 1026144 w 1814116"/>
                <a:gd name="connsiteY117" fmla="*/ 1165028 h 1719859"/>
                <a:gd name="connsiteX118" fmla="*/ 1035669 w 1814116"/>
                <a:gd name="connsiteY118" fmla="*/ 1179316 h 1719859"/>
                <a:gd name="connsiteX119" fmla="*/ 1049956 w 1814116"/>
                <a:gd name="connsiteY119" fmla="*/ 1193603 h 1719859"/>
                <a:gd name="connsiteX120" fmla="*/ 1078531 w 1814116"/>
                <a:gd name="connsiteY120" fmla="*/ 1222178 h 1719859"/>
                <a:gd name="connsiteX121" fmla="*/ 1097581 w 1814116"/>
                <a:gd name="connsiteY121" fmla="*/ 1265041 h 1719859"/>
                <a:gd name="connsiteX122" fmla="*/ 1135681 w 1814116"/>
                <a:gd name="connsiteY122" fmla="*/ 1331716 h 1719859"/>
                <a:gd name="connsiteX123" fmla="*/ 1145206 w 1814116"/>
                <a:gd name="connsiteY123" fmla="*/ 1346003 h 1719859"/>
                <a:gd name="connsiteX124" fmla="*/ 1159494 w 1814116"/>
                <a:gd name="connsiteY124" fmla="*/ 1355528 h 1719859"/>
                <a:gd name="connsiteX125" fmla="*/ 1173781 w 1814116"/>
                <a:gd name="connsiteY125" fmla="*/ 1369816 h 1719859"/>
                <a:gd name="connsiteX126" fmla="*/ 1188069 w 1814116"/>
                <a:gd name="connsiteY126" fmla="*/ 1374578 h 1719859"/>
                <a:gd name="connsiteX127" fmla="*/ 1197594 w 1814116"/>
                <a:gd name="connsiteY127" fmla="*/ 1388866 h 1719859"/>
                <a:gd name="connsiteX128" fmla="*/ 1207119 w 1814116"/>
                <a:gd name="connsiteY128" fmla="*/ 1436491 h 1719859"/>
                <a:gd name="connsiteX129" fmla="*/ 1211881 w 1814116"/>
                <a:gd name="connsiteY129" fmla="*/ 1460303 h 1719859"/>
                <a:gd name="connsiteX130" fmla="*/ 1216644 w 1814116"/>
                <a:gd name="connsiteY130" fmla="*/ 1474591 h 1719859"/>
                <a:gd name="connsiteX131" fmla="*/ 1221406 w 1814116"/>
                <a:gd name="connsiteY131" fmla="*/ 1507928 h 1719859"/>
                <a:gd name="connsiteX132" fmla="*/ 1226169 w 1814116"/>
                <a:gd name="connsiteY132" fmla="*/ 1588891 h 1719859"/>
                <a:gd name="connsiteX133" fmla="*/ 1207119 w 1814116"/>
                <a:gd name="connsiteY133" fmla="*/ 1617466 h 1719859"/>
                <a:gd name="connsiteX134" fmla="*/ 1173781 w 1814116"/>
                <a:gd name="connsiteY134" fmla="*/ 1655566 h 1719859"/>
                <a:gd name="connsiteX135" fmla="*/ 1159494 w 1814116"/>
                <a:gd name="connsiteY135" fmla="*/ 1660328 h 1719859"/>
                <a:gd name="connsiteX136" fmla="*/ 1149969 w 1814116"/>
                <a:gd name="connsiteY136" fmla="*/ 1688903 h 1719859"/>
                <a:gd name="connsiteX137" fmla="*/ 1140444 w 1814116"/>
                <a:gd name="connsiteY137" fmla="*/ 1703191 h 1719859"/>
                <a:gd name="connsiteX138" fmla="*/ 1130918 w 1814116"/>
                <a:gd name="connsiteY138" fmla="*/ 1719859 h 1719859"/>
                <a:gd name="connsiteX139" fmla="*/ 1104725 w 1814116"/>
                <a:gd name="connsiteY139" fmla="*/ 1712716 h 1719859"/>
                <a:gd name="connsiteX140" fmla="*/ 1092819 w 1814116"/>
                <a:gd name="connsiteY140" fmla="*/ 1679378 h 1719859"/>
                <a:gd name="connsiteX141" fmla="*/ 1083294 w 1814116"/>
                <a:gd name="connsiteY141" fmla="*/ 1598416 h 1719859"/>
                <a:gd name="connsiteX142" fmla="*/ 1078531 w 1814116"/>
                <a:gd name="connsiteY142" fmla="*/ 1584128 h 1719859"/>
                <a:gd name="connsiteX143" fmla="*/ 1069006 w 1814116"/>
                <a:gd name="connsiteY143" fmla="*/ 1569841 h 1719859"/>
                <a:gd name="connsiteX144" fmla="*/ 1054719 w 1814116"/>
                <a:gd name="connsiteY144" fmla="*/ 1512691 h 1719859"/>
                <a:gd name="connsiteX145" fmla="*/ 1042164 w 1814116"/>
                <a:gd name="connsiteY145" fmla="*/ 1493488 h 1719859"/>
                <a:gd name="connsiteX146" fmla="*/ 1026144 w 1814116"/>
                <a:gd name="connsiteY146" fmla="*/ 1479353 h 1719859"/>
                <a:gd name="connsiteX147" fmla="*/ 1011856 w 1814116"/>
                <a:gd name="connsiteY147" fmla="*/ 1460303 h 1719859"/>
                <a:gd name="connsiteX148" fmla="*/ 1000184 w 1814116"/>
                <a:gd name="connsiteY148" fmla="*/ 1456613 h 1719859"/>
                <a:gd name="connsiteX149" fmla="*/ 983281 w 1814116"/>
                <a:gd name="connsiteY149" fmla="*/ 1436491 h 1719859"/>
                <a:gd name="connsiteX150" fmla="*/ 968994 w 1814116"/>
                <a:gd name="connsiteY150" fmla="*/ 1422203 h 1719859"/>
                <a:gd name="connsiteX151" fmla="*/ 954706 w 1814116"/>
                <a:gd name="connsiteY151" fmla="*/ 1412678 h 1719859"/>
                <a:gd name="connsiteX152" fmla="*/ 926131 w 1814116"/>
                <a:gd name="connsiteY152" fmla="*/ 1369816 h 1719859"/>
                <a:gd name="connsiteX153" fmla="*/ 921369 w 1814116"/>
                <a:gd name="connsiteY153" fmla="*/ 1350766 h 1719859"/>
                <a:gd name="connsiteX154" fmla="*/ 859456 w 1814116"/>
                <a:gd name="connsiteY154" fmla="*/ 1293616 h 1719859"/>
                <a:gd name="connsiteX155" fmla="*/ 835644 w 1814116"/>
                <a:gd name="connsiteY155" fmla="*/ 1255516 h 1719859"/>
                <a:gd name="connsiteX156" fmla="*/ 830881 w 1814116"/>
                <a:gd name="connsiteY156" fmla="*/ 1241228 h 1719859"/>
                <a:gd name="connsiteX157" fmla="*/ 821356 w 1814116"/>
                <a:gd name="connsiteY157" fmla="*/ 1226941 h 1719859"/>
                <a:gd name="connsiteX158" fmla="*/ 807069 w 1814116"/>
                <a:gd name="connsiteY158" fmla="*/ 1217416 h 1719859"/>
                <a:gd name="connsiteX159" fmla="*/ 792781 w 1814116"/>
                <a:gd name="connsiteY159" fmla="*/ 1212653 h 1719859"/>
                <a:gd name="connsiteX160" fmla="*/ 778494 w 1814116"/>
                <a:gd name="connsiteY160" fmla="*/ 1198366 h 1719859"/>
                <a:gd name="connsiteX161" fmla="*/ 740394 w 1814116"/>
                <a:gd name="connsiteY161" fmla="*/ 1188841 h 1719859"/>
                <a:gd name="connsiteX162" fmla="*/ 726106 w 1814116"/>
                <a:gd name="connsiteY162" fmla="*/ 1179316 h 1719859"/>
                <a:gd name="connsiteX163" fmla="*/ 707056 w 1814116"/>
                <a:gd name="connsiteY163" fmla="*/ 1169791 h 1719859"/>
                <a:gd name="connsiteX164" fmla="*/ 678481 w 1814116"/>
                <a:gd name="connsiteY164" fmla="*/ 1160266 h 1719859"/>
                <a:gd name="connsiteX165" fmla="*/ 635619 w 1814116"/>
                <a:gd name="connsiteY165" fmla="*/ 1126928 h 1719859"/>
                <a:gd name="connsiteX166" fmla="*/ 626094 w 1814116"/>
                <a:gd name="connsiteY166" fmla="*/ 1112641 h 1719859"/>
                <a:gd name="connsiteX167" fmla="*/ 610690 w 1814116"/>
                <a:gd name="connsiteY167" fmla="*/ 1100139 h 1719859"/>
                <a:gd name="connsiteX168" fmla="*/ 602281 w 1814116"/>
                <a:gd name="connsiteY168" fmla="*/ 1088828 h 1719859"/>
                <a:gd name="connsiteX169" fmla="*/ 578469 w 1814116"/>
                <a:gd name="connsiteY169" fmla="*/ 1060253 h 1719859"/>
                <a:gd name="connsiteX170" fmla="*/ 573706 w 1814116"/>
                <a:gd name="connsiteY170" fmla="*/ 1045966 h 1719859"/>
                <a:gd name="connsiteX171" fmla="*/ 559419 w 1814116"/>
                <a:gd name="connsiteY171" fmla="*/ 1017391 h 1719859"/>
                <a:gd name="connsiteX172" fmla="*/ 534545 w 1814116"/>
                <a:gd name="connsiteY172" fmla="*/ 1001160 h 1719859"/>
                <a:gd name="connsiteX173" fmla="*/ 521319 w 1814116"/>
                <a:gd name="connsiteY173" fmla="*/ 988816 h 1719859"/>
                <a:gd name="connsiteX174" fmla="*/ 500406 w 1814116"/>
                <a:gd name="connsiteY174" fmla="*/ 971994 h 1719859"/>
                <a:gd name="connsiteX175" fmla="*/ 492744 w 1814116"/>
                <a:gd name="connsiteY175" fmla="*/ 960241 h 1719859"/>
                <a:gd name="connsiteX176" fmla="*/ 459406 w 1814116"/>
                <a:gd name="connsiteY176" fmla="*/ 931666 h 1719859"/>
                <a:gd name="connsiteX177" fmla="*/ 449881 w 1814116"/>
                <a:gd name="connsiteY177" fmla="*/ 912616 h 1719859"/>
                <a:gd name="connsiteX178" fmla="*/ 435594 w 1814116"/>
                <a:gd name="connsiteY178" fmla="*/ 907853 h 1719859"/>
                <a:gd name="connsiteX179" fmla="*/ 421306 w 1814116"/>
                <a:gd name="connsiteY179" fmla="*/ 888803 h 1719859"/>
                <a:gd name="connsiteX180" fmla="*/ 378444 w 1814116"/>
                <a:gd name="connsiteY180" fmla="*/ 864991 h 1719859"/>
                <a:gd name="connsiteX181" fmla="*/ 364156 w 1814116"/>
                <a:gd name="connsiteY181" fmla="*/ 850703 h 1719859"/>
                <a:gd name="connsiteX182" fmla="*/ 359394 w 1814116"/>
                <a:gd name="connsiteY182" fmla="*/ 836416 h 1719859"/>
                <a:gd name="connsiteX183" fmla="*/ 345106 w 1814116"/>
                <a:gd name="connsiteY183" fmla="*/ 822128 h 1719859"/>
                <a:gd name="connsiteX184" fmla="*/ 330819 w 1814116"/>
                <a:gd name="connsiteY184" fmla="*/ 788791 h 1719859"/>
                <a:gd name="connsiteX185" fmla="*/ 287956 w 1814116"/>
                <a:gd name="connsiteY185" fmla="*/ 750691 h 1719859"/>
                <a:gd name="connsiteX186" fmla="*/ 273669 w 1814116"/>
                <a:gd name="connsiteY186" fmla="*/ 703066 h 1719859"/>
                <a:gd name="connsiteX187" fmla="*/ 259381 w 1814116"/>
                <a:gd name="connsiteY187" fmla="*/ 674491 h 1719859"/>
                <a:gd name="connsiteX188" fmla="*/ 249856 w 1814116"/>
                <a:gd name="connsiteY188" fmla="*/ 660203 h 1719859"/>
                <a:gd name="connsiteX189" fmla="*/ 245094 w 1814116"/>
                <a:gd name="connsiteY189" fmla="*/ 645916 h 1719859"/>
                <a:gd name="connsiteX190" fmla="*/ 230806 w 1814116"/>
                <a:gd name="connsiteY190" fmla="*/ 631628 h 1719859"/>
                <a:gd name="connsiteX191" fmla="*/ 221281 w 1814116"/>
                <a:gd name="connsiteY191" fmla="*/ 617341 h 1719859"/>
                <a:gd name="connsiteX192" fmla="*/ 173656 w 1814116"/>
                <a:gd name="connsiteY192" fmla="*/ 603053 h 1719859"/>
                <a:gd name="connsiteX193" fmla="*/ 159369 w 1814116"/>
                <a:gd name="connsiteY193" fmla="*/ 607816 h 1719859"/>
                <a:gd name="connsiteX194" fmla="*/ 78406 w 1814116"/>
                <a:gd name="connsiteY194" fmla="*/ 617341 h 1719859"/>
                <a:gd name="connsiteX195" fmla="*/ 64119 w 1814116"/>
                <a:gd name="connsiteY195" fmla="*/ 612578 h 1719859"/>
                <a:gd name="connsiteX196" fmla="*/ 49831 w 1814116"/>
                <a:gd name="connsiteY196" fmla="*/ 598291 h 1719859"/>
                <a:gd name="connsiteX197" fmla="*/ 35544 w 1814116"/>
                <a:gd name="connsiteY197" fmla="*/ 593528 h 1719859"/>
                <a:gd name="connsiteX198" fmla="*/ 30781 w 1814116"/>
                <a:gd name="connsiteY198" fmla="*/ 579241 h 1719859"/>
                <a:gd name="connsiteX199" fmla="*/ 30781 w 1814116"/>
                <a:gd name="connsiteY199" fmla="*/ 474466 h 1719859"/>
                <a:gd name="connsiteX200" fmla="*/ 26019 w 1814116"/>
                <a:gd name="connsiteY200" fmla="*/ 460178 h 1719859"/>
                <a:gd name="connsiteX201" fmla="*/ 11731 w 1814116"/>
                <a:gd name="connsiteY201" fmla="*/ 450653 h 1719859"/>
                <a:gd name="connsiteX202" fmla="*/ 6969 w 1814116"/>
                <a:gd name="connsiteY202" fmla="*/ 436366 h 1719859"/>
                <a:gd name="connsiteX203" fmla="*/ 6969 w 1814116"/>
                <a:gd name="connsiteY203" fmla="*/ 331591 h 1719859"/>
                <a:gd name="connsiteX204" fmla="*/ 16494 w 1814116"/>
                <a:gd name="connsiteY204" fmla="*/ 317303 h 1719859"/>
                <a:gd name="connsiteX205" fmla="*/ 45069 w 1814116"/>
                <a:gd name="connsiteY205" fmla="*/ 298253 h 1719859"/>
                <a:gd name="connsiteX206" fmla="*/ 59356 w 1814116"/>
                <a:gd name="connsiteY206" fmla="*/ 283966 h 1719859"/>
                <a:gd name="connsiteX207" fmla="*/ 73644 w 1814116"/>
                <a:gd name="connsiteY207" fmla="*/ 279203 h 1719859"/>
                <a:gd name="connsiteX208" fmla="*/ 87931 w 1814116"/>
                <a:gd name="connsiteY208" fmla="*/ 269678 h 1719859"/>
                <a:gd name="connsiteX209" fmla="*/ 230806 w 1814116"/>
                <a:gd name="connsiteY209" fmla="*/ 264916 h 1719859"/>
                <a:gd name="connsiteX210" fmla="*/ 459406 w 1814116"/>
                <a:gd name="connsiteY210" fmla="*/ 260153 h 1719859"/>
                <a:gd name="connsiteX211" fmla="*/ 645144 w 1814116"/>
                <a:gd name="connsiteY211" fmla="*/ 255391 h 1719859"/>
                <a:gd name="connsiteX212" fmla="*/ 778494 w 1814116"/>
                <a:gd name="connsiteY212" fmla="*/ 260153 h 1719859"/>
                <a:gd name="connsiteX213" fmla="*/ 1002331 w 1814116"/>
                <a:gd name="connsiteY213" fmla="*/ 264916 h 1719859"/>
                <a:gd name="connsiteX214" fmla="*/ 1016619 w 1814116"/>
                <a:gd name="connsiteY214" fmla="*/ 260153 h 1719859"/>
                <a:gd name="connsiteX215" fmla="*/ 1030906 w 1814116"/>
                <a:gd name="connsiteY215" fmla="*/ 250628 h 1719859"/>
                <a:gd name="connsiteX216" fmla="*/ 1043102 w 1814116"/>
                <a:gd name="connsiteY216" fmla="*/ 246703 h 1719859"/>
                <a:gd name="connsiteX217" fmla="*/ 1044743 w 1814116"/>
                <a:gd name="connsiteY217" fmla="*/ 242996 h 1719859"/>
                <a:gd name="connsiteX218" fmla="*/ 1059481 w 1814116"/>
                <a:gd name="connsiteY218" fmla="*/ 231578 h 1719859"/>
                <a:gd name="connsiteX219" fmla="*/ 1070104 w 1814116"/>
                <a:gd name="connsiteY219" fmla="*/ 225724 h 1719859"/>
                <a:gd name="connsiteX220" fmla="*/ 1074468 w 1814116"/>
                <a:gd name="connsiteY220" fmla="*/ 226398 h 1719859"/>
                <a:gd name="connsiteX221" fmla="*/ 1083294 w 1814116"/>
                <a:gd name="connsiteY221" fmla="*/ 212528 h 1719859"/>
                <a:gd name="connsiteX222" fmla="*/ 1097581 w 1814116"/>
                <a:gd name="connsiteY222" fmla="*/ 207766 h 1719859"/>
                <a:gd name="connsiteX223" fmla="*/ 1140444 w 1814116"/>
                <a:gd name="connsiteY223" fmla="*/ 193478 h 1719859"/>
                <a:gd name="connsiteX224" fmla="*/ 1168059 w 1814116"/>
                <a:gd name="connsiteY224" fmla="*/ 183533 h 1719859"/>
                <a:gd name="connsiteX225" fmla="*/ 1188069 w 1814116"/>
                <a:gd name="connsiteY225" fmla="*/ 169666 h 1719859"/>
                <a:gd name="connsiteX226" fmla="*/ 1216644 w 1814116"/>
                <a:gd name="connsiteY226" fmla="*/ 160141 h 1719859"/>
                <a:gd name="connsiteX227" fmla="*/ 1240456 w 1814116"/>
                <a:gd name="connsiteY227" fmla="*/ 136328 h 1719859"/>
                <a:gd name="connsiteX228" fmla="*/ 1269031 w 1814116"/>
                <a:gd name="connsiteY228" fmla="*/ 117278 h 1719859"/>
                <a:gd name="connsiteX229" fmla="*/ 1278556 w 1814116"/>
                <a:gd name="connsiteY229" fmla="*/ 102991 h 1719859"/>
                <a:gd name="connsiteX230" fmla="*/ 1283319 w 1814116"/>
                <a:gd name="connsiteY230" fmla="*/ 22028 h 1719859"/>
                <a:gd name="connsiteX231" fmla="*/ 1310540 w 1814116"/>
                <a:gd name="connsiteY231" fmla="*/ 4 h 17198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</a:cxnLst>
              <a:rect l="l" t="t" r="r" b="b"/>
              <a:pathLst>
                <a:path w="1814116" h="1719859">
                  <a:moveTo>
                    <a:pt x="1209397" y="283834"/>
                  </a:moveTo>
                  <a:lnTo>
                    <a:pt x="1209570" y="283875"/>
                  </a:lnTo>
                  <a:lnTo>
                    <a:pt x="1209243" y="283841"/>
                  </a:lnTo>
                  <a:cubicBezTo>
                    <a:pt x="1209296" y="283829"/>
                    <a:pt x="1209347" y="283831"/>
                    <a:pt x="1209397" y="283834"/>
                  </a:cubicBezTo>
                  <a:close/>
                  <a:moveTo>
                    <a:pt x="1310540" y="4"/>
                  </a:moveTo>
                  <a:cubicBezTo>
                    <a:pt x="1315653" y="68"/>
                    <a:pt x="1322206" y="1036"/>
                    <a:pt x="1330944" y="2978"/>
                  </a:cubicBezTo>
                  <a:cubicBezTo>
                    <a:pt x="1335845" y="4067"/>
                    <a:pt x="1334119" y="12503"/>
                    <a:pt x="1335706" y="17266"/>
                  </a:cubicBezTo>
                  <a:cubicBezTo>
                    <a:pt x="1340469" y="18853"/>
                    <a:pt x="1346858" y="18108"/>
                    <a:pt x="1349994" y="22028"/>
                  </a:cubicBezTo>
                  <a:cubicBezTo>
                    <a:pt x="1354083" y="27139"/>
                    <a:pt x="1353680" y="34622"/>
                    <a:pt x="1354756" y="41078"/>
                  </a:cubicBezTo>
                  <a:cubicBezTo>
                    <a:pt x="1361571" y="81970"/>
                    <a:pt x="1361366" y="69942"/>
                    <a:pt x="1354756" y="102991"/>
                  </a:cubicBezTo>
                  <a:lnTo>
                    <a:pt x="1345231" y="117278"/>
                  </a:lnTo>
                  <a:lnTo>
                    <a:pt x="1326181" y="145853"/>
                  </a:lnTo>
                  <a:cubicBezTo>
                    <a:pt x="1304467" y="160330"/>
                    <a:pt x="1307043" y="157263"/>
                    <a:pt x="1283319" y="183953"/>
                  </a:cubicBezTo>
                  <a:cubicBezTo>
                    <a:pt x="1279516" y="188231"/>
                    <a:pt x="1276969" y="193478"/>
                    <a:pt x="1273794" y="198241"/>
                  </a:cubicBezTo>
                  <a:lnTo>
                    <a:pt x="1259506" y="207766"/>
                  </a:lnTo>
                  <a:lnTo>
                    <a:pt x="1245219" y="217291"/>
                  </a:lnTo>
                  <a:lnTo>
                    <a:pt x="1202356" y="245866"/>
                  </a:lnTo>
                  <a:cubicBezTo>
                    <a:pt x="1197594" y="247453"/>
                    <a:pt x="1191989" y="247492"/>
                    <a:pt x="1188069" y="250628"/>
                  </a:cubicBezTo>
                  <a:cubicBezTo>
                    <a:pt x="1183599" y="254204"/>
                    <a:pt x="1182208" y="260519"/>
                    <a:pt x="1178544" y="264916"/>
                  </a:cubicBezTo>
                  <a:cubicBezTo>
                    <a:pt x="1174232" y="270090"/>
                    <a:pt x="1169019" y="274441"/>
                    <a:pt x="1164256" y="279203"/>
                  </a:cubicBezTo>
                  <a:lnTo>
                    <a:pt x="1209243" y="283841"/>
                  </a:lnTo>
                  <a:cubicBezTo>
                    <a:pt x="1210300" y="285327"/>
                    <a:pt x="1215334" y="286561"/>
                    <a:pt x="1226169" y="288728"/>
                  </a:cubicBezTo>
                  <a:cubicBezTo>
                    <a:pt x="1235638" y="290622"/>
                    <a:pt x="1245219" y="291903"/>
                    <a:pt x="1254744" y="293491"/>
                  </a:cubicBezTo>
                  <a:cubicBezTo>
                    <a:pt x="1259696" y="294316"/>
                    <a:pt x="1264269" y="296666"/>
                    <a:pt x="1269031" y="298253"/>
                  </a:cubicBezTo>
                  <a:cubicBezTo>
                    <a:pt x="1278556" y="301428"/>
                    <a:pt x="1288431" y="303700"/>
                    <a:pt x="1297606" y="307778"/>
                  </a:cubicBezTo>
                  <a:cubicBezTo>
                    <a:pt x="1302837" y="310103"/>
                    <a:pt x="1307131" y="314128"/>
                    <a:pt x="1311894" y="317303"/>
                  </a:cubicBezTo>
                  <a:cubicBezTo>
                    <a:pt x="1340684" y="324501"/>
                    <a:pt x="1324734" y="319996"/>
                    <a:pt x="1359519" y="331591"/>
                  </a:cubicBezTo>
                  <a:cubicBezTo>
                    <a:pt x="1372219" y="333178"/>
                    <a:pt x="1384864" y="335290"/>
                    <a:pt x="1397619" y="336353"/>
                  </a:cubicBezTo>
                  <a:cubicBezTo>
                    <a:pt x="1422981" y="338466"/>
                    <a:pt x="1449675" y="333069"/>
                    <a:pt x="1473819" y="341116"/>
                  </a:cubicBezTo>
                  <a:lnTo>
                    <a:pt x="1530969" y="360166"/>
                  </a:lnTo>
                  <a:lnTo>
                    <a:pt x="1602406" y="364928"/>
                  </a:lnTo>
                  <a:cubicBezTo>
                    <a:pt x="1616732" y="366122"/>
                    <a:pt x="1630939" y="368545"/>
                    <a:pt x="1645269" y="369691"/>
                  </a:cubicBezTo>
                  <a:cubicBezTo>
                    <a:pt x="1693154" y="373522"/>
                    <a:pt x="1708089" y="369918"/>
                    <a:pt x="1745281" y="379216"/>
                  </a:cubicBezTo>
                  <a:cubicBezTo>
                    <a:pt x="1750151" y="380434"/>
                    <a:pt x="1755392" y="381193"/>
                    <a:pt x="1759569" y="383978"/>
                  </a:cubicBezTo>
                  <a:cubicBezTo>
                    <a:pt x="1769094" y="390328"/>
                    <a:pt x="1778137" y="397468"/>
                    <a:pt x="1788144" y="403028"/>
                  </a:cubicBezTo>
                  <a:lnTo>
                    <a:pt x="1801728" y="407765"/>
                  </a:lnTo>
                  <a:cubicBezTo>
                    <a:pt x="1803490" y="407804"/>
                    <a:pt x="1803371" y="407730"/>
                    <a:pt x="1804035" y="411824"/>
                  </a:cubicBezTo>
                  <a:lnTo>
                    <a:pt x="1807194" y="426841"/>
                  </a:lnTo>
                  <a:lnTo>
                    <a:pt x="1802431" y="441128"/>
                  </a:lnTo>
                  <a:lnTo>
                    <a:pt x="1797669" y="455416"/>
                  </a:lnTo>
                  <a:cubicBezTo>
                    <a:pt x="1794494" y="464941"/>
                    <a:pt x="1791029" y="474374"/>
                    <a:pt x="1788144" y="483991"/>
                  </a:cubicBezTo>
                  <a:cubicBezTo>
                    <a:pt x="1784106" y="497450"/>
                    <a:pt x="1781340" y="513248"/>
                    <a:pt x="1778619" y="526853"/>
                  </a:cubicBezTo>
                  <a:cubicBezTo>
                    <a:pt x="1778646" y="526883"/>
                    <a:pt x="1795021" y="544302"/>
                    <a:pt x="1797669" y="555428"/>
                  </a:cubicBezTo>
                  <a:cubicBezTo>
                    <a:pt x="1803197" y="578645"/>
                    <a:pt x="1796965" y="603635"/>
                    <a:pt x="1802431" y="626866"/>
                  </a:cubicBezTo>
                  <a:cubicBezTo>
                    <a:pt x="1803541" y="631584"/>
                    <a:pt x="1808967" y="634467"/>
                    <a:pt x="1814116" y="635493"/>
                  </a:cubicBezTo>
                  <a:lnTo>
                    <a:pt x="1804317" y="642402"/>
                  </a:lnTo>
                  <a:cubicBezTo>
                    <a:pt x="1793662" y="651725"/>
                    <a:pt x="1788815" y="674620"/>
                    <a:pt x="1785267" y="685264"/>
                  </a:cubicBezTo>
                  <a:cubicBezTo>
                    <a:pt x="1785246" y="685293"/>
                    <a:pt x="1771772" y="703840"/>
                    <a:pt x="1766217" y="713839"/>
                  </a:cubicBezTo>
                  <a:cubicBezTo>
                    <a:pt x="1756533" y="731270"/>
                    <a:pt x="1767785" y="726558"/>
                    <a:pt x="1751929" y="742414"/>
                  </a:cubicBezTo>
                  <a:lnTo>
                    <a:pt x="1738387" y="754171"/>
                  </a:lnTo>
                  <a:cubicBezTo>
                    <a:pt x="1733178" y="756403"/>
                    <a:pt x="1747165" y="737654"/>
                    <a:pt x="1728117" y="766227"/>
                  </a:cubicBezTo>
                  <a:cubicBezTo>
                    <a:pt x="1723354" y="769402"/>
                    <a:pt x="1717405" y="771282"/>
                    <a:pt x="1713829" y="775752"/>
                  </a:cubicBezTo>
                  <a:cubicBezTo>
                    <a:pt x="1710693" y="779672"/>
                    <a:pt x="1711312" y="785549"/>
                    <a:pt x="1709067" y="790039"/>
                  </a:cubicBezTo>
                  <a:lnTo>
                    <a:pt x="1702491" y="801932"/>
                  </a:lnTo>
                  <a:cubicBezTo>
                    <a:pt x="1698257" y="808212"/>
                    <a:pt x="1700049" y="800635"/>
                    <a:pt x="1698881" y="806067"/>
                  </a:cubicBezTo>
                  <a:lnTo>
                    <a:pt x="1694779" y="823377"/>
                  </a:lnTo>
                  <a:cubicBezTo>
                    <a:pt x="1696367" y="828139"/>
                    <a:pt x="1698779" y="832702"/>
                    <a:pt x="1699542" y="837664"/>
                  </a:cubicBezTo>
                  <a:cubicBezTo>
                    <a:pt x="1700307" y="842634"/>
                    <a:pt x="1700967" y="847331"/>
                    <a:pt x="1701127" y="851861"/>
                  </a:cubicBezTo>
                  <a:cubicBezTo>
                    <a:pt x="1695317" y="849542"/>
                    <a:pt x="1689426" y="847455"/>
                    <a:pt x="1683369" y="845941"/>
                  </a:cubicBezTo>
                  <a:cubicBezTo>
                    <a:pt x="1652259" y="838163"/>
                    <a:pt x="1660985" y="837051"/>
                    <a:pt x="1640506" y="850703"/>
                  </a:cubicBezTo>
                  <a:cubicBezTo>
                    <a:pt x="1624631" y="852291"/>
                    <a:pt x="1608835" y="855466"/>
                    <a:pt x="1592881" y="855466"/>
                  </a:cubicBezTo>
                  <a:cubicBezTo>
                    <a:pt x="1587861" y="855466"/>
                    <a:pt x="1580839" y="855193"/>
                    <a:pt x="1578594" y="850703"/>
                  </a:cubicBezTo>
                  <a:cubicBezTo>
                    <a:pt x="1573574" y="840663"/>
                    <a:pt x="1575419" y="828478"/>
                    <a:pt x="1573831" y="817366"/>
                  </a:cubicBezTo>
                  <a:lnTo>
                    <a:pt x="1569069" y="803078"/>
                  </a:lnTo>
                  <a:lnTo>
                    <a:pt x="1564306" y="788791"/>
                  </a:lnTo>
                  <a:cubicBezTo>
                    <a:pt x="1559590" y="774644"/>
                    <a:pt x="1556577" y="757249"/>
                    <a:pt x="1545256" y="745928"/>
                  </a:cubicBezTo>
                  <a:cubicBezTo>
                    <a:pt x="1529099" y="729771"/>
                    <a:pt x="1531678" y="740101"/>
                    <a:pt x="1530065" y="734542"/>
                  </a:cubicBezTo>
                  <a:lnTo>
                    <a:pt x="1526206" y="722116"/>
                  </a:lnTo>
                  <a:cubicBezTo>
                    <a:pt x="1521444" y="717353"/>
                    <a:pt x="1517093" y="712140"/>
                    <a:pt x="1511919" y="707828"/>
                  </a:cubicBezTo>
                  <a:cubicBezTo>
                    <a:pt x="1499263" y="697281"/>
                    <a:pt x="1493400" y="697246"/>
                    <a:pt x="1478581" y="688778"/>
                  </a:cubicBezTo>
                  <a:cubicBezTo>
                    <a:pt x="1473611" y="685938"/>
                    <a:pt x="1469264" y="682093"/>
                    <a:pt x="1464294" y="679253"/>
                  </a:cubicBezTo>
                  <a:cubicBezTo>
                    <a:pt x="1413034" y="649961"/>
                    <a:pt x="1486579" y="697285"/>
                    <a:pt x="1416669" y="650678"/>
                  </a:cubicBezTo>
                  <a:lnTo>
                    <a:pt x="1402381" y="645916"/>
                  </a:lnTo>
                  <a:lnTo>
                    <a:pt x="1373806" y="636391"/>
                  </a:lnTo>
                  <a:cubicBezTo>
                    <a:pt x="1362946" y="632771"/>
                    <a:pt x="1355238" y="622901"/>
                    <a:pt x="1345231" y="617341"/>
                  </a:cubicBezTo>
                  <a:cubicBezTo>
                    <a:pt x="1340843" y="614903"/>
                    <a:pt x="1334494" y="616128"/>
                    <a:pt x="1330944" y="612578"/>
                  </a:cubicBezTo>
                  <a:cubicBezTo>
                    <a:pt x="1327394" y="609028"/>
                    <a:pt x="1327769" y="603053"/>
                    <a:pt x="1326181" y="598291"/>
                  </a:cubicBezTo>
                  <a:cubicBezTo>
                    <a:pt x="1302369" y="582416"/>
                    <a:pt x="1315069" y="593528"/>
                    <a:pt x="1292844" y="560191"/>
                  </a:cubicBezTo>
                  <a:cubicBezTo>
                    <a:pt x="1272227" y="546447"/>
                    <a:pt x="1282335" y="552168"/>
                    <a:pt x="1270745" y="548714"/>
                  </a:cubicBezTo>
                  <a:lnTo>
                    <a:pt x="1249981" y="555428"/>
                  </a:lnTo>
                  <a:lnTo>
                    <a:pt x="1224822" y="551324"/>
                  </a:lnTo>
                  <a:cubicBezTo>
                    <a:pt x="1215972" y="547326"/>
                    <a:pt x="1233798" y="559058"/>
                    <a:pt x="1230480" y="556163"/>
                  </a:cubicBezTo>
                  <a:lnTo>
                    <a:pt x="1202356" y="536379"/>
                  </a:lnTo>
                  <a:cubicBezTo>
                    <a:pt x="1198838" y="534860"/>
                    <a:pt x="1178651" y="507148"/>
                    <a:pt x="1175133" y="505629"/>
                  </a:cubicBezTo>
                  <a:cubicBezTo>
                    <a:pt x="1171070" y="505853"/>
                    <a:pt x="1185432" y="527256"/>
                    <a:pt x="1183413" y="525030"/>
                  </a:cubicBezTo>
                  <a:lnTo>
                    <a:pt x="1166638" y="503041"/>
                  </a:lnTo>
                  <a:cubicBezTo>
                    <a:pt x="1136310" y="492931"/>
                    <a:pt x="1170807" y="496036"/>
                    <a:pt x="1116631" y="493516"/>
                  </a:cubicBezTo>
                  <a:lnTo>
                    <a:pt x="968994" y="488753"/>
                  </a:lnTo>
                  <a:cubicBezTo>
                    <a:pt x="962644" y="490341"/>
                    <a:pt x="956154" y="491446"/>
                    <a:pt x="949944" y="493516"/>
                  </a:cubicBezTo>
                  <a:lnTo>
                    <a:pt x="921369" y="503041"/>
                  </a:lnTo>
                  <a:cubicBezTo>
                    <a:pt x="911844" y="506216"/>
                    <a:pt x="901148" y="506997"/>
                    <a:pt x="892794" y="512566"/>
                  </a:cubicBezTo>
                  <a:lnTo>
                    <a:pt x="864219" y="531616"/>
                  </a:lnTo>
                  <a:cubicBezTo>
                    <a:pt x="859456" y="533203"/>
                    <a:pt x="852716" y="532201"/>
                    <a:pt x="849931" y="536378"/>
                  </a:cubicBezTo>
                  <a:lnTo>
                    <a:pt x="821356" y="579241"/>
                  </a:lnTo>
                  <a:cubicBezTo>
                    <a:pt x="799521" y="611994"/>
                    <a:pt x="805926" y="596955"/>
                    <a:pt x="797544" y="622103"/>
                  </a:cubicBezTo>
                  <a:lnTo>
                    <a:pt x="788019" y="636391"/>
                  </a:lnTo>
                  <a:cubicBezTo>
                    <a:pt x="781669" y="645916"/>
                    <a:pt x="774529" y="654959"/>
                    <a:pt x="768969" y="664966"/>
                  </a:cubicBezTo>
                  <a:cubicBezTo>
                    <a:pt x="764391" y="673207"/>
                    <a:pt x="760764" y="696463"/>
                    <a:pt x="759444" y="703066"/>
                  </a:cubicBezTo>
                  <a:cubicBezTo>
                    <a:pt x="761031" y="707828"/>
                    <a:pt x="762988" y="712483"/>
                    <a:pt x="764206" y="717353"/>
                  </a:cubicBezTo>
                  <a:cubicBezTo>
                    <a:pt x="766169" y="725206"/>
                    <a:pt x="767213" y="733264"/>
                    <a:pt x="768969" y="741166"/>
                  </a:cubicBezTo>
                  <a:cubicBezTo>
                    <a:pt x="770389" y="747556"/>
                    <a:pt x="772144" y="753866"/>
                    <a:pt x="773731" y="760216"/>
                  </a:cubicBezTo>
                  <a:cubicBezTo>
                    <a:pt x="801027" y="801159"/>
                    <a:pt x="768301" y="749357"/>
                    <a:pt x="788019" y="788791"/>
                  </a:cubicBezTo>
                  <a:cubicBezTo>
                    <a:pt x="790579" y="793910"/>
                    <a:pt x="795734" y="797648"/>
                    <a:pt x="797544" y="803078"/>
                  </a:cubicBezTo>
                  <a:lnTo>
                    <a:pt x="802306" y="817366"/>
                  </a:lnTo>
                  <a:cubicBezTo>
                    <a:pt x="805481" y="826891"/>
                    <a:pt x="809573" y="836158"/>
                    <a:pt x="811831" y="845941"/>
                  </a:cubicBezTo>
                  <a:cubicBezTo>
                    <a:pt x="814746" y="858571"/>
                    <a:pt x="820326" y="912865"/>
                    <a:pt x="821356" y="922141"/>
                  </a:cubicBezTo>
                  <a:cubicBezTo>
                    <a:pt x="822944" y="928491"/>
                    <a:pt x="823541" y="935175"/>
                    <a:pt x="826119" y="941191"/>
                  </a:cubicBezTo>
                  <a:cubicBezTo>
                    <a:pt x="828374" y="946452"/>
                    <a:pt x="833634" y="950119"/>
                    <a:pt x="835644" y="955478"/>
                  </a:cubicBezTo>
                  <a:cubicBezTo>
                    <a:pt x="838486" y="963057"/>
                    <a:pt x="838819" y="971353"/>
                    <a:pt x="840406" y="979291"/>
                  </a:cubicBezTo>
                  <a:lnTo>
                    <a:pt x="859456" y="1007866"/>
                  </a:lnTo>
                  <a:cubicBezTo>
                    <a:pt x="863192" y="1013470"/>
                    <a:pt x="868981" y="1017390"/>
                    <a:pt x="873744" y="1022153"/>
                  </a:cubicBezTo>
                  <a:cubicBezTo>
                    <a:pt x="911126" y="1059535"/>
                    <a:pt x="898364" y="1042416"/>
                    <a:pt x="916606" y="1069778"/>
                  </a:cubicBezTo>
                  <a:cubicBezTo>
                    <a:pt x="927151" y="1076808"/>
                    <a:pt x="937845" y="1082588"/>
                    <a:pt x="945181" y="1093591"/>
                  </a:cubicBezTo>
                  <a:cubicBezTo>
                    <a:pt x="947966" y="1097768"/>
                    <a:pt x="948356" y="1103116"/>
                    <a:pt x="949944" y="1107878"/>
                  </a:cubicBezTo>
                  <a:cubicBezTo>
                    <a:pt x="954706" y="1111053"/>
                    <a:pt x="959112" y="1114843"/>
                    <a:pt x="964231" y="1117403"/>
                  </a:cubicBezTo>
                  <a:cubicBezTo>
                    <a:pt x="975735" y="1123155"/>
                    <a:pt x="983707" y="1120317"/>
                    <a:pt x="992806" y="1131691"/>
                  </a:cubicBezTo>
                  <a:cubicBezTo>
                    <a:pt x="995942" y="1135611"/>
                    <a:pt x="995981" y="1141216"/>
                    <a:pt x="997569" y="1145978"/>
                  </a:cubicBezTo>
                  <a:cubicBezTo>
                    <a:pt x="997607" y="1146000"/>
                    <a:pt x="1017537" y="1157497"/>
                    <a:pt x="1026144" y="1165028"/>
                  </a:cubicBezTo>
                  <a:cubicBezTo>
                    <a:pt x="1030452" y="1168797"/>
                    <a:pt x="1032494" y="1174553"/>
                    <a:pt x="1035669" y="1179316"/>
                  </a:cubicBezTo>
                  <a:cubicBezTo>
                    <a:pt x="1039405" y="1184920"/>
                    <a:pt x="1045194" y="1188841"/>
                    <a:pt x="1049956" y="1193603"/>
                  </a:cubicBezTo>
                  <a:cubicBezTo>
                    <a:pt x="1059481" y="1203128"/>
                    <a:pt x="1069582" y="1212110"/>
                    <a:pt x="1078531" y="1222178"/>
                  </a:cubicBezTo>
                  <a:cubicBezTo>
                    <a:pt x="1094541" y="1240189"/>
                    <a:pt x="1084640" y="1239158"/>
                    <a:pt x="1097581" y="1265041"/>
                  </a:cubicBezTo>
                  <a:cubicBezTo>
                    <a:pt x="1109029" y="1287936"/>
                    <a:pt x="1122702" y="1309653"/>
                    <a:pt x="1135681" y="1331716"/>
                  </a:cubicBezTo>
                  <a:cubicBezTo>
                    <a:pt x="1138583" y="1336649"/>
                    <a:pt x="1141159" y="1341956"/>
                    <a:pt x="1145206" y="1346003"/>
                  </a:cubicBezTo>
                  <a:cubicBezTo>
                    <a:pt x="1149254" y="1350050"/>
                    <a:pt x="1155097" y="1351864"/>
                    <a:pt x="1159494" y="1355528"/>
                  </a:cubicBezTo>
                  <a:cubicBezTo>
                    <a:pt x="1164668" y="1359840"/>
                    <a:pt x="1169019" y="1365053"/>
                    <a:pt x="1173781" y="1369816"/>
                  </a:cubicBezTo>
                  <a:cubicBezTo>
                    <a:pt x="1178544" y="1371403"/>
                    <a:pt x="1184149" y="1371442"/>
                    <a:pt x="1188069" y="1374578"/>
                  </a:cubicBezTo>
                  <a:cubicBezTo>
                    <a:pt x="1192539" y="1378154"/>
                    <a:pt x="1195339" y="1383605"/>
                    <a:pt x="1197594" y="1388866"/>
                  </a:cubicBezTo>
                  <a:cubicBezTo>
                    <a:pt x="1201582" y="1398173"/>
                    <a:pt x="1205876" y="1429655"/>
                    <a:pt x="1207119" y="1436491"/>
                  </a:cubicBezTo>
                  <a:cubicBezTo>
                    <a:pt x="1208567" y="1444455"/>
                    <a:pt x="1209918" y="1452450"/>
                    <a:pt x="1211881" y="1460303"/>
                  </a:cubicBezTo>
                  <a:cubicBezTo>
                    <a:pt x="1213099" y="1465173"/>
                    <a:pt x="1215659" y="1469668"/>
                    <a:pt x="1216644" y="1474591"/>
                  </a:cubicBezTo>
                  <a:cubicBezTo>
                    <a:pt x="1218845" y="1485598"/>
                    <a:pt x="1220474" y="1496742"/>
                    <a:pt x="1221406" y="1507928"/>
                  </a:cubicBezTo>
                  <a:cubicBezTo>
                    <a:pt x="1223651" y="1534869"/>
                    <a:pt x="1241165" y="1566397"/>
                    <a:pt x="1226169" y="1588891"/>
                  </a:cubicBezTo>
                  <a:lnTo>
                    <a:pt x="1207119" y="1617466"/>
                  </a:lnTo>
                  <a:cubicBezTo>
                    <a:pt x="1183306" y="1633341"/>
                    <a:pt x="1196006" y="1622228"/>
                    <a:pt x="1173781" y="1655566"/>
                  </a:cubicBezTo>
                  <a:lnTo>
                    <a:pt x="1159494" y="1660328"/>
                  </a:lnTo>
                  <a:cubicBezTo>
                    <a:pt x="1149969" y="1663503"/>
                    <a:pt x="1154047" y="1679728"/>
                    <a:pt x="1149969" y="1688903"/>
                  </a:cubicBezTo>
                  <a:cubicBezTo>
                    <a:pt x="1147644" y="1694134"/>
                    <a:pt x="1143619" y="1698032"/>
                    <a:pt x="1140444" y="1703191"/>
                  </a:cubicBezTo>
                  <a:cubicBezTo>
                    <a:pt x="1137269" y="1708350"/>
                    <a:pt x="1135681" y="1718272"/>
                    <a:pt x="1130918" y="1719859"/>
                  </a:cubicBezTo>
                  <a:cubicBezTo>
                    <a:pt x="1121506" y="1716722"/>
                    <a:pt x="1111075" y="1719463"/>
                    <a:pt x="1104725" y="1712716"/>
                  </a:cubicBezTo>
                  <a:cubicBezTo>
                    <a:pt x="1098375" y="1705969"/>
                    <a:pt x="1096391" y="1698428"/>
                    <a:pt x="1092819" y="1679378"/>
                  </a:cubicBezTo>
                  <a:cubicBezTo>
                    <a:pt x="1089247" y="1660328"/>
                    <a:pt x="1085728" y="1625195"/>
                    <a:pt x="1083294" y="1598416"/>
                  </a:cubicBezTo>
                  <a:cubicBezTo>
                    <a:pt x="1081706" y="1593653"/>
                    <a:pt x="1080776" y="1588618"/>
                    <a:pt x="1078531" y="1584128"/>
                  </a:cubicBezTo>
                  <a:cubicBezTo>
                    <a:pt x="1075971" y="1579009"/>
                    <a:pt x="1070816" y="1575271"/>
                    <a:pt x="1069006" y="1569841"/>
                  </a:cubicBezTo>
                  <a:cubicBezTo>
                    <a:pt x="1056427" y="1532105"/>
                    <a:pt x="1061131" y="1551170"/>
                    <a:pt x="1054719" y="1512691"/>
                  </a:cubicBezTo>
                  <a:cubicBezTo>
                    <a:pt x="1047709" y="1491661"/>
                    <a:pt x="1052299" y="1500583"/>
                    <a:pt x="1042164" y="1493488"/>
                  </a:cubicBezTo>
                  <a:lnTo>
                    <a:pt x="1026144" y="1479353"/>
                  </a:lnTo>
                  <a:cubicBezTo>
                    <a:pt x="1020531" y="1473740"/>
                    <a:pt x="1016619" y="1466653"/>
                    <a:pt x="1011856" y="1460303"/>
                  </a:cubicBezTo>
                  <a:lnTo>
                    <a:pt x="1000184" y="1456613"/>
                  </a:lnTo>
                  <a:cubicBezTo>
                    <a:pt x="993636" y="1454467"/>
                    <a:pt x="998850" y="1454655"/>
                    <a:pt x="983281" y="1436491"/>
                  </a:cubicBezTo>
                  <a:cubicBezTo>
                    <a:pt x="978898" y="1431377"/>
                    <a:pt x="974168" y="1426515"/>
                    <a:pt x="968994" y="1422203"/>
                  </a:cubicBezTo>
                  <a:cubicBezTo>
                    <a:pt x="964597" y="1418539"/>
                    <a:pt x="957881" y="1417441"/>
                    <a:pt x="954706" y="1412678"/>
                  </a:cubicBezTo>
                  <a:lnTo>
                    <a:pt x="926131" y="1369816"/>
                  </a:lnTo>
                  <a:cubicBezTo>
                    <a:pt x="923204" y="1363962"/>
                    <a:pt x="922956" y="1357116"/>
                    <a:pt x="921369" y="1350766"/>
                  </a:cubicBezTo>
                  <a:cubicBezTo>
                    <a:pt x="896544" y="1313528"/>
                    <a:pt x="927250" y="1356567"/>
                    <a:pt x="859456" y="1293616"/>
                  </a:cubicBezTo>
                  <a:cubicBezTo>
                    <a:pt x="849722" y="1284578"/>
                    <a:pt x="840836" y="1267630"/>
                    <a:pt x="835644" y="1255516"/>
                  </a:cubicBezTo>
                  <a:cubicBezTo>
                    <a:pt x="833666" y="1250902"/>
                    <a:pt x="833126" y="1245718"/>
                    <a:pt x="830881" y="1241228"/>
                  </a:cubicBezTo>
                  <a:cubicBezTo>
                    <a:pt x="828321" y="1236109"/>
                    <a:pt x="824531" y="1231703"/>
                    <a:pt x="821356" y="1226941"/>
                  </a:cubicBezTo>
                  <a:cubicBezTo>
                    <a:pt x="816594" y="1223766"/>
                    <a:pt x="812188" y="1219976"/>
                    <a:pt x="807069" y="1217416"/>
                  </a:cubicBezTo>
                  <a:cubicBezTo>
                    <a:pt x="802579" y="1215171"/>
                    <a:pt x="796958" y="1215438"/>
                    <a:pt x="792781" y="1212653"/>
                  </a:cubicBezTo>
                  <a:cubicBezTo>
                    <a:pt x="787177" y="1208917"/>
                    <a:pt x="783256" y="1203128"/>
                    <a:pt x="778494" y="1198366"/>
                  </a:cubicBezTo>
                  <a:cubicBezTo>
                    <a:pt x="769441" y="1196555"/>
                    <a:pt x="750155" y="1193721"/>
                    <a:pt x="740394" y="1188841"/>
                  </a:cubicBezTo>
                  <a:cubicBezTo>
                    <a:pt x="735274" y="1186281"/>
                    <a:pt x="731076" y="1182156"/>
                    <a:pt x="726106" y="1179316"/>
                  </a:cubicBezTo>
                  <a:cubicBezTo>
                    <a:pt x="719942" y="1175794"/>
                    <a:pt x="713406" y="1172966"/>
                    <a:pt x="707056" y="1169791"/>
                  </a:cubicBezTo>
                  <a:cubicBezTo>
                    <a:pt x="698076" y="1165301"/>
                    <a:pt x="688006" y="1163441"/>
                    <a:pt x="678481" y="1160266"/>
                  </a:cubicBezTo>
                  <a:cubicBezTo>
                    <a:pt x="666224" y="1156180"/>
                    <a:pt x="645103" y="1138309"/>
                    <a:pt x="635619" y="1126928"/>
                  </a:cubicBezTo>
                  <a:cubicBezTo>
                    <a:pt x="631955" y="1122531"/>
                    <a:pt x="629269" y="1117403"/>
                    <a:pt x="626094" y="1112641"/>
                  </a:cubicBezTo>
                  <a:cubicBezTo>
                    <a:pt x="606449" y="1099545"/>
                    <a:pt x="614039" y="1106093"/>
                    <a:pt x="610690" y="1100139"/>
                  </a:cubicBezTo>
                  <a:lnTo>
                    <a:pt x="602281" y="1088828"/>
                  </a:lnTo>
                  <a:cubicBezTo>
                    <a:pt x="589112" y="1073025"/>
                    <a:pt x="587339" y="1077993"/>
                    <a:pt x="578469" y="1060253"/>
                  </a:cubicBezTo>
                  <a:cubicBezTo>
                    <a:pt x="576224" y="1055763"/>
                    <a:pt x="575951" y="1050456"/>
                    <a:pt x="573706" y="1045966"/>
                  </a:cubicBezTo>
                  <a:cubicBezTo>
                    <a:pt x="555245" y="1009045"/>
                    <a:pt x="571386" y="1053294"/>
                    <a:pt x="559419" y="1017391"/>
                  </a:cubicBezTo>
                  <a:cubicBezTo>
                    <a:pt x="525299" y="996918"/>
                    <a:pt x="539155" y="1006705"/>
                    <a:pt x="534545" y="1001160"/>
                  </a:cubicBezTo>
                  <a:lnTo>
                    <a:pt x="521319" y="988816"/>
                  </a:lnTo>
                  <a:cubicBezTo>
                    <a:pt x="500644" y="971094"/>
                    <a:pt x="504340" y="978029"/>
                    <a:pt x="500406" y="971994"/>
                  </a:cubicBezTo>
                  <a:lnTo>
                    <a:pt x="492744" y="960241"/>
                  </a:lnTo>
                  <a:cubicBezTo>
                    <a:pt x="470616" y="949177"/>
                    <a:pt x="473457" y="954147"/>
                    <a:pt x="459406" y="931666"/>
                  </a:cubicBezTo>
                  <a:cubicBezTo>
                    <a:pt x="455643" y="925646"/>
                    <a:pt x="454901" y="917636"/>
                    <a:pt x="449881" y="912616"/>
                  </a:cubicBezTo>
                  <a:cubicBezTo>
                    <a:pt x="446331" y="909066"/>
                    <a:pt x="439450" y="911067"/>
                    <a:pt x="435594" y="907853"/>
                  </a:cubicBezTo>
                  <a:cubicBezTo>
                    <a:pt x="429496" y="902771"/>
                    <a:pt x="426069" y="895153"/>
                    <a:pt x="421306" y="888803"/>
                  </a:cubicBezTo>
                  <a:cubicBezTo>
                    <a:pt x="399749" y="881618"/>
                    <a:pt x="403008" y="884097"/>
                    <a:pt x="378444" y="864991"/>
                  </a:cubicBezTo>
                  <a:cubicBezTo>
                    <a:pt x="373127" y="860856"/>
                    <a:pt x="367892" y="856307"/>
                    <a:pt x="364156" y="850703"/>
                  </a:cubicBezTo>
                  <a:cubicBezTo>
                    <a:pt x="361371" y="846526"/>
                    <a:pt x="360981" y="841178"/>
                    <a:pt x="359394" y="836416"/>
                  </a:cubicBezTo>
                  <a:cubicBezTo>
                    <a:pt x="354631" y="831653"/>
                    <a:pt x="349021" y="827609"/>
                    <a:pt x="345106" y="822128"/>
                  </a:cubicBezTo>
                  <a:cubicBezTo>
                    <a:pt x="337749" y="811829"/>
                    <a:pt x="334705" y="800451"/>
                    <a:pt x="330819" y="788791"/>
                  </a:cubicBezTo>
                  <a:cubicBezTo>
                    <a:pt x="317205" y="779715"/>
                    <a:pt x="292617" y="764673"/>
                    <a:pt x="287956" y="750691"/>
                  </a:cubicBezTo>
                  <a:cubicBezTo>
                    <a:pt x="276361" y="715906"/>
                    <a:pt x="280866" y="731857"/>
                    <a:pt x="273669" y="703066"/>
                  </a:cubicBezTo>
                  <a:cubicBezTo>
                    <a:pt x="246371" y="662117"/>
                    <a:pt x="279100" y="713927"/>
                    <a:pt x="259381" y="674491"/>
                  </a:cubicBezTo>
                  <a:cubicBezTo>
                    <a:pt x="256821" y="669371"/>
                    <a:pt x="252416" y="665323"/>
                    <a:pt x="249856" y="660203"/>
                  </a:cubicBezTo>
                  <a:cubicBezTo>
                    <a:pt x="247611" y="655713"/>
                    <a:pt x="247879" y="650093"/>
                    <a:pt x="245094" y="645916"/>
                  </a:cubicBezTo>
                  <a:cubicBezTo>
                    <a:pt x="241358" y="640312"/>
                    <a:pt x="235118" y="636802"/>
                    <a:pt x="230806" y="631628"/>
                  </a:cubicBezTo>
                  <a:cubicBezTo>
                    <a:pt x="227142" y="627231"/>
                    <a:pt x="224456" y="622103"/>
                    <a:pt x="221281" y="617341"/>
                  </a:cubicBezTo>
                  <a:cubicBezTo>
                    <a:pt x="201916" y="604430"/>
                    <a:pt x="204302" y="603053"/>
                    <a:pt x="173656" y="603053"/>
                  </a:cubicBezTo>
                  <a:cubicBezTo>
                    <a:pt x="168636" y="603053"/>
                    <a:pt x="164131" y="606228"/>
                    <a:pt x="159369" y="607816"/>
                  </a:cubicBezTo>
                  <a:cubicBezTo>
                    <a:pt x="132127" y="612356"/>
                    <a:pt x="106583" y="617341"/>
                    <a:pt x="78406" y="617341"/>
                  </a:cubicBezTo>
                  <a:cubicBezTo>
                    <a:pt x="73386" y="617341"/>
                    <a:pt x="68296" y="615363"/>
                    <a:pt x="64119" y="612578"/>
                  </a:cubicBezTo>
                  <a:cubicBezTo>
                    <a:pt x="58515" y="608842"/>
                    <a:pt x="54594" y="603053"/>
                    <a:pt x="49831" y="598291"/>
                  </a:cubicBezTo>
                  <a:cubicBezTo>
                    <a:pt x="45069" y="596703"/>
                    <a:pt x="39094" y="597078"/>
                    <a:pt x="35544" y="593528"/>
                  </a:cubicBezTo>
                  <a:cubicBezTo>
                    <a:pt x="31994" y="589978"/>
                    <a:pt x="31444" y="584217"/>
                    <a:pt x="30781" y="579241"/>
                  </a:cubicBezTo>
                  <a:cubicBezTo>
                    <a:pt x="16710" y="473706"/>
                    <a:pt x="30781" y="568224"/>
                    <a:pt x="30781" y="474466"/>
                  </a:cubicBezTo>
                  <a:cubicBezTo>
                    <a:pt x="30781" y="469446"/>
                    <a:pt x="27606" y="464941"/>
                    <a:pt x="26019" y="460178"/>
                  </a:cubicBezTo>
                  <a:cubicBezTo>
                    <a:pt x="21256" y="457003"/>
                    <a:pt x="15307" y="455123"/>
                    <a:pt x="11731" y="450653"/>
                  </a:cubicBezTo>
                  <a:cubicBezTo>
                    <a:pt x="8595" y="446733"/>
                    <a:pt x="7423" y="441365"/>
                    <a:pt x="6969" y="436366"/>
                  </a:cubicBezTo>
                  <a:cubicBezTo>
                    <a:pt x="5473" y="419908"/>
                    <a:pt x="-7933" y="361395"/>
                    <a:pt x="6969" y="331591"/>
                  </a:cubicBezTo>
                  <a:cubicBezTo>
                    <a:pt x="9529" y="326471"/>
                    <a:pt x="13319" y="322066"/>
                    <a:pt x="16494" y="317303"/>
                  </a:cubicBezTo>
                  <a:cubicBezTo>
                    <a:pt x="16531" y="317280"/>
                    <a:pt x="36041" y="305274"/>
                    <a:pt x="45069" y="298253"/>
                  </a:cubicBezTo>
                  <a:cubicBezTo>
                    <a:pt x="50385" y="294118"/>
                    <a:pt x="53752" y="287702"/>
                    <a:pt x="59356" y="283966"/>
                  </a:cubicBezTo>
                  <a:cubicBezTo>
                    <a:pt x="63533" y="281181"/>
                    <a:pt x="69154" y="281448"/>
                    <a:pt x="73644" y="279203"/>
                  </a:cubicBezTo>
                  <a:cubicBezTo>
                    <a:pt x="78763" y="276643"/>
                    <a:pt x="83169" y="272853"/>
                    <a:pt x="87931" y="269678"/>
                  </a:cubicBezTo>
                  <a:lnTo>
                    <a:pt x="230806" y="264916"/>
                  </a:lnTo>
                  <a:lnTo>
                    <a:pt x="459406" y="260153"/>
                  </a:lnTo>
                  <a:lnTo>
                    <a:pt x="645144" y="255391"/>
                  </a:lnTo>
                  <a:lnTo>
                    <a:pt x="778494" y="260153"/>
                  </a:lnTo>
                  <a:cubicBezTo>
                    <a:pt x="853097" y="262142"/>
                    <a:pt x="927702" y="264916"/>
                    <a:pt x="1002331" y="264916"/>
                  </a:cubicBezTo>
                  <a:cubicBezTo>
                    <a:pt x="1007351" y="264916"/>
                    <a:pt x="1012129" y="262398"/>
                    <a:pt x="1016619" y="260153"/>
                  </a:cubicBezTo>
                  <a:cubicBezTo>
                    <a:pt x="1021738" y="257593"/>
                    <a:pt x="1026144" y="253803"/>
                    <a:pt x="1030906" y="250628"/>
                  </a:cubicBezTo>
                  <a:lnTo>
                    <a:pt x="1043102" y="246703"/>
                  </a:lnTo>
                  <a:cubicBezTo>
                    <a:pt x="1043995" y="245710"/>
                    <a:pt x="1042835" y="245264"/>
                    <a:pt x="1044743" y="242996"/>
                  </a:cubicBezTo>
                  <a:lnTo>
                    <a:pt x="1059481" y="231578"/>
                  </a:lnTo>
                  <a:lnTo>
                    <a:pt x="1070104" y="225724"/>
                  </a:lnTo>
                  <a:cubicBezTo>
                    <a:pt x="1076475" y="223624"/>
                    <a:pt x="1072051" y="230552"/>
                    <a:pt x="1074468" y="226398"/>
                  </a:cubicBezTo>
                  <a:lnTo>
                    <a:pt x="1083294" y="212528"/>
                  </a:lnTo>
                  <a:lnTo>
                    <a:pt x="1097581" y="207766"/>
                  </a:lnTo>
                  <a:lnTo>
                    <a:pt x="1140444" y="193478"/>
                  </a:lnTo>
                  <a:cubicBezTo>
                    <a:pt x="1166146" y="185768"/>
                    <a:pt x="1156901" y="191685"/>
                    <a:pt x="1168059" y="183533"/>
                  </a:cubicBezTo>
                  <a:lnTo>
                    <a:pt x="1188069" y="169666"/>
                  </a:lnTo>
                  <a:cubicBezTo>
                    <a:pt x="1196423" y="164097"/>
                    <a:pt x="1207469" y="164219"/>
                    <a:pt x="1216644" y="160141"/>
                  </a:cubicBezTo>
                  <a:cubicBezTo>
                    <a:pt x="1231683" y="153457"/>
                    <a:pt x="1231767" y="149362"/>
                    <a:pt x="1240456" y="136328"/>
                  </a:cubicBezTo>
                  <a:cubicBezTo>
                    <a:pt x="1240491" y="136309"/>
                    <a:pt x="1260424" y="124809"/>
                    <a:pt x="1269031" y="117278"/>
                  </a:cubicBezTo>
                  <a:cubicBezTo>
                    <a:pt x="1273339" y="113509"/>
                    <a:pt x="1277707" y="108651"/>
                    <a:pt x="1278556" y="102991"/>
                  </a:cubicBezTo>
                  <a:cubicBezTo>
                    <a:pt x="1282566" y="76256"/>
                    <a:pt x="1281731" y="49016"/>
                    <a:pt x="1283319" y="22028"/>
                  </a:cubicBezTo>
                  <a:cubicBezTo>
                    <a:pt x="1292827" y="7767"/>
                    <a:pt x="1295202" y="-187"/>
                    <a:pt x="1310540" y="4"/>
                  </a:cubicBezTo>
                  <a:close/>
                </a:path>
              </a:pathLst>
            </a:custGeom>
            <a:solidFill>
              <a:schemeClr val="accent1">
                <a:lumMod val="5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25" name="Freeform 24"/>
            <p:cNvSpPr/>
            <p:nvPr>
              <p:custDataLst>
                <p:tags r:id="rId50"/>
              </p:custDataLst>
            </p:nvPr>
          </p:nvSpPr>
          <p:spPr>
            <a:xfrm>
              <a:off x="2888821" y="5319558"/>
              <a:ext cx="735815" cy="47574"/>
            </a:xfrm>
            <a:custGeom>
              <a:avLst/>
              <a:gdLst>
                <a:gd name="connsiteX0" fmla="*/ 1510380 w 1510380"/>
                <a:gd name="connsiteY0" fmla="*/ 0 h 97654"/>
                <a:gd name="connsiteX1" fmla="*/ 1510380 w 1510380"/>
                <a:gd name="connsiteY1" fmla="*/ 0 h 97654"/>
                <a:gd name="connsiteX2" fmla="*/ 1430481 w 1510380"/>
                <a:gd name="connsiteY2" fmla="*/ 17755 h 97654"/>
                <a:gd name="connsiteX3" fmla="*/ 1412726 w 1510380"/>
                <a:gd name="connsiteY3" fmla="*/ 35511 h 97654"/>
                <a:gd name="connsiteX4" fmla="*/ 1386093 w 1510380"/>
                <a:gd name="connsiteY4" fmla="*/ 44388 h 97654"/>
                <a:gd name="connsiteX5" fmla="*/ 1368338 w 1510380"/>
                <a:gd name="connsiteY5" fmla="*/ 62144 h 97654"/>
                <a:gd name="connsiteX6" fmla="*/ 1244050 w 1510380"/>
                <a:gd name="connsiteY6" fmla="*/ 79899 h 97654"/>
                <a:gd name="connsiteX7" fmla="*/ 871188 w 1510380"/>
                <a:gd name="connsiteY7" fmla="*/ 71021 h 97654"/>
                <a:gd name="connsiteX8" fmla="*/ 844555 w 1510380"/>
                <a:gd name="connsiteY8" fmla="*/ 62144 h 97654"/>
                <a:gd name="connsiteX9" fmla="*/ 809044 w 1510380"/>
                <a:gd name="connsiteY9" fmla="*/ 53266 h 97654"/>
                <a:gd name="connsiteX10" fmla="*/ 693635 w 1510380"/>
                <a:gd name="connsiteY10" fmla="*/ 44388 h 97654"/>
                <a:gd name="connsiteX11" fmla="*/ 667002 w 1510380"/>
                <a:gd name="connsiteY11" fmla="*/ 35511 h 97654"/>
                <a:gd name="connsiteX12" fmla="*/ 258629 w 1510380"/>
                <a:gd name="connsiteY12" fmla="*/ 35511 h 97654"/>
                <a:gd name="connsiteX13" fmla="*/ 231996 w 1510380"/>
                <a:gd name="connsiteY13" fmla="*/ 53266 h 97654"/>
                <a:gd name="connsiteX14" fmla="*/ 125464 w 1510380"/>
                <a:gd name="connsiteY14" fmla="*/ 79899 h 97654"/>
                <a:gd name="connsiteX15" fmla="*/ 54442 w 1510380"/>
                <a:gd name="connsiteY15" fmla="*/ 97654 h 97654"/>
                <a:gd name="connsiteX16" fmla="*/ 1176 w 1510380"/>
                <a:gd name="connsiteY16" fmla="*/ 71021 h 97654"/>
                <a:gd name="connsiteX17" fmla="*/ 1176 w 1510380"/>
                <a:gd name="connsiteY17" fmla="*/ 53266 h 97654"/>
                <a:gd name="connsiteX18" fmla="*/ 1176 w 1510380"/>
                <a:gd name="connsiteY18" fmla="*/ 53266 h 976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1510380" h="97654">
                  <a:moveTo>
                    <a:pt x="1510380" y="0"/>
                  </a:moveTo>
                  <a:lnTo>
                    <a:pt x="1510380" y="0"/>
                  </a:lnTo>
                  <a:cubicBezTo>
                    <a:pt x="1483747" y="5918"/>
                    <a:pt x="1456121" y="8431"/>
                    <a:pt x="1430481" y="17755"/>
                  </a:cubicBezTo>
                  <a:cubicBezTo>
                    <a:pt x="1422615" y="20615"/>
                    <a:pt x="1419903" y="31205"/>
                    <a:pt x="1412726" y="35511"/>
                  </a:cubicBezTo>
                  <a:cubicBezTo>
                    <a:pt x="1404702" y="40326"/>
                    <a:pt x="1394971" y="41429"/>
                    <a:pt x="1386093" y="44388"/>
                  </a:cubicBezTo>
                  <a:cubicBezTo>
                    <a:pt x="1380175" y="50307"/>
                    <a:pt x="1375515" y="57838"/>
                    <a:pt x="1368338" y="62144"/>
                  </a:cubicBezTo>
                  <a:cubicBezTo>
                    <a:pt x="1340893" y="78611"/>
                    <a:pt x="1245551" y="79763"/>
                    <a:pt x="1244050" y="79899"/>
                  </a:cubicBezTo>
                  <a:cubicBezTo>
                    <a:pt x="1119763" y="76940"/>
                    <a:pt x="995388" y="76541"/>
                    <a:pt x="871188" y="71021"/>
                  </a:cubicBezTo>
                  <a:cubicBezTo>
                    <a:pt x="861839" y="70606"/>
                    <a:pt x="853553" y="64715"/>
                    <a:pt x="844555" y="62144"/>
                  </a:cubicBezTo>
                  <a:cubicBezTo>
                    <a:pt x="832823" y="58792"/>
                    <a:pt x="821162" y="54692"/>
                    <a:pt x="809044" y="53266"/>
                  </a:cubicBezTo>
                  <a:cubicBezTo>
                    <a:pt x="770725" y="48758"/>
                    <a:pt x="732105" y="47347"/>
                    <a:pt x="693635" y="44388"/>
                  </a:cubicBezTo>
                  <a:cubicBezTo>
                    <a:pt x="684757" y="41429"/>
                    <a:pt x="676251" y="36934"/>
                    <a:pt x="667002" y="35511"/>
                  </a:cubicBezTo>
                  <a:cubicBezTo>
                    <a:pt x="529933" y="14424"/>
                    <a:pt x="400998" y="31556"/>
                    <a:pt x="258629" y="35511"/>
                  </a:cubicBezTo>
                  <a:cubicBezTo>
                    <a:pt x="249751" y="41429"/>
                    <a:pt x="241746" y="48933"/>
                    <a:pt x="231996" y="53266"/>
                  </a:cubicBezTo>
                  <a:cubicBezTo>
                    <a:pt x="180184" y="76293"/>
                    <a:pt x="179369" y="68348"/>
                    <a:pt x="125464" y="79899"/>
                  </a:cubicBezTo>
                  <a:cubicBezTo>
                    <a:pt x="101603" y="85012"/>
                    <a:pt x="54442" y="97654"/>
                    <a:pt x="54442" y="97654"/>
                  </a:cubicBezTo>
                  <a:cubicBezTo>
                    <a:pt x="32787" y="92240"/>
                    <a:pt x="12484" y="93636"/>
                    <a:pt x="1176" y="71021"/>
                  </a:cubicBezTo>
                  <a:cubicBezTo>
                    <a:pt x="-1471" y="65728"/>
                    <a:pt x="1176" y="59184"/>
                    <a:pt x="1176" y="53266"/>
                  </a:cubicBezTo>
                  <a:lnTo>
                    <a:pt x="1176" y="53266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158" name="Freeform 157"/>
            <p:cNvSpPr/>
            <p:nvPr/>
          </p:nvSpPr>
          <p:spPr>
            <a:xfrm>
              <a:off x="2607891" y="4800074"/>
              <a:ext cx="561860" cy="353862"/>
            </a:xfrm>
            <a:custGeom>
              <a:avLst/>
              <a:gdLst>
                <a:gd name="connsiteX0" fmla="*/ 156754 w 1227908"/>
                <a:gd name="connsiteY0" fmla="*/ 740229 h 740229"/>
                <a:gd name="connsiteX1" fmla="*/ 156754 w 1227908"/>
                <a:gd name="connsiteY1" fmla="*/ 740229 h 740229"/>
                <a:gd name="connsiteX2" fmla="*/ 139337 w 1227908"/>
                <a:gd name="connsiteY2" fmla="*/ 661851 h 740229"/>
                <a:gd name="connsiteX3" fmla="*/ 87085 w 1227908"/>
                <a:gd name="connsiteY3" fmla="*/ 592183 h 740229"/>
                <a:gd name="connsiteX4" fmla="*/ 104503 w 1227908"/>
                <a:gd name="connsiteY4" fmla="*/ 574766 h 740229"/>
                <a:gd name="connsiteX5" fmla="*/ 78377 w 1227908"/>
                <a:gd name="connsiteY5" fmla="*/ 522514 h 740229"/>
                <a:gd name="connsiteX6" fmla="*/ 60960 w 1227908"/>
                <a:gd name="connsiteY6" fmla="*/ 461554 h 740229"/>
                <a:gd name="connsiteX7" fmla="*/ 34834 w 1227908"/>
                <a:gd name="connsiteY7" fmla="*/ 444137 h 740229"/>
                <a:gd name="connsiteX8" fmla="*/ 17417 w 1227908"/>
                <a:gd name="connsiteY8" fmla="*/ 269966 h 740229"/>
                <a:gd name="connsiteX9" fmla="*/ 0 w 1227908"/>
                <a:gd name="connsiteY9" fmla="*/ 243840 h 740229"/>
                <a:gd name="connsiteX10" fmla="*/ 8708 w 1227908"/>
                <a:gd name="connsiteY10" fmla="*/ 139337 h 740229"/>
                <a:gd name="connsiteX11" fmla="*/ 60960 w 1227908"/>
                <a:gd name="connsiteY11" fmla="*/ 104503 h 740229"/>
                <a:gd name="connsiteX12" fmla="*/ 69668 w 1227908"/>
                <a:gd name="connsiteY12" fmla="*/ 26126 h 740229"/>
                <a:gd name="connsiteX13" fmla="*/ 121920 w 1227908"/>
                <a:gd name="connsiteY13" fmla="*/ 8709 h 740229"/>
                <a:gd name="connsiteX14" fmla="*/ 148045 w 1227908"/>
                <a:gd name="connsiteY14" fmla="*/ 0 h 740229"/>
                <a:gd name="connsiteX15" fmla="*/ 174171 w 1227908"/>
                <a:gd name="connsiteY15" fmla="*/ 8709 h 740229"/>
                <a:gd name="connsiteX16" fmla="*/ 409303 w 1227908"/>
                <a:gd name="connsiteY16" fmla="*/ 26126 h 740229"/>
                <a:gd name="connsiteX17" fmla="*/ 435428 w 1227908"/>
                <a:gd name="connsiteY17" fmla="*/ 34834 h 740229"/>
                <a:gd name="connsiteX18" fmla="*/ 487680 w 1227908"/>
                <a:gd name="connsiteY18" fmla="*/ 69669 h 740229"/>
                <a:gd name="connsiteX19" fmla="*/ 548640 w 1227908"/>
                <a:gd name="connsiteY19" fmla="*/ 87086 h 740229"/>
                <a:gd name="connsiteX20" fmla="*/ 644434 w 1227908"/>
                <a:gd name="connsiteY20" fmla="*/ 95794 h 740229"/>
                <a:gd name="connsiteX21" fmla="*/ 679268 w 1227908"/>
                <a:gd name="connsiteY21" fmla="*/ 174171 h 740229"/>
                <a:gd name="connsiteX22" fmla="*/ 696685 w 1227908"/>
                <a:gd name="connsiteY22" fmla="*/ 191589 h 740229"/>
                <a:gd name="connsiteX23" fmla="*/ 705394 w 1227908"/>
                <a:gd name="connsiteY23" fmla="*/ 217714 h 740229"/>
                <a:gd name="connsiteX24" fmla="*/ 731520 w 1227908"/>
                <a:gd name="connsiteY24" fmla="*/ 235131 h 740229"/>
                <a:gd name="connsiteX25" fmla="*/ 775063 w 1227908"/>
                <a:gd name="connsiteY25" fmla="*/ 261257 h 740229"/>
                <a:gd name="connsiteX26" fmla="*/ 801188 w 1227908"/>
                <a:gd name="connsiteY26" fmla="*/ 252549 h 740229"/>
                <a:gd name="connsiteX27" fmla="*/ 818605 w 1227908"/>
                <a:gd name="connsiteY27" fmla="*/ 235131 h 740229"/>
                <a:gd name="connsiteX28" fmla="*/ 870857 w 1227908"/>
                <a:gd name="connsiteY28" fmla="*/ 217714 h 740229"/>
                <a:gd name="connsiteX29" fmla="*/ 896983 w 1227908"/>
                <a:gd name="connsiteY29" fmla="*/ 200297 h 740229"/>
                <a:gd name="connsiteX30" fmla="*/ 931817 w 1227908"/>
                <a:gd name="connsiteY30" fmla="*/ 191589 h 740229"/>
                <a:gd name="connsiteX31" fmla="*/ 966651 w 1227908"/>
                <a:gd name="connsiteY31" fmla="*/ 200297 h 740229"/>
                <a:gd name="connsiteX32" fmla="*/ 992777 w 1227908"/>
                <a:gd name="connsiteY32" fmla="*/ 209006 h 740229"/>
                <a:gd name="connsiteX33" fmla="*/ 1010194 w 1227908"/>
                <a:gd name="connsiteY33" fmla="*/ 261257 h 740229"/>
                <a:gd name="connsiteX34" fmla="*/ 1036320 w 1227908"/>
                <a:gd name="connsiteY34" fmla="*/ 313509 h 740229"/>
                <a:gd name="connsiteX35" fmla="*/ 1079863 w 1227908"/>
                <a:gd name="connsiteY35" fmla="*/ 383177 h 740229"/>
                <a:gd name="connsiteX36" fmla="*/ 1158240 w 1227908"/>
                <a:gd name="connsiteY36" fmla="*/ 391886 h 740229"/>
                <a:gd name="connsiteX37" fmla="*/ 1175657 w 1227908"/>
                <a:gd name="connsiteY37" fmla="*/ 418011 h 740229"/>
                <a:gd name="connsiteX38" fmla="*/ 1158240 w 1227908"/>
                <a:gd name="connsiteY38" fmla="*/ 435429 h 740229"/>
                <a:gd name="connsiteX39" fmla="*/ 1140823 w 1227908"/>
                <a:gd name="connsiteY39" fmla="*/ 461554 h 740229"/>
                <a:gd name="connsiteX40" fmla="*/ 1219200 w 1227908"/>
                <a:gd name="connsiteY40" fmla="*/ 505097 h 740229"/>
                <a:gd name="connsiteX41" fmla="*/ 1227908 w 1227908"/>
                <a:gd name="connsiteY41" fmla="*/ 505097 h 740229"/>
                <a:gd name="connsiteX42" fmla="*/ 1227908 w 1227908"/>
                <a:gd name="connsiteY42" fmla="*/ 505097 h 7402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</a:cxnLst>
              <a:rect l="l" t="t" r="r" b="b"/>
              <a:pathLst>
                <a:path w="1227908" h="740229">
                  <a:moveTo>
                    <a:pt x="156754" y="740229"/>
                  </a:moveTo>
                  <a:lnTo>
                    <a:pt x="156754" y="740229"/>
                  </a:lnTo>
                  <a:cubicBezTo>
                    <a:pt x="150948" y="714103"/>
                    <a:pt x="149277" y="686700"/>
                    <a:pt x="139337" y="661851"/>
                  </a:cubicBezTo>
                  <a:cubicBezTo>
                    <a:pt x="126207" y="629025"/>
                    <a:pt x="109005" y="614102"/>
                    <a:pt x="87085" y="592183"/>
                  </a:cubicBezTo>
                  <a:cubicBezTo>
                    <a:pt x="92891" y="586377"/>
                    <a:pt x="102893" y="582817"/>
                    <a:pt x="104503" y="574766"/>
                  </a:cubicBezTo>
                  <a:cubicBezTo>
                    <a:pt x="107276" y="560900"/>
                    <a:pt x="84020" y="530979"/>
                    <a:pt x="78377" y="522514"/>
                  </a:cubicBezTo>
                  <a:cubicBezTo>
                    <a:pt x="77809" y="520242"/>
                    <a:pt x="65501" y="467230"/>
                    <a:pt x="60960" y="461554"/>
                  </a:cubicBezTo>
                  <a:cubicBezTo>
                    <a:pt x="54422" y="453381"/>
                    <a:pt x="43543" y="449943"/>
                    <a:pt x="34834" y="444137"/>
                  </a:cubicBezTo>
                  <a:cubicBezTo>
                    <a:pt x="34564" y="440350"/>
                    <a:pt x="28621" y="303578"/>
                    <a:pt x="17417" y="269966"/>
                  </a:cubicBezTo>
                  <a:cubicBezTo>
                    <a:pt x="14107" y="260037"/>
                    <a:pt x="5806" y="252549"/>
                    <a:pt x="0" y="243840"/>
                  </a:cubicBezTo>
                  <a:cubicBezTo>
                    <a:pt x="2903" y="209006"/>
                    <a:pt x="-5303" y="171361"/>
                    <a:pt x="8708" y="139337"/>
                  </a:cubicBezTo>
                  <a:cubicBezTo>
                    <a:pt x="17098" y="120159"/>
                    <a:pt x="60960" y="104503"/>
                    <a:pt x="60960" y="104503"/>
                  </a:cubicBezTo>
                  <a:cubicBezTo>
                    <a:pt x="63863" y="78377"/>
                    <a:pt x="55555" y="48303"/>
                    <a:pt x="69668" y="26126"/>
                  </a:cubicBezTo>
                  <a:cubicBezTo>
                    <a:pt x="79525" y="10637"/>
                    <a:pt x="104503" y="14515"/>
                    <a:pt x="121920" y="8709"/>
                  </a:cubicBezTo>
                  <a:lnTo>
                    <a:pt x="148045" y="0"/>
                  </a:lnTo>
                  <a:cubicBezTo>
                    <a:pt x="156754" y="2903"/>
                    <a:pt x="165037" y="7796"/>
                    <a:pt x="174171" y="8709"/>
                  </a:cubicBezTo>
                  <a:cubicBezTo>
                    <a:pt x="252373" y="16529"/>
                    <a:pt x="409303" y="26126"/>
                    <a:pt x="409303" y="26126"/>
                  </a:cubicBezTo>
                  <a:cubicBezTo>
                    <a:pt x="418011" y="29029"/>
                    <a:pt x="427404" y="30376"/>
                    <a:pt x="435428" y="34834"/>
                  </a:cubicBezTo>
                  <a:cubicBezTo>
                    <a:pt x="453727" y="45000"/>
                    <a:pt x="467821" y="63050"/>
                    <a:pt x="487680" y="69669"/>
                  </a:cubicBezTo>
                  <a:cubicBezTo>
                    <a:pt x="505589" y="75638"/>
                    <a:pt x="530418" y="84656"/>
                    <a:pt x="548640" y="87086"/>
                  </a:cubicBezTo>
                  <a:cubicBezTo>
                    <a:pt x="580422" y="91324"/>
                    <a:pt x="612503" y="92891"/>
                    <a:pt x="644434" y="95794"/>
                  </a:cubicBezTo>
                  <a:cubicBezTo>
                    <a:pt x="658245" y="137229"/>
                    <a:pt x="655609" y="144597"/>
                    <a:pt x="679268" y="174171"/>
                  </a:cubicBezTo>
                  <a:cubicBezTo>
                    <a:pt x="684397" y="180582"/>
                    <a:pt x="690879" y="185783"/>
                    <a:pt x="696685" y="191589"/>
                  </a:cubicBezTo>
                  <a:cubicBezTo>
                    <a:pt x="699588" y="200297"/>
                    <a:pt x="699659" y="210546"/>
                    <a:pt x="705394" y="217714"/>
                  </a:cubicBezTo>
                  <a:cubicBezTo>
                    <a:pt x="711933" y="225887"/>
                    <a:pt x="723347" y="228593"/>
                    <a:pt x="731520" y="235131"/>
                  </a:cubicBezTo>
                  <a:cubicBezTo>
                    <a:pt x="765675" y="262456"/>
                    <a:pt x="729691" y="246134"/>
                    <a:pt x="775063" y="261257"/>
                  </a:cubicBezTo>
                  <a:cubicBezTo>
                    <a:pt x="783771" y="258354"/>
                    <a:pt x="793317" y="257272"/>
                    <a:pt x="801188" y="252549"/>
                  </a:cubicBezTo>
                  <a:cubicBezTo>
                    <a:pt x="808229" y="248325"/>
                    <a:pt x="811261" y="238803"/>
                    <a:pt x="818605" y="235131"/>
                  </a:cubicBezTo>
                  <a:cubicBezTo>
                    <a:pt x="835026" y="226920"/>
                    <a:pt x="853440" y="223520"/>
                    <a:pt x="870857" y="217714"/>
                  </a:cubicBezTo>
                  <a:cubicBezTo>
                    <a:pt x="880786" y="214404"/>
                    <a:pt x="887363" y="204420"/>
                    <a:pt x="896983" y="200297"/>
                  </a:cubicBezTo>
                  <a:cubicBezTo>
                    <a:pt x="907984" y="195582"/>
                    <a:pt x="920206" y="194492"/>
                    <a:pt x="931817" y="191589"/>
                  </a:cubicBezTo>
                  <a:cubicBezTo>
                    <a:pt x="943428" y="194492"/>
                    <a:pt x="955143" y="197009"/>
                    <a:pt x="966651" y="200297"/>
                  </a:cubicBezTo>
                  <a:cubicBezTo>
                    <a:pt x="975478" y="202819"/>
                    <a:pt x="987441" y="201536"/>
                    <a:pt x="992777" y="209006"/>
                  </a:cubicBezTo>
                  <a:cubicBezTo>
                    <a:pt x="1003448" y="223945"/>
                    <a:pt x="1004388" y="243840"/>
                    <a:pt x="1010194" y="261257"/>
                  </a:cubicBezTo>
                  <a:cubicBezTo>
                    <a:pt x="1022212" y="297311"/>
                    <a:pt x="1013812" y="279746"/>
                    <a:pt x="1036320" y="313509"/>
                  </a:cubicBezTo>
                  <a:cubicBezTo>
                    <a:pt x="1046044" y="342680"/>
                    <a:pt x="1044734" y="374395"/>
                    <a:pt x="1079863" y="383177"/>
                  </a:cubicBezTo>
                  <a:cubicBezTo>
                    <a:pt x="1105365" y="389552"/>
                    <a:pt x="1132114" y="388983"/>
                    <a:pt x="1158240" y="391886"/>
                  </a:cubicBezTo>
                  <a:cubicBezTo>
                    <a:pt x="1164046" y="400594"/>
                    <a:pt x="1175657" y="407545"/>
                    <a:pt x="1175657" y="418011"/>
                  </a:cubicBezTo>
                  <a:cubicBezTo>
                    <a:pt x="1175657" y="426222"/>
                    <a:pt x="1163369" y="429018"/>
                    <a:pt x="1158240" y="435429"/>
                  </a:cubicBezTo>
                  <a:cubicBezTo>
                    <a:pt x="1151702" y="443602"/>
                    <a:pt x="1146629" y="452846"/>
                    <a:pt x="1140823" y="461554"/>
                  </a:cubicBezTo>
                  <a:cubicBezTo>
                    <a:pt x="1179744" y="487502"/>
                    <a:pt x="1182410" y="495900"/>
                    <a:pt x="1219200" y="505097"/>
                  </a:cubicBezTo>
                  <a:cubicBezTo>
                    <a:pt x="1222016" y="505801"/>
                    <a:pt x="1225005" y="505097"/>
                    <a:pt x="1227908" y="505097"/>
                  </a:cubicBezTo>
                  <a:lnTo>
                    <a:pt x="1227908" y="505097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solidFill>
                  <a:schemeClr val="lt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36" name="Freeform 35"/>
            <p:cNvSpPr/>
            <p:nvPr/>
          </p:nvSpPr>
          <p:spPr>
            <a:xfrm>
              <a:off x="2783533" y="4760732"/>
              <a:ext cx="14288" cy="52388"/>
            </a:xfrm>
            <a:custGeom>
              <a:avLst/>
              <a:gdLst>
                <a:gd name="connsiteX0" fmla="*/ 0 w 14288"/>
                <a:gd name="connsiteY0" fmla="*/ 52388 h 52388"/>
                <a:gd name="connsiteX1" fmla="*/ 0 w 14288"/>
                <a:gd name="connsiteY1" fmla="*/ 52388 h 52388"/>
                <a:gd name="connsiteX2" fmla="*/ 9525 w 14288"/>
                <a:gd name="connsiteY2" fmla="*/ 33338 h 52388"/>
                <a:gd name="connsiteX3" fmla="*/ 7144 w 14288"/>
                <a:gd name="connsiteY3" fmla="*/ 26194 h 52388"/>
                <a:gd name="connsiteX4" fmla="*/ 14288 w 14288"/>
                <a:gd name="connsiteY4" fmla="*/ 11906 h 52388"/>
                <a:gd name="connsiteX5" fmla="*/ 7144 w 14288"/>
                <a:gd name="connsiteY5" fmla="*/ 0 h 523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4288" h="52388">
                  <a:moveTo>
                    <a:pt x="0" y="52388"/>
                  </a:moveTo>
                  <a:lnTo>
                    <a:pt x="0" y="52388"/>
                  </a:lnTo>
                  <a:cubicBezTo>
                    <a:pt x="3175" y="46038"/>
                    <a:pt x="7657" y="40187"/>
                    <a:pt x="9525" y="33338"/>
                  </a:cubicBezTo>
                  <a:cubicBezTo>
                    <a:pt x="10185" y="30916"/>
                    <a:pt x="7144" y="28704"/>
                    <a:pt x="7144" y="26194"/>
                  </a:cubicBezTo>
                  <a:cubicBezTo>
                    <a:pt x="7144" y="21263"/>
                    <a:pt x="11879" y="15519"/>
                    <a:pt x="14288" y="11906"/>
                  </a:cubicBezTo>
                  <a:cubicBezTo>
                    <a:pt x="6021" y="3640"/>
                    <a:pt x="7144" y="8130"/>
                    <a:pt x="7144" y="0"/>
                  </a:cubicBez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solidFill>
                  <a:schemeClr val="lt1"/>
                </a:solidFill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3" name="Group 12"/>
          <p:cNvGrpSpPr/>
          <p:nvPr>
            <p:custDataLst>
              <p:tags r:id="rId5"/>
            </p:custDataLst>
          </p:nvPr>
        </p:nvGrpSpPr>
        <p:grpSpPr>
          <a:xfrm>
            <a:off x="6257183" y="605166"/>
            <a:ext cx="2390925" cy="1931711"/>
            <a:chOff x="6313491" y="847165"/>
            <a:chExt cx="2390925" cy="1931711"/>
          </a:xfrm>
        </p:grpSpPr>
        <p:sp>
          <p:nvSpPr>
            <p:cNvPr id="32" name="Rectangle 31"/>
            <p:cNvSpPr>
              <a:spLocks/>
            </p:cNvSpPr>
            <p:nvPr>
              <p:custDataLst>
                <p:tags r:id="rId40"/>
              </p:custDataLst>
            </p:nvPr>
          </p:nvSpPr>
          <p:spPr>
            <a:xfrm>
              <a:off x="6313491" y="847165"/>
              <a:ext cx="2390925" cy="193033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 err="1"/>
            </a:p>
          </p:txBody>
        </p:sp>
        <p:sp>
          <p:nvSpPr>
            <p:cNvPr id="47" name="TextBox 48"/>
            <p:cNvSpPr txBox="1"/>
            <p:nvPr>
              <p:custDataLst>
                <p:tags r:id="rId41"/>
              </p:custDataLst>
            </p:nvPr>
          </p:nvSpPr>
          <p:spPr>
            <a:xfrm>
              <a:off x="6495463" y="1035791"/>
              <a:ext cx="371753" cy="371753"/>
            </a:xfrm>
            <a:prstGeom prst="ellipse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>
                <a:defRPr sz="1500">
                  <a:latin typeface="+mn-lt"/>
                </a:defRPr>
              </a:lvl1pPr>
            </a:lstStyle>
            <a:p>
              <a:pPr algn="ctr"/>
              <a:r>
                <a:rPr lang="en-US" b="1" dirty="0">
                  <a:solidFill>
                    <a:schemeClr val="accent4"/>
                  </a:solidFill>
                </a:rPr>
                <a:t>1</a:t>
              </a:r>
            </a:p>
          </p:txBody>
        </p:sp>
        <p:sp>
          <p:nvSpPr>
            <p:cNvPr id="51" name="Rectangle 51"/>
            <p:cNvSpPr txBox="1"/>
            <p:nvPr>
              <p:custDataLst>
                <p:tags r:id="rId42"/>
              </p:custDataLst>
            </p:nvPr>
          </p:nvSpPr>
          <p:spPr>
            <a:xfrm>
              <a:off x="6438839" y="1624714"/>
              <a:ext cx="2151062" cy="115416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accent4"/>
                  </a:solidFill>
                </a:rPr>
                <a:t>Phase1: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Greenbelt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Hills and Mountains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Eastern Flood Plains - North</a:t>
              </a:r>
            </a:p>
          </p:txBody>
        </p:sp>
        <p:sp>
          <p:nvSpPr>
            <p:cNvPr id="31" name="Freeform 30"/>
            <p:cNvSpPr/>
            <p:nvPr>
              <p:custDataLst>
                <p:tags r:id="rId43"/>
              </p:custDataLst>
            </p:nvPr>
          </p:nvSpPr>
          <p:spPr>
            <a:xfrm>
              <a:off x="7000381" y="1276841"/>
              <a:ext cx="1349121" cy="344170"/>
            </a:xfrm>
            <a:custGeom>
              <a:avLst/>
              <a:gdLst/>
              <a:ahLst/>
              <a:cxnLst/>
              <a:rect l="l" t="t" r="r" b="b"/>
              <a:pathLst>
                <a:path w="1349121" h="344170">
                  <a:moveTo>
                    <a:pt x="108672" y="13636"/>
                  </a:moveTo>
                  <a:cubicBezTo>
                    <a:pt x="109017" y="13546"/>
                    <a:pt x="111692" y="14093"/>
                    <a:pt x="108817" y="13652"/>
                  </a:cubicBezTo>
                  <a:close/>
                  <a:moveTo>
                    <a:pt x="108858" y="13607"/>
                  </a:moveTo>
                  <a:cubicBezTo>
                    <a:pt x="110275" y="13850"/>
                    <a:pt x="110315" y="13835"/>
                    <a:pt x="108817" y="13652"/>
                  </a:cubicBezTo>
                  <a:close/>
                  <a:moveTo>
                    <a:pt x="19439" y="0"/>
                  </a:moveTo>
                  <a:cubicBezTo>
                    <a:pt x="21488" y="0"/>
                    <a:pt x="23300" y="1381"/>
                    <a:pt x="25270" y="1944"/>
                  </a:cubicBezTo>
                  <a:cubicBezTo>
                    <a:pt x="27839" y="2678"/>
                    <a:pt x="30454" y="3240"/>
                    <a:pt x="33046" y="3888"/>
                  </a:cubicBezTo>
                  <a:cubicBezTo>
                    <a:pt x="44709" y="4536"/>
                    <a:pt x="58802" y="4536"/>
                    <a:pt x="68036" y="5832"/>
                  </a:cubicBezTo>
                  <a:cubicBezTo>
                    <a:pt x="77269" y="7128"/>
                    <a:pt x="81657" y="9400"/>
                    <a:pt x="88447" y="11663"/>
                  </a:cubicBezTo>
                  <a:cubicBezTo>
                    <a:pt x="102302" y="16282"/>
                    <a:pt x="105987" y="16525"/>
                    <a:pt x="108790" y="13681"/>
                  </a:cubicBezTo>
                  <a:cubicBezTo>
                    <a:pt x="108989" y="13874"/>
                    <a:pt x="109611" y="14091"/>
                    <a:pt x="110881" y="14460"/>
                  </a:cubicBezTo>
                  <a:lnTo>
                    <a:pt x="122464" y="17495"/>
                  </a:lnTo>
                  <a:cubicBezTo>
                    <a:pt x="124452" y="17992"/>
                    <a:pt x="126352" y="18791"/>
                    <a:pt x="128296" y="19439"/>
                  </a:cubicBezTo>
                  <a:cubicBezTo>
                    <a:pt x="132184" y="20735"/>
                    <a:pt x="136396" y="22840"/>
                    <a:pt x="139960" y="23326"/>
                  </a:cubicBezTo>
                  <a:cubicBezTo>
                    <a:pt x="143523" y="23813"/>
                    <a:pt x="146925" y="21707"/>
                    <a:pt x="149679" y="22355"/>
                  </a:cubicBezTo>
                  <a:cubicBezTo>
                    <a:pt x="152433" y="23003"/>
                    <a:pt x="153729" y="25108"/>
                    <a:pt x="156483" y="27214"/>
                  </a:cubicBezTo>
                  <a:lnTo>
                    <a:pt x="166202" y="34990"/>
                  </a:lnTo>
                  <a:cubicBezTo>
                    <a:pt x="179399" y="43788"/>
                    <a:pt x="179323" y="42765"/>
                    <a:pt x="183697" y="45681"/>
                  </a:cubicBezTo>
                  <a:cubicBezTo>
                    <a:pt x="188070" y="48597"/>
                    <a:pt x="189690" y="50055"/>
                    <a:pt x="192444" y="52485"/>
                  </a:cubicBezTo>
                  <a:cubicBezTo>
                    <a:pt x="195198" y="54915"/>
                    <a:pt x="198276" y="57993"/>
                    <a:pt x="200220" y="60261"/>
                  </a:cubicBezTo>
                  <a:cubicBezTo>
                    <a:pt x="202164" y="62528"/>
                    <a:pt x="202812" y="64148"/>
                    <a:pt x="204108" y="66092"/>
                  </a:cubicBezTo>
                  <a:cubicBezTo>
                    <a:pt x="204108" y="66092"/>
                    <a:pt x="211517" y="71934"/>
                    <a:pt x="215771" y="73868"/>
                  </a:cubicBezTo>
                  <a:cubicBezTo>
                    <a:pt x="235587" y="82875"/>
                    <a:pt x="223868" y="74612"/>
                    <a:pt x="224689" y="75198"/>
                  </a:cubicBezTo>
                  <a:lnTo>
                    <a:pt x="231322" y="79699"/>
                  </a:lnTo>
                  <a:lnTo>
                    <a:pt x="237154" y="81643"/>
                  </a:lnTo>
                  <a:cubicBezTo>
                    <a:pt x="239370" y="82382"/>
                    <a:pt x="241042" y="84235"/>
                    <a:pt x="242985" y="85531"/>
                  </a:cubicBezTo>
                  <a:cubicBezTo>
                    <a:pt x="256353" y="94443"/>
                    <a:pt x="250216" y="91829"/>
                    <a:pt x="260481" y="95251"/>
                  </a:cubicBezTo>
                  <a:cubicBezTo>
                    <a:pt x="264368" y="95898"/>
                    <a:pt x="268405" y="95948"/>
                    <a:pt x="272144" y="97194"/>
                  </a:cubicBezTo>
                  <a:cubicBezTo>
                    <a:pt x="274360" y="97933"/>
                    <a:pt x="276032" y="99786"/>
                    <a:pt x="277975" y="101082"/>
                  </a:cubicBezTo>
                  <a:cubicBezTo>
                    <a:pt x="281385" y="103355"/>
                    <a:pt x="285751" y="103674"/>
                    <a:pt x="289639" y="104970"/>
                  </a:cubicBezTo>
                  <a:cubicBezTo>
                    <a:pt x="308964" y="106178"/>
                    <a:pt x="322198" y="106266"/>
                    <a:pt x="330460" y="106914"/>
                  </a:cubicBezTo>
                  <a:cubicBezTo>
                    <a:pt x="338722" y="107562"/>
                    <a:pt x="336292" y="108210"/>
                    <a:pt x="339208" y="108858"/>
                  </a:cubicBezTo>
                  <a:cubicBezTo>
                    <a:pt x="342124" y="109506"/>
                    <a:pt x="345201" y="108858"/>
                    <a:pt x="347955" y="110802"/>
                  </a:cubicBezTo>
                  <a:lnTo>
                    <a:pt x="355731" y="120521"/>
                  </a:lnTo>
                  <a:cubicBezTo>
                    <a:pt x="358485" y="122141"/>
                    <a:pt x="360429" y="119549"/>
                    <a:pt x="364478" y="120521"/>
                  </a:cubicBezTo>
                  <a:lnTo>
                    <a:pt x="380030" y="126353"/>
                  </a:lnTo>
                  <a:cubicBezTo>
                    <a:pt x="384727" y="127811"/>
                    <a:pt x="388939" y="127649"/>
                    <a:pt x="392664" y="129269"/>
                  </a:cubicBezTo>
                  <a:cubicBezTo>
                    <a:pt x="396390" y="130889"/>
                    <a:pt x="398820" y="135586"/>
                    <a:pt x="402384" y="136072"/>
                  </a:cubicBezTo>
                  <a:cubicBezTo>
                    <a:pt x="405948" y="136558"/>
                    <a:pt x="410094" y="133263"/>
                    <a:pt x="414047" y="132184"/>
                  </a:cubicBezTo>
                  <a:cubicBezTo>
                    <a:pt x="424669" y="129288"/>
                    <a:pt x="421950" y="129786"/>
                    <a:pt x="431542" y="132184"/>
                  </a:cubicBezTo>
                  <a:cubicBezTo>
                    <a:pt x="439318" y="132832"/>
                    <a:pt x="447079" y="133683"/>
                    <a:pt x="454869" y="134128"/>
                  </a:cubicBezTo>
                  <a:cubicBezTo>
                    <a:pt x="469762" y="134979"/>
                    <a:pt x="484690" y="135141"/>
                    <a:pt x="499578" y="136072"/>
                  </a:cubicBezTo>
                  <a:cubicBezTo>
                    <a:pt x="509831" y="136713"/>
                    <a:pt x="520476" y="138599"/>
                    <a:pt x="530680" y="139960"/>
                  </a:cubicBezTo>
                  <a:cubicBezTo>
                    <a:pt x="535859" y="140650"/>
                    <a:pt x="541163" y="140637"/>
                    <a:pt x="546231" y="141904"/>
                  </a:cubicBezTo>
                  <a:cubicBezTo>
                    <a:pt x="549043" y="142607"/>
                    <a:pt x="551258" y="144875"/>
                    <a:pt x="554007" y="145792"/>
                  </a:cubicBezTo>
                  <a:cubicBezTo>
                    <a:pt x="557895" y="147088"/>
                    <a:pt x="562260" y="147407"/>
                    <a:pt x="565670" y="149680"/>
                  </a:cubicBezTo>
                  <a:cubicBezTo>
                    <a:pt x="567614" y="150976"/>
                    <a:pt x="567776" y="152920"/>
                    <a:pt x="571502" y="153568"/>
                  </a:cubicBezTo>
                  <a:lnTo>
                    <a:pt x="588025" y="153568"/>
                  </a:lnTo>
                  <a:cubicBezTo>
                    <a:pt x="591791" y="154540"/>
                    <a:pt x="582997" y="148717"/>
                    <a:pt x="589288" y="153028"/>
                  </a:cubicBezTo>
                  <a:lnTo>
                    <a:pt x="601632" y="161343"/>
                  </a:lnTo>
                  <a:lnTo>
                    <a:pt x="611352" y="163287"/>
                  </a:lnTo>
                  <a:cubicBezTo>
                    <a:pt x="612972" y="164421"/>
                    <a:pt x="610380" y="167499"/>
                    <a:pt x="611352" y="168147"/>
                  </a:cubicBezTo>
                  <a:lnTo>
                    <a:pt x="617183" y="170091"/>
                  </a:lnTo>
                  <a:lnTo>
                    <a:pt x="627875" y="176894"/>
                  </a:lnTo>
                  <a:cubicBezTo>
                    <a:pt x="630628" y="179000"/>
                    <a:pt x="631115" y="180458"/>
                    <a:pt x="633706" y="182726"/>
                  </a:cubicBezTo>
                  <a:cubicBezTo>
                    <a:pt x="636298" y="184994"/>
                    <a:pt x="640186" y="187910"/>
                    <a:pt x="643426" y="190501"/>
                  </a:cubicBezTo>
                  <a:cubicBezTo>
                    <a:pt x="643426" y="190501"/>
                    <a:pt x="651344" y="192725"/>
                    <a:pt x="655089" y="194389"/>
                  </a:cubicBezTo>
                  <a:cubicBezTo>
                    <a:pt x="657224" y="195338"/>
                    <a:pt x="658831" y="197232"/>
                    <a:pt x="660921" y="198277"/>
                  </a:cubicBezTo>
                  <a:cubicBezTo>
                    <a:pt x="662753" y="199193"/>
                    <a:pt x="665047" y="199084"/>
                    <a:pt x="666752" y="200221"/>
                  </a:cubicBezTo>
                  <a:lnTo>
                    <a:pt x="684247" y="211884"/>
                  </a:lnTo>
                  <a:cubicBezTo>
                    <a:pt x="688990" y="213465"/>
                    <a:pt x="692143" y="213948"/>
                    <a:pt x="695911" y="217716"/>
                  </a:cubicBezTo>
                  <a:cubicBezTo>
                    <a:pt x="697563" y="219368"/>
                    <a:pt x="698503" y="221604"/>
                    <a:pt x="699799" y="223548"/>
                  </a:cubicBezTo>
                  <a:lnTo>
                    <a:pt x="711462" y="227436"/>
                  </a:lnTo>
                  <a:cubicBezTo>
                    <a:pt x="713304" y="228050"/>
                    <a:pt x="714959" y="229049"/>
                    <a:pt x="716235" y="230618"/>
                  </a:cubicBezTo>
                  <a:lnTo>
                    <a:pt x="725069" y="222481"/>
                  </a:lnTo>
                  <a:cubicBezTo>
                    <a:pt x="736061" y="218817"/>
                    <a:pt x="728649" y="221607"/>
                    <a:pt x="730613" y="220052"/>
                  </a:cubicBezTo>
                  <a:lnTo>
                    <a:pt x="736733" y="216649"/>
                  </a:lnTo>
                  <a:cubicBezTo>
                    <a:pt x="738565" y="215733"/>
                    <a:pt x="740860" y="215842"/>
                    <a:pt x="742564" y="214705"/>
                  </a:cubicBezTo>
                  <a:cubicBezTo>
                    <a:pt x="744852" y="213180"/>
                    <a:pt x="746109" y="210399"/>
                    <a:pt x="748396" y="208874"/>
                  </a:cubicBezTo>
                  <a:cubicBezTo>
                    <a:pt x="761764" y="199961"/>
                    <a:pt x="758582" y="205531"/>
                    <a:pt x="762003" y="195266"/>
                  </a:cubicBezTo>
                  <a:lnTo>
                    <a:pt x="767835" y="191378"/>
                  </a:lnTo>
                  <a:lnTo>
                    <a:pt x="773667" y="187491"/>
                  </a:lnTo>
                  <a:lnTo>
                    <a:pt x="791161" y="175827"/>
                  </a:lnTo>
                  <a:lnTo>
                    <a:pt x="796993" y="173884"/>
                  </a:lnTo>
                  <a:cubicBezTo>
                    <a:pt x="800881" y="172588"/>
                    <a:pt x="804912" y="171660"/>
                    <a:pt x="808657" y="169996"/>
                  </a:cubicBezTo>
                  <a:cubicBezTo>
                    <a:pt x="810791" y="169047"/>
                    <a:pt x="812399" y="167153"/>
                    <a:pt x="814488" y="166108"/>
                  </a:cubicBezTo>
                  <a:cubicBezTo>
                    <a:pt x="816321" y="165192"/>
                    <a:pt x="818376" y="164812"/>
                    <a:pt x="820320" y="164164"/>
                  </a:cubicBezTo>
                  <a:cubicBezTo>
                    <a:pt x="838522" y="161889"/>
                    <a:pt x="830803" y="163487"/>
                    <a:pt x="843646" y="160276"/>
                  </a:cubicBezTo>
                  <a:cubicBezTo>
                    <a:pt x="855647" y="157276"/>
                    <a:pt x="842972" y="150726"/>
                    <a:pt x="861141" y="148613"/>
                  </a:cubicBezTo>
                  <a:lnTo>
                    <a:pt x="933065" y="146669"/>
                  </a:lnTo>
                  <a:lnTo>
                    <a:pt x="938897" y="148613"/>
                  </a:lnTo>
                  <a:lnTo>
                    <a:pt x="950560" y="152501"/>
                  </a:lnTo>
                  <a:cubicBezTo>
                    <a:pt x="960927" y="153149"/>
                    <a:pt x="971807" y="151160"/>
                    <a:pt x="981662" y="154445"/>
                  </a:cubicBezTo>
                  <a:lnTo>
                    <a:pt x="999157" y="160276"/>
                  </a:lnTo>
                  <a:cubicBezTo>
                    <a:pt x="1003045" y="161572"/>
                    <a:pt x="1006867" y="163086"/>
                    <a:pt x="1010820" y="164164"/>
                  </a:cubicBezTo>
                  <a:cubicBezTo>
                    <a:pt x="1014008" y="165033"/>
                    <a:pt x="1017300" y="165460"/>
                    <a:pt x="1020540" y="166108"/>
                  </a:cubicBezTo>
                  <a:cubicBezTo>
                    <a:pt x="1027667" y="166756"/>
                    <a:pt x="1035133" y="165789"/>
                    <a:pt x="1041923" y="168052"/>
                  </a:cubicBezTo>
                  <a:cubicBezTo>
                    <a:pt x="1058687" y="173640"/>
                    <a:pt x="1050507" y="171100"/>
                    <a:pt x="1056699" y="172570"/>
                  </a:cubicBezTo>
                  <a:lnTo>
                    <a:pt x="1069137" y="175827"/>
                  </a:lnTo>
                  <a:cubicBezTo>
                    <a:pt x="1071114" y="176367"/>
                    <a:pt x="1072943" y="177460"/>
                    <a:pt x="1074968" y="177771"/>
                  </a:cubicBezTo>
                  <a:cubicBezTo>
                    <a:pt x="1081405" y="178762"/>
                    <a:pt x="1087953" y="178854"/>
                    <a:pt x="1094407" y="179715"/>
                  </a:cubicBezTo>
                  <a:cubicBezTo>
                    <a:pt x="1097682" y="180152"/>
                    <a:pt x="1100887" y="181011"/>
                    <a:pt x="1104127" y="181659"/>
                  </a:cubicBezTo>
                  <a:cubicBezTo>
                    <a:pt x="1117086" y="182307"/>
                    <a:pt x="1130074" y="182525"/>
                    <a:pt x="1143005" y="183603"/>
                  </a:cubicBezTo>
                  <a:cubicBezTo>
                    <a:pt x="1144498" y="183727"/>
                    <a:pt x="1154588" y="186479"/>
                    <a:pt x="1156612" y="187491"/>
                  </a:cubicBezTo>
                  <a:cubicBezTo>
                    <a:pt x="1165753" y="192061"/>
                    <a:pt x="1159361" y="192547"/>
                    <a:pt x="1172163" y="193323"/>
                  </a:cubicBezTo>
                  <a:cubicBezTo>
                    <a:pt x="1190284" y="194421"/>
                    <a:pt x="1208449" y="194619"/>
                    <a:pt x="1226592" y="195266"/>
                  </a:cubicBezTo>
                  <a:cubicBezTo>
                    <a:pt x="1243439" y="194619"/>
                    <a:pt x="1260313" y="194483"/>
                    <a:pt x="1277133" y="193323"/>
                  </a:cubicBezTo>
                  <a:cubicBezTo>
                    <a:pt x="1281621" y="193013"/>
                    <a:pt x="1285318" y="189809"/>
                    <a:pt x="1288796" y="187491"/>
                  </a:cubicBezTo>
                  <a:lnTo>
                    <a:pt x="1300459" y="179715"/>
                  </a:lnTo>
                  <a:cubicBezTo>
                    <a:pt x="1305202" y="181296"/>
                    <a:pt x="1308354" y="181779"/>
                    <a:pt x="1312122" y="185547"/>
                  </a:cubicBezTo>
                  <a:cubicBezTo>
                    <a:pt x="1313774" y="187199"/>
                    <a:pt x="1314186" y="189919"/>
                    <a:pt x="1316010" y="191378"/>
                  </a:cubicBezTo>
                  <a:cubicBezTo>
                    <a:pt x="1326070" y="199426"/>
                    <a:pt x="1320241" y="190376"/>
                    <a:pt x="1321397" y="192398"/>
                  </a:cubicBezTo>
                  <a:lnTo>
                    <a:pt x="1325730" y="199154"/>
                  </a:lnTo>
                  <a:cubicBezTo>
                    <a:pt x="1325730" y="199154"/>
                    <a:pt x="1333877" y="203853"/>
                    <a:pt x="1337393" y="206930"/>
                  </a:cubicBezTo>
                  <a:cubicBezTo>
                    <a:pt x="1339152" y="208468"/>
                    <a:pt x="1339985" y="210817"/>
                    <a:pt x="1341281" y="212761"/>
                  </a:cubicBezTo>
                  <a:cubicBezTo>
                    <a:pt x="1343225" y="214057"/>
                    <a:pt x="1345653" y="214825"/>
                    <a:pt x="1347112" y="216649"/>
                  </a:cubicBezTo>
                  <a:cubicBezTo>
                    <a:pt x="1348392" y="218249"/>
                    <a:pt x="1349393" y="220459"/>
                    <a:pt x="1349056" y="222481"/>
                  </a:cubicBezTo>
                  <a:cubicBezTo>
                    <a:pt x="1348247" y="227341"/>
                    <a:pt x="1342739" y="229933"/>
                    <a:pt x="1339337" y="232200"/>
                  </a:cubicBezTo>
                  <a:cubicBezTo>
                    <a:pt x="1337393" y="232848"/>
                    <a:pt x="1335210" y="233007"/>
                    <a:pt x="1333505" y="234144"/>
                  </a:cubicBezTo>
                  <a:cubicBezTo>
                    <a:pt x="1331218" y="235669"/>
                    <a:pt x="1330391" y="239558"/>
                    <a:pt x="1327674" y="239976"/>
                  </a:cubicBezTo>
                  <a:cubicBezTo>
                    <a:pt x="1319586" y="241220"/>
                    <a:pt x="1312925" y="242151"/>
                    <a:pt x="1307444" y="242784"/>
                  </a:cubicBezTo>
                  <a:lnTo>
                    <a:pt x="1300459" y="244930"/>
                  </a:lnTo>
                  <a:cubicBezTo>
                    <a:pt x="1298289" y="246618"/>
                    <a:pt x="1296915" y="249237"/>
                    <a:pt x="1294628" y="250762"/>
                  </a:cubicBezTo>
                  <a:cubicBezTo>
                    <a:pt x="1281021" y="259834"/>
                    <a:pt x="1285556" y="254650"/>
                    <a:pt x="1279077" y="264369"/>
                  </a:cubicBezTo>
                  <a:cubicBezTo>
                    <a:pt x="1271540" y="269394"/>
                    <a:pt x="1275461" y="267518"/>
                    <a:pt x="1267413" y="270201"/>
                  </a:cubicBezTo>
                  <a:cubicBezTo>
                    <a:pt x="1262981" y="271679"/>
                    <a:pt x="1262714" y="278348"/>
                    <a:pt x="1259638" y="281865"/>
                  </a:cubicBezTo>
                  <a:cubicBezTo>
                    <a:pt x="1258099" y="283623"/>
                    <a:pt x="1255458" y="284100"/>
                    <a:pt x="1253806" y="285752"/>
                  </a:cubicBezTo>
                  <a:cubicBezTo>
                    <a:pt x="1252154" y="287404"/>
                    <a:pt x="1251214" y="289640"/>
                    <a:pt x="1249918" y="291584"/>
                  </a:cubicBezTo>
                  <a:cubicBezTo>
                    <a:pt x="1247974" y="292880"/>
                    <a:pt x="1246176" y="294427"/>
                    <a:pt x="1244087" y="295472"/>
                  </a:cubicBezTo>
                  <a:cubicBezTo>
                    <a:pt x="1242254" y="296388"/>
                    <a:pt x="1239704" y="295967"/>
                    <a:pt x="1238255" y="297416"/>
                  </a:cubicBezTo>
                  <a:cubicBezTo>
                    <a:pt x="1236806" y="298865"/>
                    <a:pt x="1236959" y="301303"/>
                    <a:pt x="1236311" y="303247"/>
                  </a:cubicBezTo>
                  <a:cubicBezTo>
                    <a:pt x="1221157" y="308299"/>
                    <a:pt x="1222495" y="308421"/>
                    <a:pt x="1195489" y="307135"/>
                  </a:cubicBezTo>
                  <a:cubicBezTo>
                    <a:pt x="1193156" y="307024"/>
                    <a:pt x="1191601" y="304543"/>
                    <a:pt x="1189658" y="303247"/>
                  </a:cubicBezTo>
                  <a:cubicBezTo>
                    <a:pt x="1187714" y="302599"/>
                    <a:pt x="1188361" y="301465"/>
                    <a:pt x="1183826" y="301303"/>
                  </a:cubicBezTo>
                  <a:cubicBezTo>
                    <a:pt x="1179290" y="301141"/>
                    <a:pt x="1168275" y="303247"/>
                    <a:pt x="1162443" y="302275"/>
                  </a:cubicBezTo>
                  <a:cubicBezTo>
                    <a:pt x="1156612" y="301303"/>
                    <a:pt x="1153696" y="297254"/>
                    <a:pt x="1148836" y="295472"/>
                  </a:cubicBezTo>
                  <a:cubicBezTo>
                    <a:pt x="1143977" y="293690"/>
                    <a:pt x="1140413" y="292232"/>
                    <a:pt x="1133285" y="291584"/>
                  </a:cubicBezTo>
                  <a:cubicBezTo>
                    <a:pt x="1130045" y="292232"/>
                    <a:pt x="1126771" y="292727"/>
                    <a:pt x="1123566" y="293528"/>
                  </a:cubicBezTo>
                  <a:cubicBezTo>
                    <a:pt x="1104097" y="298395"/>
                    <a:pt x="1124571" y="294061"/>
                    <a:pt x="1122229" y="294655"/>
                  </a:cubicBezTo>
                  <a:lnTo>
                    <a:pt x="1109958" y="297416"/>
                  </a:lnTo>
                  <a:cubicBezTo>
                    <a:pt x="1106733" y="298132"/>
                    <a:pt x="1103332" y="298199"/>
                    <a:pt x="1100239" y="299359"/>
                  </a:cubicBezTo>
                  <a:cubicBezTo>
                    <a:pt x="1093133" y="302024"/>
                    <a:pt x="1096246" y="304578"/>
                    <a:pt x="1088576" y="305191"/>
                  </a:cubicBezTo>
                  <a:cubicBezTo>
                    <a:pt x="1050383" y="308247"/>
                    <a:pt x="1053532" y="305109"/>
                    <a:pt x="1048952" y="306197"/>
                  </a:cubicBezTo>
                  <a:lnTo>
                    <a:pt x="1039978" y="309079"/>
                  </a:lnTo>
                  <a:lnTo>
                    <a:pt x="1022484" y="311023"/>
                  </a:lnTo>
                  <a:cubicBezTo>
                    <a:pt x="1018411" y="311475"/>
                    <a:pt x="1014708" y="313615"/>
                    <a:pt x="1010820" y="314910"/>
                  </a:cubicBezTo>
                  <a:cubicBezTo>
                    <a:pt x="1005751" y="316600"/>
                    <a:pt x="1000424" y="317392"/>
                    <a:pt x="995269" y="318798"/>
                  </a:cubicBezTo>
                  <a:cubicBezTo>
                    <a:pt x="993292" y="319337"/>
                    <a:pt x="990085" y="318798"/>
                    <a:pt x="989437" y="320742"/>
                  </a:cubicBezTo>
                  <a:cubicBezTo>
                    <a:pt x="988467" y="323656"/>
                    <a:pt x="983616" y="338207"/>
                    <a:pt x="983606" y="338237"/>
                  </a:cubicBezTo>
                  <a:cubicBezTo>
                    <a:pt x="979989" y="341050"/>
                    <a:pt x="974534" y="339533"/>
                    <a:pt x="969999" y="340181"/>
                  </a:cubicBezTo>
                  <a:cubicBezTo>
                    <a:pt x="968055" y="339533"/>
                    <a:pt x="965616" y="339686"/>
                    <a:pt x="964167" y="338237"/>
                  </a:cubicBezTo>
                  <a:cubicBezTo>
                    <a:pt x="962718" y="336788"/>
                    <a:pt x="964056" y="333322"/>
                    <a:pt x="962223" y="332406"/>
                  </a:cubicBezTo>
                  <a:cubicBezTo>
                    <a:pt x="960390" y="331489"/>
                    <a:pt x="958392" y="333905"/>
                    <a:pt x="956392" y="334349"/>
                  </a:cubicBezTo>
                  <a:cubicBezTo>
                    <a:pt x="952544" y="335204"/>
                    <a:pt x="948616" y="335645"/>
                    <a:pt x="944728" y="336293"/>
                  </a:cubicBezTo>
                  <a:cubicBezTo>
                    <a:pt x="944728" y="336293"/>
                    <a:pt x="943012" y="328105"/>
                    <a:pt x="940840" y="324630"/>
                  </a:cubicBezTo>
                  <a:cubicBezTo>
                    <a:pt x="939602" y="322649"/>
                    <a:pt x="936468" y="322567"/>
                    <a:pt x="935009" y="320742"/>
                  </a:cubicBezTo>
                  <a:cubicBezTo>
                    <a:pt x="933729" y="319142"/>
                    <a:pt x="933713" y="316855"/>
                    <a:pt x="933065" y="314910"/>
                  </a:cubicBezTo>
                  <a:cubicBezTo>
                    <a:pt x="933065" y="314910"/>
                    <a:pt x="925504" y="309372"/>
                    <a:pt x="921402" y="307135"/>
                  </a:cubicBezTo>
                  <a:cubicBezTo>
                    <a:pt x="910284" y="301071"/>
                    <a:pt x="913240" y="301690"/>
                    <a:pt x="905851" y="309079"/>
                  </a:cubicBezTo>
                  <a:cubicBezTo>
                    <a:pt x="905851" y="309079"/>
                    <a:pt x="898141" y="311888"/>
                    <a:pt x="894187" y="312967"/>
                  </a:cubicBezTo>
                  <a:cubicBezTo>
                    <a:pt x="890999" y="313836"/>
                    <a:pt x="887561" y="313750"/>
                    <a:pt x="884468" y="314910"/>
                  </a:cubicBezTo>
                  <a:cubicBezTo>
                    <a:pt x="882280" y="315731"/>
                    <a:pt x="880903" y="318232"/>
                    <a:pt x="878636" y="318798"/>
                  </a:cubicBezTo>
                  <a:cubicBezTo>
                    <a:pt x="861821" y="323002"/>
                    <a:pt x="864827" y="323200"/>
                    <a:pt x="855309" y="316855"/>
                  </a:cubicBezTo>
                  <a:cubicBezTo>
                    <a:pt x="849478" y="316206"/>
                    <a:pt x="843507" y="316334"/>
                    <a:pt x="837814" y="314910"/>
                  </a:cubicBezTo>
                  <a:cubicBezTo>
                    <a:pt x="835548" y="314344"/>
                    <a:pt x="833635" y="312675"/>
                    <a:pt x="831983" y="311023"/>
                  </a:cubicBezTo>
                  <a:cubicBezTo>
                    <a:pt x="830331" y="309371"/>
                    <a:pt x="830362" y="305758"/>
                    <a:pt x="828095" y="305191"/>
                  </a:cubicBezTo>
                  <a:cubicBezTo>
                    <a:pt x="819272" y="302985"/>
                    <a:pt x="809952" y="303895"/>
                    <a:pt x="800881" y="303247"/>
                  </a:cubicBezTo>
                  <a:cubicBezTo>
                    <a:pt x="788572" y="306325"/>
                    <a:pt x="795328" y="303709"/>
                    <a:pt x="781442" y="312967"/>
                  </a:cubicBezTo>
                  <a:lnTo>
                    <a:pt x="762003" y="314910"/>
                  </a:lnTo>
                  <a:cubicBezTo>
                    <a:pt x="759678" y="315143"/>
                    <a:pt x="759411" y="318798"/>
                    <a:pt x="758115" y="320742"/>
                  </a:cubicBezTo>
                  <a:cubicBezTo>
                    <a:pt x="755523" y="324630"/>
                    <a:pt x="752609" y="328321"/>
                    <a:pt x="750340" y="332406"/>
                  </a:cubicBezTo>
                  <a:cubicBezTo>
                    <a:pt x="749225" y="334411"/>
                    <a:pt x="747743" y="343422"/>
                    <a:pt x="744508" y="344069"/>
                  </a:cubicBezTo>
                  <a:cubicBezTo>
                    <a:pt x="739013" y="345168"/>
                    <a:pt x="737625" y="337027"/>
                    <a:pt x="736732" y="334349"/>
                  </a:cubicBezTo>
                  <a:cubicBezTo>
                    <a:pt x="731873" y="332729"/>
                    <a:pt x="730577" y="332729"/>
                    <a:pt x="729929" y="331434"/>
                  </a:cubicBezTo>
                  <a:lnTo>
                    <a:pt x="727013" y="320742"/>
                  </a:lnTo>
                  <a:cubicBezTo>
                    <a:pt x="725717" y="322686"/>
                    <a:pt x="718620" y="322268"/>
                    <a:pt x="716322" y="322686"/>
                  </a:cubicBezTo>
                  <a:cubicBezTo>
                    <a:pt x="710206" y="323798"/>
                    <a:pt x="706405" y="324316"/>
                    <a:pt x="704133" y="324361"/>
                  </a:cubicBezTo>
                  <a:cubicBezTo>
                    <a:pt x="705106" y="322385"/>
                    <a:pt x="697054" y="325081"/>
                    <a:pt x="704133" y="324361"/>
                  </a:cubicBezTo>
                  <a:lnTo>
                    <a:pt x="699799" y="328518"/>
                  </a:lnTo>
                  <a:cubicBezTo>
                    <a:pt x="697854" y="329166"/>
                    <a:pt x="696016" y="330462"/>
                    <a:pt x="693967" y="330462"/>
                  </a:cubicBezTo>
                  <a:cubicBezTo>
                    <a:pt x="682730" y="330462"/>
                    <a:pt x="689027" y="321384"/>
                    <a:pt x="690079" y="312967"/>
                  </a:cubicBezTo>
                  <a:cubicBezTo>
                    <a:pt x="689474" y="311153"/>
                    <a:pt x="685785" y="300579"/>
                    <a:pt x="686191" y="299359"/>
                  </a:cubicBezTo>
                  <a:cubicBezTo>
                    <a:pt x="686930" y="297143"/>
                    <a:pt x="690079" y="296767"/>
                    <a:pt x="692023" y="295472"/>
                  </a:cubicBezTo>
                  <a:cubicBezTo>
                    <a:pt x="686191" y="294824"/>
                    <a:pt x="680316" y="294492"/>
                    <a:pt x="674528" y="293528"/>
                  </a:cubicBezTo>
                  <a:cubicBezTo>
                    <a:pt x="672507" y="293191"/>
                    <a:pt x="670696" y="292028"/>
                    <a:pt x="668696" y="291584"/>
                  </a:cubicBezTo>
                  <a:cubicBezTo>
                    <a:pt x="653301" y="288163"/>
                    <a:pt x="658542" y="290148"/>
                    <a:pt x="656587" y="289509"/>
                  </a:cubicBezTo>
                  <a:lnTo>
                    <a:pt x="651201" y="287696"/>
                  </a:lnTo>
                  <a:cubicBezTo>
                    <a:pt x="644722" y="287048"/>
                    <a:pt x="638108" y="287216"/>
                    <a:pt x="631762" y="285752"/>
                  </a:cubicBezTo>
                  <a:cubicBezTo>
                    <a:pt x="624913" y="284171"/>
                    <a:pt x="621488" y="274010"/>
                    <a:pt x="618155" y="270201"/>
                  </a:cubicBezTo>
                  <a:cubicBezTo>
                    <a:pt x="604549" y="254651"/>
                    <a:pt x="614632" y="270079"/>
                    <a:pt x="613963" y="268925"/>
                  </a:cubicBezTo>
                  <a:lnTo>
                    <a:pt x="608436" y="260482"/>
                  </a:lnTo>
                  <a:lnTo>
                    <a:pt x="602604" y="256594"/>
                  </a:lnTo>
                  <a:lnTo>
                    <a:pt x="590941" y="248818"/>
                  </a:lnTo>
                  <a:cubicBezTo>
                    <a:pt x="588997" y="248170"/>
                    <a:pt x="586558" y="248323"/>
                    <a:pt x="585109" y="246875"/>
                  </a:cubicBezTo>
                  <a:cubicBezTo>
                    <a:pt x="583660" y="245426"/>
                    <a:pt x="584082" y="242875"/>
                    <a:pt x="583165" y="241043"/>
                  </a:cubicBezTo>
                  <a:cubicBezTo>
                    <a:pt x="582121" y="238953"/>
                    <a:pt x="580574" y="237155"/>
                    <a:pt x="579278" y="235211"/>
                  </a:cubicBezTo>
                  <a:cubicBezTo>
                    <a:pt x="579278" y="235211"/>
                    <a:pt x="571359" y="232988"/>
                    <a:pt x="567614" y="231323"/>
                  </a:cubicBezTo>
                  <a:cubicBezTo>
                    <a:pt x="565479" y="230374"/>
                    <a:pt x="563872" y="228481"/>
                    <a:pt x="561782" y="227436"/>
                  </a:cubicBezTo>
                  <a:cubicBezTo>
                    <a:pt x="559950" y="226519"/>
                    <a:pt x="557784" y="226408"/>
                    <a:pt x="555951" y="225492"/>
                  </a:cubicBezTo>
                  <a:cubicBezTo>
                    <a:pt x="553861" y="224447"/>
                    <a:pt x="551164" y="223694"/>
                    <a:pt x="550119" y="221604"/>
                  </a:cubicBezTo>
                  <a:cubicBezTo>
                    <a:pt x="548357" y="218078"/>
                    <a:pt x="549031" y="213788"/>
                    <a:pt x="548175" y="209940"/>
                  </a:cubicBezTo>
                  <a:cubicBezTo>
                    <a:pt x="547731" y="207940"/>
                    <a:pt x="546880" y="206053"/>
                    <a:pt x="546231" y="204109"/>
                  </a:cubicBezTo>
                  <a:cubicBezTo>
                    <a:pt x="533698" y="195753"/>
                    <a:pt x="541627" y="202009"/>
                    <a:pt x="541848" y="200000"/>
                  </a:cubicBezTo>
                  <a:lnTo>
                    <a:pt x="538456" y="194389"/>
                  </a:lnTo>
                  <a:cubicBezTo>
                    <a:pt x="536996" y="192565"/>
                    <a:pt x="534568" y="191797"/>
                    <a:pt x="532624" y="190501"/>
                  </a:cubicBezTo>
                  <a:cubicBezTo>
                    <a:pt x="530680" y="189854"/>
                    <a:pt x="529871" y="188396"/>
                    <a:pt x="526793" y="188558"/>
                  </a:cubicBezTo>
                  <a:lnTo>
                    <a:pt x="514157" y="191473"/>
                  </a:lnTo>
                  <a:cubicBezTo>
                    <a:pt x="509784" y="190987"/>
                    <a:pt x="516255" y="188259"/>
                    <a:pt x="500550" y="185642"/>
                  </a:cubicBezTo>
                  <a:cubicBezTo>
                    <a:pt x="498606" y="186938"/>
                    <a:pt x="494557" y="181916"/>
                    <a:pt x="491803" y="184670"/>
                  </a:cubicBezTo>
                  <a:cubicBezTo>
                    <a:pt x="489049" y="187424"/>
                    <a:pt x="485952" y="196391"/>
                    <a:pt x="484027" y="202165"/>
                  </a:cubicBezTo>
                  <a:cubicBezTo>
                    <a:pt x="471493" y="210521"/>
                    <a:pt x="479423" y="204265"/>
                    <a:pt x="479643" y="206274"/>
                  </a:cubicBezTo>
                  <a:lnTo>
                    <a:pt x="476252" y="211884"/>
                  </a:lnTo>
                  <a:cubicBezTo>
                    <a:pt x="474792" y="213709"/>
                    <a:pt x="472364" y="214476"/>
                    <a:pt x="470420" y="215772"/>
                  </a:cubicBezTo>
                  <a:cubicBezTo>
                    <a:pt x="468476" y="216420"/>
                    <a:pt x="466188" y="216436"/>
                    <a:pt x="464588" y="217716"/>
                  </a:cubicBezTo>
                  <a:cubicBezTo>
                    <a:pt x="458332" y="222721"/>
                    <a:pt x="463717" y="225023"/>
                    <a:pt x="454869" y="227436"/>
                  </a:cubicBezTo>
                  <a:cubicBezTo>
                    <a:pt x="449829" y="228810"/>
                    <a:pt x="444502" y="228732"/>
                    <a:pt x="439318" y="229379"/>
                  </a:cubicBezTo>
                  <a:cubicBezTo>
                    <a:pt x="439318" y="229379"/>
                    <a:pt x="435370" y="220396"/>
                    <a:pt x="431542" y="217716"/>
                  </a:cubicBezTo>
                  <a:cubicBezTo>
                    <a:pt x="425364" y="213391"/>
                    <a:pt x="397712" y="217619"/>
                    <a:pt x="396552" y="217716"/>
                  </a:cubicBezTo>
                  <a:cubicBezTo>
                    <a:pt x="394608" y="217068"/>
                    <a:pt x="392553" y="216689"/>
                    <a:pt x="390721" y="215772"/>
                  </a:cubicBezTo>
                  <a:cubicBezTo>
                    <a:pt x="379413" y="210119"/>
                    <a:pt x="386754" y="212414"/>
                    <a:pt x="384945" y="211854"/>
                  </a:cubicBezTo>
                  <a:lnTo>
                    <a:pt x="379057" y="209940"/>
                  </a:lnTo>
                  <a:cubicBezTo>
                    <a:pt x="376245" y="209628"/>
                    <a:pt x="361290" y="205493"/>
                    <a:pt x="355731" y="209940"/>
                  </a:cubicBezTo>
                  <a:cubicBezTo>
                    <a:pt x="353906" y="211400"/>
                    <a:pt x="353139" y="213828"/>
                    <a:pt x="351843" y="215772"/>
                  </a:cubicBezTo>
                  <a:cubicBezTo>
                    <a:pt x="349899" y="216420"/>
                    <a:pt x="347460" y="216267"/>
                    <a:pt x="346011" y="217716"/>
                  </a:cubicBezTo>
                  <a:cubicBezTo>
                    <a:pt x="344562" y="219165"/>
                    <a:pt x="345970" y="222787"/>
                    <a:pt x="344067" y="223548"/>
                  </a:cubicBezTo>
                  <a:cubicBezTo>
                    <a:pt x="325301" y="231054"/>
                    <a:pt x="327840" y="223899"/>
                    <a:pt x="326395" y="225684"/>
                  </a:cubicBezTo>
                  <a:lnTo>
                    <a:pt x="322685" y="231323"/>
                  </a:lnTo>
                  <a:lnTo>
                    <a:pt x="316853" y="233267"/>
                  </a:lnTo>
                  <a:cubicBezTo>
                    <a:pt x="312420" y="234745"/>
                    <a:pt x="309503" y="239245"/>
                    <a:pt x="305190" y="241043"/>
                  </a:cubicBezTo>
                  <a:cubicBezTo>
                    <a:pt x="301551" y="242559"/>
                    <a:pt x="297414" y="242339"/>
                    <a:pt x="293526" y="242987"/>
                  </a:cubicBezTo>
                  <a:cubicBezTo>
                    <a:pt x="292230" y="241043"/>
                    <a:pt x="290683" y="239245"/>
                    <a:pt x="289639" y="237155"/>
                  </a:cubicBezTo>
                  <a:cubicBezTo>
                    <a:pt x="287515" y="232908"/>
                    <a:pt x="288762" y="228125"/>
                    <a:pt x="281863" y="227436"/>
                  </a:cubicBezTo>
                  <a:cubicBezTo>
                    <a:pt x="277304" y="226980"/>
                    <a:pt x="272792" y="228732"/>
                    <a:pt x="268256" y="229379"/>
                  </a:cubicBezTo>
                  <a:lnTo>
                    <a:pt x="262424" y="227436"/>
                  </a:lnTo>
                  <a:lnTo>
                    <a:pt x="250761" y="223548"/>
                  </a:lnTo>
                  <a:cubicBezTo>
                    <a:pt x="226070" y="220020"/>
                    <a:pt x="244415" y="227123"/>
                    <a:pt x="235210" y="204109"/>
                  </a:cubicBezTo>
                  <a:cubicBezTo>
                    <a:pt x="234449" y="202206"/>
                    <a:pt x="231427" y="202165"/>
                    <a:pt x="229378" y="202165"/>
                  </a:cubicBezTo>
                  <a:cubicBezTo>
                    <a:pt x="222221" y="202165"/>
                    <a:pt x="215123" y="203461"/>
                    <a:pt x="207995" y="204109"/>
                  </a:cubicBezTo>
                  <a:cubicBezTo>
                    <a:pt x="206052" y="203461"/>
                    <a:pt x="204134" y="202728"/>
                    <a:pt x="202164" y="202165"/>
                  </a:cubicBezTo>
                  <a:cubicBezTo>
                    <a:pt x="199595" y="201431"/>
                    <a:pt x="196611" y="201703"/>
                    <a:pt x="194388" y="200221"/>
                  </a:cubicBezTo>
                  <a:cubicBezTo>
                    <a:pt x="192444" y="198925"/>
                    <a:pt x="191797" y="196333"/>
                    <a:pt x="190501" y="194389"/>
                  </a:cubicBezTo>
                  <a:cubicBezTo>
                    <a:pt x="188557" y="193093"/>
                    <a:pt x="185176" y="192782"/>
                    <a:pt x="184669" y="190501"/>
                  </a:cubicBezTo>
                  <a:cubicBezTo>
                    <a:pt x="179836" y="168752"/>
                    <a:pt x="187276" y="177869"/>
                    <a:pt x="186711" y="176904"/>
                  </a:cubicBezTo>
                  <a:lnTo>
                    <a:pt x="182725" y="171063"/>
                  </a:lnTo>
                  <a:cubicBezTo>
                    <a:pt x="172683" y="168552"/>
                    <a:pt x="177172" y="170601"/>
                    <a:pt x="169118" y="165231"/>
                  </a:cubicBezTo>
                  <a:cubicBezTo>
                    <a:pt x="165708" y="162958"/>
                    <a:pt x="161259" y="162865"/>
                    <a:pt x="157454" y="161343"/>
                  </a:cubicBezTo>
                  <a:cubicBezTo>
                    <a:pt x="154764" y="160267"/>
                    <a:pt x="152342" y="158597"/>
                    <a:pt x="149679" y="157456"/>
                  </a:cubicBezTo>
                  <a:cubicBezTo>
                    <a:pt x="147796" y="156648"/>
                    <a:pt x="145447" y="156791"/>
                    <a:pt x="143847" y="155511"/>
                  </a:cubicBezTo>
                  <a:cubicBezTo>
                    <a:pt x="142023" y="154052"/>
                    <a:pt x="141256" y="151624"/>
                    <a:pt x="139960" y="149680"/>
                  </a:cubicBezTo>
                  <a:cubicBezTo>
                    <a:pt x="138664" y="147412"/>
                    <a:pt x="130889" y="146440"/>
                    <a:pt x="129269" y="143848"/>
                  </a:cubicBezTo>
                  <a:cubicBezTo>
                    <a:pt x="127649" y="141256"/>
                    <a:pt x="131050" y="136072"/>
                    <a:pt x="130240" y="134128"/>
                  </a:cubicBezTo>
                  <a:cubicBezTo>
                    <a:pt x="129430" y="132184"/>
                    <a:pt x="126241" y="133101"/>
                    <a:pt x="124409" y="132184"/>
                  </a:cubicBezTo>
                  <a:cubicBezTo>
                    <a:pt x="122319" y="131139"/>
                    <a:pt x="120521" y="129592"/>
                    <a:pt x="118577" y="128297"/>
                  </a:cubicBezTo>
                  <a:cubicBezTo>
                    <a:pt x="118577" y="128297"/>
                    <a:pt x="110248" y="126791"/>
                    <a:pt x="106913" y="124409"/>
                  </a:cubicBezTo>
                  <a:cubicBezTo>
                    <a:pt x="105246" y="123218"/>
                    <a:pt x="105886" y="120410"/>
                    <a:pt x="104970" y="118577"/>
                  </a:cubicBezTo>
                  <a:cubicBezTo>
                    <a:pt x="103925" y="116487"/>
                    <a:pt x="102378" y="114689"/>
                    <a:pt x="101082" y="112745"/>
                  </a:cubicBezTo>
                  <a:cubicBezTo>
                    <a:pt x="99138" y="112098"/>
                    <a:pt x="96850" y="112082"/>
                    <a:pt x="95250" y="110802"/>
                  </a:cubicBezTo>
                  <a:cubicBezTo>
                    <a:pt x="93426" y="109342"/>
                    <a:pt x="92101" y="107186"/>
                    <a:pt x="91362" y="104970"/>
                  </a:cubicBezTo>
                  <a:cubicBezTo>
                    <a:pt x="90116" y="101231"/>
                    <a:pt x="89419" y="97248"/>
                    <a:pt x="89419" y="93306"/>
                  </a:cubicBezTo>
                  <a:cubicBezTo>
                    <a:pt x="89419" y="91257"/>
                    <a:pt x="90865" y="89463"/>
                    <a:pt x="91362" y="87475"/>
                  </a:cubicBezTo>
                  <a:cubicBezTo>
                    <a:pt x="92164" y="84270"/>
                    <a:pt x="92658" y="80995"/>
                    <a:pt x="93306" y="77755"/>
                  </a:cubicBezTo>
                  <a:lnTo>
                    <a:pt x="91362" y="71924"/>
                  </a:lnTo>
                  <a:lnTo>
                    <a:pt x="87475" y="60261"/>
                  </a:lnTo>
                  <a:cubicBezTo>
                    <a:pt x="73176" y="55494"/>
                    <a:pt x="84750" y="60098"/>
                    <a:pt x="84012" y="57752"/>
                  </a:cubicBezTo>
                  <a:lnTo>
                    <a:pt x="77755" y="52485"/>
                  </a:lnTo>
                  <a:lnTo>
                    <a:pt x="66092" y="44709"/>
                  </a:lnTo>
                  <a:cubicBezTo>
                    <a:pt x="63500" y="44061"/>
                    <a:pt x="60886" y="43499"/>
                    <a:pt x="58317" y="42765"/>
                  </a:cubicBezTo>
                  <a:cubicBezTo>
                    <a:pt x="53889" y="41500"/>
                    <a:pt x="50061" y="40342"/>
                    <a:pt x="46653" y="36934"/>
                  </a:cubicBezTo>
                  <a:cubicBezTo>
                    <a:pt x="45001" y="35282"/>
                    <a:pt x="44061" y="33046"/>
                    <a:pt x="42765" y="31102"/>
                  </a:cubicBezTo>
                  <a:cubicBezTo>
                    <a:pt x="36286" y="30454"/>
                    <a:pt x="29763" y="30149"/>
                    <a:pt x="23327" y="29158"/>
                  </a:cubicBezTo>
                  <a:cubicBezTo>
                    <a:pt x="17311" y="28233"/>
                    <a:pt x="9511" y="22659"/>
                    <a:pt x="5831" y="19439"/>
                  </a:cubicBezTo>
                  <a:cubicBezTo>
                    <a:pt x="3865" y="17718"/>
                    <a:pt x="0" y="10722"/>
                    <a:pt x="0" y="7775"/>
                  </a:cubicBezTo>
                  <a:cubicBezTo>
                    <a:pt x="0" y="5726"/>
                    <a:pt x="1296" y="3888"/>
                    <a:pt x="1944" y="1944"/>
                  </a:cubicBezTo>
                  <a:cubicBezTo>
                    <a:pt x="7776" y="1296"/>
                    <a:pt x="13571" y="0"/>
                    <a:pt x="19439" y="0"/>
                  </a:cubicBez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6" name="Freeform 5"/>
            <p:cNvSpPr/>
            <p:nvPr/>
          </p:nvSpPr>
          <p:spPr>
            <a:xfrm>
              <a:off x="7552166" y="1464324"/>
              <a:ext cx="124409" cy="14241"/>
            </a:xfrm>
            <a:custGeom>
              <a:avLst/>
              <a:gdLst>
                <a:gd name="connsiteX0" fmla="*/ 0 w 304800"/>
                <a:gd name="connsiteY0" fmla="*/ 34889 h 34889"/>
                <a:gd name="connsiteX1" fmla="*/ 0 w 304800"/>
                <a:gd name="connsiteY1" fmla="*/ 34889 h 34889"/>
                <a:gd name="connsiteX2" fmla="*/ 69669 w 304800"/>
                <a:gd name="connsiteY2" fmla="*/ 8764 h 34889"/>
                <a:gd name="connsiteX3" fmla="*/ 226423 w 304800"/>
                <a:gd name="connsiteY3" fmla="*/ 8764 h 34889"/>
                <a:gd name="connsiteX4" fmla="*/ 304800 w 304800"/>
                <a:gd name="connsiteY4" fmla="*/ 26181 h 34889"/>
                <a:gd name="connsiteX5" fmla="*/ 304800 w 304800"/>
                <a:gd name="connsiteY5" fmla="*/ 26181 h 348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04800" h="34889">
                  <a:moveTo>
                    <a:pt x="0" y="34889"/>
                  </a:moveTo>
                  <a:lnTo>
                    <a:pt x="0" y="34889"/>
                  </a:lnTo>
                  <a:cubicBezTo>
                    <a:pt x="23223" y="26181"/>
                    <a:pt x="45607" y="14779"/>
                    <a:pt x="69669" y="8764"/>
                  </a:cubicBezTo>
                  <a:cubicBezTo>
                    <a:pt x="133068" y="-7086"/>
                    <a:pt x="159950" y="2116"/>
                    <a:pt x="226423" y="8764"/>
                  </a:cubicBezTo>
                  <a:cubicBezTo>
                    <a:pt x="267041" y="35842"/>
                    <a:pt x="242083" y="26181"/>
                    <a:pt x="304800" y="26181"/>
                  </a:cubicBezTo>
                  <a:lnTo>
                    <a:pt x="304800" y="26181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7" name="Freeform 6"/>
            <p:cNvSpPr/>
            <p:nvPr/>
          </p:nvSpPr>
          <p:spPr>
            <a:xfrm>
              <a:off x="7914730" y="1432356"/>
              <a:ext cx="71091" cy="145736"/>
            </a:xfrm>
            <a:custGeom>
              <a:avLst/>
              <a:gdLst>
                <a:gd name="connsiteX0" fmla="*/ 0 w 174172"/>
                <a:gd name="connsiteY0" fmla="*/ 357051 h 357051"/>
                <a:gd name="connsiteX1" fmla="*/ 0 w 174172"/>
                <a:gd name="connsiteY1" fmla="*/ 357051 h 357051"/>
                <a:gd name="connsiteX2" fmla="*/ 26126 w 174172"/>
                <a:gd name="connsiteY2" fmla="*/ 287383 h 357051"/>
                <a:gd name="connsiteX3" fmla="*/ 78378 w 174172"/>
                <a:gd name="connsiteY3" fmla="*/ 269966 h 357051"/>
                <a:gd name="connsiteX4" fmla="*/ 104503 w 174172"/>
                <a:gd name="connsiteY4" fmla="*/ 252549 h 357051"/>
                <a:gd name="connsiteX5" fmla="*/ 121920 w 174172"/>
                <a:gd name="connsiteY5" fmla="*/ 217714 h 357051"/>
                <a:gd name="connsiteX6" fmla="*/ 130629 w 174172"/>
                <a:gd name="connsiteY6" fmla="*/ 191589 h 357051"/>
                <a:gd name="connsiteX7" fmla="*/ 113212 w 174172"/>
                <a:gd name="connsiteY7" fmla="*/ 130629 h 357051"/>
                <a:gd name="connsiteX8" fmla="*/ 165463 w 174172"/>
                <a:gd name="connsiteY8" fmla="*/ 104503 h 357051"/>
                <a:gd name="connsiteX9" fmla="*/ 156755 w 174172"/>
                <a:gd name="connsiteY9" fmla="*/ 78377 h 357051"/>
                <a:gd name="connsiteX10" fmla="*/ 165463 w 174172"/>
                <a:gd name="connsiteY10" fmla="*/ 26126 h 357051"/>
                <a:gd name="connsiteX11" fmla="*/ 174172 w 174172"/>
                <a:gd name="connsiteY11" fmla="*/ 0 h 357051"/>
                <a:gd name="connsiteX12" fmla="*/ 174172 w 174172"/>
                <a:gd name="connsiteY12" fmla="*/ 0 h 3570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74172" h="357051">
                  <a:moveTo>
                    <a:pt x="0" y="357051"/>
                  </a:moveTo>
                  <a:lnTo>
                    <a:pt x="0" y="357051"/>
                  </a:lnTo>
                  <a:cubicBezTo>
                    <a:pt x="8709" y="333828"/>
                    <a:pt x="9534" y="305818"/>
                    <a:pt x="26126" y="287383"/>
                  </a:cubicBezTo>
                  <a:cubicBezTo>
                    <a:pt x="38408" y="273737"/>
                    <a:pt x="78378" y="269966"/>
                    <a:pt x="78378" y="269966"/>
                  </a:cubicBezTo>
                  <a:cubicBezTo>
                    <a:pt x="87086" y="264160"/>
                    <a:pt x="100616" y="262267"/>
                    <a:pt x="104503" y="252549"/>
                  </a:cubicBezTo>
                  <a:cubicBezTo>
                    <a:pt x="122367" y="207889"/>
                    <a:pt x="57613" y="239151"/>
                    <a:pt x="121920" y="217714"/>
                  </a:cubicBezTo>
                  <a:cubicBezTo>
                    <a:pt x="124823" y="209006"/>
                    <a:pt x="130629" y="200768"/>
                    <a:pt x="130629" y="191589"/>
                  </a:cubicBezTo>
                  <a:cubicBezTo>
                    <a:pt x="130629" y="180656"/>
                    <a:pt x="117318" y="142948"/>
                    <a:pt x="113212" y="130629"/>
                  </a:cubicBezTo>
                  <a:cubicBezTo>
                    <a:pt x="124210" y="126963"/>
                    <a:pt x="160269" y="117489"/>
                    <a:pt x="165463" y="104503"/>
                  </a:cubicBezTo>
                  <a:cubicBezTo>
                    <a:pt x="168872" y="95980"/>
                    <a:pt x="159658" y="87086"/>
                    <a:pt x="156755" y="78377"/>
                  </a:cubicBezTo>
                  <a:cubicBezTo>
                    <a:pt x="159658" y="60960"/>
                    <a:pt x="161633" y="43363"/>
                    <a:pt x="165463" y="26126"/>
                  </a:cubicBezTo>
                  <a:cubicBezTo>
                    <a:pt x="167454" y="17165"/>
                    <a:pt x="174172" y="0"/>
                    <a:pt x="174172" y="0"/>
                  </a:cubicBezTo>
                  <a:lnTo>
                    <a:pt x="174172" y="0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49" name="Freeform 7"/>
            <p:cNvSpPr>
              <a:spLocks/>
            </p:cNvSpPr>
            <p:nvPr>
              <p:custDataLst>
                <p:tags r:id="rId44"/>
              </p:custDataLst>
            </p:nvPr>
          </p:nvSpPr>
          <p:spPr bwMode="gray">
            <a:xfrm>
              <a:off x="7848053" y="968805"/>
              <a:ext cx="470282" cy="422336"/>
            </a:xfrm>
            <a:custGeom>
              <a:avLst/>
              <a:gdLst>
                <a:gd name="T0" fmla="*/ 846 w 1158"/>
                <a:gd name="T1" fmla="*/ 78 h 1452"/>
                <a:gd name="T2" fmla="*/ 870 w 1158"/>
                <a:gd name="T3" fmla="*/ 480 h 1452"/>
                <a:gd name="T4" fmla="*/ 1032 w 1158"/>
                <a:gd name="T5" fmla="*/ 648 h 1452"/>
                <a:gd name="T6" fmla="*/ 1098 w 1158"/>
                <a:gd name="T7" fmla="*/ 720 h 1452"/>
                <a:gd name="T8" fmla="*/ 1104 w 1158"/>
                <a:gd name="T9" fmla="*/ 786 h 1452"/>
                <a:gd name="T10" fmla="*/ 1074 w 1158"/>
                <a:gd name="T11" fmla="*/ 870 h 1452"/>
                <a:gd name="T12" fmla="*/ 1074 w 1158"/>
                <a:gd name="T13" fmla="*/ 936 h 1452"/>
                <a:gd name="T14" fmla="*/ 1152 w 1158"/>
                <a:gd name="T15" fmla="*/ 1014 h 1452"/>
                <a:gd name="T16" fmla="*/ 1152 w 1158"/>
                <a:gd name="T17" fmla="*/ 1050 h 1452"/>
                <a:gd name="T18" fmla="*/ 1158 w 1158"/>
                <a:gd name="T19" fmla="*/ 1098 h 1452"/>
                <a:gd name="T20" fmla="*/ 1158 w 1158"/>
                <a:gd name="T21" fmla="*/ 1164 h 1452"/>
                <a:gd name="T22" fmla="*/ 1158 w 1158"/>
                <a:gd name="T23" fmla="*/ 1200 h 1452"/>
                <a:gd name="T24" fmla="*/ 1158 w 1158"/>
                <a:gd name="T25" fmla="*/ 1242 h 1452"/>
                <a:gd name="T26" fmla="*/ 1140 w 1158"/>
                <a:gd name="T27" fmla="*/ 1260 h 1452"/>
                <a:gd name="T28" fmla="*/ 1116 w 1158"/>
                <a:gd name="T29" fmla="*/ 1278 h 1452"/>
                <a:gd name="T30" fmla="*/ 1086 w 1158"/>
                <a:gd name="T31" fmla="*/ 1278 h 1452"/>
                <a:gd name="T32" fmla="*/ 1062 w 1158"/>
                <a:gd name="T33" fmla="*/ 1296 h 1452"/>
                <a:gd name="T34" fmla="*/ 1044 w 1158"/>
                <a:gd name="T35" fmla="*/ 1308 h 1452"/>
                <a:gd name="T36" fmla="*/ 1026 w 1158"/>
                <a:gd name="T37" fmla="*/ 1320 h 1452"/>
                <a:gd name="T38" fmla="*/ 1002 w 1158"/>
                <a:gd name="T39" fmla="*/ 1314 h 1452"/>
                <a:gd name="T40" fmla="*/ 990 w 1158"/>
                <a:gd name="T41" fmla="*/ 1290 h 1452"/>
                <a:gd name="T42" fmla="*/ 972 w 1158"/>
                <a:gd name="T43" fmla="*/ 1296 h 1452"/>
                <a:gd name="T44" fmla="*/ 942 w 1158"/>
                <a:gd name="T45" fmla="*/ 1284 h 1452"/>
                <a:gd name="T46" fmla="*/ 918 w 1158"/>
                <a:gd name="T47" fmla="*/ 1296 h 1452"/>
                <a:gd name="T48" fmla="*/ 900 w 1158"/>
                <a:gd name="T49" fmla="*/ 1302 h 1452"/>
                <a:gd name="T50" fmla="*/ 870 w 1158"/>
                <a:gd name="T51" fmla="*/ 1290 h 1452"/>
                <a:gd name="T52" fmla="*/ 852 w 1158"/>
                <a:gd name="T53" fmla="*/ 1296 h 1452"/>
                <a:gd name="T54" fmla="*/ 840 w 1158"/>
                <a:gd name="T55" fmla="*/ 1308 h 1452"/>
                <a:gd name="T56" fmla="*/ 828 w 1158"/>
                <a:gd name="T57" fmla="*/ 1320 h 1452"/>
                <a:gd name="T58" fmla="*/ 828 w 1158"/>
                <a:gd name="T59" fmla="*/ 1332 h 1452"/>
                <a:gd name="T60" fmla="*/ 828 w 1158"/>
                <a:gd name="T61" fmla="*/ 1350 h 1452"/>
                <a:gd name="T62" fmla="*/ 834 w 1158"/>
                <a:gd name="T63" fmla="*/ 1374 h 1452"/>
                <a:gd name="T64" fmla="*/ 828 w 1158"/>
                <a:gd name="T65" fmla="*/ 1398 h 1452"/>
                <a:gd name="T66" fmla="*/ 810 w 1158"/>
                <a:gd name="T67" fmla="*/ 1410 h 1452"/>
                <a:gd name="T68" fmla="*/ 804 w 1158"/>
                <a:gd name="T69" fmla="*/ 1422 h 1452"/>
                <a:gd name="T70" fmla="*/ 792 w 1158"/>
                <a:gd name="T71" fmla="*/ 1440 h 1452"/>
                <a:gd name="T72" fmla="*/ 708 w 1158"/>
                <a:gd name="T73" fmla="*/ 1452 h 1452"/>
                <a:gd name="T74" fmla="*/ 600 w 1158"/>
                <a:gd name="T75" fmla="*/ 1140 h 1452"/>
                <a:gd name="T76" fmla="*/ 522 w 1158"/>
                <a:gd name="T77" fmla="*/ 1110 h 1452"/>
                <a:gd name="T78" fmla="*/ 396 w 1158"/>
                <a:gd name="T79" fmla="*/ 1182 h 1452"/>
                <a:gd name="T80" fmla="*/ 360 w 1158"/>
                <a:gd name="T81" fmla="*/ 1140 h 1452"/>
                <a:gd name="T82" fmla="*/ 348 w 1158"/>
                <a:gd name="T83" fmla="*/ 1110 h 1452"/>
                <a:gd name="T84" fmla="*/ 336 w 1158"/>
                <a:gd name="T85" fmla="*/ 1068 h 1452"/>
                <a:gd name="T86" fmla="*/ 318 w 1158"/>
                <a:gd name="T87" fmla="*/ 1038 h 1452"/>
                <a:gd name="T88" fmla="*/ 270 w 1158"/>
                <a:gd name="T89" fmla="*/ 1014 h 1452"/>
                <a:gd name="T90" fmla="*/ 90 w 1158"/>
                <a:gd name="T91" fmla="*/ 936 h 1452"/>
                <a:gd name="T92" fmla="*/ 66 w 1158"/>
                <a:gd name="T93" fmla="*/ 924 h 1452"/>
                <a:gd name="T94" fmla="*/ 42 w 1158"/>
                <a:gd name="T95" fmla="*/ 930 h 1452"/>
                <a:gd name="T96" fmla="*/ 12 w 1158"/>
                <a:gd name="T97" fmla="*/ 930 h 1452"/>
                <a:gd name="T98" fmla="*/ 48 w 1158"/>
                <a:gd name="T99" fmla="*/ 846 h 1452"/>
                <a:gd name="T100" fmla="*/ 270 w 1158"/>
                <a:gd name="T101" fmla="*/ 750 h 1452"/>
                <a:gd name="T102" fmla="*/ 480 w 1158"/>
                <a:gd name="T103" fmla="*/ 510 h 1452"/>
                <a:gd name="T104" fmla="*/ 480 w 1158"/>
                <a:gd name="T105" fmla="*/ 108 h 1452"/>
                <a:gd name="T106" fmla="*/ 672 w 1158"/>
                <a:gd name="T107" fmla="*/ 90 h 1452"/>
                <a:gd name="T108" fmla="*/ 678 w 1158"/>
                <a:gd name="T109" fmla="*/ 60 h 1452"/>
                <a:gd name="T110" fmla="*/ 672 w 1158"/>
                <a:gd name="T111" fmla="*/ 36 h 1452"/>
                <a:gd name="T112" fmla="*/ 672 w 1158"/>
                <a:gd name="T113" fmla="*/ 6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158" h="1452">
                  <a:moveTo>
                    <a:pt x="672" y="0"/>
                  </a:moveTo>
                  <a:lnTo>
                    <a:pt x="852" y="6"/>
                  </a:lnTo>
                  <a:lnTo>
                    <a:pt x="870" y="6"/>
                  </a:lnTo>
                  <a:lnTo>
                    <a:pt x="852" y="24"/>
                  </a:lnTo>
                  <a:lnTo>
                    <a:pt x="846" y="78"/>
                  </a:lnTo>
                  <a:lnTo>
                    <a:pt x="834" y="162"/>
                  </a:lnTo>
                  <a:lnTo>
                    <a:pt x="828" y="168"/>
                  </a:lnTo>
                  <a:lnTo>
                    <a:pt x="810" y="216"/>
                  </a:lnTo>
                  <a:lnTo>
                    <a:pt x="858" y="438"/>
                  </a:lnTo>
                  <a:lnTo>
                    <a:pt x="870" y="480"/>
                  </a:lnTo>
                  <a:lnTo>
                    <a:pt x="852" y="516"/>
                  </a:lnTo>
                  <a:lnTo>
                    <a:pt x="930" y="540"/>
                  </a:lnTo>
                  <a:lnTo>
                    <a:pt x="984" y="606"/>
                  </a:lnTo>
                  <a:lnTo>
                    <a:pt x="996" y="618"/>
                  </a:lnTo>
                  <a:lnTo>
                    <a:pt x="1032" y="648"/>
                  </a:lnTo>
                  <a:lnTo>
                    <a:pt x="1056" y="684"/>
                  </a:lnTo>
                  <a:lnTo>
                    <a:pt x="1068" y="702"/>
                  </a:lnTo>
                  <a:lnTo>
                    <a:pt x="1092" y="702"/>
                  </a:lnTo>
                  <a:lnTo>
                    <a:pt x="1092" y="708"/>
                  </a:lnTo>
                  <a:lnTo>
                    <a:pt x="1098" y="720"/>
                  </a:lnTo>
                  <a:lnTo>
                    <a:pt x="1098" y="726"/>
                  </a:lnTo>
                  <a:lnTo>
                    <a:pt x="1104" y="750"/>
                  </a:lnTo>
                  <a:lnTo>
                    <a:pt x="1104" y="756"/>
                  </a:lnTo>
                  <a:lnTo>
                    <a:pt x="1104" y="774"/>
                  </a:lnTo>
                  <a:lnTo>
                    <a:pt x="1104" y="786"/>
                  </a:lnTo>
                  <a:lnTo>
                    <a:pt x="1098" y="798"/>
                  </a:lnTo>
                  <a:lnTo>
                    <a:pt x="1092" y="834"/>
                  </a:lnTo>
                  <a:lnTo>
                    <a:pt x="1086" y="840"/>
                  </a:lnTo>
                  <a:lnTo>
                    <a:pt x="1080" y="846"/>
                  </a:lnTo>
                  <a:lnTo>
                    <a:pt x="1074" y="870"/>
                  </a:lnTo>
                  <a:lnTo>
                    <a:pt x="1068" y="882"/>
                  </a:lnTo>
                  <a:lnTo>
                    <a:pt x="1068" y="894"/>
                  </a:lnTo>
                  <a:lnTo>
                    <a:pt x="1068" y="900"/>
                  </a:lnTo>
                  <a:lnTo>
                    <a:pt x="1068" y="918"/>
                  </a:lnTo>
                  <a:lnTo>
                    <a:pt x="1074" y="936"/>
                  </a:lnTo>
                  <a:lnTo>
                    <a:pt x="1146" y="936"/>
                  </a:lnTo>
                  <a:lnTo>
                    <a:pt x="1146" y="948"/>
                  </a:lnTo>
                  <a:lnTo>
                    <a:pt x="1152" y="990"/>
                  </a:lnTo>
                  <a:lnTo>
                    <a:pt x="1152" y="996"/>
                  </a:lnTo>
                  <a:lnTo>
                    <a:pt x="1152" y="1014"/>
                  </a:lnTo>
                  <a:lnTo>
                    <a:pt x="1152" y="1020"/>
                  </a:lnTo>
                  <a:lnTo>
                    <a:pt x="1152" y="1032"/>
                  </a:lnTo>
                  <a:lnTo>
                    <a:pt x="1152" y="1038"/>
                  </a:lnTo>
                  <a:lnTo>
                    <a:pt x="1152" y="1044"/>
                  </a:lnTo>
                  <a:lnTo>
                    <a:pt x="1152" y="1050"/>
                  </a:lnTo>
                  <a:lnTo>
                    <a:pt x="1158" y="1062"/>
                  </a:lnTo>
                  <a:lnTo>
                    <a:pt x="1158" y="1080"/>
                  </a:lnTo>
                  <a:lnTo>
                    <a:pt x="1158" y="1086"/>
                  </a:lnTo>
                  <a:lnTo>
                    <a:pt x="1158" y="1092"/>
                  </a:lnTo>
                  <a:lnTo>
                    <a:pt x="1158" y="1098"/>
                  </a:lnTo>
                  <a:lnTo>
                    <a:pt x="1158" y="1110"/>
                  </a:lnTo>
                  <a:lnTo>
                    <a:pt x="1158" y="1116"/>
                  </a:lnTo>
                  <a:lnTo>
                    <a:pt x="1158" y="1122"/>
                  </a:lnTo>
                  <a:lnTo>
                    <a:pt x="1158" y="1134"/>
                  </a:lnTo>
                  <a:lnTo>
                    <a:pt x="1158" y="1164"/>
                  </a:lnTo>
                  <a:lnTo>
                    <a:pt x="1158" y="1170"/>
                  </a:lnTo>
                  <a:lnTo>
                    <a:pt x="1158" y="1182"/>
                  </a:lnTo>
                  <a:lnTo>
                    <a:pt x="1158" y="1188"/>
                  </a:lnTo>
                  <a:lnTo>
                    <a:pt x="1158" y="1194"/>
                  </a:lnTo>
                  <a:lnTo>
                    <a:pt x="1158" y="1200"/>
                  </a:lnTo>
                  <a:lnTo>
                    <a:pt x="1158" y="1206"/>
                  </a:lnTo>
                  <a:lnTo>
                    <a:pt x="1158" y="1218"/>
                  </a:lnTo>
                  <a:lnTo>
                    <a:pt x="1158" y="1230"/>
                  </a:lnTo>
                  <a:lnTo>
                    <a:pt x="1158" y="1236"/>
                  </a:lnTo>
                  <a:lnTo>
                    <a:pt x="1158" y="1242"/>
                  </a:lnTo>
                  <a:lnTo>
                    <a:pt x="1152" y="1242"/>
                  </a:lnTo>
                  <a:lnTo>
                    <a:pt x="1152" y="1248"/>
                  </a:lnTo>
                  <a:lnTo>
                    <a:pt x="1146" y="1254"/>
                  </a:lnTo>
                  <a:lnTo>
                    <a:pt x="1140" y="1254"/>
                  </a:lnTo>
                  <a:lnTo>
                    <a:pt x="1140" y="1260"/>
                  </a:lnTo>
                  <a:lnTo>
                    <a:pt x="1134" y="1260"/>
                  </a:lnTo>
                  <a:lnTo>
                    <a:pt x="1128" y="1266"/>
                  </a:lnTo>
                  <a:lnTo>
                    <a:pt x="1122" y="1272"/>
                  </a:lnTo>
                  <a:lnTo>
                    <a:pt x="1116" y="1272"/>
                  </a:lnTo>
                  <a:lnTo>
                    <a:pt x="1116" y="1278"/>
                  </a:lnTo>
                  <a:lnTo>
                    <a:pt x="1110" y="1278"/>
                  </a:lnTo>
                  <a:lnTo>
                    <a:pt x="1104" y="1278"/>
                  </a:lnTo>
                  <a:lnTo>
                    <a:pt x="1098" y="1278"/>
                  </a:lnTo>
                  <a:lnTo>
                    <a:pt x="1092" y="1278"/>
                  </a:lnTo>
                  <a:lnTo>
                    <a:pt x="1086" y="1278"/>
                  </a:lnTo>
                  <a:lnTo>
                    <a:pt x="1080" y="1278"/>
                  </a:lnTo>
                  <a:lnTo>
                    <a:pt x="1074" y="1278"/>
                  </a:lnTo>
                  <a:lnTo>
                    <a:pt x="1074" y="1284"/>
                  </a:lnTo>
                  <a:lnTo>
                    <a:pt x="1068" y="1290"/>
                  </a:lnTo>
                  <a:lnTo>
                    <a:pt x="1062" y="1296"/>
                  </a:lnTo>
                  <a:lnTo>
                    <a:pt x="1068" y="1296"/>
                  </a:lnTo>
                  <a:lnTo>
                    <a:pt x="1062" y="1296"/>
                  </a:lnTo>
                  <a:lnTo>
                    <a:pt x="1056" y="1296"/>
                  </a:lnTo>
                  <a:lnTo>
                    <a:pt x="1050" y="1302"/>
                  </a:lnTo>
                  <a:lnTo>
                    <a:pt x="1044" y="1308"/>
                  </a:lnTo>
                  <a:lnTo>
                    <a:pt x="1038" y="1308"/>
                  </a:lnTo>
                  <a:lnTo>
                    <a:pt x="1038" y="1314"/>
                  </a:lnTo>
                  <a:lnTo>
                    <a:pt x="1032" y="1314"/>
                  </a:lnTo>
                  <a:lnTo>
                    <a:pt x="1032" y="1320"/>
                  </a:lnTo>
                  <a:lnTo>
                    <a:pt x="1026" y="1320"/>
                  </a:lnTo>
                  <a:lnTo>
                    <a:pt x="1020" y="1320"/>
                  </a:lnTo>
                  <a:lnTo>
                    <a:pt x="1014" y="1320"/>
                  </a:lnTo>
                  <a:lnTo>
                    <a:pt x="1008" y="1320"/>
                  </a:lnTo>
                  <a:lnTo>
                    <a:pt x="1002" y="1320"/>
                  </a:lnTo>
                  <a:lnTo>
                    <a:pt x="1002" y="1314"/>
                  </a:lnTo>
                  <a:lnTo>
                    <a:pt x="1002" y="1308"/>
                  </a:lnTo>
                  <a:lnTo>
                    <a:pt x="996" y="1302"/>
                  </a:lnTo>
                  <a:lnTo>
                    <a:pt x="996" y="1296"/>
                  </a:lnTo>
                  <a:lnTo>
                    <a:pt x="996" y="1290"/>
                  </a:lnTo>
                  <a:lnTo>
                    <a:pt x="990" y="1290"/>
                  </a:lnTo>
                  <a:lnTo>
                    <a:pt x="984" y="1290"/>
                  </a:lnTo>
                  <a:lnTo>
                    <a:pt x="984" y="1284"/>
                  </a:lnTo>
                  <a:lnTo>
                    <a:pt x="978" y="1284"/>
                  </a:lnTo>
                  <a:lnTo>
                    <a:pt x="972" y="1290"/>
                  </a:lnTo>
                  <a:lnTo>
                    <a:pt x="972" y="1296"/>
                  </a:lnTo>
                  <a:lnTo>
                    <a:pt x="960" y="1290"/>
                  </a:lnTo>
                  <a:lnTo>
                    <a:pt x="960" y="1284"/>
                  </a:lnTo>
                  <a:lnTo>
                    <a:pt x="954" y="1284"/>
                  </a:lnTo>
                  <a:lnTo>
                    <a:pt x="948" y="1284"/>
                  </a:lnTo>
                  <a:lnTo>
                    <a:pt x="942" y="1284"/>
                  </a:lnTo>
                  <a:lnTo>
                    <a:pt x="936" y="1284"/>
                  </a:lnTo>
                  <a:lnTo>
                    <a:pt x="930" y="1284"/>
                  </a:lnTo>
                  <a:lnTo>
                    <a:pt x="930" y="1290"/>
                  </a:lnTo>
                  <a:lnTo>
                    <a:pt x="924" y="1290"/>
                  </a:lnTo>
                  <a:lnTo>
                    <a:pt x="918" y="1296"/>
                  </a:lnTo>
                  <a:lnTo>
                    <a:pt x="912" y="1296"/>
                  </a:lnTo>
                  <a:lnTo>
                    <a:pt x="912" y="1290"/>
                  </a:lnTo>
                  <a:lnTo>
                    <a:pt x="912" y="1296"/>
                  </a:lnTo>
                  <a:lnTo>
                    <a:pt x="906" y="1296"/>
                  </a:lnTo>
                  <a:lnTo>
                    <a:pt x="900" y="1302"/>
                  </a:lnTo>
                  <a:lnTo>
                    <a:pt x="894" y="1296"/>
                  </a:lnTo>
                  <a:lnTo>
                    <a:pt x="888" y="1296"/>
                  </a:lnTo>
                  <a:lnTo>
                    <a:pt x="882" y="1296"/>
                  </a:lnTo>
                  <a:lnTo>
                    <a:pt x="876" y="1290"/>
                  </a:lnTo>
                  <a:lnTo>
                    <a:pt x="870" y="1290"/>
                  </a:lnTo>
                  <a:lnTo>
                    <a:pt x="870" y="1296"/>
                  </a:lnTo>
                  <a:lnTo>
                    <a:pt x="864" y="1296"/>
                  </a:lnTo>
                  <a:lnTo>
                    <a:pt x="858" y="1290"/>
                  </a:lnTo>
                  <a:lnTo>
                    <a:pt x="852" y="1290"/>
                  </a:lnTo>
                  <a:lnTo>
                    <a:pt x="852" y="1296"/>
                  </a:lnTo>
                  <a:lnTo>
                    <a:pt x="846" y="1302"/>
                  </a:lnTo>
                  <a:lnTo>
                    <a:pt x="840" y="1302"/>
                  </a:lnTo>
                  <a:lnTo>
                    <a:pt x="840" y="1296"/>
                  </a:lnTo>
                  <a:lnTo>
                    <a:pt x="840" y="1302"/>
                  </a:lnTo>
                  <a:lnTo>
                    <a:pt x="840" y="1308"/>
                  </a:lnTo>
                  <a:lnTo>
                    <a:pt x="834" y="1308"/>
                  </a:lnTo>
                  <a:lnTo>
                    <a:pt x="828" y="1308"/>
                  </a:lnTo>
                  <a:lnTo>
                    <a:pt x="834" y="1314"/>
                  </a:lnTo>
                  <a:lnTo>
                    <a:pt x="828" y="1314"/>
                  </a:lnTo>
                  <a:lnTo>
                    <a:pt x="828" y="1320"/>
                  </a:lnTo>
                  <a:lnTo>
                    <a:pt x="834" y="1326"/>
                  </a:lnTo>
                  <a:lnTo>
                    <a:pt x="840" y="1326"/>
                  </a:lnTo>
                  <a:lnTo>
                    <a:pt x="840" y="1332"/>
                  </a:lnTo>
                  <a:lnTo>
                    <a:pt x="834" y="1332"/>
                  </a:lnTo>
                  <a:lnTo>
                    <a:pt x="828" y="1332"/>
                  </a:lnTo>
                  <a:lnTo>
                    <a:pt x="834" y="1338"/>
                  </a:lnTo>
                  <a:lnTo>
                    <a:pt x="834" y="1344"/>
                  </a:lnTo>
                  <a:lnTo>
                    <a:pt x="828" y="1344"/>
                  </a:lnTo>
                  <a:lnTo>
                    <a:pt x="822" y="1344"/>
                  </a:lnTo>
                  <a:lnTo>
                    <a:pt x="828" y="1350"/>
                  </a:lnTo>
                  <a:lnTo>
                    <a:pt x="822" y="1356"/>
                  </a:lnTo>
                  <a:lnTo>
                    <a:pt x="828" y="1362"/>
                  </a:lnTo>
                  <a:lnTo>
                    <a:pt x="834" y="1362"/>
                  </a:lnTo>
                  <a:lnTo>
                    <a:pt x="834" y="1368"/>
                  </a:lnTo>
                  <a:lnTo>
                    <a:pt x="834" y="1374"/>
                  </a:lnTo>
                  <a:lnTo>
                    <a:pt x="828" y="1374"/>
                  </a:lnTo>
                  <a:lnTo>
                    <a:pt x="822" y="1380"/>
                  </a:lnTo>
                  <a:lnTo>
                    <a:pt x="828" y="1386"/>
                  </a:lnTo>
                  <a:lnTo>
                    <a:pt x="828" y="1392"/>
                  </a:lnTo>
                  <a:lnTo>
                    <a:pt x="828" y="1398"/>
                  </a:lnTo>
                  <a:lnTo>
                    <a:pt x="828" y="1404"/>
                  </a:lnTo>
                  <a:lnTo>
                    <a:pt x="822" y="1404"/>
                  </a:lnTo>
                  <a:lnTo>
                    <a:pt x="822" y="1410"/>
                  </a:lnTo>
                  <a:lnTo>
                    <a:pt x="816" y="1410"/>
                  </a:lnTo>
                  <a:lnTo>
                    <a:pt x="810" y="1410"/>
                  </a:lnTo>
                  <a:lnTo>
                    <a:pt x="804" y="1410"/>
                  </a:lnTo>
                  <a:lnTo>
                    <a:pt x="804" y="1416"/>
                  </a:lnTo>
                  <a:lnTo>
                    <a:pt x="804" y="1422"/>
                  </a:lnTo>
                  <a:lnTo>
                    <a:pt x="804" y="1428"/>
                  </a:lnTo>
                  <a:lnTo>
                    <a:pt x="804" y="1422"/>
                  </a:lnTo>
                  <a:lnTo>
                    <a:pt x="798" y="1422"/>
                  </a:lnTo>
                  <a:lnTo>
                    <a:pt x="792" y="1422"/>
                  </a:lnTo>
                  <a:lnTo>
                    <a:pt x="792" y="1428"/>
                  </a:lnTo>
                  <a:lnTo>
                    <a:pt x="792" y="1434"/>
                  </a:lnTo>
                  <a:lnTo>
                    <a:pt x="792" y="1440"/>
                  </a:lnTo>
                  <a:lnTo>
                    <a:pt x="786" y="1440"/>
                  </a:lnTo>
                  <a:lnTo>
                    <a:pt x="780" y="1440"/>
                  </a:lnTo>
                  <a:lnTo>
                    <a:pt x="780" y="1446"/>
                  </a:lnTo>
                  <a:lnTo>
                    <a:pt x="774" y="1452"/>
                  </a:lnTo>
                  <a:lnTo>
                    <a:pt x="708" y="1452"/>
                  </a:lnTo>
                  <a:lnTo>
                    <a:pt x="738" y="1350"/>
                  </a:lnTo>
                  <a:lnTo>
                    <a:pt x="642" y="1296"/>
                  </a:lnTo>
                  <a:lnTo>
                    <a:pt x="630" y="1236"/>
                  </a:lnTo>
                  <a:lnTo>
                    <a:pt x="606" y="1152"/>
                  </a:lnTo>
                  <a:lnTo>
                    <a:pt x="600" y="1140"/>
                  </a:lnTo>
                  <a:lnTo>
                    <a:pt x="594" y="1134"/>
                  </a:lnTo>
                  <a:lnTo>
                    <a:pt x="588" y="1134"/>
                  </a:lnTo>
                  <a:lnTo>
                    <a:pt x="576" y="1128"/>
                  </a:lnTo>
                  <a:lnTo>
                    <a:pt x="558" y="1122"/>
                  </a:lnTo>
                  <a:lnTo>
                    <a:pt x="522" y="1110"/>
                  </a:lnTo>
                  <a:lnTo>
                    <a:pt x="516" y="1122"/>
                  </a:lnTo>
                  <a:lnTo>
                    <a:pt x="510" y="1128"/>
                  </a:lnTo>
                  <a:lnTo>
                    <a:pt x="450" y="1158"/>
                  </a:lnTo>
                  <a:lnTo>
                    <a:pt x="414" y="1200"/>
                  </a:lnTo>
                  <a:lnTo>
                    <a:pt x="396" y="1182"/>
                  </a:lnTo>
                  <a:lnTo>
                    <a:pt x="390" y="1176"/>
                  </a:lnTo>
                  <a:lnTo>
                    <a:pt x="378" y="1170"/>
                  </a:lnTo>
                  <a:lnTo>
                    <a:pt x="366" y="1158"/>
                  </a:lnTo>
                  <a:lnTo>
                    <a:pt x="366" y="1146"/>
                  </a:lnTo>
                  <a:lnTo>
                    <a:pt x="360" y="1140"/>
                  </a:lnTo>
                  <a:lnTo>
                    <a:pt x="360" y="1134"/>
                  </a:lnTo>
                  <a:lnTo>
                    <a:pt x="354" y="1128"/>
                  </a:lnTo>
                  <a:lnTo>
                    <a:pt x="354" y="1122"/>
                  </a:lnTo>
                  <a:lnTo>
                    <a:pt x="348" y="1116"/>
                  </a:lnTo>
                  <a:lnTo>
                    <a:pt x="348" y="1110"/>
                  </a:lnTo>
                  <a:lnTo>
                    <a:pt x="348" y="1098"/>
                  </a:lnTo>
                  <a:lnTo>
                    <a:pt x="342" y="1092"/>
                  </a:lnTo>
                  <a:lnTo>
                    <a:pt x="342" y="1086"/>
                  </a:lnTo>
                  <a:lnTo>
                    <a:pt x="336" y="1080"/>
                  </a:lnTo>
                  <a:lnTo>
                    <a:pt x="336" y="1068"/>
                  </a:lnTo>
                  <a:lnTo>
                    <a:pt x="336" y="1062"/>
                  </a:lnTo>
                  <a:lnTo>
                    <a:pt x="330" y="1062"/>
                  </a:lnTo>
                  <a:lnTo>
                    <a:pt x="324" y="1056"/>
                  </a:lnTo>
                  <a:lnTo>
                    <a:pt x="318" y="1044"/>
                  </a:lnTo>
                  <a:lnTo>
                    <a:pt x="318" y="1038"/>
                  </a:lnTo>
                  <a:lnTo>
                    <a:pt x="318" y="1026"/>
                  </a:lnTo>
                  <a:lnTo>
                    <a:pt x="312" y="1020"/>
                  </a:lnTo>
                  <a:lnTo>
                    <a:pt x="312" y="1014"/>
                  </a:lnTo>
                  <a:lnTo>
                    <a:pt x="300" y="1014"/>
                  </a:lnTo>
                  <a:lnTo>
                    <a:pt x="270" y="1014"/>
                  </a:lnTo>
                  <a:lnTo>
                    <a:pt x="258" y="1014"/>
                  </a:lnTo>
                  <a:lnTo>
                    <a:pt x="120" y="960"/>
                  </a:lnTo>
                  <a:lnTo>
                    <a:pt x="96" y="942"/>
                  </a:lnTo>
                  <a:lnTo>
                    <a:pt x="96" y="936"/>
                  </a:lnTo>
                  <a:lnTo>
                    <a:pt x="90" y="936"/>
                  </a:lnTo>
                  <a:lnTo>
                    <a:pt x="84" y="936"/>
                  </a:lnTo>
                  <a:lnTo>
                    <a:pt x="78" y="930"/>
                  </a:lnTo>
                  <a:lnTo>
                    <a:pt x="72" y="930"/>
                  </a:lnTo>
                  <a:lnTo>
                    <a:pt x="66" y="930"/>
                  </a:lnTo>
                  <a:lnTo>
                    <a:pt x="66" y="924"/>
                  </a:lnTo>
                  <a:lnTo>
                    <a:pt x="60" y="924"/>
                  </a:lnTo>
                  <a:lnTo>
                    <a:pt x="54" y="924"/>
                  </a:lnTo>
                  <a:lnTo>
                    <a:pt x="54" y="930"/>
                  </a:lnTo>
                  <a:lnTo>
                    <a:pt x="48" y="930"/>
                  </a:lnTo>
                  <a:lnTo>
                    <a:pt x="42" y="930"/>
                  </a:lnTo>
                  <a:lnTo>
                    <a:pt x="36" y="930"/>
                  </a:lnTo>
                  <a:lnTo>
                    <a:pt x="30" y="930"/>
                  </a:lnTo>
                  <a:lnTo>
                    <a:pt x="24" y="930"/>
                  </a:lnTo>
                  <a:lnTo>
                    <a:pt x="18" y="930"/>
                  </a:lnTo>
                  <a:lnTo>
                    <a:pt x="12" y="930"/>
                  </a:lnTo>
                  <a:lnTo>
                    <a:pt x="6" y="930"/>
                  </a:lnTo>
                  <a:lnTo>
                    <a:pt x="0" y="930"/>
                  </a:lnTo>
                  <a:lnTo>
                    <a:pt x="6" y="846"/>
                  </a:lnTo>
                  <a:lnTo>
                    <a:pt x="24" y="858"/>
                  </a:lnTo>
                  <a:lnTo>
                    <a:pt x="48" y="846"/>
                  </a:lnTo>
                  <a:lnTo>
                    <a:pt x="174" y="846"/>
                  </a:lnTo>
                  <a:lnTo>
                    <a:pt x="192" y="840"/>
                  </a:lnTo>
                  <a:lnTo>
                    <a:pt x="198" y="840"/>
                  </a:lnTo>
                  <a:lnTo>
                    <a:pt x="258" y="762"/>
                  </a:lnTo>
                  <a:lnTo>
                    <a:pt x="270" y="750"/>
                  </a:lnTo>
                  <a:lnTo>
                    <a:pt x="324" y="690"/>
                  </a:lnTo>
                  <a:lnTo>
                    <a:pt x="354" y="654"/>
                  </a:lnTo>
                  <a:lnTo>
                    <a:pt x="372" y="636"/>
                  </a:lnTo>
                  <a:lnTo>
                    <a:pt x="420" y="546"/>
                  </a:lnTo>
                  <a:lnTo>
                    <a:pt x="480" y="510"/>
                  </a:lnTo>
                  <a:lnTo>
                    <a:pt x="582" y="408"/>
                  </a:lnTo>
                  <a:lnTo>
                    <a:pt x="564" y="372"/>
                  </a:lnTo>
                  <a:lnTo>
                    <a:pt x="558" y="348"/>
                  </a:lnTo>
                  <a:lnTo>
                    <a:pt x="558" y="180"/>
                  </a:lnTo>
                  <a:lnTo>
                    <a:pt x="480" y="108"/>
                  </a:lnTo>
                  <a:lnTo>
                    <a:pt x="576" y="108"/>
                  </a:lnTo>
                  <a:lnTo>
                    <a:pt x="672" y="108"/>
                  </a:lnTo>
                  <a:lnTo>
                    <a:pt x="672" y="102"/>
                  </a:lnTo>
                  <a:lnTo>
                    <a:pt x="672" y="96"/>
                  </a:lnTo>
                  <a:lnTo>
                    <a:pt x="672" y="90"/>
                  </a:lnTo>
                  <a:lnTo>
                    <a:pt x="672" y="84"/>
                  </a:lnTo>
                  <a:lnTo>
                    <a:pt x="678" y="78"/>
                  </a:lnTo>
                  <a:lnTo>
                    <a:pt x="678" y="72"/>
                  </a:lnTo>
                  <a:lnTo>
                    <a:pt x="678" y="66"/>
                  </a:lnTo>
                  <a:lnTo>
                    <a:pt x="678" y="60"/>
                  </a:lnTo>
                  <a:lnTo>
                    <a:pt x="678" y="54"/>
                  </a:lnTo>
                  <a:lnTo>
                    <a:pt x="678" y="48"/>
                  </a:lnTo>
                  <a:lnTo>
                    <a:pt x="672" y="48"/>
                  </a:lnTo>
                  <a:lnTo>
                    <a:pt x="672" y="42"/>
                  </a:lnTo>
                  <a:lnTo>
                    <a:pt x="672" y="36"/>
                  </a:lnTo>
                  <a:lnTo>
                    <a:pt x="672" y="30"/>
                  </a:lnTo>
                  <a:lnTo>
                    <a:pt x="672" y="24"/>
                  </a:lnTo>
                  <a:lnTo>
                    <a:pt x="672" y="18"/>
                  </a:lnTo>
                  <a:lnTo>
                    <a:pt x="672" y="12"/>
                  </a:lnTo>
                  <a:lnTo>
                    <a:pt x="672" y="6"/>
                  </a:lnTo>
                  <a:lnTo>
                    <a:pt x="672" y="0"/>
                  </a:lnTo>
                  <a:close/>
                </a:path>
              </a:pathLst>
            </a:custGeom>
            <a:solidFill>
              <a:schemeClr val="accent2">
                <a:lumMod val="20000"/>
                <a:lumOff val="80000"/>
              </a:schemeClr>
            </a:solidFill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" name="Freeform 43"/>
            <p:cNvSpPr/>
            <p:nvPr/>
          </p:nvSpPr>
          <p:spPr>
            <a:xfrm>
              <a:off x="7709724" y="1491204"/>
              <a:ext cx="631031" cy="66675"/>
            </a:xfrm>
            <a:custGeom>
              <a:avLst/>
              <a:gdLst>
                <a:gd name="connsiteX0" fmla="*/ 0 w 631031"/>
                <a:gd name="connsiteY0" fmla="*/ 14287 h 66675"/>
                <a:gd name="connsiteX1" fmla="*/ 0 w 631031"/>
                <a:gd name="connsiteY1" fmla="*/ 14287 h 66675"/>
                <a:gd name="connsiteX2" fmla="*/ 19050 w 631031"/>
                <a:gd name="connsiteY2" fmla="*/ 30956 h 66675"/>
                <a:gd name="connsiteX3" fmla="*/ 26194 w 631031"/>
                <a:gd name="connsiteY3" fmla="*/ 33337 h 66675"/>
                <a:gd name="connsiteX4" fmla="*/ 33338 w 631031"/>
                <a:gd name="connsiteY4" fmla="*/ 38100 h 66675"/>
                <a:gd name="connsiteX5" fmla="*/ 40481 w 631031"/>
                <a:gd name="connsiteY5" fmla="*/ 40481 h 66675"/>
                <a:gd name="connsiteX6" fmla="*/ 54769 w 631031"/>
                <a:gd name="connsiteY6" fmla="*/ 47625 h 66675"/>
                <a:gd name="connsiteX7" fmla="*/ 71438 w 631031"/>
                <a:gd name="connsiteY7" fmla="*/ 57150 h 66675"/>
                <a:gd name="connsiteX8" fmla="*/ 78581 w 631031"/>
                <a:gd name="connsiteY8" fmla="*/ 61912 h 66675"/>
                <a:gd name="connsiteX9" fmla="*/ 145256 w 631031"/>
                <a:gd name="connsiteY9" fmla="*/ 64293 h 66675"/>
                <a:gd name="connsiteX10" fmla="*/ 190500 w 631031"/>
                <a:gd name="connsiteY10" fmla="*/ 66675 h 66675"/>
                <a:gd name="connsiteX11" fmla="*/ 238125 w 631031"/>
                <a:gd name="connsiteY11" fmla="*/ 61912 h 66675"/>
                <a:gd name="connsiteX12" fmla="*/ 252413 w 631031"/>
                <a:gd name="connsiteY12" fmla="*/ 57150 h 66675"/>
                <a:gd name="connsiteX13" fmla="*/ 266700 w 631031"/>
                <a:gd name="connsiteY13" fmla="*/ 52387 h 66675"/>
                <a:gd name="connsiteX14" fmla="*/ 273844 w 631031"/>
                <a:gd name="connsiteY14" fmla="*/ 47625 h 66675"/>
                <a:gd name="connsiteX15" fmla="*/ 288131 w 631031"/>
                <a:gd name="connsiteY15" fmla="*/ 42862 h 66675"/>
                <a:gd name="connsiteX16" fmla="*/ 295275 w 631031"/>
                <a:gd name="connsiteY16" fmla="*/ 38100 h 66675"/>
                <a:gd name="connsiteX17" fmla="*/ 319088 w 631031"/>
                <a:gd name="connsiteY17" fmla="*/ 33337 h 66675"/>
                <a:gd name="connsiteX18" fmla="*/ 340519 w 631031"/>
                <a:gd name="connsiteY18" fmla="*/ 19050 h 66675"/>
                <a:gd name="connsiteX19" fmla="*/ 347663 w 631031"/>
                <a:gd name="connsiteY19" fmla="*/ 14287 h 66675"/>
                <a:gd name="connsiteX20" fmla="*/ 407194 w 631031"/>
                <a:gd name="connsiteY20" fmla="*/ 19050 h 66675"/>
                <a:gd name="connsiteX21" fmla="*/ 414338 w 631031"/>
                <a:gd name="connsiteY21" fmla="*/ 21431 h 66675"/>
                <a:gd name="connsiteX22" fmla="*/ 421481 w 631031"/>
                <a:gd name="connsiteY22" fmla="*/ 26193 h 66675"/>
                <a:gd name="connsiteX23" fmla="*/ 459581 w 631031"/>
                <a:gd name="connsiteY23" fmla="*/ 30956 h 66675"/>
                <a:gd name="connsiteX24" fmla="*/ 466725 w 631031"/>
                <a:gd name="connsiteY24" fmla="*/ 35718 h 66675"/>
                <a:gd name="connsiteX25" fmla="*/ 476250 w 631031"/>
                <a:gd name="connsiteY25" fmla="*/ 45243 h 66675"/>
                <a:gd name="connsiteX26" fmla="*/ 497681 w 631031"/>
                <a:gd name="connsiteY26" fmla="*/ 42862 h 66675"/>
                <a:gd name="connsiteX27" fmla="*/ 504825 w 631031"/>
                <a:gd name="connsiteY27" fmla="*/ 35718 h 66675"/>
                <a:gd name="connsiteX28" fmla="*/ 526256 w 631031"/>
                <a:gd name="connsiteY28" fmla="*/ 26193 h 66675"/>
                <a:gd name="connsiteX29" fmla="*/ 578644 w 631031"/>
                <a:gd name="connsiteY29" fmla="*/ 23812 h 66675"/>
                <a:gd name="connsiteX30" fmla="*/ 609600 w 631031"/>
                <a:gd name="connsiteY30" fmla="*/ 21431 h 66675"/>
                <a:gd name="connsiteX31" fmla="*/ 621506 w 631031"/>
                <a:gd name="connsiteY31" fmla="*/ 9525 h 66675"/>
                <a:gd name="connsiteX32" fmla="*/ 631031 w 631031"/>
                <a:gd name="connsiteY32" fmla="*/ 0 h 66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31031" h="66675">
                  <a:moveTo>
                    <a:pt x="0" y="14287"/>
                  </a:moveTo>
                  <a:lnTo>
                    <a:pt x="0" y="14287"/>
                  </a:lnTo>
                  <a:cubicBezTo>
                    <a:pt x="6350" y="19843"/>
                    <a:pt x="12226" y="25993"/>
                    <a:pt x="19050" y="30956"/>
                  </a:cubicBezTo>
                  <a:cubicBezTo>
                    <a:pt x="21080" y="32432"/>
                    <a:pt x="23949" y="32214"/>
                    <a:pt x="26194" y="33337"/>
                  </a:cubicBezTo>
                  <a:cubicBezTo>
                    <a:pt x="28754" y="34617"/>
                    <a:pt x="30778" y="36820"/>
                    <a:pt x="33338" y="38100"/>
                  </a:cubicBezTo>
                  <a:cubicBezTo>
                    <a:pt x="35583" y="39222"/>
                    <a:pt x="38236" y="39359"/>
                    <a:pt x="40481" y="40481"/>
                  </a:cubicBezTo>
                  <a:cubicBezTo>
                    <a:pt x="58950" y="49715"/>
                    <a:pt x="36808" y="41636"/>
                    <a:pt x="54769" y="47625"/>
                  </a:cubicBezTo>
                  <a:cubicBezTo>
                    <a:pt x="63394" y="60562"/>
                    <a:pt x="54437" y="50774"/>
                    <a:pt x="71438" y="57150"/>
                  </a:cubicBezTo>
                  <a:cubicBezTo>
                    <a:pt x="74117" y="58155"/>
                    <a:pt x="75733" y="61636"/>
                    <a:pt x="78581" y="61912"/>
                  </a:cubicBezTo>
                  <a:cubicBezTo>
                    <a:pt x="100717" y="64054"/>
                    <a:pt x="123037" y="63347"/>
                    <a:pt x="145256" y="64293"/>
                  </a:cubicBezTo>
                  <a:cubicBezTo>
                    <a:pt x="160345" y="64935"/>
                    <a:pt x="175419" y="65881"/>
                    <a:pt x="190500" y="66675"/>
                  </a:cubicBezTo>
                  <a:cubicBezTo>
                    <a:pt x="213964" y="65208"/>
                    <a:pt x="220859" y="67091"/>
                    <a:pt x="238125" y="61912"/>
                  </a:cubicBezTo>
                  <a:cubicBezTo>
                    <a:pt x="242934" y="60470"/>
                    <a:pt x="247650" y="58738"/>
                    <a:pt x="252413" y="57150"/>
                  </a:cubicBezTo>
                  <a:lnTo>
                    <a:pt x="266700" y="52387"/>
                  </a:lnTo>
                  <a:cubicBezTo>
                    <a:pt x="269415" y="51482"/>
                    <a:pt x="271229" y="48787"/>
                    <a:pt x="273844" y="47625"/>
                  </a:cubicBezTo>
                  <a:cubicBezTo>
                    <a:pt x="278431" y="45586"/>
                    <a:pt x="283954" y="45646"/>
                    <a:pt x="288131" y="42862"/>
                  </a:cubicBezTo>
                  <a:cubicBezTo>
                    <a:pt x="290512" y="41275"/>
                    <a:pt x="292645" y="39227"/>
                    <a:pt x="295275" y="38100"/>
                  </a:cubicBezTo>
                  <a:cubicBezTo>
                    <a:pt x="299801" y="36160"/>
                    <a:pt x="315857" y="33875"/>
                    <a:pt x="319088" y="33337"/>
                  </a:cubicBezTo>
                  <a:lnTo>
                    <a:pt x="340519" y="19050"/>
                  </a:lnTo>
                  <a:lnTo>
                    <a:pt x="347663" y="14287"/>
                  </a:lnTo>
                  <a:cubicBezTo>
                    <a:pt x="367846" y="15349"/>
                    <a:pt x="387564" y="14687"/>
                    <a:pt x="407194" y="19050"/>
                  </a:cubicBezTo>
                  <a:cubicBezTo>
                    <a:pt x="409644" y="19595"/>
                    <a:pt x="411957" y="20637"/>
                    <a:pt x="414338" y="21431"/>
                  </a:cubicBezTo>
                  <a:cubicBezTo>
                    <a:pt x="416719" y="23018"/>
                    <a:pt x="418922" y="24913"/>
                    <a:pt x="421481" y="26193"/>
                  </a:cubicBezTo>
                  <a:cubicBezTo>
                    <a:pt x="431764" y="31335"/>
                    <a:pt x="453658" y="30500"/>
                    <a:pt x="459581" y="30956"/>
                  </a:cubicBezTo>
                  <a:cubicBezTo>
                    <a:pt x="461962" y="32543"/>
                    <a:pt x="464937" y="33483"/>
                    <a:pt x="466725" y="35718"/>
                  </a:cubicBezTo>
                  <a:cubicBezTo>
                    <a:pt x="475962" y="47264"/>
                    <a:pt x="460663" y="40048"/>
                    <a:pt x="476250" y="45243"/>
                  </a:cubicBezTo>
                  <a:cubicBezTo>
                    <a:pt x="483394" y="44449"/>
                    <a:pt x="490862" y="45135"/>
                    <a:pt x="497681" y="42862"/>
                  </a:cubicBezTo>
                  <a:cubicBezTo>
                    <a:pt x="500876" y="41797"/>
                    <a:pt x="502238" y="37874"/>
                    <a:pt x="504825" y="35718"/>
                  </a:cubicBezTo>
                  <a:cubicBezTo>
                    <a:pt x="512371" y="29430"/>
                    <a:pt x="515877" y="29653"/>
                    <a:pt x="526256" y="26193"/>
                  </a:cubicBezTo>
                  <a:cubicBezTo>
                    <a:pt x="542839" y="20664"/>
                    <a:pt x="561192" y="24809"/>
                    <a:pt x="578644" y="23812"/>
                  </a:cubicBezTo>
                  <a:cubicBezTo>
                    <a:pt x="588976" y="23222"/>
                    <a:pt x="599281" y="22225"/>
                    <a:pt x="609600" y="21431"/>
                  </a:cubicBezTo>
                  <a:cubicBezTo>
                    <a:pt x="628652" y="8729"/>
                    <a:pt x="605631" y="25400"/>
                    <a:pt x="621506" y="9525"/>
                  </a:cubicBezTo>
                  <a:cubicBezTo>
                    <a:pt x="633000" y="-1969"/>
                    <a:pt x="625588" y="10885"/>
                    <a:pt x="631031" y="0"/>
                  </a:cubicBezTo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107" name="Freeform 106"/>
          <p:cNvSpPr/>
          <p:nvPr>
            <p:custDataLst>
              <p:tags r:id="rId6"/>
            </p:custDataLst>
          </p:nvPr>
        </p:nvSpPr>
        <p:spPr>
          <a:xfrm>
            <a:off x="3397517" y="2701115"/>
            <a:ext cx="1741487" cy="983595"/>
          </a:xfrm>
          <a:custGeom>
            <a:avLst/>
            <a:gdLst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57325 w 3128973"/>
              <a:gd name="connsiteY158" fmla="*/ 1047750 h 1752600"/>
              <a:gd name="connsiteX159" fmla="*/ 1443037 w 3128973"/>
              <a:gd name="connsiteY159" fmla="*/ 103822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9200 w 3128973"/>
              <a:gd name="connsiteY169" fmla="*/ 900112 h 1752600"/>
              <a:gd name="connsiteX170" fmla="*/ 1204912 w 3128973"/>
              <a:gd name="connsiteY170" fmla="*/ 895350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52525 w 3128973"/>
              <a:gd name="connsiteY173" fmla="*/ 8620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57325 w 3128973"/>
              <a:gd name="connsiteY158" fmla="*/ 1047750 h 1752600"/>
              <a:gd name="connsiteX159" fmla="*/ 1443037 w 3128973"/>
              <a:gd name="connsiteY159" fmla="*/ 103822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9200 w 3128973"/>
              <a:gd name="connsiteY169" fmla="*/ 900112 h 1752600"/>
              <a:gd name="connsiteX170" fmla="*/ 1204912 w 3128973"/>
              <a:gd name="connsiteY170" fmla="*/ 895350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57325 w 3128973"/>
              <a:gd name="connsiteY158" fmla="*/ 1047750 h 1752600"/>
              <a:gd name="connsiteX159" fmla="*/ 1443037 w 3128973"/>
              <a:gd name="connsiteY159" fmla="*/ 103822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4912 w 3128973"/>
              <a:gd name="connsiteY170" fmla="*/ 895350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57325 w 3128973"/>
              <a:gd name="connsiteY158" fmla="*/ 1047750 h 1752600"/>
              <a:gd name="connsiteX159" fmla="*/ 1443037 w 3128973"/>
              <a:gd name="connsiteY159" fmla="*/ 103822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57325 w 3128973"/>
              <a:gd name="connsiteY158" fmla="*/ 1047750 h 1752600"/>
              <a:gd name="connsiteX159" fmla="*/ 1433512 w 3128973"/>
              <a:gd name="connsiteY159" fmla="*/ 110807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33462 h 1752600"/>
              <a:gd name="connsiteX161" fmla="*/ 1409700 w 3128973"/>
              <a:gd name="connsiteY161" fmla="*/ 1028700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33462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90812 w 3128973"/>
              <a:gd name="connsiteY116" fmla="*/ 15097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9916 w 3128973"/>
              <a:gd name="connsiteY115" fmla="*/ 152051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52725 w 3128973"/>
              <a:gd name="connsiteY113" fmla="*/ 1543050 h 1752600"/>
              <a:gd name="connsiteX114" fmla="*/ 2738437 w 3128973"/>
              <a:gd name="connsiteY114" fmla="*/ 1533525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38437 w 3128973"/>
              <a:gd name="connsiteY114" fmla="*/ 1533525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76250 w 3128973"/>
              <a:gd name="connsiteY203" fmla="*/ 4286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54025 w 3128973"/>
              <a:gd name="connsiteY203" fmla="*/ 466725 h 1752600"/>
              <a:gd name="connsiteX204" fmla="*/ 461962 w 3128973"/>
              <a:gd name="connsiteY204" fmla="*/ 419100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38150 h 1752600"/>
              <a:gd name="connsiteX203" fmla="*/ 454025 w 3128973"/>
              <a:gd name="connsiteY203" fmla="*/ 466725 h 1752600"/>
              <a:gd name="connsiteX204" fmla="*/ 407987 w 3128973"/>
              <a:gd name="connsiteY204" fmla="*/ 473075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19112 w 3128973"/>
              <a:gd name="connsiteY201" fmla="*/ 447675 h 1752600"/>
              <a:gd name="connsiteX202" fmla="*/ 504825 w 3128973"/>
              <a:gd name="connsiteY202" fmla="*/ 466725 h 1752600"/>
              <a:gd name="connsiteX203" fmla="*/ 454025 w 3128973"/>
              <a:gd name="connsiteY203" fmla="*/ 466725 h 1752600"/>
              <a:gd name="connsiteX204" fmla="*/ 407987 w 3128973"/>
              <a:gd name="connsiteY204" fmla="*/ 473075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109662 w 3128973"/>
              <a:gd name="connsiteY174" fmla="*/ 852487 h 1752600"/>
              <a:gd name="connsiteX175" fmla="*/ 1095375 w 3128973"/>
              <a:gd name="connsiteY175" fmla="*/ 847725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25462 w 3128973"/>
              <a:gd name="connsiteY201" fmla="*/ 485775 h 1752600"/>
              <a:gd name="connsiteX202" fmla="*/ 504825 w 3128973"/>
              <a:gd name="connsiteY202" fmla="*/ 466725 h 1752600"/>
              <a:gd name="connsiteX203" fmla="*/ 454025 w 3128973"/>
              <a:gd name="connsiteY203" fmla="*/ 466725 h 1752600"/>
              <a:gd name="connsiteX204" fmla="*/ 407987 w 3128973"/>
              <a:gd name="connsiteY204" fmla="*/ 473075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85750 w 3128973"/>
              <a:gd name="connsiteY209" fmla="*/ 371475 h 1752600"/>
              <a:gd name="connsiteX210" fmla="*/ 271462 w 3128973"/>
              <a:gd name="connsiteY210" fmla="*/ 366712 h 1752600"/>
              <a:gd name="connsiteX211" fmla="*/ 257175 w 3128973"/>
              <a:gd name="connsiteY211" fmla="*/ 357187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66812 w 3128973"/>
              <a:gd name="connsiteY172" fmla="*/ 871537 h 1752600"/>
              <a:gd name="connsiteX173" fmla="*/ 1133475 w 3128973"/>
              <a:gd name="connsiteY173" fmla="*/ 925512 h 1752600"/>
              <a:gd name="connsiteX174" fmla="*/ 1095375 w 3128973"/>
              <a:gd name="connsiteY174" fmla="*/ 847725 h 1752600"/>
              <a:gd name="connsiteX175" fmla="*/ 1071562 w 3128973"/>
              <a:gd name="connsiteY175" fmla="*/ 842962 h 1752600"/>
              <a:gd name="connsiteX176" fmla="*/ 1047750 w 3128973"/>
              <a:gd name="connsiteY176" fmla="*/ 819150 h 1752600"/>
              <a:gd name="connsiteX177" fmla="*/ 1028700 w 3128973"/>
              <a:gd name="connsiteY177" fmla="*/ 804862 h 1752600"/>
              <a:gd name="connsiteX178" fmla="*/ 1018076 w 3128973"/>
              <a:gd name="connsiteY178" fmla="*/ 794816 h 1752600"/>
              <a:gd name="connsiteX179" fmla="*/ 1000125 w 3128973"/>
              <a:gd name="connsiteY179" fmla="*/ 785812 h 1752600"/>
              <a:gd name="connsiteX180" fmla="*/ 984342 w 3128973"/>
              <a:gd name="connsiteY180" fmla="*/ 773578 h 1752600"/>
              <a:gd name="connsiteX181" fmla="*/ 957262 w 3128973"/>
              <a:gd name="connsiteY181" fmla="*/ 766762 h 1752600"/>
              <a:gd name="connsiteX182" fmla="*/ 938212 w 3128973"/>
              <a:gd name="connsiteY182" fmla="*/ 757237 h 1752600"/>
              <a:gd name="connsiteX183" fmla="*/ 904875 w 3128973"/>
              <a:gd name="connsiteY183" fmla="*/ 747712 h 1752600"/>
              <a:gd name="connsiteX184" fmla="*/ 862012 w 3128973"/>
              <a:gd name="connsiteY184" fmla="*/ 723900 h 1752600"/>
              <a:gd name="connsiteX185" fmla="*/ 795337 w 3128973"/>
              <a:gd name="connsiteY185" fmla="*/ 685800 h 1752600"/>
              <a:gd name="connsiteX186" fmla="*/ 776287 w 3128973"/>
              <a:gd name="connsiteY186" fmla="*/ 666750 h 1752600"/>
              <a:gd name="connsiteX187" fmla="*/ 762000 w 3128973"/>
              <a:gd name="connsiteY187" fmla="*/ 661987 h 1752600"/>
              <a:gd name="connsiteX188" fmla="*/ 742950 w 3128973"/>
              <a:gd name="connsiteY188" fmla="*/ 647700 h 1752600"/>
              <a:gd name="connsiteX189" fmla="*/ 709612 w 3128973"/>
              <a:gd name="connsiteY189" fmla="*/ 638175 h 1752600"/>
              <a:gd name="connsiteX190" fmla="*/ 695325 w 3128973"/>
              <a:gd name="connsiteY190" fmla="*/ 628650 h 1752600"/>
              <a:gd name="connsiteX191" fmla="*/ 681037 w 3128973"/>
              <a:gd name="connsiteY191" fmla="*/ 623887 h 1752600"/>
              <a:gd name="connsiteX192" fmla="*/ 676275 w 3128973"/>
              <a:gd name="connsiteY192" fmla="*/ 604837 h 1752600"/>
              <a:gd name="connsiteX193" fmla="*/ 666750 w 3128973"/>
              <a:gd name="connsiteY193" fmla="*/ 576262 h 1752600"/>
              <a:gd name="connsiteX194" fmla="*/ 661987 w 3128973"/>
              <a:gd name="connsiteY194" fmla="*/ 561975 h 1752600"/>
              <a:gd name="connsiteX195" fmla="*/ 666750 w 3128973"/>
              <a:gd name="connsiteY195" fmla="*/ 538162 h 1752600"/>
              <a:gd name="connsiteX196" fmla="*/ 638175 w 3128973"/>
              <a:gd name="connsiteY196" fmla="*/ 514350 h 1752600"/>
              <a:gd name="connsiteX197" fmla="*/ 619125 w 3128973"/>
              <a:gd name="connsiteY197" fmla="*/ 500062 h 1752600"/>
              <a:gd name="connsiteX198" fmla="*/ 576262 w 3128973"/>
              <a:gd name="connsiteY198" fmla="*/ 490537 h 1752600"/>
              <a:gd name="connsiteX199" fmla="*/ 542925 w 3128973"/>
              <a:gd name="connsiteY199" fmla="*/ 452437 h 1752600"/>
              <a:gd name="connsiteX200" fmla="*/ 525462 w 3128973"/>
              <a:gd name="connsiteY200" fmla="*/ 485775 h 1752600"/>
              <a:gd name="connsiteX201" fmla="*/ 504825 w 3128973"/>
              <a:gd name="connsiteY201" fmla="*/ 466725 h 1752600"/>
              <a:gd name="connsiteX202" fmla="*/ 454025 w 3128973"/>
              <a:gd name="connsiteY202" fmla="*/ 466725 h 1752600"/>
              <a:gd name="connsiteX203" fmla="*/ 407987 w 3128973"/>
              <a:gd name="connsiteY203" fmla="*/ 473075 h 1752600"/>
              <a:gd name="connsiteX204" fmla="*/ 395287 w 3128973"/>
              <a:gd name="connsiteY204" fmla="*/ 409575 h 1752600"/>
              <a:gd name="connsiteX205" fmla="*/ 376237 w 3128973"/>
              <a:gd name="connsiteY205" fmla="*/ 404812 h 1752600"/>
              <a:gd name="connsiteX206" fmla="*/ 342900 w 3128973"/>
              <a:gd name="connsiteY206" fmla="*/ 400050 h 1752600"/>
              <a:gd name="connsiteX207" fmla="*/ 314325 w 3128973"/>
              <a:gd name="connsiteY207" fmla="*/ 390525 h 1752600"/>
              <a:gd name="connsiteX208" fmla="*/ 285750 w 3128973"/>
              <a:gd name="connsiteY208" fmla="*/ 371475 h 1752600"/>
              <a:gd name="connsiteX209" fmla="*/ 271462 w 3128973"/>
              <a:gd name="connsiteY209" fmla="*/ 366712 h 1752600"/>
              <a:gd name="connsiteX210" fmla="*/ 257175 w 3128973"/>
              <a:gd name="connsiteY210" fmla="*/ 357187 h 1752600"/>
              <a:gd name="connsiteX211" fmla="*/ 223837 w 3128973"/>
              <a:gd name="connsiteY211" fmla="*/ 347662 h 1752600"/>
              <a:gd name="connsiteX212" fmla="*/ 190500 w 3128973"/>
              <a:gd name="connsiteY212" fmla="*/ 338137 h 1752600"/>
              <a:gd name="connsiteX213" fmla="*/ 147637 w 3128973"/>
              <a:gd name="connsiteY213" fmla="*/ 333375 h 1752600"/>
              <a:gd name="connsiteX214" fmla="*/ 119062 w 3128973"/>
              <a:gd name="connsiteY214" fmla="*/ 323850 h 1752600"/>
              <a:gd name="connsiteX215" fmla="*/ 104775 w 3128973"/>
              <a:gd name="connsiteY215" fmla="*/ 319087 h 1752600"/>
              <a:gd name="connsiteX216" fmla="*/ 61912 w 3128973"/>
              <a:gd name="connsiteY216" fmla="*/ 300037 h 1752600"/>
              <a:gd name="connsiteX217" fmla="*/ 23812 w 3128973"/>
              <a:gd name="connsiteY217" fmla="*/ 290512 h 1752600"/>
              <a:gd name="connsiteX218" fmla="*/ 9525 w 3128973"/>
              <a:gd name="connsiteY218" fmla="*/ 261937 h 1752600"/>
              <a:gd name="connsiteX219" fmla="*/ 0 w 3128973"/>
              <a:gd name="connsiteY219" fmla="*/ 290512 h 1752600"/>
              <a:gd name="connsiteX220" fmla="*/ 4762 w 3128973"/>
              <a:gd name="connsiteY220" fmla="*/ 247650 h 1752600"/>
              <a:gd name="connsiteX221" fmla="*/ 19050 w 3128973"/>
              <a:gd name="connsiteY221" fmla="*/ 200025 h 1752600"/>
              <a:gd name="connsiteX222" fmla="*/ 23812 w 3128973"/>
              <a:gd name="connsiteY222" fmla="*/ 185737 h 1752600"/>
              <a:gd name="connsiteX223" fmla="*/ 71437 w 3128973"/>
              <a:gd name="connsiteY223" fmla="*/ 171450 h 1752600"/>
              <a:gd name="connsiteX224" fmla="*/ 85725 w 3128973"/>
              <a:gd name="connsiteY224" fmla="*/ 166687 h 1752600"/>
              <a:gd name="connsiteX225" fmla="*/ 100012 w 3128973"/>
              <a:gd name="connsiteY225" fmla="*/ 161925 h 1752600"/>
              <a:gd name="connsiteX226" fmla="*/ 114300 w 3128973"/>
              <a:gd name="connsiteY226" fmla="*/ 152400 h 1752600"/>
              <a:gd name="connsiteX227" fmla="*/ 133350 w 3128973"/>
              <a:gd name="connsiteY227" fmla="*/ 123825 h 1752600"/>
              <a:gd name="connsiteX228" fmla="*/ 138112 w 3128973"/>
              <a:gd name="connsiteY228" fmla="*/ 109537 h 1752600"/>
              <a:gd name="connsiteX229" fmla="*/ 135467 w 3128973"/>
              <a:gd name="connsiteY229" fmla="*/ 97059 h 1752600"/>
              <a:gd name="connsiteX230" fmla="*/ 142875 w 3128973"/>
              <a:gd name="connsiteY230" fmla="*/ 71437 h 1752600"/>
              <a:gd name="connsiteX231" fmla="*/ 157162 w 3128973"/>
              <a:gd name="connsiteY231" fmla="*/ 57150 h 1752600"/>
              <a:gd name="connsiteX232" fmla="*/ 200025 w 3128973"/>
              <a:gd name="connsiteY232" fmla="*/ 33337 h 1752600"/>
              <a:gd name="connsiteX233" fmla="*/ 309562 w 3128973"/>
              <a:gd name="connsiteY233" fmla="*/ 28575 h 1752600"/>
              <a:gd name="connsiteX234" fmla="*/ 400050 w 3128973"/>
              <a:gd name="connsiteY234" fmla="*/ 14287 h 1752600"/>
              <a:gd name="connsiteX235" fmla="*/ 414337 w 3128973"/>
              <a:gd name="connsiteY235" fmla="*/ 9525 h 1752600"/>
              <a:gd name="connsiteX236" fmla="*/ 481012 w 3128973"/>
              <a:gd name="connsiteY236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504950 w 3128973"/>
              <a:gd name="connsiteY156" fmla="*/ 1066800 h 1752600"/>
              <a:gd name="connsiteX157" fmla="*/ 1490662 w 3128973"/>
              <a:gd name="connsiteY157" fmla="*/ 106203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95412 w 3128973"/>
              <a:gd name="connsiteY162" fmla="*/ 1019175 h 1752600"/>
              <a:gd name="connsiteX163" fmla="*/ 1381125 w 3128973"/>
              <a:gd name="connsiteY163" fmla="*/ 1014412 h 1752600"/>
              <a:gd name="connsiteX164" fmla="*/ 1352550 w 3128973"/>
              <a:gd name="connsiteY164" fmla="*/ 995362 h 1752600"/>
              <a:gd name="connsiteX165" fmla="*/ 1333500 w 3128973"/>
              <a:gd name="connsiteY165" fmla="*/ 990600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33475 w 3128973"/>
              <a:gd name="connsiteY172" fmla="*/ 925512 h 1752600"/>
              <a:gd name="connsiteX173" fmla="*/ 1095375 w 3128973"/>
              <a:gd name="connsiteY173" fmla="*/ 847725 h 1752600"/>
              <a:gd name="connsiteX174" fmla="*/ 1071562 w 3128973"/>
              <a:gd name="connsiteY174" fmla="*/ 842962 h 1752600"/>
              <a:gd name="connsiteX175" fmla="*/ 1047750 w 3128973"/>
              <a:gd name="connsiteY175" fmla="*/ 819150 h 1752600"/>
              <a:gd name="connsiteX176" fmla="*/ 1028700 w 3128973"/>
              <a:gd name="connsiteY176" fmla="*/ 804862 h 1752600"/>
              <a:gd name="connsiteX177" fmla="*/ 1018076 w 3128973"/>
              <a:gd name="connsiteY177" fmla="*/ 794816 h 1752600"/>
              <a:gd name="connsiteX178" fmla="*/ 1000125 w 3128973"/>
              <a:gd name="connsiteY178" fmla="*/ 785812 h 1752600"/>
              <a:gd name="connsiteX179" fmla="*/ 984342 w 3128973"/>
              <a:gd name="connsiteY179" fmla="*/ 773578 h 1752600"/>
              <a:gd name="connsiteX180" fmla="*/ 957262 w 3128973"/>
              <a:gd name="connsiteY180" fmla="*/ 766762 h 1752600"/>
              <a:gd name="connsiteX181" fmla="*/ 938212 w 3128973"/>
              <a:gd name="connsiteY181" fmla="*/ 757237 h 1752600"/>
              <a:gd name="connsiteX182" fmla="*/ 904875 w 3128973"/>
              <a:gd name="connsiteY182" fmla="*/ 747712 h 1752600"/>
              <a:gd name="connsiteX183" fmla="*/ 862012 w 3128973"/>
              <a:gd name="connsiteY183" fmla="*/ 723900 h 1752600"/>
              <a:gd name="connsiteX184" fmla="*/ 795337 w 3128973"/>
              <a:gd name="connsiteY184" fmla="*/ 685800 h 1752600"/>
              <a:gd name="connsiteX185" fmla="*/ 776287 w 3128973"/>
              <a:gd name="connsiteY185" fmla="*/ 666750 h 1752600"/>
              <a:gd name="connsiteX186" fmla="*/ 762000 w 3128973"/>
              <a:gd name="connsiteY186" fmla="*/ 661987 h 1752600"/>
              <a:gd name="connsiteX187" fmla="*/ 742950 w 3128973"/>
              <a:gd name="connsiteY187" fmla="*/ 647700 h 1752600"/>
              <a:gd name="connsiteX188" fmla="*/ 709612 w 3128973"/>
              <a:gd name="connsiteY188" fmla="*/ 638175 h 1752600"/>
              <a:gd name="connsiteX189" fmla="*/ 695325 w 3128973"/>
              <a:gd name="connsiteY189" fmla="*/ 628650 h 1752600"/>
              <a:gd name="connsiteX190" fmla="*/ 681037 w 3128973"/>
              <a:gd name="connsiteY190" fmla="*/ 623887 h 1752600"/>
              <a:gd name="connsiteX191" fmla="*/ 676275 w 3128973"/>
              <a:gd name="connsiteY191" fmla="*/ 604837 h 1752600"/>
              <a:gd name="connsiteX192" fmla="*/ 666750 w 3128973"/>
              <a:gd name="connsiteY192" fmla="*/ 576262 h 1752600"/>
              <a:gd name="connsiteX193" fmla="*/ 661987 w 3128973"/>
              <a:gd name="connsiteY193" fmla="*/ 561975 h 1752600"/>
              <a:gd name="connsiteX194" fmla="*/ 666750 w 3128973"/>
              <a:gd name="connsiteY194" fmla="*/ 538162 h 1752600"/>
              <a:gd name="connsiteX195" fmla="*/ 638175 w 3128973"/>
              <a:gd name="connsiteY195" fmla="*/ 514350 h 1752600"/>
              <a:gd name="connsiteX196" fmla="*/ 619125 w 3128973"/>
              <a:gd name="connsiteY196" fmla="*/ 500062 h 1752600"/>
              <a:gd name="connsiteX197" fmla="*/ 576262 w 3128973"/>
              <a:gd name="connsiteY197" fmla="*/ 490537 h 1752600"/>
              <a:gd name="connsiteX198" fmla="*/ 542925 w 3128973"/>
              <a:gd name="connsiteY198" fmla="*/ 452437 h 1752600"/>
              <a:gd name="connsiteX199" fmla="*/ 525462 w 3128973"/>
              <a:gd name="connsiteY199" fmla="*/ 485775 h 1752600"/>
              <a:gd name="connsiteX200" fmla="*/ 504825 w 3128973"/>
              <a:gd name="connsiteY200" fmla="*/ 466725 h 1752600"/>
              <a:gd name="connsiteX201" fmla="*/ 454025 w 3128973"/>
              <a:gd name="connsiteY201" fmla="*/ 466725 h 1752600"/>
              <a:gd name="connsiteX202" fmla="*/ 407987 w 3128973"/>
              <a:gd name="connsiteY202" fmla="*/ 473075 h 1752600"/>
              <a:gd name="connsiteX203" fmla="*/ 395287 w 3128973"/>
              <a:gd name="connsiteY203" fmla="*/ 409575 h 1752600"/>
              <a:gd name="connsiteX204" fmla="*/ 376237 w 3128973"/>
              <a:gd name="connsiteY204" fmla="*/ 404812 h 1752600"/>
              <a:gd name="connsiteX205" fmla="*/ 342900 w 3128973"/>
              <a:gd name="connsiteY205" fmla="*/ 400050 h 1752600"/>
              <a:gd name="connsiteX206" fmla="*/ 314325 w 3128973"/>
              <a:gd name="connsiteY206" fmla="*/ 390525 h 1752600"/>
              <a:gd name="connsiteX207" fmla="*/ 285750 w 3128973"/>
              <a:gd name="connsiteY207" fmla="*/ 371475 h 1752600"/>
              <a:gd name="connsiteX208" fmla="*/ 271462 w 3128973"/>
              <a:gd name="connsiteY208" fmla="*/ 366712 h 1752600"/>
              <a:gd name="connsiteX209" fmla="*/ 257175 w 3128973"/>
              <a:gd name="connsiteY209" fmla="*/ 357187 h 1752600"/>
              <a:gd name="connsiteX210" fmla="*/ 223837 w 3128973"/>
              <a:gd name="connsiteY210" fmla="*/ 347662 h 1752600"/>
              <a:gd name="connsiteX211" fmla="*/ 190500 w 3128973"/>
              <a:gd name="connsiteY211" fmla="*/ 338137 h 1752600"/>
              <a:gd name="connsiteX212" fmla="*/ 147637 w 3128973"/>
              <a:gd name="connsiteY212" fmla="*/ 333375 h 1752600"/>
              <a:gd name="connsiteX213" fmla="*/ 119062 w 3128973"/>
              <a:gd name="connsiteY213" fmla="*/ 323850 h 1752600"/>
              <a:gd name="connsiteX214" fmla="*/ 104775 w 3128973"/>
              <a:gd name="connsiteY214" fmla="*/ 319087 h 1752600"/>
              <a:gd name="connsiteX215" fmla="*/ 61912 w 3128973"/>
              <a:gd name="connsiteY215" fmla="*/ 300037 h 1752600"/>
              <a:gd name="connsiteX216" fmla="*/ 23812 w 3128973"/>
              <a:gd name="connsiteY216" fmla="*/ 290512 h 1752600"/>
              <a:gd name="connsiteX217" fmla="*/ 9525 w 3128973"/>
              <a:gd name="connsiteY217" fmla="*/ 261937 h 1752600"/>
              <a:gd name="connsiteX218" fmla="*/ 0 w 3128973"/>
              <a:gd name="connsiteY218" fmla="*/ 290512 h 1752600"/>
              <a:gd name="connsiteX219" fmla="*/ 4762 w 3128973"/>
              <a:gd name="connsiteY219" fmla="*/ 247650 h 1752600"/>
              <a:gd name="connsiteX220" fmla="*/ 19050 w 3128973"/>
              <a:gd name="connsiteY220" fmla="*/ 200025 h 1752600"/>
              <a:gd name="connsiteX221" fmla="*/ 23812 w 3128973"/>
              <a:gd name="connsiteY221" fmla="*/ 185737 h 1752600"/>
              <a:gd name="connsiteX222" fmla="*/ 71437 w 3128973"/>
              <a:gd name="connsiteY222" fmla="*/ 171450 h 1752600"/>
              <a:gd name="connsiteX223" fmla="*/ 85725 w 3128973"/>
              <a:gd name="connsiteY223" fmla="*/ 166687 h 1752600"/>
              <a:gd name="connsiteX224" fmla="*/ 100012 w 3128973"/>
              <a:gd name="connsiteY224" fmla="*/ 161925 h 1752600"/>
              <a:gd name="connsiteX225" fmla="*/ 114300 w 3128973"/>
              <a:gd name="connsiteY225" fmla="*/ 152400 h 1752600"/>
              <a:gd name="connsiteX226" fmla="*/ 133350 w 3128973"/>
              <a:gd name="connsiteY226" fmla="*/ 123825 h 1752600"/>
              <a:gd name="connsiteX227" fmla="*/ 138112 w 3128973"/>
              <a:gd name="connsiteY227" fmla="*/ 109537 h 1752600"/>
              <a:gd name="connsiteX228" fmla="*/ 135467 w 3128973"/>
              <a:gd name="connsiteY228" fmla="*/ 97059 h 1752600"/>
              <a:gd name="connsiteX229" fmla="*/ 142875 w 3128973"/>
              <a:gd name="connsiteY229" fmla="*/ 71437 h 1752600"/>
              <a:gd name="connsiteX230" fmla="*/ 157162 w 3128973"/>
              <a:gd name="connsiteY230" fmla="*/ 57150 h 1752600"/>
              <a:gd name="connsiteX231" fmla="*/ 200025 w 3128973"/>
              <a:gd name="connsiteY231" fmla="*/ 33337 h 1752600"/>
              <a:gd name="connsiteX232" fmla="*/ 309562 w 3128973"/>
              <a:gd name="connsiteY232" fmla="*/ 28575 h 1752600"/>
              <a:gd name="connsiteX233" fmla="*/ 400050 w 3128973"/>
              <a:gd name="connsiteY233" fmla="*/ 14287 h 1752600"/>
              <a:gd name="connsiteX234" fmla="*/ 414337 w 3128973"/>
              <a:gd name="connsiteY234" fmla="*/ 9525 h 1752600"/>
              <a:gd name="connsiteX235" fmla="*/ 481012 w 3128973"/>
              <a:gd name="connsiteY235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90662 w 3128973"/>
              <a:gd name="connsiteY156" fmla="*/ 1062037 h 1752600"/>
              <a:gd name="connsiteX157" fmla="*/ 1470025 w 3128973"/>
              <a:gd name="connsiteY157" fmla="*/ 1130300 h 1752600"/>
              <a:gd name="connsiteX158" fmla="*/ 1433512 w 3128973"/>
              <a:gd name="connsiteY158" fmla="*/ 1108075 h 1752600"/>
              <a:gd name="connsiteX159" fmla="*/ 1423987 w 3128973"/>
              <a:gd name="connsiteY159" fmla="*/ 1087437 h 1752600"/>
              <a:gd name="connsiteX160" fmla="*/ 1381125 w 3128973"/>
              <a:gd name="connsiteY160" fmla="*/ 1095375 h 1752600"/>
              <a:gd name="connsiteX161" fmla="*/ 1395412 w 3128973"/>
              <a:gd name="connsiteY161" fmla="*/ 1019175 h 1752600"/>
              <a:gd name="connsiteX162" fmla="*/ 1381125 w 3128973"/>
              <a:gd name="connsiteY162" fmla="*/ 1014412 h 1752600"/>
              <a:gd name="connsiteX163" fmla="*/ 1352550 w 3128973"/>
              <a:gd name="connsiteY163" fmla="*/ 995362 h 1752600"/>
              <a:gd name="connsiteX164" fmla="*/ 1333500 w 3128973"/>
              <a:gd name="connsiteY164" fmla="*/ 990600 h 1752600"/>
              <a:gd name="connsiteX165" fmla="*/ 1295400 w 3128973"/>
              <a:gd name="connsiteY165" fmla="*/ 976312 h 1752600"/>
              <a:gd name="connsiteX166" fmla="*/ 1281112 w 3128973"/>
              <a:gd name="connsiteY166" fmla="*/ 966787 h 1752600"/>
              <a:gd name="connsiteX167" fmla="*/ 1238250 w 3128973"/>
              <a:gd name="connsiteY167" fmla="*/ 947737 h 1752600"/>
              <a:gd name="connsiteX168" fmla="*/ 1212850 w 3128973"/>
              <a:gd name="connsiteY168" fmla="*/ 995362 h 1752600"/>
              <a:gd name="connsiteX169" fmla="*/ 1201737 w 3128973"/>
              <a:gd name="connsiteY169" fmla="*/ 987425 h 1752600"/>
              <a:gd name="connsiteX170" fmla="*/ 1163637 w 3128973"/>
              <a:gd name="connsiteY170" fmla="*/ 952277 h 1752600"/>
              <a:gd name="connsiteX171" fmla="*/ 1133475 w 3128973"/>
              <a:gd name="connsiteY171" fmla="*/ 925512 h 1752600"/>
              <a:gd name="connsiteX172" fmla="*/ 1095375 w 3128973"/>
              <a:gd name="connsiteY172" fmla="*/ 847725 h 1752600"/>
              <a:gd name="connsiteX173" fmla="*/ 1071562 w 3128973"/>
              <a:gd name="connsiteY173" fmla="*/ 842962 h 1752600"/>
              <a:gd name="connsiteX174" fmla="*/ 1047750 w 3128973"/>
              <a:gd name="connsiteY174" fmla="*/ 819150 h 1752600"/>
              <a:gd name="connsiteX175" fmla="*/ 1028700 w 3128973"/>
              <a:gd name="connsiteY175" fmla="*/ 804862 h 1752600"/>
              <a:gd name="connsiteX176" fmla="*/ 1018076 w 3128973"/>
              <a:gd name="connsiteY176" fmla="*/ 794816 h 1752600"/>
              <a:gd name="connsiteX177" fmla="*/ 1000125 w 3128973"/>
              <a:gd name="connsiteY177" fmla="*/ 785812 h 1752600"/>
              <a:gd name="connsiteX178" fmla="*/ 984342 w 3128973"/>
              <a:gd name="connsiteY178" fmla="*/ 773578 h 1752600"/>
              <a:gd name="connsiteX179" fmla="*/ 957262 w 3128973"/>
              <a:gd name="connsiteY179" fmla="*/ 766762 h 1752600"/>
              <a:gd name="connsiteX180" fmla="*/ 938212 w 3128973"/>
              <a:gd name="connsiteY180" fmla="*/ 757237 h 1752600"/>
              <a:gd name="connsiteX181" fmla="*/ 904875 w 3128973"/>
              <a:gd name="connsiteY181" fmla="*/ 747712 h 1752600"/>
              <a:gd name="connsiteX182" fmla="*/ 862012 w 3128973"/>
              <a:gd name="connsiteY182" fmla="*/ 723900 h 1752600"/>
              <a:gd name="connsiteX183" fmla="*/ 795337 w 3128973"/>
              <a:gd name="connsiteY183" fmla="*/ 685800 h 1752600"/>
              <a:gd name="connsiteX184" fmla="*/ 776287 w 3128973"/>
              <a:gd name="connsiteY184" fmla="*/ 666750 h 1752600"/>
              <a:gd name="connsiteX185" fmla="*/ 762000 w 3128973"/>
              <a:gd name="connsiteY185" fmla="*/ 661987 h 1752600"/>
              <a:gd name="connsiteX186" fmla="*/ 742950 w 3128973"/>
              <a:gd name="connsiteY186" fmla="*/ 647700 h 1752600"/>
              <a:gd name="connsiteX187" fmla="*/ 709612 w 3128973"/>
              <a:gd name="connsiteY187" fmla="*/ 638175 h 1752600"/>
              <a:gd name="connsiteX188" fmla="*/ 695325 w 3128973"/>
              <a:gd name="connsiteY188" fmla="*/ 628650 h 1752600"/>
              <a:gd name="connsiteX189" fmla="*/ 681037 w 3128973"/>
              <a:gd name="connsiteY189" fmla="*/ 623887 h 1752600"/>
              <a:gd name="connsiteX190" fmla="*/ 676275 w 3128973"/>
              <a:gd name="connsiteY190" fmla="*/ 604837 h 1752600"/>
              <a:gd name="connsiteX191" fmla="*/ 666750 w 3128973"/>
              <a:gd name="connsiteY191" fmla="*/ 576262 h 1752600"/>
              <a:gd name="connsiteX192" fmla="*/ 661987 w 3128973"/>
              <a:gd name="connsiteY192" fmla="*/ 561975 h 1752600"/>
              <a:gd name="connsiteX193" fmla="*/ 666750 w 3128973"/>
              <a:gd name="connsiteY193" fmla="*/ 538162 h 1752600"/>
              <a:gd name="connsiteX194" fmla="*/ 638175 w 3128973"/>
              <a:gd name="connsiteY194" fmla="*/ 514350 h 1752600"/>
              <a:gd name="connsiteX195" fmla="*/ 619125 w 3128973"/>
              <a:gd name="connsiteY195" fmla="*/ 500062 h 1752600"/>
              <a:gd name="connsiteX196" fmla="*/ 576262 w 3128973"/>
              <a:gd name="connsiteY196" fmla="*/ 490537 h 1752600"/>
              <a:gd name="connsiteX197" fmla="*/ 542925 w 3128973"/>
              <a:gd name="connsiteY197" fmla="*/ 452437 h 1752600"/>
              <a:gd name="connsiteX198" fmla="*/ 525462 w 3128973"/>
              <a:gd name="connsiteY198" fmla="*/ 485775 h 1752600"/>
              <a:gd name="connsiteX199" fmla="*/ 504825 w 3128973"/>
              <a:gd name="connsiteY199" fmla="*/ 466725 h 1752600"/>
              <a:gd name="connsiteX200" fmla="*/ 454025 w 3128973"/>
              <a:gd name="connsiteY200" fmla="*/ 466725 h 1752600"/>
              <a:gd name="connsiteX201" fmla="*/ 407987 w 3128973"/>
              <a:gd name="connsiteY201" fmla="*/ 473075 h 1752600"/>
              <a:gd name="connsiteX202" fmla="*/ 395287 w 3128973"/>
              <a:gd name="connsiteY202" fmla="*/ 409575 h 1752600"/>
              <a:gd name="connsiteX203" fmla="*/ 376237 w 3128973"/>
              <a:gd name="connsiteY203" fmla="*/ 404812 h 1752600"/>
              <a:gd name="connsiteX204" fmla="*/ 342900 w 3128973"/>
              <a:gd name="connsiteY204" fmla="*/ 400050 h 1752600"/>
              <a:gd name="connsiteX205" fmla="*/ 314325 w 3128973"/>
              <a:gd name="connsiteY205" fmla="*/ 390525 h 1752600"/>
              <a:gd name="connsiteX206" fmla="*/ 285750 w 3128973"/>
              <a:gd name="connsiteY206" fmla="*/ 371475 h 1752600"/>
              <a:gd name="connsiteX207" fmla="*/ 271462 w 3128973"/>
              <a:gd name="connsiteY207" fmla="*/ 366712 h 1752600"/>
              <a:gd name="connsiteX208" fmla="*/ 257175 w 3128973"/>
              <a:gd name="connsiteY208" fmla="*/ 357187 h 1752600"/>
              <a:gd name="connsiteX209" fmla="*/ 223837 w 3128973"/>
              <a:gd name="connsiteY209" fmla="*/ 347662 h 1752600"/>
              <a:gd name="connsiteX210" fmla="*/ 190500 w 3128973"/>
              <a:gd name="connsiteY210" fmla="*/ 338137 h 1752600"/>
              <a:gd name="connsiteX211" fmla="*/ 147637 w 3128973"/>
              <a:gd name="connsiteY211" fmla="*/ 333375 h 1752600"/>
              <a:gd name="connsiteX212" fmla="*/ 119062 w 3128973"/>
              <a:gd name="connsiteY212" fmla="*/ 323850 h 1752600"/>
              <a:gd name="connsiteX213" fmla="*/ 104775 w 3128973"/>
              <a:gd name="connsiteY213" fmla="*/ 319087 h 1752600"/>
              <a:gd name="connsiteX214" fmla="*/ 61912 w 3128973"/>
              <a:gd name="connsiteY214" fmla="*/ 300037 h 1752600"/>
              <a:gd name="connsiteX215" fmla="*/ 23812 w 3128973"/>
              <a:gd name="connsiteY215" fmla="*/ 290512 h 1752600"/>
              <a:gd name="connsiteX216" fmla="*/ 9525 w 3128973"/>
              <a:gd name="connsiteY216" fmla="*/ 261937 h 1752600"/>
              <a:gd name="connsiteX217" fmla="*/ 0 w 3128973"/>
              <a:gd name="connsiteY217" fmla="*/ 290512 h 1752600"/>
              <a:gd name="connsiteX218" fmla="*/ 4762 w 3128973"/>
              <a:gd name="connsiteY218" fmla="*/ 247650 h 1752600"/>
              <a:gd name="connsiteX219" fmla="*/ 19050 w 3128973"/>
              <a:gd name="connsiteY219" fmla="*/ 200025 h 1752600"/>
              <a:gd name="connsiteX220" fmla="*/ 23812 w 3128973"/>
              <a:gd name="connsiteY220" fmla="*/ 185737 h 1752600"/>
              <a:gd name="connsiteX221" fmla="*/ 71437 w 3128973"/>
              <a:gd name="connsiteY221" fmla="*/ 171450 h 1752600"/>
              <a:gd name="connsiteX222" fmla="*/ 85725 w 3128973"/>
              <a:gd name="connsiteY222" fmla="*/ 166687 h 1752600"/>
              <a:gd name="connsiteX223" fmla="*/ 100012 w 3128973"/>
              <a:gd name="connsiteY223" fmla="*/ 161925 h 1752600"/>
              <a:gd name="connsiteX224" fmla="*/ 114300 w 3128973"/>
              <a:gd name="connsiteY224" fmla="*/ 152400 h 1752600"/>
              <a:gd name="connsiteX225" fmla="*/ 133350 w 3128973"/>
              <a:gd name="connsiteY225" fmla="*/ 123825 h 1752600"/>
              <a:gd name="connsiteX226" fmla="*/ 138112 w 3128973"/>
              <a:gd name="connsiteY226" fmla="*/ 109537 h 1752600"/>
              <a:gd name="connsiteX227" fmla="*/ 135467 w 3128973"/>
              <a:gd name="connsiteY227" fmla="*/ 97059 h 1752600"/>
              <a:gd name="connsiteX228" fmla="*/ 142875 w 3128973"/>
              <a:gd name="connsiteY228" fmla="*/ 71437 h 1752600"/>
              <a:gd name="connsiteX229" fmla="*/ 157162 w 3128973"/>
              <a:gd name="connsiteY229" fmla="*/ 57150 h 1752600"/>
              <a:gd name="connsiteX230" fmla="*/ 200025 w 3128973"/>
              <a:gd name="connsiteY230" fmla="*/ 33337 h 1752600"/>
              <a:gd name="connsiteX231" fmla="*/ 309562 w 3128973"/>
              <a:gd name="connsiteY231" fmla="*/ 28575 h 1752600"/>
              <a:gd name="connsiteX232" fmla="*/ 400050 w 3128973"/>
              <a:gd name="connsiteY232" fmla="*/ 14287 h 1752600"/>
              <a:gd name="connsiteX233" fmla="*/ 414337 w 3128973"/>
              <a:gd name="connsiteY233" fmla="*/ 9525 h 1752600"/>
              <a:gd name="connsiteX234" fmla="*/ 481012 w 3128973"/>
              <a:gd name="connsiteY234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14425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95375 w 3128973"/>
              <a:gd name="connsiteY171" fmla="*/ 847725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76387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95375 w 3128973"/>
              <a:gd name="connsiteY171" fmla="*/ 847725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76450 w 3128973"/>
              <a:gd name="connsiteY138" fmla="*/ 1281112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95375 w 3128973"/>
              <a:gd name="connsiteY171" fmla="*/ 847725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62162 w 3128973"/>
              <a:gd name="connsiteY139" fmla="*/ 1276350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95375 w 3128973"/>
              <a:gd name="connsiteY171" fmla="*/ 847725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95375 w 3128973"/>
              <a:gd name="connsiteY171" fmla="*/ 847725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95412 w 3128973"/>
              <a:gd name="connsiteY160" fmla="*/ 1019175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81125 w 3128973"/>
              <a:gd name="connsiteY161" fmla="*/ 1014412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52550 w 3128973"/>
              <a:gd name="connsiteY162" fmla="*/ 995362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35881 w 3128973"/>
              <a:gd name="connsiteY162" fmla="*/ 1007268 h 1752600"/>
              <a:gd name="connsiteX163" fmla="*/ 1333500 w 3128973"/>
              <a:gd name="connsiteY163" fmla="*/ 990600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35881 w 3128973"/>
              <a:gd name="connsiteY162" fmla="*/ 1007268 h 1752600"/>
              <a:gd name="connsiteX163" fmla="*/ 1319213 w 3128973"/>
              <a:gd name="connsiteY163" fmla="*/ 1007268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85750 w 3128973"/>
              <a:gd name="connsiteY205" fmla="*/ 371475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35881 w 3128973"/>
              <a:gd name="connsiteY162" fmla="*/ 1007268 h 1752600"/>
              <a:gd name="connsiteX163" fmla="*/ 1319213 w 3128973"/>
              <a:gd name="connsiteY163" fmla="*/ 1007268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73844 w 3128973"/>
              <a:gd name="connsiteY205" fmla="*/ 383382 h 1752600"/>
              <a:gd name="connsiteX206" fmla="*/ 271462 w 3128973"/>
              <a:gd name="connsiteY206" fmla="*/ 366712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35881 w 3128973"/>
              <a:gd name="connsiteY162" fmla="*/ 1007268 h 1752600"/>
              <a:gd name="connsiteX163" fmla="*/ 1319213 w 3128973"/>
              <a:gd name="connsiteY163" fmla="*/ 1007268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73844 w 3128973"/>
              <a:gd name="connsiteY205" fmla="*/ 383382 h 1752600"/>
              <a:gd name="connsiteX206" fmla="*/ 257175 w 3128973"/>
              <a:gd name="connsiteY206" fmla="*/ 371475 h 1752600"/>
              <a:gd name="connsiteX207" fmla="*/ 257175 w 3128973"/>
              <a:gd name="connsiteY207" fmla="*/ 357187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6801 w 3128973"/>
              <a:gd name="connsiteY22" fmla="*/ 262295 h 1752600"/>
              <a:gd name="connsiteX23" fmla="*/ 2033587 w 3128973"/>
              <a:gd name="connsiteY23" fmla="*/ 266700 h 1752600"/>
              <a:gd name="connsiteX24" fmla="*/ 2019300 w 3128973"/>
              <a:gd name="connsiteY24" fmla="*/ 280987 h 1752600"/>
              <a:gd name="connsiteX25" fmla="*/ 1990725 w 3128973"/>
              <a:gd name="connsiteY25" fmla="*/ 300037 h 1752600"/>
              <a:gd name="connsiteX26" fmla="*/ 1981200 w 3128973"/>
              <a:gd name="connsiteY26" fmla="*/ 314325 h 1752600"/>
              <a:gd name="connsiteX27" fmla="*/ 1981200 w 3128973"/>
              <a:gd name="connsiteY27" fmla="*/ 419100 h 1752600"/>
              <a:gd name="connsiteX28" fmla="*/ 1985962 w 3128973"/>
              <a:gd name="connsiteY28" fmla="*/ 433387 h 1752600"/>
              <a:gd name="connsiteX29" fmla="*/ 2000250 w 3128973"/>
              <a:gd name="connsiteY29" fmla="*/ 442912 h 1752600"/>
              <a:gd name="connsiteX30" fmla="*/ 2005012 w 3128973"/>
              <a:gd name="connsiteY30" fmla="*/ 457200 h 1752600"/>
              <a:gd name="connsiteX31" fmla="*/ 2005012 w 3128973"/>
              <a:gd name="connsiteY31" fmla="*/ 561975 h 1752600"/>
              <a:gd name="connsiteX32" fmla="*/ 2009775 w 3128973"/>
              <a:gd name="connsiteY32" fmla="*/ 576262 h 1752600"/>
              <a:gd name="connsiteX33" fmla="*/ 2024062 w 3128973"/>
              <a:gd name="connsiteY33" fmla="*/ 581025 h 1752600"/>
              <a:gd name="connsiteX34" fmla="*/ 2038350 w 3128973"/>
              <a:gd name="connsiteY34" fmla="*/ 595312 h 1752600"/>
              <a:gd name="connsiteX35" fmla="*/ 2052637 w 3128973"/>
              <a:gd name="connsiteY35" fmla="*/ 600075 h 1752600"/>
              <a:gd name="connsiteX36" fmla="*/ 2133600 w 3128973"/>
              <a:gd name="connsiteY36" fmla="*/ 590550 h 1752600"/>
              <a:gd name="connsiteX37" fmla="*/ 2147887 w 3128973"/>
              <a:gd name="connsiteY37" fmla="*/ 585787 h 1752600"/>
              <a:gd name="connsiteX38" fmla="*/ 2195512 w 3128973"/>
              <a:gd name="connsiteY38" fmla="*/ 600075 h 1752600"/>
              <a:gd name="connsiteX39" fmla="*/ 2205037 w 3128973"/>
              <a:gd name="connsiteY39" fmla="*/ 614362 h 1752600"/>
              <a:gd name="connsiteX40" fmla="*/ 2219325 w 3128973"/>
              <a:gd name="connsiteY40" fmla="*/ 628650 h 1752600"/>
              <a:gd name="connsiteX41" fmla="*/ 2224087 w 3128973"/>
              <a:gd name="connsiteY41" fmla="*/ 642937 h 1752600"/>
              <a:gd name="connsiteX42" fmla="*/ 2233612 w 3128973"/>
              <a:gd name="connsiteY42" fmla="*/ 657225 h 1752600"/>
              <a:gd name="connsiteX43" fmla="*/ 2247900 w 3128973"/>
              <a:gd name="connsiteY43" fmla="*/ 685800 h 1752600"/>
              <a:gd name="connsiteX44" fmla="*/ 2262187 w 3128973"/>
              <a:gd name="connsiteY44" fmla="*/ 733425 h 1752600"/>
              <a:gd name="connsiteX45" fmla="*/ 2305050 w 3128973"/>
              <a:gd name="connsiteY45" fmla="*/ 771525 h 1752600"/>
              <a:gd name="connsiteX46" fmla="*/ 2319337 w 3128973"/>
              <a:gd name="connsiteY46" fmla="*/ 804862 h 1752600"/>
              <a:gd name="connsiteX47" fmla="*/ 2333625 w 3128973"/>
              <a:gd name="connsiteY47" fmla="*/ 819150 h 1752600"/>
              <a:gd name="connsiteX48" fmla="*/ 2338387 w 3128973"/>
              <a:gd name="connsiteY48" fmla="*/ 833437 h 1752600"/>
              <a:gd name="connsiteX49" fmla="*/ 2352675 w 3128973"/>
              <a:gd name="connsiteY49" fmla="*/ 847725 h 1752600"/>
              <a:gd name="connsiteX50" fmla="*/ 2395537 w 3128973"/>
              <a:gd name="connsiteY50" fmla="*/ 871537 h 1752600"/>
              <a:gd name="connsiteX51" fmla="*/ 2409825 w 3128973"/>
              <a:gd name="connsiteY51" fmla="*/ 890587 h 1752600"/>
              <a:gd name="connsiteX52" fmla="*/ 2424112 w 3128973"/>
              <a:gd name="connsiteY52" fmla="*/ 895350 h 1752600"/>
              <a:gd name="connsiteX53" fmla="*/ 2433637 w 3128973"/>
              <a:gd name="connsiteY53" fmla="*/ 914400 h 1752600"/>
              <a:gd name="connsiteX54" fmla="*/ 2466975 w 3128973"/>
              <a:gd name="connsiteY54" fmla="*/ 942975 h 1752600"/>
              <a:gd name="connsiteX55" fmla="*/ 2474637 w 3128973"/>
              <a:gd name="connsiteY55" fmla="*/ 954728 h 1752600"/>
              <a:gd name="connsiteX56" fmla="*/ 2495550 w 3128973"/>
              <a:gd name="connsiteY56" fmla="*/ 971550 h 1752600"/>
              <a:gd name="connsiteX57" fmla="*/ 2508776 w 3128973"/>
              <a:gd name="connsiteY57" fmla="*/ 983894 h 1752600"/>
              <a:gd name="connsiteX58" fmla="*/ 2533650 w 3128973"/>
              <a:gd name="connsiteY58" fmla="*/ 1000125 h 1752600"/>
              <a:gd name="connsiteX59" fmla="*/ 2547937 w 3128973"/>
              <a:gd name="connsiteY59" fmla="*/ 1028700 h 1752600"/>
              <a:gd name="connsiteX60" fmla="*/ 2552700 w 3128973"/>
              <a:gd name="connsiteY60" fmla="*/ 1042987 h 1752600"/>
              <a:gd name="connsiteX61" fmla="*/ 2576512 w 3128973"/>
              <a:gd name="connsiteY61" fmla="*/ 1071562 h 1752600"/>
              <a:gd name="connsiteX62" fmla="*/ 2584921 w 3128973"/>
              <a:gd name="connsiteY62" fmla="*/ 1082873 h 1752600"/>
              <a:gd name="connsiteX63" fmla="*/ 2600325 w 3128973"/>
              <a:gd name="connsiteY63" fmla="*/ 1095375 h 1752600"/>
              <a:gd name="connsiteX64" fmla="*/ 2609850 w 3128973"/>
              <a:gd name="connsiteY64" fmla="*/ 1109662 h 1752600"/>
              <a:gd name="connsiteX65" fmla="*/ 2652712 w 3128973"/>
              <a:gd name="connsiteY65" fmla="*/ 1143000 h 1752600"/>
              <a:gd name="connsiteX66" fmla="*/ 2681287 w 3128973"/>
              <a:gd name="connsiteY66" fmla="*/ 1152525 h 1752600"/>
              <a:gd name="connsiteX67" fmla="*/ 2700337 w 3128973"/>
              <a:gd name="connsiteY67" fmla="*/ 1162050 h 1752600"/>
              <a:gd name="connsiteX68" fmla="*/ 2714625 w 3128973"/>
              <a:gd name="connsiteY68" fmla="*/ 1171575 h 1752600"/>
              <a:gd name="connsiteX69" fmla="*/ 2752725 w 3128973"/>
              <a:gd name="connsiteY69" fmla="*/ 1181100 h 1752600"/>
              <a:gd name="connsiteX70" fmla="*/ 2767012 w 3128973"/>
              <a:gd name="connsiteY70" fmla="*/ 1195387 h 1752600"/>
              <a:gd name="connsiteX71" fmla="*/ 2781300 w 3128973"/>
              <a:gd name="connsiteY71" fmla="*/ 1200150 h 1752600"/>
              <a:gd name="connsiteX72" fmla="*/ 2795587 w 3128973"/>
              <a:gd name="connsiteY72" fmla="*/ 1209675 h 1752600"/>
              <a:gd name="connsiteX73" fmla="*/ 2805112 w 3128973"/>
              <a:gd name="connsiteY73" fmla="*/ 1223962 h 1752600"/>
              <a:gd name="connsiteX74" fmla="*/ 2809875 w 3128973"/>
              <a:gd name="connsiteY74" fmla="*/ 1238250 h 1752600"/>
              <a:gd name="connsiteX75" fmla="*/ 2833687 w 3128973"/>
              <a:gd name="connsiteY75" fmla="*/ 1276350 h 1752600"/>
              <a:gd name="connsiteX76" fmla="*/ 2895600 w 3128973"/>
              <a:gd name="connsiteY76" fmla="*/ 1333500 h 1752600"/>
              <a:gd name="connsiteX77" fmla="*/ 2900362 w 3128973"/>
              <a:gd name="connsiteY77" fmla="*/ 1352550 h 1752600"/>
              <a:gd name="connsiteX78" fmla="*/ 2928937 w 3128973"/>
              <a:gd name="connsiteY78" fmla="*/ 1395412 h 1752600"/>
              <a:gd name="connsiteX79" fmla="*/ 2943225 w 3128973"/>
              <a:gd name="connsiteY79" fmla="*/ 1404937 h 1752600"/>
              <a:gd name="connsiteX80" fmla="*/ 2957512 w 3128973"/>
              <a:gd name="connsiteY80" fmla="*/ 1419225 h 1752600"/>
              <a:gd name="connsiteX81" fmla="*/ 2986087 w 3128973"/>
              <a:gd name="connsiteY81" fmla="*/ 1443037 h 1752600"/>
              <a:gd name="connsiteX82" fmla="*/ 3000375 w 3128973"/>
              <a:gd name="connsiteY82" fmla="*/ 1462087 h 1752600"/>
              <a:gd name="connsiteX83" fmla="*/ 3016395 w 3128973"/>
              <a:gd name="connsiteY83" fmla="*/ 1476222 h 1752600"/>
              <a:gd name="connsiteX84" fmla="*/ 3028950 w 3128973"/>
              <a:gd name="connsiteY84" fmla="*/ 1495425 h 1752600"/>
              <a:gd name="connsiteX85" fmla="*/ 3043237 w 3128973"/>
              <a:gd name="connsiteY85" fmla="*/ 1552575 h 1752600"/>
              <a:gd name="connsiteX86" fmla="*/ 3052762 w 3128973"/>
              <a:gd name="connsiteY86" fmla="*/ 1566862 h 1752600"/>
              <a:gd name="connsiteX87" fmla="*/ 3057525 w 3128973"/>
              <a:gd name="connsiteY87" fmla="*/ 1581150 h 1752600"/>
              <a:gd name="connsiteX88" fmla="*/ 3067050 w 3128973"/>
              <a:gd name="connsiteY88" fmla="*/ 1662112 h 1752600"/>
              <a:gd name="connsiteX89" fmla="*/ 3071812 w 3128973"/>
              <a:gd name="connsiteY89" fmla="*/ 1676400 h 1752600"/>
              <a:gd name="connsiteX90" fmla="*/ 3100387 w 3128973"/>
              <a:gd name="connsiteY90" fmla="*/ 1690687 h 1752600"/>
              <a:gd name="connsiteX91" fmla="*/ 3114675 w 3128973"/>
              <a:gd name="connsiteY91" fmla="*/ 1685925 h 1752600"/>
              <a:gd name="connsiteX92" fmla="*/ 3124200 w 3128973"/>
              <a:gd name="connsiteY92" fmla="*/ 1671637 h 1752600"/>
              <a:gd name="connsiteX93" fmla="*/ 3128973 w 3128973"/>
              <a:gd name="connsiteY93" fmla="*/ 1651467 h 1752600"/>
              <a:gd name="connsiteX94" fmla="*/ 3128021 w 3128973"/>
              <a:gd name="connsiteY94" fmla="*/ 1710279 h 1752600"/>
              <a:gd name="connsiteX95" fmla="*/ 3043237 w 3128973"/>
              <a:gd name="connsiteY95" fmla="*/ 1714500 h 1752600"/>
              <a:gd name="connsiteX96" fmla="*/ 3028950 w 3128973"/>
              <a:gd name="connsiteY96" fmla="*/ 1728787 h 1752600"/>
              <a:gd name="connsiteX97" fmla="*/ 2986087 w 3128973"/>
              <a:gd name="connsiteY97" fmla="*/ 1738312 h 1752600"/>
              <a:gd name="connsiteX98" fmla="*/ 2971800 w 3128973"/>
              <a:gd name="connsiteY98" fmla="*/ 1743075 h 1752600"/>
              <a:gd name="connsiteX99" fmla="*/ 2943225 w 3128973"/>
              <a:gd name="connsiteY99" fmla="*/ 1738312 h 1752600"/>
              <a:gd name="connsiteX100" fmla="*/ 2928937 w 3128973"/>
              <a:gd name="connsiteY100" fmla="*/ 1747837 h 1752600"/>
              <a:gd name="connsiteX101" fmla="*/ 2914650 w 3128973"/>
              <a:gd name="connsiteY101" fmla="*/ 1752600 h 1752600"/>
              <a:gd name="connsiteX102" fmla="*/ 2895600 w 3128973"/>
              <a:gd name="connsiteY102" fmla="*/ 1724025 h 1752600"/>
              <a:gd name="connsiteX103" fmla="*/ 2883310 w 3128973"/>
              <a:gd name="connsiteY103" fmla="*/ 1701201 h 1752600"/>
              <a:gd name="connsiteX104" fmla="*/ 2883805 w 3128973"/>
              <a:gd name="connsiteY104" fmla="*/ 1696138 h 1752600"/>
              <a:gd name="connsiteX105" fmla="*/ 2871787 w 3128973"/>
              <a:gd name="connsiteY105" fmla="*/ 1685925 h 1752600"/>
              <a:gd name="connsiteX106" fmla="*/ 2847975 w 3128973"/>
              <a:gd name="connsiteY106" fmla="*/ 1657350 h 1752600"/>
              <a:gd name="connsiteX107" fmla="*/ 2834034 w 3128973"/>
              <a:gd name="connsiteY107" fmla="*/ 1637762 h 1752600"/>
              <a:gd name="connsiteX108" fmla="*/ 2814637 w 3128973"/>
              <a:gd name="connsiteY108" fmla="*/ 1619250 h 1752600"/>
              <a:gd name="connsiteX109" fmla="*/ 2809875 w 3128973"/>
              <a:gd name="connsiteY109" fmla="*/ 1604962 h 1752600"/>
              <a:gd name="connsiteX110" fmla="*/ 2795587 w 3128973"/>
              <a:gd name="connsiteY110" fmla="*/ 1600200 h 1752600"/>
              <a:gd name="connsiteX111" fmla="*/ 2781300 w 3128973"/>
              <a:gd name="connsiteY111" fmla="*/ 1590675 h 1752600"/>
              <a:gd name="connsiteX112" fmla="*/ 2752725 w 3128973"/>
              <a:gd name="connsiteY112" fmla="*/ 1581150 h 1752600"/>
              <a:gd name="connsiteX113" fmla="*/ 2733675 w 3128973"/>
              <a:gd name="connsiteY113" fmla="*/ 1625600 h 1752600"/>
              <a:gd name="connsiteX114" fmla="*/ 2709862 w 3128973"/>
              <a:gd name="connsiteY114" fmla="*/ 1619250 h 1752600"/>
              <a:gd name="connsiteX115" fmla="*/ 2723566 w 3128973"/>
              <a:gd name="connsiteY115" fmla="*/ 1590361 h 1752600"/>
              <a:gd name="connsiteX116" fmla="*/ 2674937 w 3128973"/>
              <a:gd name="connsiteY116" fmla="*/ 1560512 h 1752600"/>
              <a:gd name="connsiteX117" fmla="*/ 2643187 w 3128973"/>
              <a:gd name="connsiteY117" fmla="*/ 1495425 h 1752600"/>
              <a:gd name="connsiteX118" fmla="*/ 2628900 w 3128973"/>
              <a:gd name="connsiteY118" fmla="*/ 1490662 h 1752600"/>
              <a:gd name="connsiteX119" fmla="*/ 2595562 w 3128973"/>
              <a:gd name="connsiteY119" fmla="*/ 1481137 h 1752600"/>
              <a:gd name="connsiteX120" fmla="*/ 2581275 w 3128973"/>
              <a:gd name="connsiteY120" fmla="*/ 1466850 h 1752600"/>
              <a:gd name="connsiteX121" fmla="*/ 2552700 w 3128973"/>
              <a:gd name="connsiteY121" fmla="*/ 1457325 h 1752600"/>
              <a:gd name="connsiteX122" fmla="*/ 2538412 w 3128973"/>
              <a:gd name="connsiteY122" fmla="*/ 1447800 h 1752600"/>
              <a:gd name="connsiteX123" fmla="*/ 2519362 w 3128973"/>
              <a:gd name="connsiteY123" fmla="*/ 1443037 h 1752600"/>
              <a:gd name="connsiteX124" fmla="*/ 2490787 w 3128973"/>
              <a:gd name="connsiteY124" fmla="*/ 1433512 h 1752600"/>
              <a:gd name="connsiteX125" fmla="*/ 2476500 w 3128973"/>
              <a:gd name="connsiteY125" fmla="*/ 1428750 h 1752600"/>
              <a:gd name="connsiteX126" fmla="*/ 2466975 w 3128973"/>
              <a:gd name="connsiteY126" fmla="*/ 1414462 h 1752600"/>
              <a:gd name="connsiteX127" fmla="*/ 2447925 w 3128973"/>
              <a:gd name="connsiteY127" fmla="*/ 1409700 h 1752600"/>
              <a:gd name="connsiteX128" fmla="*/ 2309812 w 3128973"/>
              <a:gd name="connsiteY128" fmla="*/ 1395412 h 1752600"/>
              <a:gd name="connsiteX129" fmla="*/ 2295525 w 3128973"/>
              <a:gd name="connsiteY129" fmla="*/ 1390650 h 1752600"/>
              <a:gd name="connsiteX130" fmla="*/ 2257425 w 3128973"/>
              <a:gd name="connsiteY130" fmla="*/ 1381125 h 1752600"/>
              <a:gd name="connsiteX131" fmla="*/ 2238375 w 3128973"/>
              <a:gd name="connsiteY131" fmla="*/ 1366837 h 1752600"/>
              <a:gd name="connsiteX132" fmla="*/ 2224087 w 3128973"/>
              <a:gd name="connsiteY132" fmla="*/ 1362075 h 1752600"/>
              <a:gd name="connsiteX133" fmla="*/ 2176462 w 3128973"/>
              <a:gd name="connsiteY133" fmla="*/ 1338262 h 1752600"/>
              <a:gd name="connsiteX134" fmla="*/ 2162175 w 3128973"/>
              <a:gd name="connsiteY134" fmla="*/ 1328737 h 1752600"/>
              <a:gd name="connsiteX135" fmla="*/ 2114550 w 3128973"/>
              <a:gd name="connsiteY135" fmla="*/ 1314450 h 1752600"/>
              <a:gd name="connsiteX136" fmla="*/ 2100262 w 3128973"/>
              <a:gd name="connsiteY136" fmla="*/ 1300162 h 1752600"/>
              <a:gd name="connsiteX137" fmla="*/ 2085975 w 3128973"/>
              <a:gd name="connsiteY137" fmla="*/ 1295400 h 1752600"/>
              <a:gd name="connsiteX138" fmla="*/ 2055019 w 3128973"/>
              <a:gd name="connsiteY138" fmla="*/ 1290637 h 1752600"/>
              <a:gd name="connsiteX139" fmla="*/ 2028824 w 3128973"/>
              <a:gd name="connsiteY139" fmla="*/ 1283494 h 1752600"/>
              <a:gd name="connsiteX140" fmla="*/ 2005012 w 3128973"/>
              <a:gd name="connsiteY140" fmla="*/ 1271587 h 1752600"/>
              <a:gd name="connsiteX141" fmla="*/ 1985962 w 3128973"/>
              <a:gd name="connsiteY141" fmla="*/ 1262062 h 1752600"/>
              <a:gd name="connsiteX142" fmla="*/ 1971675 w 3128973"/>
              <a:gd name="connsiteY142" fmla="*/ 1257300 h 1752600"/>
              <a:gd name="connsiteX143" fmla="*/ 1943100 w 3128973"/>
              <a:gd name="connsiteY143" fmla="*/ 1238250 h 1752600"/>
              <a:gd name="connsiteX144" fmla="*/ 1914525 w 3128973"/>
              <a:gd name="connsiteY144" fmla="*/ 1219200 h 1752600"/>
              <a:gd name="connsiteX145" fmla="*/ 1885950 w 3128973"/>
              <a:gd name="connsiteY145" fmla="*/ 1209675 h 1752600"/>
              <a:gd name="connsiteX146" fmla="*/ 1843087 w 3128973"/>
              <a:gd name="connsiteY146" fmla="*/ 1195387 h 1752600"/>
              <a:gd name="connsiteX147" fmla="*/ 1757362 w 3128973"/>
              <a:gd name="connsiteY147" fmla="*/ 1185862 h 1752600"/>
              <a:gd name="connsiteX148" fmla="*/ 1700212 w 3128973"/>
              <a:gd name="connsiteY148" fmla="*/ 1166812 h 1752600"/>
              <a:gd name="connsiteX149" fmla="*/ 1671637 w 3128973"/>
              <a:gd name="connsiteY149" fmla="*/ 1147762 h 1752600"/>
              <a:gd name="connsiteX150" fmla="*/ 1652587 w 3128973"/>
              <a:gd name="connsiteY150" fmla="*/ 1138237 h 1752600"/>
              <a:gd name="connsiteX151" fmla="*/ 1638300 w 3128973"/>
              <a:gd name="connsiteY151" fmla="*/ 1128712 h 1752600"/>
              <a:gd name="connsiteX152" fmla="*/ 1590675 w 3128973"/>
              <a:gd name="connsiteY152" fmla="*/ 1138238 h 1752600"/>
              <a:gd name="connsiteX153" fmla="*/ 1559719 w 3128973"/>
              <a:gd name="connsiteY153" fmla="*/ 1109662 h 1752600"/>
              <a:gd name="connsiteX154" fmla="*/ 1528762 w 3128973"/>
              <a:gd name="connsiteY154" fmla="*/ 1085850 h 1752600"/>
              <a:gd name="connsiteX155" fmla="*/ 1514475 w 3128973"/>
              <a:gd name="connsiteY155" fmla="*/ 1081087 h 1752600"/>
              <a:gd name="connsiteX156" fmla="*/ 1470025 w 3128973"/>
              <a:gd name="connsiteY156" fmla="*/ 1130300 h 1752600"/>
              <a:gd name="connsiteX157" fmla="*/ 1433512 w 3128973"/>
              <a:gd name="connsiteY157" fmla="*/ 1108075 h 1752600"/>
              <a:gd name="connsiteX158" fmla="*/ 1423987 w 3128973"/>
              <a:gd name="connsiteY158" fmla="*/ 1087437 h 1752600"/>
              <a:gd name="connsiteX159" fmla="*/ 1381125 w 3128973"/>
              <a:gd name="connsiteY159" fmla="*/ 1095375 h 1752600"/>
              <a:gd name="connsiteX160" fmla="*/ 1383506 w 3128973"/>
              <a:gd name="connsiteY160" fmla="*/ 1028700 h 1752600"/>
              <a:gd name="connsiteX161" fmla="*/ 1366838 w 3128973"/>
              <a:gd name="connsiteY161" fmla="*/ 1019175 h 1752600"/>
              <a:gd name="connsiteX162" fmla="*/ 1335881 w 3128973"/>
              <a:gd name="connsiteY162" fmla="*/ 1007268 h 1752600"/>
              <a:gd name="connsiteX163" fmla="*/ 1319213 w 3128973"/>
              <a:gd name="connsiteY163" fmla="*/ 1007268 h 1752600"/>
              <a:gd name="connsiteX164" fmla="*/ 1295400 w 3128973"/>
              <a:gd name="connsiteY164" fmla="*/ 976312 h 1752600"/>
              <a:gd name="connsiteX165" fmla="*/ 1281112 w 3128973"/>
              <a:gd name="connsiteY165" fmla="*/ 966787 h 1752600"/>
              <a:gd name="connsiteX166" fmla="*/ 1238250 w 3128973"/>
              <a:gd name="connsiteY166" fmla="*/ 947737 h 1752600"/>
              <a:gd name="connsiteX167" fmla="*/ 1212850 w 3128973"/>
              <a:gd name="connsiteY167" fmla="*/ 995362 h 1752600"/>
              <a:gd name="connsiteX168" fmla="*/ 1201737 w 3128973"/>
              <a:gd name="connsiteY168" fmla="*/ 987425 h 1752600"/>
              <a:gd name="connsiteX169" fmla="*/ 1163637 w 3128973"/>
              <a:gd name="connsiteY169" fmla="*/ 952277 h 1752600"/>
              <a:gd name="connsiteX170" fmla="*/ 1133475 w 3128973"/>
              <a:gd name="connsiteY170" fmla="*/ 925512 h 1752600"/>
              <a:gd name="connsiteX171" fmla="*/ 1085850 w 3128973"/>
              <a:gd name="connsiteY171" fmla="*/ 859631 h 1752600"/>
              <a:gd name="connsiteX172" fmla="*/ 1071562 w 3128973"/>
              <a:gd name="connsiteY172" fmla="*/ 842962 h 1752600"/>
              <a:gd name="connsiteX173" fmla="*/ 1047750 w 3128973"/>
              <a:gd name="connsiteY173" fmla="*/ 819150 h 1752600"/>
              <a:gd name="connsiteX174" fmla="*/ 1028700 w 3128973"/>
              <a:gd name="connsiteY174" fmla="*/ 804862 h 1752600"/>
              <a:gd name="connsiteX175" fmla="*/ 1018076 w 3128973"/>
              <a:gd name="connsiteY175" fmla="*/ 794816 h 1752600"/>
              <a:gd name="connsiteX176" fmla="*/ 1000125 w 3128973"/>
              <a:gd name="connsiteY176" fmla="*/ 785812 h 1752600"/>
              <a:gd name="connsiteX177" fmla="*/ 984342 w 3128973"/>
              <a:gd name="connsiteY177" fmla="*/ 773578 h 1752600"/>
              <a:gd name="connsiteX178" fmla="*/ 957262 w 3128973"/>
              <a:gd name="connsiteY178" fmla="*/ 766762 h 1752600"/>
              <a:gd name="connsiteX179" fmla="*/ 938212 w 3128973"/>
              <a:gd name="connsiteY179" fmla="*/ 757237 h 1752600"/>
              <a:gd name="connsiteX180" fmla="*/ 904875 w 3128973"/>
              <a:gd name="connsiteY180" fmla="*/ 747712 h 1752600"/>
              <a:gd name="connsiteX181" fmla="*/ 862012 w 3128973"/>
              <a:gd name="connsiteY181" fmla="*/ 723900 h 1752600"/>
              <a:gd name="connsiteX182" fmla="*/ 795337 w 3128973"/>
              <a:gd name="connsiteY182" fmla="*/ 685800 h 1752600"/>
              <a:gd name="connsiteX183" fmla="*/ 776287 w 3128973"/>
              <a:gd name="connsiteY183" fmla="*/ 666750 h 1752600"/>
              <a:gd name="connsiteX184" fmla="*/ 762000 w 3128973"/>
              <a:gd name="connsiteY184" fmla="*/ 661987 h 1752600"/>
              <a:gd name="connsiteX185" fmla="*/ 742950 w 3128973"/>
              <a:gd name="connsiteY185" fmla="*/ 647700 h 1752600"/>
              <a:gd name="connsiteX186" fmla="*/ 709612 w 3128973"/>
              <a:gd name="connsiteY186" fmla="*/ 638175 h 1752600"/>
              <a:gd name="connsiteX187" fmla="*/ 695325 w 3128973"/>
              <a:gd name="connsiteY187" fmla="*/ 628650 h 1752600"/>
              <a:gd name="connsiteX188" fmla="*/ 681037 w 3128973"/>
              <a:gd name="connsiteY188" fmla="*/ 623887 h 1752600"/>
              <a:gd name="connsiteX189" fmla="*/ 676275 w 3128973"/>
              <a:gd name="connsiteY189" fmla="*/ 604837 h 1752600"/>
              <a:gd name="connsiteX190" fmla="*/ 666750 w 3128973"/>
              <a:gd name="connsiteY190" fmla="*/ 576262 h 1752600"/>
              <a:gd name="connsiteX191" fmla="*/ 661987 w 3128973"/>
              <a:gd name="connsiteY191" fmla="*/ 561975 h 1752600"/>
              <a:gd name="connsiteX192" fmla="*/ 666750 w 3128973"/>
              <a:gd name="connsiteY192" fmla="*/ 538162 h 1752600"/>
              <a:gd name="connsiteX193" fmla="*/ 638175 w 3128973"/>
              <a:gd name="connsiteY193" fmla="*/ 514350 h 1752600"/>
              <a:gd name="connsiteX194" fmla="*/ 619125 w 3128973"/>
              <a:gd name="connsiteY194" fmla="*/ 500062 h 1752600"/>
              <a:gd name="connsiteX195" fmla="*/ 576262 w 3128973"/>
              <a:gd name="connsiteY195" fmla="*/ 490537 h 1752600"/>
              <a:gd name="connsiteX196" fmla="*/ 542925 w 3128973"/>
              <a:gd name="connsiteY196" fmla="*/ 452437 h 1752600"/>
              <a:gd name="connsiteX197" fmla="*/ 525462 w 3128973"/>
              <a:gd name="connsiteY197" fmla="*/ 485775 h 1752600"/>
              <a:gd name="connsiteX198" fmla="*/ 504825 w 3128973"/>
              <a:gd name="connsiteY198" fmla="*/ 466725 h 1752600"/>
              <a:gd name="connsiteX199" fmla="*/ 454025 w 3128973"/>
              <a:gd name="connsiteY199" fmla="*/ 466725 h 1752600"/>
              <a:gd name="connsiteX200" fmla="*/ 407987 w 3128973"/>
              <a:gd name="connsiteY200" fmla="*/ 473075 h 1752600"/>
              <a:gd name="connsiteX201" fmla="*/ 395287 w 3128973"/>
              <a:gd name="connsiteY201" fmla="*/ 409575 h 1752600"/>
              <a:gd name="connsiteX202" fmla="*/ 376237 w 3128973"/>
              <a:gd name="connsiteY202" fmla="*/ 404812 h 1752600"/>
              <a:gd name="connsiteX203" fmla="*/ 342900 w 3128973"/>
              <a:gd name="connsiteY203" fmla="*/ 400050 h 1752600"/>
              <a:gd name="connsiteX204" fmla="*/ 314325 w 3128973"/>
              <a:gd name="connsiteY204" fmla="*/ 390525 h 1752600"/>
              <a:gd name="connsiteX205" fmla="*/ 273844 w 3128973"/>
              <a:gd name="connsiteY205" fmla="*/ 383382 h 1752600"/>
              <a:gd name="connsiteX206" fmla="*/ 257175 w 3128973"/>
              <a:gd name="connsiteY206" fmla="*/ 371475 h 1752600"/>
              <a:gd name="connsiteX207" fmla="*/ 245269 w 3128973"/>
              <a:gd name="connsiteY207" fmla="*/ 364331 h 1752600"/>
              <a:gd name="connsiteX208" fmla="*/ 223837 w 3128973"/>
              <a:gd name="connsiteY208" fmla="*/ 347662 h 1752600"/>
              <a:gd name="connsiteX209" fmla="*/ 190500 w 3128973"/>
              <a:gd name="connsiteY209" fmla="*/ 338137 h 1752600"/>
              <a:gd name="connsiteX210" fmla="*/ 147637 w 3128973"/>
              <a:gd name="connsiteY210" fmla="*/ 333375 h 1752600"/>
              <a:gd name="connsiteX211" fmla="*/ 119062 w 3128973"/>
              <a:gd name="connsiteY211" fmla="*/ 323850 h 1752600"/>
              <a:gd name="connsiteX212" fmla="*/ 104775 w 3128973"/>
              <a:gd name="connsiteY212" fmla="*/ 319087 h 1752600"/>
              <a:gd name="connsiteX213" fmla="*/ 61912 w 3128973"/>
              <a:gd name="connsiteY213" fmla="*/ 300037 h 1752600"/>
              <a:gd name="connsiteX214" fmla="*/ 23812 w 3128973"/>
              <a:gd name="connsiteY214" fmla="*/ 290512 h 1752600"/>
              <a:gd name="connsiteX215" fmla="*/ 9525 w 3128973"/>
              <a:gd name="connsiteY215" fmla="*/ 261937 h 1752600"/>
              <a:gd name="connsiteX216" fmla="*/ 0 w 3128973"/>
              <a:gd name="connsiteY216" fmla="*/ 290512 h 1752600"/>
              <a:gd name="connsiteX217" fmla="*/ 4762 w 3128973"/>
              <a:gd name="connsiteY217" fmla="*/ 247650 h 1752600"/>
              <a:gd name="connsiteX218" fmla="*/ 19050 w 3128973"/>
              <a:gd name="connsiteY218" fmla="*/ 200025 h 1752600"/>
              <a:gd name="connsiteX219" fmla="*/ 23812 w 3128973"/>
              <a:gd name="connsiteY219" fmla="*/ 185737 h 1752600"/>
              <a:gd name="connsiteX220" fmla="*/ 71437 w 3128973"/>
              <a:gd name="connsiteY220" fmla="*/ 171450 h 1752600"/>
              <a:gd name="connsiteX221" fmla="*/ 85725 w 3128973"/>
              <a:gd name="connsiteY221" fmla="*/ 166687 h 1752600"/>
              <a:gd name="connsiteX222" fmla="*/ 100012 w 3128973"/>
              <a:gd name="connsiteY222" fmla="*/ 161925 h 1752600"/>
              <a:gd name="connsiteX223" fmla="*/ 114300 w 3128973"/>
              <a:gd name="connsiteY223" fmla="*/ 152400 h 1752600"/>
              <a:gd name="connsiteX224" fmla="*/ 133350 w 3128973"/>
              <a:gd name="connsiteY224" fmla="*/ 123825 h 1752600"/>
              <a:gd name="connsiteX225" fmla="*/ 138112 w 3128973"/>
              <a:gd name="connsiteY225" fmla="*/ 109537 h 1752600"/>
              <a:gd name="connsiteX226" fmla="*/ 135467 w 3128973"/>
              <a:gd name="connsiteY226" fmla="*/ 97059 h 1752600"/>
              <a:gd name="connsiteX227" fmla="*/ 142875 w 3128973"/>
              <a:gd name="connsiteY227" fmla="*/ 71437 h 1752600"/>
              <a:gd name="connsiteX228" fmla="*/ 157162 w 3128973"/>
              <a:gd name="connsiteY228" fmla="*/ 57150 h 1752600"/>
              <a:gd name="connsiteX229" fmla="*/ 200025 w 3128973"/>
              <a:gd name="connsiteY229" fmla="*/ 33337 h 1752600"/>
              <a:gd name="connsiteX230" fmla="*/ 309562 w 3128973"/>
              <a:gd name="connsiteY230" fmla="*/ 28575 h 1752600"/>
              <a:gd name="connsiteX231" fmla="*/ 400050 w 3128973"/>
              <a:gd name="connsiteY231" fmla="*/ 14287 h 1752600"/>
              <a:gd name="connsiteX232" fmla="*/ 414337 w 3128973"/>
              <a:gd name="connsiteY232" fmla="*/ 9525 h 1752600"/>
              <a:gd name="connsiteX233" fmla="*/ 481012 w 3128973"/>
              <a:gd name="connsiteY23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45493 w 3128973"/>
              <a:gd name="connsiteY22" fmla="*/ 242228 h 1752600"/>
              <a:gd name="connsiteX23" fmla="*/ 2046801 w 3128973"/>
              <a:gd name="connsiteY23" fmla="*/ 262295 h 1752600"/>
              <a:gd name="connsiteX24" fmla="*/ 2033587 w 3128973"/>
              <a:gd name="connsiteY24" fmla="*/ 266700 h 1752600"/>
              <a:gd name="connsiteX25" fmla="*/ 2019300 w 3128973"/>
              <a:gd name="connsiteY25" fmla="*/ 280987 h 1752600"/>
              <a:gd name="connsiteX26" fmla="*/ 1990725 w 3128973"/>
              <a:gd name="connsiteY26" fmla="*/ 300037 h 1752600"/>
              <a:gd name="connsiteX27" fmla="*/ 1981200 w 3128973"/>
              <a:gd name="connsiteY27" fmla="*/ 314325 h 1752600"/>
              <a:gd name="connsiteX28" fmla="*/ 1981200 w 3128973"/>
              <a:gd name="connsiteY28" fmla="*/ 419100 h 1752600"/>
              <a:gd name="connsiteX29" fmla="*/ 1985962 w 3128973"/>
              <a:gd name="connsiteY29" fmla="*/ 433387 h 1752600"/>
              <a:gd name="connsiteX30" fmla="*/ 2000250 w 3128973"/>
              <a:gd name="connsiteY30" fmla="*/ 442912 h 1752600"/>
              <a:gd name="connsiteX31" fmla="*/ 2005012 w 3128973"/>
              <a:gd name="connsiteY31" fmla="*/ 457200 h 1752600"/>
              <a:gd name="connsiteX32" fmla="*/ 2005012 w 3128973"/>
              <a:gd name="connsiteY32" fmla="*/ 561975 h 1752600"/>
              <a:gd name="connsiteX33" fmla="*/ 2009775 w 3128973"/>
              <a:gd name="connsiteY33" fmla="*/ 576262 h 1752600"/>
              <a:gd name="connsiteX34" fmla="*/ 2024062 w 3128973"/>
              <a:gd name="connsiteY34" fmla="*/ 581025 h 1752600"/>
              <a:gd name="connsiteX35" fmla="*/ 2038350 w 3128973"/>
              <a:gd name="connsiteY35" fmla="*/ 595312 h 1752600"/>
              <a:gd name="connsiteX36" fmla="*/ 2052637 w 3128973"/>
              <a:gd name="connsiteY36" fmla="*/ 600075 h 1752600"/>
              <a:gd name="connsiteX37" fmla="*/ 2133600 w 3128973"/>
              <a:gd name="connsiteY37" fmla="*/ 590550 h 1752600"/>
              <a:gd name="connsiteX38" fmla="*/ 2147887 w 3128973"/>
              <a:gd name="connsiteY38" fmla="*/ 585787 h 1752600"/>
              <a:gd name="connsiteX39" fmla="*/ 2195512 w 3128973"/>
              <a:gd name="connsiteY39" fmla="*/ 600075 h 1752600"/>
              <a:gd name="connsiteX40" fmla="*/ 2205037 w 3128973"/>
              <a:gd name="connsiteY40" fmla="*/ 614362 h 1752600"/>
              <a:gd name="connsiteX41" fmla="*/ 2219325 w 3128973"/>
              <a:gd name="connsiteY41" fmla="*/ 628650 h 1752600"/>
              <a:gd name="connsiteX42" fmla="*/ 2224087 w 3128973"/>
              <a:gd name="connsiteY42" fmla="*/ 642937 h 1752600"/>
              <a:gd name="connsiteX43" fmla="*/ 2233612 w 3128973"/>
              <a:gd name="connsiteY43" fmla="*/ 657225 h 1752600"/>
              <a:gd name="connsiteX44" fmla="*/ 2247900 w 3128973"/>
              <a:gd name="connsiteY44" fmla="*/ 685800 h 1752600"/>
              <a:gd name="connsiteX45" fmla="*/ 2262187 w 3128973"/>
              <a:gd name="connsiteY45" fmla="*/ 733425 h 1752600"/>
              <a:gd name="connsiteX46" fmla="*/ 2305050 w 3128973"/>
              <a:gd name="connsiteY46" fmla="*/ 771525 h 1752600"/>
              <a:gd name="connsiteX47" fmla="*/ 2319337 w 3128973"/>
              <a:gd name="connsiteY47" fmla="*/ 804862 h 1752600"/>
              <a:gd name="connsiteX48" fmla="*/ 2333625 w 3128973"/>
              <a:gd name="connsiteY48" fmla="*/ 819150 h 1752600"/>
              <a:gd name="connsiteX49" fmla="*/ 2338387 w 3128973"/>
              <a:gd name="connsiteY49" fmla="*/ 833437 h 1752600"/>
              <a:gd name="connsiteX50" fmla="*/ 2352675 w 3128973"/>
              <a:gd name="connsiteY50" fmla="*/ 847725 h 1752600"/>
              <a:gd name="connsiteX51" fmla="*/ 2395537 w 3128973"/>
              <a:gd name="connsiteY51" fmla="*/ 871537 h 1752600"/>
              <a:gd name="connsiteX52" fmla="*/ 2409825 w 3128973"/>
              <a:gd name="connsiteY52" fmla="*/ 890587 h 1752600"/>
              <a:gd name="connsiteX53" fmla="*/ 2424112 w 3128973"/>
              <a:gd name="connsiteY53" fmla="*/ 895350 h 1752600"/>
              <a:gd name="connsiteX54" fmla="*/ 2433637 w 3128973"/>
              <a:gd name="connsiteY54" fmla="*/ 914400 h 1752600"/>
              <a:gd name="connsiteX55" fmla="*/ 2466975 w 3128973"/>
              <a:gd name="connsiteY55" fmla="*/ 942975 h 1752600"/>
              <a:gd name="connsiteX56" fmla="*/ 2474637 w 3128973"/>
              <a:gd name="connsiteY56" fmla="*/ 954728 h 1752600"/>
              <a:gd name="connsiteX57" fmla="*/ 2495550 w 3128973"/>
              <a:gd name="connsiteY57" fmla="*/ 971550 h 1752600"/>
              <a:gd name="connsiteX58" fmla="*/ 2508776 w 3128973"/>
              <a:gd name="connsiteY58" fmla="*/ 983894 h 1752600"/>
              <a:gd name="connsiteX59" fmla="*/ 2533650 w 3128973"/>
              <a:gd name="connsiteY59" fmla="*/ 1000125 h 1752600"/>
              <a:gd name="connsiteX60" fmla="*/ 2547937 w 3128973"/>
              <a:gd name="connsiteY60" fmla="*/ 1028700 h 1752600"/>
              <a:gd name="connsiteX61" fmla="*/ 2552700 w 3128973"/>
              <a:gd name="connsiteY61" fmla="*/ 1042987 h 1752600"/>
              <a:gd name="connsiteX62" fmla="*/ 2576512 w 3128973"/>
              <a:gd name="connsiteY62" fmla="*/ 1071562 h 1752600"/>
              <a:gd name="connsiteX63" fmla="*/ 2584921 w 3128973"/>
              <a:gd name="connsiteY63" fmla="*/ 1082873 h 1752600"/>
              <a:gd name="connsiteX64" fmla="*/ 2600325 w 3128973"/>
              <a:gd name="connsiteY64" fmla="*/ 1095375 h 1752600"/>
              <a:gd name="connsiteX65" fmla="*/ 2609850 w 3128973"/>
              <a:gd name="connsiteY65" fmla="*/ 1109662 h 1752600"/>
              <a:gd name="connsiteX66" fmla="*/ 2652712 w 3128973"/>
              <a:gd name="connsiteY66" fmla="*/ 1143000 h 1752600"/>
              <a:gd name="connsiteX67" fmla="*/ 2681287 w 3128973"/>
              <a:gd name="connsiteY67" fmla="*/ 1152525 h 1752600"/>
              <a:gd name="connsiteX68" fmla="*/ 2700337 w 3128973"/>
              <a:gd name="connsiteY68" fmla="*/ 1162050 h 1752600"/>
              <a:gd name="connsiteX69" fmla="*/ 2714625 w 3128973"/>
              <a:gd name="connsiteY69" fmla="*/ 1171575 h 1752600"/>
              <a:gd name="connsiteX70" fmla="*/ 2752725 w 3128973"/>
              <a:gd name="connsiteY70" fmla="*/ 1181100 h 1752600"/>
              <a:gd name="connsiteX71" fmla="*/ 2767012 w 3128973"/>
              <a:gd name="connsiteY71" fmla="*/ 1195387 h 1752600"/>
              <a:gd name="connsiteX72" fmla="*/ 2781300 w 3128973"/>
              <a:gd name="connsiteY72" fmla="*/ 1200150 h 1752600"/>
              <a:gd name="connsiteX73" fmla="*/ 2795587 w 3128973"/>
              <a:gd name="connsiteY73" fmla="*/ 1209675 h 1752600"/>
              <a:gd name="connsiteX74" fmla="*/ 2805112 w 3128973"/>
              <a:gd name="connsiteY74" fmla="*/ 1223962 h 1752600"/>
              <a:gd name="connsiteX75" fmla="*/ 2809875 w 3128973"/>
              <a:gd name="connsiteY75" fmla="*/ 1238250 h 1752600"/>
              <a:gd name="connsiteX76" fmla="*/ 2833687 w 3128973"/>
              <a:gd name="connsiteY76" fmla="*/ 1276350 h 1752600"/>
              <a:gd name="connsiteX77" fmla="*/ 2895600 w 3128973"/>
              <a:gd name="connsiteY77" fmla="*/ 1333500 h 1752600"/>
              <a:gd name="connsiteX78" fmla="*/ 2900362 w 3128973"/>
              <a:gd name="connsiteY78" fmla="*/ 1352550 h 1752600"/>
              <a:gd name="connsiteX79" fmla="*/ 2928937 w 3128973"/>
              <a:gd name="connsiteY79" fmla="*/ 1395412 h 1752600"/>
              <a:gd name="connsiteX80" fmla="*/ 2943225 w 3128973"/>
              <a:gd name="connsiteY80" fmla="*/ 1404937 h 1752600"/>
              <a:gd name="connsiteX81" fmla="*/ 2957512 w 3128973"/>
              <a:gd name="connsiteY81" fmla="*/ 1419225 h 1752600"/>
              <a:gd name="connsiteX82" fmla="*/ 2986087 w 3128973"/>
              <a:gd name="connsiteY82" fmla="*/ 1443037 h 1752600"/>
              <a:gd name="connsiteX83" fmla="*/ 3000375 w 3128973"/>
              <a:gd name="connsiteY83" fmla="*/ 1462087 h 1752600"/>
              <a:gd name="connsiteX84" fmla="*/ 3016395 w 3128973"/>
              <a:gd name="connsiteY84" fmla="*/ 1476222 h 1752600"/>
              <a:gd name="connsiteX85" fmla="*/ 3028950 w 3128973"/>
              <a:gd name="connsiteY85" fmla="*/ 1495425 h 1752600"/>
              <a:gd name="connsiteX86" fmla="*/ 3043237 w 3128973"/>
              <a:gd name="connsiteY86" fmla="*/ 1552575 h 1752600"/>
              <a:gd name="connsiteX87" fmla="*/ 3052762 w 3128973"/>
              <a:gd name="connsiteY87" fmla="*/ 1566862 h 1752600"/>
              <a:gd name="connsiteX88" fmla="*/ 3057525 w 3128973"/>
              <a:gd name="connsiteY88" fmla="*/ 1581150 h 1752600"/>
              <a:gd name="connsiteX89" fmla="*/ 3067050 w 3128973"/>
              <a:gd name="connsiteY89" fmla="*/ 1662112 h 1752600"/>
              <a:gd name="connsiteX90" fmla="*/ 3071812 w 3128973"/>
              <a:gd name="connsiteY90" fmla="*/ 1676400 h 1752600"/>
              <a:gd name="connsiteX91" fmla="*/ 3100387 w 3128973"/>
              <a:gd name="connsiteY91" fmla="*/ 1690687 h 1752600"/>
              <a:gd name="connsiteX92" fmla="*/ 3114675 w 3128973"/>
              <a:gd name="connsiteY92" fmla="*/ 1685925 h 1752600"/>
              <a:gd name="connsiteX93" fmla="*/ 3124200 w 3128973"/>
              <a:gd name="connsiteY93" fmla="*/ 1671637 h 1752600"/>
              <a:gd name="connsiteX94" fmla="*/ 3128973 w 3128973"/>
              <a:gd name="connsiteY94" fmla="*/ 1651467 h 1752600"/>
              <a:gd name="connsiteX95" fmla="*/ 3128021 w 3128973"/>
              <a:gd name="connsiteY95" fmla="*/ 1710279 h 1752600"/>
              <a:gd name="connsiteX96" fmla="*/ 3043237 w 3128973"/>
              <a:gd name="connsiteY96" fmla="*/ 1714500 h 1752600"/>
              <a:gd name="connsiteX97" fmla="*/ 3028950 w 3128973"/>
              <a:gd name="connsiteY97" fmla="*/ 1728787 h 1752600"/>
              <a:gd name="connsiteX98" fmla="*/ 2986087 w 3128973"/>
              <a:gd name="connsiteY98" fmla="*/ 1738312 h 1752600"/>
              <a:gd name="connsiteX99" fmla="*/ 2971800 w 3128973"/>
              <a:gd name="connsiteY99" fmla="*/ 1743075 h 1752600"/>
              <a:gd name="connsiteX100" fmla="*/ 2943225 w 3128973"/>
              <a:gd name="connsiteY100" fmla="*/ 1738312 h 1752600"/>
              <a:gd name="connsiteX101" fmla="*/ 2928937 w 3128973"/>
              <a:gd name="connsiteY101" fmla="*/ 1747837 h 1752600"/>
              <a:gd name="connsiteX102" fmla="*/ 2914650 w 3128973"/>
              <a:gd name="connsiteY102" fmla="*/ 1752600 h 1752600"/>
              <a:gd name="connsiteX103" fmla="*/ 2895600 w 3128973"/>
              <a:gd name="connsiteY103" fmla="*/ 1724025 h 1752600"/>
              <a:gd name="connsiteX104" fmla="*/ 2883310 w 3128973"/>
              <a:gd name="connsiteY104" fmla="*/ 1701201 h 1752600"/>
              <a:gd name="connsiteX105" fmla="*/ 2883805 w 3128973"/>
              <a:gd name="connsiteY105" fmla="*/ 1696138 h 1752600"/>
              <a:gd name="connsiteX106" fmla="*/ 2871787 w 3128973"/>
              <a:gd name="connsiteY106" fmla="*/ 1685925 h 1752600"/>
              <a:gd name="connsiteX107" fmla="*/ 2847975 w 3128973"/>
              <a:gd name="connsiteY107" fmla="*/ 1657350 h 1752600"/>
              <a:gd name="connsiteX108" fmla="*/ 2834034 w 3128973"/>
              <a:gd name="connsiteY108" fmla="*/ 1637762 h 1752600"/>
              <a:gd name="connsiteX109" fmla="*/ 2814637 w 3128973"/>
              <a:gd name="connsiteY109" fmla="*/ 1619250 h 1752600"/>
              <a:gd name="connsiteX110" fmla="*/ 2809875 w 3128973"/>
              <a:gd name="connsiteY110" fmla="*/ 1604962 h 1752600"/>
              <a:gd name="connsiteX111" fmla="*/ 2795587 w 3128973"/>
              <a:gd name="connsiteY111" fmla="*/ 1600200 h 1752600"/>
              <a:gd name="connsiteX112" fmla="*/ 2781300 w 3128973"/>
              <a:gd name="connsiteY112" fmla="*/ 1590675 h 1752600"/>
              <a:gd name="connsiteX113" fmla="*/ 2752725 w 3128973"/>
              <a:gd name="connsiteY113" fmla="*/ 1581150 h 1752600"/>
              <a:gd name="connsiteX114" fmla="*/ 2733675 w 3128973"/>
              <a:gd name="connsiteY114" fmla="*/ 1625600 h 1752600"/>
              <a:gd name="connsiteX115" fmla="*/ 2709862 w 3128973"/>
              <a:gd name="connsiteY115" fmla="*/ 1619250 h 1752600"/>
              <a:gd name="connsiteX116" fmla="*/ 2723566 w 3128973"/>
              <a:gd name="connsiteY116" fmla="*/ 1590361 h 1752600"/>
              <a:gd name="connsiteX117" fmla="*/ 2674937 w 3128973"/>
              <a:gd name="connsiteY117" fmla="*/ 1560512 h 1752600"/>
              <a:gd name="connsiteX118" fmla="*/ 2643187 w 3128973"/>
              <a:gd name="connsiteY118" fmla="*/ 1495425 h 1752600"/>
              <a:gd name="connsiteX119" fmla="*/ 2628900 w 3128973"/>
              <a:gd name="connsiteY119" fmla="*/ 1490662 h 1752600"/>
              <a:gd name="connsiteX120" fmla="*/ 2595562 w 3128973"/>
              <a:gd name="connsiteY120" fmla="*/ 1481137 h 1752600"/>
              <a:gd name="connsiteX121" fmla="*/ 2581275 w 3128973"/>
              <a:gd name="connsiteY121" fmla="*/ 1466850 h 1752600"/>
              <a:gd name="connsiteX122" fmla="*/ 2552700 w 3128973"/>
              <a:gd name="connsiteY122" fmla="*/ 1457325 h 1752600"/>
              <a:gd name="connsiteX123" fmla="*/ 2538412 w 3128973"/>
              <a:gd name="connsiteY123" fmla="*/ 1447800 h 1752600"/>
              <a:gd name="connsiteX124" fmla="*/ 2519362 w 3128973"/>
              <a:gd name="connsiteY124" fmla="*/ 1443037 h 1752600"/>
              <a:gd name="connsiteX125" fmla="*/ 2490787 w 3128973"/>
              <a:gd name="connsiteY125" fmla="*/ 1433512 h 1752600"/>
              <a:gd name="connsiteX126" fmla="*/ 2476500 w 3128973"/>
              <a:gd name="connsiteY126" fmla="*/ 1428750 h 1752600"/>
              <a:gd name="connsiteX127" fmla="*/ 2466975 w 3128973"/>
              <a:gd name="connsiteY127" fmla="*/ 1414462 h 1752600"/>
              <a:gd name="connsiteX128" fmla="*/ 2447925 w 3128973"/>
              <a:gd name="connsiteY128" fmla="*/ 1409700 h 1752600"/>
              <a:gd name="connsiteX129" fmla="*/ 2309812 w 3128973"/>
              <a:gd name="connsiteY129" fmla="*/ 1395412 h 1752600"/>
              <a:gd name="connsiteX130" fmla="*/ 2295525 w 3128973"/>
              <a:gd name="connsiteY130" fmla="*/ 1390650 h 1752600"/>
              <a:gd name="connsiteX131" fmla="*/ 2257425 w 3128973"/>
              <a:gd name="connsiteY131" fmla="*/ 1381125 h 1752600"/>
              <a:gd name="connsiteX132" fmla="*/ 2238375 w 3128973"/>
              <a:gd name="connsiteY132" fmla="*/ 1366837 h 1752600"/>
              <a:gd name="connsiteX133" fmla="*/ 2224087 w 3128973"/>
              <a:gd name="connsiteY133" fmla="*/ 1362075 h 1752600"/>
              <a:gd name="connsiteX134" fmla="*/ 2176462 w 3128973"/>
              <a:gd name="connsiteY134" fmla="*/ 1338262 h 1752600"/>
              <a:gd name="connsiteX135" fmla="*/ 2162175 w 3128973"/>
              <a:gd name="connsiteY135" fmla="*/ 1328737 h 1752600"/>
              <a:gd name="connsiteX136" fmla="*/ 2114550 w 3128973"/>
              <a:gd name="connsiteY136" fmla="*/ 1314450 h 1752600"/>
              <a:gd name="connsiteX137" fmla="*/ 2100262 w 3128973"/>
              <a:gd name="connsiteY137" fmla="*/ 1300162 h 1752600"/>
              <a:gd name="connsiteX138" fmla="*/ 2085975 w 3128973"/>
              <a:gd name="connsiteY138" fmla="*/ 1295400 h 1752600"/>
              <a:gd name="connsiteX139" fmla="*/ 2055019 w 3128973"/>
              <a:gd name="connsiteY139" fmla="*/ 1290637 h 1752600"/>
              <a:gd name="connsiteX140" fmla="*/ 2028824 w 3128973"/>
              <a:gd name="connsiteY140" fmla="*/ 1283494 h 1752600"/>
              <a:gd name="connsiteX141" fmla="*/ 2005012 w 3128973"/>
              <a:gd name="connsiteY141" fmla="*/ 1271587 h 1752600"/>
              <a:gd name="connsiteX142" fmla="*/ 1985962 w 3128973"/>
              <a:gd name="connsiteY142" fmla="*/ 1262062 h 1752600"/>
              <a:gd name="connsiteX143" fmla="*/ 1971675 w 3128973"/>
              <a:gd name="connsiteY143" fmla="*/ 1257300 h 1752600"/>
              <a:gd name="connsiteX144" fmla="*/ 1943100 w 3128973"/>
              <a:gd name="connsiteY144" fmla="*/ 1238250 h 1752600"/>
              <a:gd name="connsiteX145" fmla="*/ 1914525 w 3128973"/>
              <a:gd name="connsiteY145" fmla="*/ 1219200 h 1752600"/>
              <a:gd name="connsiteX146" fmla="*/ 1885950 w 3128973"/>
              <a:gd name="connsiteY146" fmla="*/ 1209675 h 1752600"/>
              <a:gd name="connsiteX147" fmla="*/ 1843087 w 3128973"/>
              <a:gd name="connsiteY147" fmla="*/ 1195387 h 1752600"/>
              <a:gd name="connsiteX148" fmla="*/ 1757362 w 3128973"/>
              <a:gd name="connsiteY148" fmla="*/ 1185862 h 1752600"/>
              <a:gd name="connsiteX149" fmla="*/ 1700212 w 3128973"/>
              <a:gd name="connsiteY149" fmla="*/ 1166812 h 1752600"/>
              <a:gd name="connsiteX150" fmla="*/ 1671637 w 3128973"/>
              <a:gd name="connsiteY150" fmla="*/ 1147762 h 1752600"/>
              <a:gd name="connsiteX151" fmla="*/ 1652587 w 3128973"/>
              <a:gd name="connsiteY151" fmla="*/ 1138237 h 1752600"/>
              <a:gd name="connsiteX152" fmla="*/ 1638300 w 3128973"/>
              <a:gd name="connsiteY152" fmla="*/ 1128712 h 1752600"/>
              <a:gd name="connsiteX153" fmla="*/ 1590675 w 3128973"/>
              <a:gd name="connsiteY153" fmla="*/ 1138238 h 1752600"/>
              <a:gd name="connsiteX154" fmla="*/ 1559719 w 3128973"/>
              <a:gd name="connsiteY154" fmla="*/ 1109662 h 1752600"/>
              <a:gd name="connsiteX155" fmla="*/ 1528762 w 3128973"/>
              <a:gd name="connsiteY155" fmla="*/ 1085850 h 1752600"/>
              <a:gd name="connsiteX156" fmla="*/ 1514475 w 3128973"/>
              <a:gd name="connsiteY156" fmla="*/ 1081087 h 1752600"/>
              <a:gd name="connsiteX157" fmla="*/ 1470025 w 3128973"/>
              <a:gd name="connsiteY157" fmla="*/ 1130300 h 1752600"/>
              <a:gd name="connsiteX158" fmla="*/ 1433512 w 3128973"/>
              <a:gd name="connsiteY158" fmla="*/ 1108075 h 1752600"/>
              <a:gd name="connsiteX159" fmla="*/ 1423987 w 3128973"/>
              <a:gd name="connsiteY159" fmla="*/ 1087437 h 1752600"/>
              <a:gd name="connsiteX160" fmla="*/ 1381125 w 3128973"/>
              <a:gd name="connsiteY160" fmla="*/ 1095375 h 1752600"/>
              <a:gd name="connsiteX161" fmla="*/ 1383506 w 3128973"/>
              <a:gd name="connsiteY161" fmla="*/ 1028700 h 1752600"/>
              <a:gd name="connsiteX162" fmla="*/ 1366838 w 3128973"/>
              <a:gd name="connsiteY162" fmla="*/ 1019175 h 1752600"/>
              <a:gd name="connsiteX163" fmla="*/ 1335881 w 3128973"/>
              <a:gd name="connsiteY163" fmla="*/ 1007268 h 1752600"/>
              <a:gd name="connsiteX164" fmla="*/ 1319213 w 3128973"/>
              <a:gd name="connsiteY164" fmla="*/ 1007268 h 1752600"/>
              <a:gd name="connsiteX165" fmla="*/ 1295400 w 3128973"/>
              <a:gd name="connsiteY165" fmla="*/ 976312 h 1752600"/>
              <a:gd name="connsiteX166" fmla="*/ 1281112 w 3128973"/>
              <a:gd name="connsiteY166" fmla="*/ 966787 h 1752600"/>
              <a:gd name="connsiteX167" fmla="*/ 1238250 w 3128973"/>
              <a:gd name="connsiteY167" fmla="*/ 947737 h 1752600"/>
              <a:gd name="connsiteX168" fmla="*/ 1212850 w 3128973"/>
              <a:gd name="connsiteY168" fmla="*/ 995362 h 1752600"/>
              <a:gd name="connsiteX169" fmla="*/ 1201737 w 3128973"/>
              <a:gd name="connsiteY169" fmla="*/ 987425 h 1752600"/>
              <a:gd name="connsiteX170" fmla="*/ 1163637 w 3128973"/>
              <a:gd name="connsiteY170" fmla="*/ 952277 h 1752600"/>
              <a:gd name="connsiteX171" fmla="*/ 1133475 w 3128973"/>
              <a:gd name="connsiteY171" fmla="*/ 925512 h 1752600"/>
              <a:gd name="connsiteX172" fmla="*/ 1085850 w 3128973"/>
              <a:gd name="connsiteY172" fmla="*/ 859631 h 1752600"/>
              <a:gd name="connsiteX173" fmla="*/ 1071562 w 3128973"/>
              <a:gd name="connsiteY173" fmla="*/ 842962 h 1752600"/>
              <a:gd name="connsiteX174" fmla="*/ 1047750 w 3128973"/>
              <a:gd name="connsiteY174" fmla="*/ 819150 h 1752600"/>
              <a:gd name="connsiteX175" fmla="*/ 1028700 w 3128973"/>
              <a:gd name="connsiteY175" fmla="*/ 804862 h 1752600"/>
              <a:gd name="connsiteX176" fmla="*/ 1018076 w 3128973"/>
              <a:gd name="connsiteY176" fmla="*/ 794816 h 1752600"/>
              <a:gd name="connsiteX177" fmla="*/ 1000125 w 3128973"/>
              <a:gd name="connsiteY177" fmla="*/ 785812 h 1752600"/>
              <a:gd name="connsiteX178" fmla="*/ 984342 w 3128973"/>
              <a:gd name="connsiteY178" fmla="*/ 773578 h 1752600"/>
              <a:gd name="connsiteX179" fmla="*/ 957262 w 3128973"/>
              <a:gd name="connsiteY179" fmla="*/ 766762 h 1752600"/>
              <a:gd name="connsiteX180" fmla="*/ 938212 w 3128973"/>
              <a:gd name="connsiteY180" fmla="*/ 757237 h 1752600"/>
              <a:gd name="connsiteX181" fmla="*/ 904875 w 3128973"/>
              <a:gd name="connsiteY181" fmla="*/ 747712 h 1752600"/>
              <a:gd name="connsiteX182" fmla="*/ 862012 w 3128973"/>
              <a:gd name="connsiteY182" fmla="*/ 723900 h 1752600"/>
              <a:gd name="connsiteX183" fmla="*/ 795337 w 3128973"/>
              <a:gd name="connsiteY183" fmla="*/ 685800 h 1752600"/>
              <a:gd name="connsiteX184" fmla="*/ 776287 w 3128973"/>
              <a:gd name="connsiteY184" fmla="*/ 666750 h 1752600"/>
              <a:gd name="connsiteX185" fmla="*/ 762000 w 3128973"/>
              <a:gd name="connsiteY185" fmla="*/ 661987 h 1752600"/>
              <a:gd name="connsiteX186" fmla="*/ 742950 w 3128973"/>
              <a:gd name="connsiteY186" fmla="*/ 647700 h 1752600"/>
              <a:gd name="connsiteX187" fmla="*/ 709612 w 3128973"/>
              <a:gd name="connsiteY187" fmla="*/ 638175 h 1752600"/>
              <a:gd name="connsiteX188" fmla="*/ 695325 w 3128973"/>
              <a:gd name="connsiteY188" fmla="*/ 628650 h 1752600"/>
              <a:gd name="connsiteX189" fmla="*/ 681037 w 3128973"/>
              <a:gd name="connsiteY189" fmla="*/ 623887 h 1752600"/>
              <a:gd name="connsiteX190" fmla="*/ 676275 w 3128973"/>
              <a:gd name="connsiteY190" fmla="*/ 604837 h 1752600"/>
              <a:gd name="connsiteX191" fmla="*/ 666750 w 3128973"/>
              <a:gd name="connsiteY191" fmla="*/ 576262 h 1752600"/>
              <a:gd name="connsiteX192" fmla="*/ 661987 w 3128973"/>
              <a:gd name="connsiteY192" fmla="*/ 561975 h 1752600"/>
              <a:gd name="connsiteX193" fmla="*/ 666750 w 3128973"/>
              <a:gd name="connsiteY193" fmla="*/ 538162 h 1752600"/>
              <a:gd name="connsiteX194" fmla="*/ 638175 w 3128973"/>
              <a:gd name="connsiteY194" fmla="*/ 514350 h 1752600"/>
              <a:gd name="connsiteX195" fmla="*/ 619125 w 3128973"/>
              <a:gd name="connsiteY195" fmla="*/ 500062 h 1752600"/>
              <a:gd name="connsiteX196" fmla="*/ 576262 w 3128973"/>
              <a:gd name="connsiteY196" fmla="*/ 490537 h 1752600"/>
              <a:gd name="connsiteX197" fmla="*/ 542925 w 3128973"/>
              <a:gd name="connsiteY197" fmla="*/ 452437 h 1752600"/>
              <a:gd name="connsiteX198" fmla="*/ 525462 w 3128973"/>
              <a:gd name="connsiteY198" fmla="*/ 485775 h 1752600"/>
              <a:gd name="connsiteX199" fmla="*/ 504825 w 3128973"/>
              <a:gd name="connsiteY199" fmla="*/ 466725 h 1752600"/>
              <a:gd name="connsiteX200" fmla="*/ 454025 w 3128973"/>
              <a:gd name="connsiteY200" fmla="*/ 466725 h 1752600"/>
              <a:gd name="connsiteX201" fmla="*/ 407987 w 3128973"/>
              <a:gd name="connsiteY201" fmla="*/ 473075 h 1752600"/>
              <a:gd name="connsiteX202" fmla="*/ 395287 w 3128973"/>
              <a:gd name="connsiteY202" fmla="*/ 409575 h 1752600"/>
              <a:gd name="connsiteX203" fmla="*/ 376237 w 3128973"/>
              <a:gd name="connsiteY203" fmla="*/ 404812 h 1752600"/>
              <a:gd name="connsiteX204" fmla="*/ 342900 w 3128973"/>
              <a:gd name="connsiteY204" fmla="*/ 400050 h 1752600"/>
              <a:gd name="connsiteX205" fmla="*/ 314325 w 3128973"/>
              <a:gd name="connsiteY205" fmla="*/ 390525 h 1752600"/>
              <a:gd name="connsiteX206" fmla="*/ 273844 w 3128973"/>
              <a:gd name="connsiteY206" fmla="*/ 383382 h 1752600"/>
              <a:gd name="connsiteX207" fmla="*/ 257175 w 3128973"/>
              <a:gd name="connsiteY207" fmla="*/ 371475 h 1752600"/>
              <a:gd name="connsiteX208" fmla="*/ 245269 w 3128973"/>
              <a:gd name="connsiteY208" fmla="*/ 364331 h 1752600"/>
              <a:gd name="connsiteX209" fmla="*/ 223837 w 3128973"/>
              <a:gd name="connsiteY209" fmla="*/ 347662 h 1752600"/>
              <a:gd name="connsiteX210" fmla="*/ 190500 w 3128973"/>
              <a:gd name="connsiteY210" fmla="*/ 338137 h 1752600"/>
              <a:gd name="connsiteX211" fmla="*/ 147637 w 3128973"/>
              <a:gd name="connsiteY211" fmla="*/ 333375 h 1752600"/>
              <a:gd name="connsiteX212" fmla="*/ 119062 w 3128973"/>
              <a:gd name="connsiteY212" fmla="*/ 323850 h 1752600"/>
              <a:gd name="connsiteX213" fmla="*/ 104775 w 3128973"/>
              <a:gd name="connsiteY213" fmla="*/ 319087 h 1752600"/>
              <a:gd name="connsiteX214" fmla="*/ 61912 w 3128973"/>
              <a:gd name="connsiteY214" fmla="*/ 300037 h 1752600"/>
              <a:gd name="connsiteX215" fmla="*/ 23812 w 3128973"/>
              <a:gd name="connsiteY215" fmla="*/ 290512 h 1752600"/>
              <a:gd name="connsiteX216" fmla="*/ 9525 w 3128973"/>
              <a:gd name="connsiteY216" fmla="*/ 261937 h 1752600"/>
              <a:gd name="connsiteX217" fmla="*/ 0 w 3128973"/>
              <a:gd name="connsiteY217" fmla="*/ 290512 h 1752600"/>
              <a:gd name="connsiteX218" fmla="*/ 4762 w 3128973"/>
              <a:gd name="connsiteY218" fmla="*/ 247650 h 1752600"/>
              <a:gd name="connsiteX219" fmla="*/ 19050 w 3128973"/>
              <a:gd name="connsiteY219" fmla="*/ 200025 h 1752600"/>
              <a:gd name="connsiteX220" fmla="*/ 23812 w 3128973"/>
              <a:gd name="connsiteY220" fmla="*/ 185737 h 1752600"/>
              <a:gd name="connsiteX221" fmla="*/ 71437 w 3128973"/>
              <a:gd name="connsiteY221" fmla="*/ 171450 h 1752600"/>
              <a:gd name="connsiteX222" fmla="*/ 85725 w 3128973"/>
              <a:gd name="connsiteY222" fmla="*/ 166687 h 1752600"/>
              <a:gd name="connsiteX223" fmla="*/ 100012 w 3128973"/>
              <a:gd name="connsiteY223" fmla="*/ 161925 h 1752600"/>
              <a:gd name="connsiteX224" fmla="*/ 114300 w 3128973"/>
              <a:gd name="connsiteY224" fmla="*/ 152400 h 1752600"/>
              <a:gd name="connsiteX225" fmla="*/ 133350 w 3128973"/>
              <a:gd name="connsiteY225" fmla="*/ 123825 h 1752600"/>
              <a:gd name="connsiteX226" fmla="*/ 138112 w 3128973"/>
              <a:gd name="connsiteY226" fmla="*/ 109537 h 1752600"/>
              <a:gd name="connsiteX227" fmla="*/ 135467 w 3128973"/>
              <a:gd name="connsiteY227" fmla="*/ 97059 h 1752600"/>
              <a:gd name="connsiteX228" fmla="*/ 142875 w 3128973"/>
              <a:gd name="connsiteY228" fmla="*/ 71437 h 1752600"/>
              <a:gd name="connsiteX229" fmla="*/ 157162 w 3128973"/>
              <a:gd name="connsiteY229" fmla="*/ 57150 h 1752600"/>
              <a:gd name="connsiteX230" fmla="*/ 200025 w 3128973"/>
              <a:gd name="connsiteY230" fmla="*/ 33337 h 1752600"/>
              <a:gd name="connsiteX231" fmla="*/ 309562 w 3128973"/>
              <a:gd name="connsiteY231" fmla="*/ 28575 h 1752600"/>
              <a:gd name="connsiteX232" fmla="*/ 400050 w 3128973"/>
              <a:gd name="connsiteY232" fmla="*/ 14287 h 1752600"/>
              <a:gd name="connsiteX233" fmla="*/ 414337 w 3128973"/>
              <a:gd name="connsiteY233" fmla="*/ 9525 h 1752600"/>
              <a:gd name="connsiteX234" fmla="*/ 481012 w 3128973"/>
              <a:gd name="connsiteY234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38362 w 3128973"/>
              <a:gd name="connsiteY22" fmla="*/ 220975 h 1752600"/>
              <a:gd name="connsiteX23" fmla="*/ 2046801 w 3128973"/>
              <a:gd name="connsiteY23" fmla="*/ 262295 h 1752600"/>
              <a:gd name="connsiteX24" fmla="*/ 2033587 w 3128973"/>
              <a:gd name="connsiteY24" fmla="*/ 266700 h 1752600"/>
              <a:gd name="connsiteX25" fmla="*/ 2019300 w 3128973"/>
              <a:gd name="connsiteY25" fmla="*/ 280987 h 1752600"/>
              <a:gd name="connsiteX26" fmla="*/ 1990725 w 3128973"/>
              <a:gd name="connsiteY26" fmla="*/ 300037 h 1752600"/>
              <a:gd name="connsiteX27" fmla="*/ 1981200 w 3128973"/>
              <a:gd name="connsiteY27" fmla="*/ 314325 h 1752600"/>
              <a:gd name="connsiteX28" fmla="*/ 1981200 w 3128973"/>
              <a:gd name="connsiteY28" fmla="*/ 419100 h 1752600"/>
              <a:gd name="connsiteX29" fmla="*/ 1985962 w 3128973"/>
              <a:gd name="connsiteY29" fmla="*/ 433387 h 1752600"/>
              <a:gd name="connsiteX30" fmla="*/ 2000250 w 3128973"/>
              <a:gd name="connsiteY30" fmla="*/ 442912 h 1752600"/>
              <a:gd name="connsiteX31" fmla="*/ 2005012 w 3128973"/>
              <a:gd name="connsiteY31" fmla="*/ 457200 h 1752600"/>
              <a:gd name="connsiteX32" fmla="*/ 2005012 w 3128973"/>
              <a:gd name="connsiteY32" fmla="*/ 561975 h 1752600"/>
              <a:gd name="connsiteX33" fmla="*/ 2009775 w 3128973"/>
              <a:gd name="connsiteY33" fmla="*/ 576262 h 1752600"/>
              <a:gd name="connsiteX34" fmla="*/ 2024062 w 3128973"/>
              <a:gd name="connsiteY34" fmla="*/ 581025 h 1752600"/>
              <a:gd name="connsiteX35" fmla="*/ 2038350 w 3128973"/>
              <a:gd name="connsiteY35" fmla="*/ 595312 h 1752600"/>
              <a:gd name="connsiteX36" fmla="*/ 2052637 w 3128973"/>
              <a:gd name="connsiteY36" fmla="*/ 600075 h 1752600"/>
              <a:gd name="connsiteX37" fmla="*/ 2133600 w 3128973"/>
              <a:gd name="connsiteY37" fmla="*/ 590550 h 1752600"/>
              <a:gd name="connsiteX38" fmla="*/ 2147887 w 3128973"/>
              <a:gd name="connsiteY38" fmla="*/ 585787 h 1752600"/>
              <a:gd name="connsiteX39" fmla="*/ 2195512 w 3128973"/>
              <a:gd name="connsiteY39" fmla="*/ 600075 h 1752600"/>
              <a:gd name="connsiteX40" fmla="*/ 2205037 w 3128973"/>
              <a:gd name="connsiteY40" fmla="*/ 614362 h 1752600"/>
              <a:gd name="connsiteX41" fmla="*/ 2219325 w 3128973"/>
              <a:gd name="connsiteY41" fmla="*/ 628650 h 1752600"/>
              <a:gd name="connsiteX42" fmla="*/ 2224087 w 3128973"/>
              <a:gd name="connsiteY42" fmla="*/ 642937 h 1752600"/>
              <a:gd name="connsiteX43" fmla="*/ 2233612 w 3128973"/>
              <a:gd name="connsiteY43" fmla="*/ 657225 h 1752600"/>
              <a:gd name="connsiteX44" fmla="*/ 2247900 w 3128973"/>
              <a:gd name="connsiteY44" fmla="*/ 685800 h 1752600"/>
              <a:gd name="connsiteX45" fmla="*/ 2262187 w 3128973"/>
              <a:gd name="connsiteY45" fmla="*/ 733425 h 1752600"/>
              <a:gd name="connsiteX46" fmla="*/ 2305050 w 3128973"/>
              <a:gd name="connsiteY46" fmla="*/ 771525 h 1752600"/>
              <a:gd name="connsiteX47" fmla="*/ 2319337 w 3128973"/>
              <a:gd name="connsiteY47" fmla="*/ 804862 h 1752600"/>
              <a:gd name="connsiteX48" fmla="*/ 2333625 w 3128973"/>
              <a:gd name="connsiteY48" fmla="*/ 819150 h 1752600"/>
              <a:gd name="connsiteX49" fmla="*/ 2338387 w 3128973"/>
              <a:gd name="connsiteY49" fmla="*/ 833437 h 1752600"/>
              <a:gd name="connsiteX50" fmla="*/ 2352675 w 3128973"/>
              <a:gd name="connsiteY50" fmla="*/ 847725 h 1752600"/>
              <a:gd name="connsiteX51" fmla="*/ 2395537 w 3128973"/>
              <a:gd name="connsiteY51" fmla="*/ 871537 h 1752600"/>
              <a:gd name="connsiteX52" fmla="*/ 2409825 w 3128973"/>
              <a:gd name="connsiteY52" fmla="*/ 890587 h 1752600"/>
              <a:gd name="connsiteX53" fmla="*/ 2424112 w 3128973"/>
              <a:gd name="connsiteY53" fmla="*/ 895350 h 1752600"/>
              <a:gd name="connsiteX54" fmla="*/ 2433637 w 3128973"/>
              <a:gd name="connsiteY54" fmla="*/ 914400 h 1752600"/>
              <a:gd name="connsiteX55" fmla="*/ 2466975 w 3128973"/>
              <a:gd name="connsiteY55" fmla="*/ 942975 h 1752600"/>
              <a:gd name="connsiteX56" fmla="*/ 2474637 w 3128973"/>
              <a:gd name="connsiteY56" fmla="*/ 954728 h 1752600"/>
              <a:gd name="connsiteX57" fmla="*/ 2495550 w 3128973"/>
              <a:gd name="connsiteY57" fmla="*/ 971550 h 1752600"/>
              <a:gd name="connsiteX58" fmla="*/ 2508776 w 3128973"/>
              <a:gd name="connsiteY58" fmla="*/ 983894 h 1752600"/>
              <a:gd name="connsiteX59" fmla="*/ 2533650 w 3128973"/>
              <a:gd name="connsiteY59" fmla="*/ 1000125 h 1752600"/>
              <a:gd name="connsiteX60" fmla="*/ 2547937 w 3128973"/>
              <a:gd name="connsiteY60" fmla="*/ 1028700 h 1752600"/>
              <a:gd name="connsiteX61" fmla="*/ 2552700 w 3128973"/>
              <a:gd name="connsiteY61" fmla="*/ 1042987 h 1752600"/>
              <a:gd name="connsiteX62" fmla="*/ 2576512 w 3128973"/>
              <a:gd name="connsiteY62" fmla="*/ 1071562 h 1752600"/>
              <a:gd name="connsiteX63" fmla="*/ 2584921 w 3128973"/>
              <a:gd name="connsiteY63" fmla="*/ 1082873 h 1752600"/>
              <a:gd name="connsiteX64" fmla="*/ 2600325 w 3128973"/>
              <a:gd name="connsiteY64" fmla="*/ 1095375 h 1752600"/>
              <a:gd name="connsiteX65" fmla="*/ 2609850 w 3128973"/>
              <a:gd name="connsiteY65" fmla="*/ 1109662 h 1752600"/>
              <a:gd name="connsiteX66" fmla="*/ 2652712 w 3128973"/>
              <a:gd name="connsiteY66" fmla="*/ 1143000 h 1752600"/>
              <a:gd name="connsiteX67" fmla="*/ 2681287 w 3128973"/>
              <a:gd name="connsiteY67" fmla="*/ 1152525 h 1752600"/>
              <a:gd name="connsiteX68" fmla="*/ 2700337 w 3128973"/>
              <a:gd name="connsiteY68" fmla="*/ 1162050 h 1752600"/>
              <a:gd name="connsiteX69" fmla="*/ 2714625 w 3128973"/>
              <a:gd name="connsiteY69" fmla="*/ 1171575 h 1752600"/>
              <a:gd name="connsiteX70" fmla="*/ 2752725 w 3128973"/>
              <a:gd name="connsiteY70" fmla="*/ 1181100 h 1752600"/>
              <a:gd name="connsiteX71" fmla="*/ 2767012 w 3128973"/>
              <a:gd name="connsiteY71" fmla="*/ 1195387 h 1752600"/>
              <a:gd name="connsiteX72" fmla="*/ 2781300 w 3128973"/>
              <a:gd name="connsiteY72" fmla="*/ 1200150 h 1752600"/>
              <a:gd name="connsiteX73" fmla="*/ 2795587 w 3128973"/>
              <a:gd name="connsiteY73" fmla="*/ 1209675 h 1752600"/>
              <a:gd name="connsiteX74" fmla="*/ 2805112 w 3128973"/>
              <a:gd name="connsiteY74" fmla="*/ 1223962 h 1752600"/>
              <a:gd name="connsiteX75" fmla="*/ 2809875 w 3128973"/>
              <a:gd name="connsiteY75" fmla="*/ 1238250 h 1752600"/>
              <a:gd name="connsiteX76" fmla="*/ 2833687 w 3128973"/>
              <a:gd name="connsiteY76" fmla="*/ 1276350 h 1752600"/>
              <a:gd name="connsiteX77" fmla="*/ 2895600 w 3128973"/>
              <a:gd name="connsiteY77" fmla="*/ 1333500 h 1752600"/>
              <a:gd name="connsiteX78" fmla="*/ 2900362 w 3128973"/>
              <a:gd name="connsiteY78" fmla="*/ 1352550 h 1752600"/>
              <a:gd name="connsiteX79" fmla="*/ 2928937 w 3128973"/>
              <a:gd name="connsiteY79" fmla="*/ 1395412 h 1752600"/>
              <a:gd name="connsiteX80" fmla="*/ 2943225 w 3128973"/>
              <a:gd name="connsiteY80" fmla="*/ 1404937 h 1752600"/>
              <a:gd name="connsiteX81" fmla="*/ 2957512 w 3128973"/>
              <a:gd name="connsiteY81" fmla="*/ 1419225 h 1752600"/>
              <a:gd name="connsiteX82" fmla="*/ 2986087 w 3128973"/>
              <a:gd name="connsiteY82" fmla="*/ 1443037 h 1752600"/>
              <a:gd name="connsiteX83" fmla="*/ 3000375 w 3128973"/>
              <a:gd name="connsiteY83" fmla="*/ 1462087 h 1752600"/>
              <a:gd name="connsiteX84" fmla="*/ 3016395 w 3128973"/>
              <a:gd name="connsiteY84" fmla="*/ 1476222 h 1752600"/>
              <a:gd name="connsiteX85" fmla="*/ 3028950 w 3128973"/>
              <a:gd name="connsiteY85" fmla="*/ 1495425 h 1752600"/>
              <a:gd name="connsiteX86" fmla="*/ 3043237 w 3128973"/>
              <a:gd name="connsiteY86" fmla="*/ 1552575 h 1752600"/>
              <a:gd name="connsiteX87" fmla="*/ 3052762 w 3128973"/>
              <a:gd name="connsiteY87" fmla="*/ 1566862 h 1752600"/>
              <a:gd name="connsiteX88" fmla="*/ 3057525 w 3128973"/>
              <a:gd name="connsiteY88" fmla="*/ 1581150 h 1752600"/>
              <a:gd name="connsiteX89" fmla="*/ 3067050 w 3128973"/>
              <a:gd name="connsiteY89" fmla="*/ 1662112 h 1752600"/>
              <a:gd name="connsiteX90" fmla="*/ 3071812 w 3128973"/>
              <a:gd name="connsiteY90" fmla="*/ 1676400 h 1752600"/>
              <a:gd name="connsiteX91" fmla="*/ 3100387 w 3128973"/>
              <a:gd name="connsiteY91" fmla="*/ 1690687 h 1752600"/>
              <a:gd name="connsiteX92" fmla="*/ 3114675 w 3128973"/>
              <a:gd name="connsiteY92" fmla="*/ 1685925 h 1752600"/>
              <a:gd name="connsiteX93" fmla="*/ 3124200 w 3128973"/>
              <a:gd name="connsiteY93" fmla="*/ 1671637 h 1752600"/>
              <a:gd name="connsiteX94" fmla="*/ 3128973 w 3128973"/>
              <a:gd name="connsiteY94" fmla="*/ 1651467 h 1752600"/>
              <a:gd name="connsiteX95" fmla="*/ 3128021 w 3128973"/>
              <a:gd name="connsiteY95" fmla="*/ 1710279 h 1752600"/>
              <a:gd name="connsiteX96" fmla="*/ 3043237 w 3128973"/>
              <a:gd name="connsiteY96" fmla="*/ 1714500 h 1752600"/>
              <a:gd name="connsiteX97" fmla="*/ 3028950 w 3128973"/>
              <a:gd name="connsiteY97" fmla="*/ 1728787 h 1752600"/>
              <a:gd name="connsiteX98" fmla="*/ 2986087 w 3128973"/>
              <a:gd name="connsiteY98" fmla="*/ 1738312 h 1752600"/>
              <a:gd name="connsiteX99" fmla="*/ 2971800 w 3128973"/>
              <a:gd name="connsiteY99" fmla="*/ 1743075 h 1752600"/>
              <a:gd name="connsiteX100" fmla="*/ 2943225 w 3128973"/>
              <a:gd name="connsiteY100" fmla="*/ 1738312 h 1752600"/>
              <a:gd name="connsiteX101" fmla="*/ 2928937 w 3128973"/>
              <a:gd name="connsiteY101" fmla="*/ 1747837 h 1752600"/>
              <a:gd name="connsiteX102" fmla="*/ 2914650 w 3128973"/>
              <a:gd name="connsiteY102" fmla="*/ 1752600 h 1752600"/>
              <a:gd name="connsiteX103" fmla="*/ 2895600 w 3128973"/>
              <a:gd name="connsiteY103" fmla="*/ 1724025 h 1752600"/>
              <a:gd name="connsiteX104" fmla="*/ 2883310 w 3128973"/>
              <a:gd name="connsiteY104" fmla="*/ 1701201 h 1752600"/>
              <a:gd name="connsiteX105" fmla="*/ 2883805 w 3128973"/>
              <a:gd name="connsiteY105" fmla="*/ 1696138 h 1752600"/>
              <a:gd name="connsiteX106" fmla="*/ 2871787 w 3128973"/>
              <a:gd name="connsiteY106" fmla="*/ 1685925 h 1752600"/>
              <a:gd name="connsiteX107" fmla="*/ 2847975 w 3128973"/>
              <a:gd name="connsiteY107" fmla="*/ 1657350 h 1752600"/>
              <a:gd name="connsiteX108" fmla="*/ 2834034 w 3128973"/>
              <a:gd name="connsiteY108" fmla="*/ 1637762 h 1752600"/>
              <a:gd name="connsiteX109" fmla="*/ 2814637 w 3128973"/>
              <a:gd name="connsiteY109" fmla="*/ 1619250 h 1752600"/>
              <a:gd name="connsiteX110" fmla="*/ 2809875 w 3128973"/>
              <a:gd name="connsiteY110" fmla="*/ 1604962 h 1752600"/>
              <a:gd name="connsiteX111" fmla="*/ 2795587 w 3128973"/>
              <a:gd name="connsiteY111" fmla="*/ 1600200 h 1752600"/>
              <a:gd name="connsiteX112" fmla="*/ 2781300 w 3128973"/>
              <a:gd name="connsiteY112" fmla="*/ 1590675 h 1752600"/>
              <a:gd name="connsiteX113" fmla="*/ 2752725 w 3128973"/>
              <a:gd name="connsiteY113" fmla="*/ 1581150 h 1752600"/>
              <a:gd name="connsiteX114" fmla="*/ 2733675 w 3128973"/>
              <a:gd name="connsiteY114" fmla="*/ 1625600 h 1752600"/>
              <a:gd name="connsiteX115" fmla="*/ 2709862 w 3128973"/>
              <a:gd name="connsiteY115" fmla="*/ 1619250 h 1752600"/>
              <a:gd name="connsiteX116" fmla="*/ 2723566 w 3128973"/>
              <a:gd name="connsiteY116" fmla="*/ 1590361 h 1752600"/>
              <a:gd name="connsiteX117" fmla="*/ 2674937 w 3128973"/>
              <a:gd name="connsiteY117" fmla="*/ 1560512 h 1752600"/>
              <a:gd name="connsiteX118" fmla="*/ 2643187 w 3128973"/>
              <a:gd name="connsiteY118" fmla="*/ 1495425 h 1752600"/>
              <a:gd name="connsiteX119" fmla="*/ 2628900 w 3128973"/>
              <a:gd name="connsiteY119" fmla="*/ 1490662 h 1752600"/>
              <a:gd name="connsiteX120" fmla="*/ 2595562 w 3128973"/>
              <a:gd name="connsiteY120" fmla="*/ 1481137 h 1752600"/>
              <a:gd name="connsiteX121" fmla="*/ 2581275 w 3128973"/>
              <a:gd name="connsiteY121" fmla="*/ 1466850 h 1752600"/>
              <a:gd name="connsiteX122" fmla="*/ 2552700 w 3128973"/>
              <a:gd name="connsiteY122" fmla="*/ 1457325 h 1752600"/>
              <a:gd name="connsiteX123" fmla="*/ 2538412 w 3128973"/>
              <a:gd name="connsiteY123" fmla="*/ 1447800 h 1752600"/>
              <a:gd name="connsiteX124" fmla="*/ 2519362 w 3128973"/>
              <a:gd name="connsiteY124" fmla="*/ 1443037 h 1752600"/>
              <a:gd name="connsiteX125" fmla="*/ 2490787 w 3128973"/>
              <a:gd name="connsiteY125" fmla="*/ 1433512 h 1752600"/>
              <a:gd name="connsiteX126" fmla="*/ 2476500 w 3128973"/>
              <a:gd name="connsiteY126" fmla="*/ 1428750 h 1752600"/>
              <a:gd name="connsiteX127" fmla="*/ 2466975 w 3128973"/>
              <a:gd name="connsiteY127" fmla="*/ 1414462 h 1752600"/>
              <a:gd name="connsiteX128" fmla="*/ 2447925 w 3128973"/>
              <a:gd name="connsiteY128" fmla="*/ 1409700 h 1752600"/>
              <a:gd name="connsiteX129" fmla="*/ 2309812 w 3128973"/>
              <a:gd name="connsiteY129" fmla="*/ 1395412 h 1752600"/>
              <a:gd name="connsiteX130" fmla="*/ 2295525 w 3128973"/>
              <a:gd name="connsiteY130" fmla="*/ 1390650 h 1752600"/>
              <a:gd name="connsiteX131" fmla="*/ 2257425 w 3128973"/>
              <a:gd name="connsiteY131" fmla="*/ 1381125 h 1752600"/>
              <a:gd name="connsiteX132" fmla="*/ 2238375 w 3128973"/>
              <a:gd name="connsiteY132" fmla="*/ 1366837 h 1752600"/>
              <a:gd name="connsiteX133" fmla="*/ 2224087 w 3128973"/>
              <a:gd name="connsiteY133" fmla="*/ 1362075 h 1752600"/>
              <a:gd name="connsiteX134" fmla="*/ 2176462 w 3128973"/>
              <a:gd name="connsiteY134" fmla="*/ 1338262 h 1752600"/>
              <a:gd name="connsiteX135" fmla="*/ 2162175 w 3128973"/>
              <a:gd name="connsiteY135" fmla="*/ 1328737 h 1752600"/>
              <a:gd name="connsiteX136" fmla="*/ 2114550 w 3128973"/>
              <a:gd name="connsiteY136" fmla="*/ 1314450 h 1752600"/>
              <a:gd name="connsiteX137" fmla="*/ 2100262 w 3128973"/>
              <a:gd name="connsiteY137" fmla="*/ 1300162 h 1752600"/>
              <a:gd name="connsiteX138" fmla="*/ 2085975 w 3128973"/>
              <a:gd name="connsiteY138" fmla="*/ 1295400 h 1752600"/>
              <a:gd name="connsiteX139" fmla="*/ 2055019 w 3128973"/>
              <a:gd name="connsiteY139" fmla="*/ 1290637 h 1752600"/>
              <a:gd name="connsiteX140" fmla="*/ 2028824 w 3128973"/>
              <a:gd name="connsiteY140" fmla="*/ 1283494 h 1752600"/>
              <a:gd name="connsiteX141" fmla="*/ 2005012 w 3128973"/>
              <a:gd name="connsiteY141" fmla="*/ 1271587 h 1752600"/>
              <a:gd name="connsiteX142" fmla="*/ 1985962 w 3128973"/>
              <a:gd name="connsiteY142" fmla="*/ 1262062 h 1752600"/>
              <a:gd name="connsiteX143" fmla="*/ 1971675 w 3128973"/>
              <a:gd name="connsiteY143" fmla="*/ 1257300 h 1752600"/>
              <a:gd name="connsiteX144" fmla="*/ 1943100 w 3128973"/>
              <a:gd name="connsiteY144" fmla="*/ 1238250 h 1752600"/>
              <a:gd name="connsiteX145" fmla="*/ 1914525 w 3128973"/>
              <a:gd name="connsiteY145" fmla="*/ 1219200 h 1752600"/>
              <a:gd name="connsiteX146" fmla="*/ 1885950 w 3128973"/>
              <a:gd name="connsiteY146" fmla="*/ 1209675 h 1752600"/>
              <a:gd name="connsiteX147" fmla="*/ 1843087 w 3128973"/>
              <a:gd name="connsiteY147" fmla="*/ 1195387 h 1752600"/>
              <a:gd name="connsiteX148" fmla="*/ 1757362 w 3128973"/>
              <a:gd name="connsiteY148" fmla="*/ 1185862 h 1752600"/>
              <a:gd name="connsiteX149" fmla="*/ 1700212 w 3128973"/>
              <a:gd name="connsiteY149" fmla="*/ 1166812 h 1752600"/>
              <a:gd name="connsiteX150" fmla="*/ 1671637 w 3128973"/>
              <a:gd name="connsiteY150" fmla="*/ 1147762 h 1752600"/>
              <a:gd name="connsiteX151" fmla="*/ 1652587 w 3128973"/>
              <a:gd name="connsiteY151" fmla="*/ 1138237 h 1752600"/>
              <a:gd name="connsiteX152" fmla="*/ 1638300 w 3128973"/>
              <a:gd name="connsiteY152" fmla="*/ 1128712 h 1752600"/>
              <a:gd name="connsiteX153" fmla="*/ 1590675 w 3128973"/>
              <a:gd name="connsiteY153" fmla="*/ 1138238 h 1752600"/>
              <a:gd name="connsiteX154" fmla="*/ 1559719 w 3128973"/>
              <a:gd name="connsiteY154" fmla="*/ 1109662 h 1752600"/>
              <a:gd name="connsiteX155" fmla="*/ 1528762 w 3128973"/>
              <a:gd name="connsiteY155" fmla="*/ 1085850 h 1752600"/>
              <a:gd name="connsiteX156" fmla="*/ 1514475 w 3128973"/>
              <a:gd name="connsiteY156" fmla="*/ 1081087 h 1752600"/>
              <a:gd name="connsiteX157" fmla="*/ 1470025 w 3128973"/>
              <a:gd name="connsiteY157" fmla="*/ 1130300 h 1752600"/>
              <a:gd name="connsiteX158" fmla="*/ 1433512 w 3128973"/>
              <a:gd name="connsiteY158" fmla="*/ 1108075 h 1752600"/>
              <a:gd name="connsiteX159" fmla="*/ 1423987 w 3128973"/>
              <a:gd name="connsiteY159" fmla="*/ 1087437 h 1752600"/>
              <a:gd name="connsiteX160" fmla="*/ 1381125 w 3128973"/>
              <a:gd name="connsiteY160" fmla="*/ 1095375 h 1752600"/>
              <a:gd name="connsiteX161" fmla="*/ 1383506 w 3128973"/>
              <a:gd name="connsiteY161" fmla="*/ 1028700 h 1752600"/>
              <a:gd name="connsiteX162" fmla="*/ 1366838 w 3128973"/>
              <a:gd name="connsiteY162" fmla="*/ 1019175 h 1752600"/>
              <a:gd name="connsiteX163" fmla="*/ 1335881 w 3128973"/>
              <a:gd name="connsiteY163" fmla="*/ 1007268 h 1752600"/>
              <a:gd name="connsiteX164" fmla="*/ 1319213 w 3128973"/>
              <a:gd name="connsiteY164" fmla="*/ 1007268 h 1752600"/>
              <a:gd name="connsiteX165" fmla="*/ 1295400 w 3128973"/>
              <a:gd name="connsiteY165" fmla="*/ 976312 h 1752600"/>
              <a:gd name="connsiteX166" fmla="*/ 1281112 w 3128973"/>
              <a:gd name="connsiteY166" fmla="*/ 966787 h 1752600"/>
              <a:gd name="connsiteX167" fmla="*/ 1238250 w 3128973"/>
              <a:gd name="connsiteY167" fmla="*/ 947737 h 1752600"/>
              <a:gd name="connsiteX168" fmla="*/ 1212850 w 3128973"/>
              <a:gd name="connsiteY168" fmla="*/ 995362 h 1752600"/>
              <a:gd name="connsiteX169" fmla="*/ 1201737 w 3128973"/>
              <a:gd name="connsiteY169" fmla="*/ 987425 h 1752600"/>
              <a:gd name="connsiteX170" fmla="*/ 1163637 w 3128973"/>
              <a:gd name="connsiteY170" fmla="*/ 952277 h 1752600"/>
              <a:gd name="connsiteX171" fmla="*/ 1133475 w 3128973"/>
              <a:gd name="connsiteY171" fmla="*/ 925512 h 1752600"/>
              <a:gd name="connsiteX172" fmla="*/ 1085850 w 3128973"/>
              <a:gd name="connsiteY172" fmla="*/ 859631 h 1752600"/>
              <a:gd name="connsiteX173" fmla="*/ 1071562 w 3128973"/>
              <a:gd name="connsiteY173" fmla="*/ 842962 h 1752600"/>
              <a:gd name="connsiteX174" fmla="*/ 1047750 w 3128973"/>
              <a:gd name="connsiteY174" fmla="*/ 819150 h 1752600"/>
              <a:gd name="connsiteX175" fmla="*/ 1028700 w 3128973"/>
              <a:gd name="connsiteY175" fmla="*/ 804862 h 1752600"/>
              <a:gd name="connsiteX176" fmla="*/ 1018076 w 3128973"/>
              <a:gd name="connsiteY176" fmla="*/ 794816 h 1752600"/>
              <a:gd name="connsiteX177" fmla="*/ 1000125 w 3128973"/>
              <a:gd name="connsiteY177" fmla="*/ 785812 h 1752600"/>
              <a:gd name="connsiteX178" fmla="*/ 984342 w 3128973"/>
              <a:gd name="connsiteY178" fmla="*/ 773578 h 1752600"/>
              <a:gd name="connsiteX179" fmla="*/ 957262 w 3128973"/>
              <a:gd name="connsiteY179" fmla="*/ 766762 h 1752600"/>
              <a:gd name="connsiteX180" fmla="*/ 938212 w 3128973"/>
              <a:gd name="connsiteY180" fmla="*/ 757237 h 1752600"/>
              <a:gd name="connsiteX181" fmla="*/ 904875 w 3128973"/>
              <a:gd name="connsiteY181" fmla="*/ 747712 h 1752600"/>
              <a:gd name="connsiteX182" fmla="*/ 862012 w 3128973"/>
              <a:gd name="connsiteY182" fmla="*/ 723900 h 1752600"/>
              <a:gd name="connsiteX183" fmla="*/ 795337 w 3128973"/>
              <a:gd name="connsiteY183" fmla="*/ 685800 h 1752600"/>
              <a:gd name="connsiteX184" fmla="*/ 776287 w 3128973"/>
              <a:gd name="connsiteY184" fmla="*/ 666750 h 1752600"/>
              <a:gd name="connsiteX185" fmla="*/ 762000 w 3128973"/>
              <a:gd name="connsiteY185" fmla="*/ 661987 h 1752600"/>
              <a:gd name="connsiteX186" fmla="*/ 742950 w 3128973"/>
              <a:gd name="connsiteY186" fmla="*/ 647700 h 1752600"/>
              <a:gd name="connsiteX187" fmla="*/ 709612 w 3128973"/>
              <a:gd name="connsiteY187" fmla="*/ 638175 h 1752600"/>
              <a:gd name="connsiteX188" fmla="*/ 695325 w 3128973"/>
              <a:gd name="connsiteY188" fmla="*/ 628650 h 1752600"/>
              <a:gd name="connsiteX189" fmla="*/ 681037 w 3128973"/>
              <a:gd name="connsiteY189" fmla="*/ 623887 h 1752600"/>
              <a:gd name="connsiteX190" fmla="*/ 676275 w 3128973"/>
              <a:gd name="connsiteY190" fmla="*/ 604837 h 1752600"/>
              <a:gd name="connsiteX191" fmla="*/ 666750 w 3128973"/>
              <a:gd name="connsiteY191" fmla="*/ 576262 h 1752600"/>
              <a:gd name="connsiteX192" fmla="*/ 661987 w 3128973"/>
              <a:gd name="connsiteY192" fmla="*/ 561975 h 1752600"/>
              <a:gd name="connsiteX193" fmla="*/ 666750 w 3128973"/>
              <a:gd name="connsiteY193" fmla="*/ 538162 h 1752600"/>
              <a:gd name="connsiteX194" fmla="*/ 638175 w 3128973"/>
              <a:gd name="connsiteY194" fmla="*/ 514350 h 1752600"/>
              <a:gd name="connsiteX195" fmla="*/ 619125 w 3128973"/>
              <a:gd name="connsiteY195" fmla="*/ 500062 h 1752600"/>
              <a:gd name="connsiteX196" fmla="*/ 576262 w 3128973"/>
              <a:gd name="connsiteY196" fmla="*/ 490537 h 1752600"/>
              <a:gd name="connsiteX197" fmla="*/ 542925 w 3128973"/>
              <a:gd name="connsiteY197" fmla="*/ 452437 h 1752600"/>
              <a:gd name="connsiteX198" fmla="*/ 525462 w 3128973"/>
              <a:gd name="connsiteY198" fmla="*/ 485775 h 1752600"/>
              <a:gd name="connsiteX199" fmla="*/ 504825 w 3128973"/>
              <a:gd name="connsiteY199" fmla="*/ 466725 h 1752600"/>
              <a:gd name="connsiteX200" fmla="*/ 454025 w 3128973"/>
              <a:gd name="connsiteY200" fmla="*/ 466725 h 1752600"/>
              <a:gd name="connsiteX201" fmla="*/ 407987 w 3128973"/>
              <a:gd name="connsiteY201" fmla="*/ 473075 h 1752600"/>
              <a:gd name="connsiteX202" fmla="*/ 395287 w 3128973"/>
              <a:gd name="connsiteY202" fmla="*/ 409575 h 1752600"/>
              <a:gd name="connsiteX203" fmla="*/ 376237 w 3128973"/>
              <a:gd name="connsiteY203" fmla="*/ 404812 h 1752600"/>
              <a:gd name="connsiteX204" fmla="*/ 342900 w 3128973"/>
              <a:gd name="connsiteY204" fmla="*/ 400050 h 1752600"/>
              <a:gd name="connsiteX205" fmla="*/ 314325 w 3128973"/>
              <a:gd name="connsiteY205" fmla="*/ 390525 h 1752600"/>
              <a:gd name="connsiteX206" fmla="*/ 273844 w 3128973"/>
              <a:gd name="connsiteY206" fmla="*/ 383382 h 1752600"/>
              <a:gd name="connsiteX207" fmla="*/ 257175 w 3128973"/>
              <a:gd name="connsiteY207" fmla="*/ 371475 h 1752600"/>
              <a:gd name="connsiteX208" fmla="*/ 245269 w 3128973"/>
              <a:gd name="connsiteY208" fmla="*/ 364331 h 1752600"/>
              <a:gd name="connsiteX209" fmla="*/ 223837 w 3128973"/>
              <a:gd name="connsiteY209" fmla="*/ 347662 h 1752600"/>
              <a:gd name="connsiteX210" fmla="*/ 190500 w 3128973"/>
              <a:gd name="connsiteY210" fmla="*/ 338137 h 1752600"/>
              <a:gd name="connsiteX211" fmla="*/ 147637 w 3128973"/>
              <a:gd name="connsiteY211" fmla="*/ 333375 h 1752600"/>
              <a:gd name="connsiteX212" fmla="*/ 119062 w 3128973"/>
              <a:gd name="connsiteY212" fmla="*/ 323850 h 1752600"/>
              <a:gd name="connsiteX213" fmla="*/ 104775 w 3128973"/>
              <a:gd name="connsiteY213" fmla="*/ 319087 h 1752600"/>
              <a:gd name="connsiteX214" fmla="*/ 61912 w 3128973"/>
              <a:gd name="connsiteY214" fmla="*/ 300037 h 1752600"/>
              <a:gd name="connsiteX215" fmla="*/ 23812 w 3128973"/>
              <a:gd name="connsiteY215" fmla="*/ 290512 h 1752600"/>
              <a:gd name="connsiteX216" fmla="*/ 9525 w 3128973"/>
              <a:gd name="connsiteY216" fmla="*/ 261937 h 1752600"/>
              <a:gd name="connsiteX217" fmla="*/ 0 w 3128973"/>
              <a:gd name="connsiteY217" fmla="*/ 290512 h 1752600"/>
              <a:gd name="connsiteX218" fmla="*/ 4762 w 3128973"/>
              <a:gd name="connsiteY218" fmla="*/ 247650 h 1752600"/>
              <a:gd name="connsiteX219" fmla="*/ 19050 w 3128973"/>
              <a:gd name="connsiteY219" fmla="*/ 200025 h 1752600"/>
              <a:gd name="connsiteX220" fmla="*/ 23812 w 3128973"/>
              <a:gd name="connsiteY220" fmla="*/ 185737 h 1752600"/>
              <a:gd name="connsiteX221" fmla="*/ 71437 w 3128973"/>
              <a:gd name="connsiteY221" fmla="*/ 171450 h 1752600"/>
              <a:gd name="connsiteX222" fmla="*/ 85725 w 3128973"/>
              <a:gd name="connsiteY222" fmla="*/ 166687 h 1752600"/>
              <a:gd name="connsiteX223" fmla="*/ 100012 w 3128973"/>
              <a:gd name="connsiteY223" fmla="*/ 161925 h 1752600"/>
              <a:gd name="connsiteX224" fmla="*/ 114300 w 3128973"/>
              <a:gd name="connsiteY224" fmla="*/ 152400 h 1752600"/>
              <a:gd name="connsiteX225" fmla="*/ 133350 w 3128973"/>
              <a:gd name="connsiteY225" fmla="*/ 123825 h 1752600"/>
              <a:gd name="connsiteX226" fmla="*/ 138112 w 3128973"/>
              <a:gd name="connsiteY226" fmla="*/ 109537 h 1752600"/>
              <a:gd name="connsiteX227" fmla="*/ 135467 w 3128973"/>
              <a:gd name="connsiteY227" fmla="*/ 97059 h 1752600"/>
              <a:gd name="connsiteX228" fmla="*/ 142875 w 3128973"/>
              <a:gd name="connsiteY228" fmla="*/ 71437 h 1752600"/>
              <a:gd name="connsiteX229" fmla="*/ 157162 w 3128973"/>
              <a:gd name="connsiteY229" fmla="*/ 57150 h 1752600"/>
              <a:gd name="connsiteX230" fmla="*/ 200025 w 3128973"/>
              <a:gd name="connsiteY230" fmla="*/ 33337 h 1752600"/>
              <a:gd name="connsiteX231" fmla="*/ 309562 w 3128973"/>
              <a:gd name="connsiteY231" fmla="*/ 28575 h 1752600"/>
              <a:gd name="connsiteX232" fmla="*/ 400050 w 3128973"/>
              <a:gd name="connsiteY232" fmla="*/ 14287 h 1752600"/>
              <a:gd name="connsiteX233" fmla="*/ 414337 w 3128973"/>
              <a:gd name="connsiteY233" fmla="*/ 9525 h 1752600"/>
              <a:gd name="connsiteX234" fmla="*/ 481012 w 3128973"/>
              <a:gd name="connsiteY234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38362 w 3128973"/>
              <a:gd name="connsiteY22" fmla="*/ 220975 h 1752600"/>
              <a:gd name="connsiteX23" fmla="*/ 2121693 w 3128973"/>
              <a:gd name="connsiteY23" fmla="*/ 220975 h 1752600"/>
              <a:gd name="connsiteX24" fmla="*/ 2046801 w 3128973"/>
              <a:gd name="connsiteY24" fmla="*/ 262295 h 1752600"/>
              <a:gd name="connsiteX25" fmla="*/ 2033587 w 3128973"/>
              <a:gd name="connsiteY25" fmla="*/ 266700 h 1752600"/>
              <a:gd name="connsiteX26" fmla="*/ 2019300 w 3128973"/>
              <a:gd name="connsiteY26" fmla="*/ 280987 h 1752600"/>
              <a:gd name="connsiteX27" fmla="*/ 1990725 w 3128973"/>
              <a:gd name="connsiteY27" fmla="*/ 300037 h 1752600"/>
              <a:gd name="connsiteX28" fmla="*/ 1981200 w 3128973"/>
              <a:gd name="connsiteY28" fmla="*/ 314325 h 1752600"/>
              <a:gd name="connsiteX29" fmla="*/ 1981200 w 3128973"/>
              <a:gd name="connsiteY29" fmla="*/ 419100 h 1752600"/>
              <a:gd name="connsiteX30" fmla="*/ 1985962 w 3128973"/>
              <a:gd name="connsiteY30" fmla="*/ 433387 h 1752600"/>
              <a:gd name="connsiteX31" fmla="*/ 2000250 w 3128973"/>
              <a:gd name="connsiteY31" fmla="*/ 442912 h 1752600"/>
              <a:gd name="connsiteX32" fmla="*/ 2005012 w 3128973"/>
              <a:gd name="connsiteY32" fmla="*/ 457200 h 1752600"/>
              <a:gd name="connsiteX33" fmla="*/ 2005012 w 3128973"/>
              <a:gd name="connsiteY33" fmla="*/ 561975 h 1752600"/>
              <a:gd name="connsiteX34" fmla="*/ 2009775 w 3128973"/>
              <a:gd name="connsiteY34" fmla="*/ 576262 h 1752600"/>
              <a:gd name="connsiteX35" fmla="*/ 2024062 w 3128973"/>
              <a:gd name="connsiteY35" fmla="*/ 581025 h 1752600"/>
              <a:gd name="connsiteX36" fmla="*/ 2038350 w 3128973"/>
              <a:gd name="connsiteY36" fmla="*/ 595312 h 1752600"/>
              <a:gd name="connsiteX37" fmla="*/ 2052637 w 3128973"/>
              <a:gd name="connsiteY37" fmla="*/ 600075 h 1752600"/>
              <a:gd name="connsiteX38" fmla="*/ 2133600 w 3128973"/>
              <a:gd name="connsiteY38" fmla="*/ 590550 h 1752600"/>
              <a:gd name="connsiteX39" fmla="*/ 2147887 w 3128973"/>
              <a:gd name="connsiteY39" fmla="*/ 585787 h 1752600"/>
              <a:gd name="connsiteX40" fmla="*/ 2195512 w 3128973"/>
              <a:gd name="connsiteY40" fmla="*/ 600075 h 1752600"/>
              <a:gd name="connsiteX41" fmla="*/ 2205037 w 3128973"/>
              <a:gd name="connsiteY41" fmla="*/ 614362 h 1752600"/>
              <a:gd name="connsiteX42" fmla="*/ 2219325 w 3128973"/>
              <a:gd name="connsiteY42" fmla="*/ 628650 h 1752600"/>
              <a:gd name="connsiteX43" fmla="*/ 2224087 w 3128973"/>
              <a:gd name="connsiteY43" fmla="*/ 642937 h 1752600"/>
              <a:gd name="connsiteX44" fmla="*/ 2233612 w 3128973"/>
              <a:gd name="connsiteY44" fmla="*/ 657225 h 1752600"/>
              <a:gd name="connsiteX45" fmla="*/ 2247900 w 3128973"/>
              <a:gd name="connsiteY45" fmla="*/ 685800 h 1752600"/>
              <a:gd name="connsiteX46" fmla="*/ 2262187 w 3128973"/>
              <a:gd name="connsiteY46" fmla="*/ 733425 h 1752600"/>
              <a:gd name="connsiteX47" fmla="*/ 2305050 w 3128973"/>
              <a:gd name="connsiteY47" fmla="*/ 771525 h 1752600"/>
              <a:gd name="connsiteX48" fmla="*/ 2319337 w 3128973"/>
              <a:gd name="connsiteY48" fmla="*/ 804862 h 1752600"/>
              <a:gd name="connsiteX49" fmla="*/ 2333625 w 3128973"/>
              <a:gd name="connsiteY49" fmla="*/ 819150 h 1752600"/>
              <a:gd name="connsiteX50" fmla="*/ 2338387 w 3128973"/>
              <a:gd name="connsiteY50" fmla="*/ 833437 h 1752600"/>
              <a:gd name="connsiteX51" fmla="*/ 2352675 w 3128973"/>
              <a:gd name="connsiteY51" fmla="*/ 847725 h 1752600"/>
              <a:gd name="connsiteX52" fmla="*/ 2395537 w 3128973"/>
              <a:gd name="connsiteY52" fmla="*/ 871537 h 1752600"/>
              <a:gd name="connsiteX53" fmla="*/ 2409825 w 3128973"/>
              <a:gd name="connsiteY53" fmla="*/ 890587 h 1752600"/>
              <a:gd name="connsiteX54" fmla="*/ 2424112 w 3128973"/>
              <a:gd name="connsiteY54" fmla="*/ 895350 h 1752600"/>
              <a:gd name="connsiteX55" fmla="*/ 2433637 w 3128973"/>
              <a:gd name="connsiteY55" fmla="*/ 914400 h 1752600"/>
              <a:gd name="connsiteX56" fmla="*/ 2466975 w 3128973"/>
              <a:gd name="connsiteY56" fmla="*/ 942975 h 1752600"/>
              <a:gd name="connsiteX57" fmla="*/ 2474637 w 3128973"/>
              <a:gd name="connsiteY57" fmla="*/ 954728 h 1752600"/>
              <a:gd name="connsiteX58" fmla="*/ 2495550 w 3128973"/>
              <a:gd name="connsiteY58" fmla="*/ 971550 h 1752600"/>
              <a:gd name="connsiteX59" fmla="*/ 2508776 w 3128973"/>
              <a:gd name="connsiteY59" fmla="*/ 983894 h 1752600"/>
              <a:gd name="connsiteX60" fmla="*/ 2533650 w 3128973"/>
              <a:gd name="connsiteY60" fmla="*/ 1000125 h 1752600"/>
              <a:gd name="connsiteX61" fmla="*/ 2547937 w 3128973"/>
              <a:gd name="connsiteY61" fmla="*/ 1028700 h 1752600"/>
              <a:gd name="connsiteX62" fmla="*/ 2552700 w 3128973"/>
              <a:gd name="connsiteY62" fmla="*/ 1042987 h 1752600"/>
              <a:gd name="connsiteX63" fmla="*/ 2576512 w 3128973"/>
              <a:gd name="connsiteY63" fmla="*/ 1071562 h 1752600"/>
              <a:gd name="connsiteX64" fmla="*/ 2584921 w 3128973"/>
              <a:gd name="connsiteY64" fmla="*/ 1082873 h 1752600"/>
              <a:gd name="connsiteX65" fmla="*/ 2600325 w 3128973"/>
              <a:gd name="connsiteY65" fmla="*/ 1095375 h 1752600"/>
              <a:gd name="connsiteX66" fmla="*/ 2609850 w 3128973"/>
              <a:gd name="connsiteY66" fmla="*/ 1109662 h 1752600"/>
              <a:gd name="connsiteX67" fmla="*/ 2652712 w 3128973"/>
              <a:gd name="connsiteY67" fmla="*/ 1143000 h 1752600"/>
              <a:gd name="connsiteX68" fmla="*/ 2681287 w 3128973"/>
              <a:gd name="connsiteY68" fmla="*/ 1152525 h 1752600"/>
              <a:gd name="connsiteX69" fmla="*/ 2700337 w 3128973"/>
              <a:gd name="connsiteY69" fmla="*/ 1162050 h 1752600"/>
              <a:gd name="connsiteX70" fmla="*/ 2714625 w 3128973"/>
              <a:gd name="connsiteY70" fmla="*/ 1171575 h 1752600"/>
              <a:gd name="connsiteX71" fmla="*/ 2752725 w 3128973"/>
              <a:gd name="connsiteY71" fmla="*/ 1181100 h 1752600"/>
              <a:gd name="connsiteX72" fmla="*/ 2767012 w 3128973"/>
              <a:gd name="connsiteY72" fmla="*/ 1195387 h 1752600"/>
              <a:gd name="connsiteX73" fmla="*/ 2781300 w 3128973"/>
              <a:gd name="connsiteY73" fmla="*/ 1200150 h 1752600"/>
              <a:gd name="connsiteX74" fmla="*/ 2795587 w 3128973"/>
              <a:gd name="connsiteY74" fmla="*/ 1209675 h 1752600"/>
              <a:gd name="connsiteX75" fmla="*/ 2805112 w 3128973"/>
              <a:gd name="connsiteY75" fmla="*/ 1223962 h 1752600"/>
              <a:gd name="connsiteX76" fmla="*/ 2809875 w 3128973"/>
              <a:gd name="connsiteY76" fmla="*/ 1238250 h 1752600"/>
              <a:gd name="connsiteX77" fmla="*/ 2833687 w 3128973"/>
              <a:gd name="connsiteY77" fmla="*/ 1276350 h 1752600"/>
              <a:gd name="connsiteX78" fmla="*/ 2895600 w 3128973"/>
              <a:gd name="connsiteY78" fmla="*/ 1333500 h 1752600"/>
              <a:gd name="connsiteX79" fmla="*/ 2900362 w 3128973"/>
              <a:gd name="connsiteY79" fmla="*/ 1352550 h 1752600"/>
              <a:gd name="connsiteX80" fmla="*/ 2928937 w 3128973"/>
              <a:gd name="connsiteY80" fmla="*/ 1395412 h 1752600"/>
              <a:gd name="connsiteX81" fmla="*/ 2943225 w 3128973"/>
              <a:gd name="connsiteY81" fmla="*/ 1404937 h 1752600"/>
              <a:gd name="connsiteX82" fmla="*/ 2957512 w 3128973"/>
              <a:gd name="connsiteY82" fmla="*/ 1419225 h 1752600"/>
              <a:gd name="connsiteX83" fmla="*/ 2986087 w 3128973"/>
              <a:gd name="connsiteY83" fmla="*/ 1443037 h 1752600"/>
              <a:gd name="connsiteX84" fmla="*/ 3000375 w 3128973"/>
              <a:gd name="connsiteY84" fmla="*/ 1462087 h 1752600"/>
              <a:gd name="connsiteX85" fmla="*/ 3016395 w 3128973"/>
              <a:gd name="connsiteY85" fmla="*/ 1476222 h 1752600"/>
              <a:gd name="connsiteX86" fmla="*/ 3028950 w 3128973"/>
              <a:gd name="connsiteY86" fmla="*/ 1495425 h 1752600"/>
              <a:gd name="connsiteX87" fmla="*/ 3043237 w 3128973"/>
              <a:gd name="connsiteY87" fmla="*/ 1552575 h 1752600"/>
              <a:gd name="connsiteX88" fmla="*/ 3052762 w 3128973"/>
              <a:gd name="connsiteY88" fmla="*/ 1566862 h 1752600"/>
              <a:gd name="connsiteX89" fmla="*/ 3057525 w 3128973"/>
              <a:gd name="connsiteY89" fmla="*/ 1581150 h 1752600"/>
              <a:gd name="connsiteX90" fmla="*/ 3067050 w 3128973"/>
              <a:gd name="connsiteY90" fmla="*/ 1662112 h 1752600"/>
              <a:gd name="connsiteX91" fmla="*/ 3071812 w 3128973"/>
              <a:gd name="connsiteY91" fmla="*/ 1676400 h 1752600"/>
              <a:gd name="connsiteX92" fmla="*/ 3100387 w 3128973"/>
              <a:gd name="connsiteY92" fmla="*/ 1690687 h 1752600"/>
              <a:gd name="connsiteX93" fmla="*/ 3114675 w 3128973"/>
              <a:gd name="connsiteY93" fmla="*/ 1685925 h 1752600"/>
              <a:gd name="connsiteX94" fmla="*/ 3124200 w 3128973"/>
              <a:gd name="connsiteY94" fmla="*/ 1671637 h 1752600"/>
              <a:gd name="connsiteX95" fmla="*/ 3128973 w 3128973"/>
              <a:gd name="connsiteY95" fmla="*/ 1651467 h 1752600"/>
              <a:gd name="connsiteX96" fmla="*/ 3128021 w 3128973"/>
              <a:gd name="connsiteY96" fmla="*/ 1710279 h 1752600"/>
              <a:gd name="connsiteX97" fmla="*/ 3043237 w 3128973"/>
              <a:gd name="connsiteY97" fmla="*/ 1714500 h 1752600"/>
              <a:gd name="connsiteX98" fmla="*/ 3028950 w 3128973"/>
              <a:gd name="connsiteY98" fmla="*/ 1728787 h 1752600"/>
              <a:gd name="connsiteX99" fmla="*/ 2986087 w 3128973"/>
              <a:gd name="connsiteY99" fmla="*/ 1738312 h 1752600"/>
              <a:gd name="connsiteX100" fmla="*/ 2971800 w 3128973"/>
              <a:gd name="connsiteY100" fmla="*/ 1743075 h 1752600"/>
              <a:gd name="connsiteX101" fmla="*/ 2943225 w 3128973"/>
              <a:gd name="connsiteY101" fmla="*/ 1738312 h 1752600"/>
              <a:gd name="connsiteX102" fmla="*/ 2928937 w 3128973"/>
              <a:gd name="connsiteY102" fmla="*/ 1747837 h 1752600"/>
              <a:gd name="connsiteX103" fmla="*/ 2914650 w 3128973"/>
              <a:gd name="connsiteY103" fmla="*/ 1752600 h 1752600"/>
              <a:gd name="connsiteX104" fmla="*/ 2895600 w 3128973"/>
              <a:gd name="connsiteY104" fmla="*/ 1724025 h 1752600"/>
              <a:gd name="connsiteX105" fmla="*/ 2883310 w 3128973"/>
              <a:gd name="connsiteY105" fmla="*/ 1701201 h 1752600"/>
              <a:gd name="connsiteX106" fmla="*/ 2883805 w 3128973"/>
              <a:gd name="connsiteY106" fmla="*/ 1696138 h 1752600"/>
              <a:gd name="connsiteX107" fmla="*/ 2871787 w 3128973"/>
              <a:gd name="connsiteY107" fmla="*/ 1685925 h 1752600"/>
              <a:gd name="connsiteX108" fmla="*/ 2847975 w 3128973"/>
              <a:gd name="connsiteY108" fmla="*/ 1657350 h 1752600"/>
              <a:gd name="connsiteX109" fmla="*/ 2834034 w 3128973"/>
              <a:gd name="connsiteY109" fmla="*/ 1637762 h 1752600"/>
              <a:gd name="connsiteX110" fmla="*/ 2814637 w 3128973"/>
              <a:gd name="connsiteY110" fmla="*/ 1619250 h 1752600"/>
              <a:gd name="connsiteX111" fmla="*/ 2809875 w 3128973"/>
              <a:gd name="connsiteY111" fmla="*/ 1604962 h 1752600"/>
              <a:gd name="connsiteX112" fmla="*/ 2795587 w 3128973"/>
              <a:gd name="connsiteY112" fmla="*/ 1600200 h 1752600"/>
              <a:gd name="connsiteX113" fmla="*/ 2781300 w 3128973"/>
              <a:gd name="connsiteY113" fmla="*/ 1590675 h 1752600"/>
              <a:gd name="connsiteX114" fmla="*/ 2752725 w 3128973"/>
              <a:gd name="connsiteY114" fmla="*/ 1581150 h 1752600"/>
              <a:gd name="connsiteX115" fmla="*/ 2733675 w 3128973"/>
              <a:gd name="connsiteY115" fmla="*/ 1625600 h 1752600"/>
              <a:gd name="connsiteX116" fmla="*/ 2709862 w 3128973"/>
              <a:gd name="connsiteY116" fmla="*/ 1619250 h 1752600"/>
              <a:gd name="connsiteX117" fmla="*/ 2723566 w 3128973"/>
              <a:gd name="connsiteY117" fmla="*/ 1590361 h 1752600"/>
              <a:gd name="connsiteX118" fmla="*/ 2674937 w 3128973"/>
              <a:gd name="connsiteY118" fmla="*/ 1560512 h 1752600"/>
              <a:gd name="connsiteX119" fmla="*/ 2643187 w 3128973"/>
              <a:gd name="connsiteY119" fmla="*/ 1495425 h 1752600"/>
              <a:gd name="connsiteX120" fmla="*/ 2628900 w 3128973"/>
              <a:gd name="connsiteY120" fmla="*/ 1490662 h 1752600"/>
              <a:gd name="connsiteX121" fmla="*/ 2595562 w 3128973"/>
              <a:gd name="connsiteY121" fmla="*/ 1481137 h 1752600"/>
              <a:gd name="connsiteX122" fmla="*/ 2581275 w 3128973"/>
              <a:gd name="connsiteY122" fmla="*/ 1466850 h 1752600"/>
              <a:gd name="connsiteX123" fmla="*/ 2552700 w 3128973"/>
              <a:gd name="connsiteY123" fmla="*/ 1457325 h 1752600"/>
              <a:gd name="connsiteX124" fmla="*/ 2538412 w 3128973"/>
              <a:gd name="connsiteY124" fmla="*/ 1447800 h 1752600"/>
              <a:gd name="connsiteX125" fmla="*/ 2519362 w 3128973"/>
              <a:gd name="connsiteY125" fmla="*/ 1443037 h 1752600"/>
              <a:gd name="connsiteX126" fmla="*/ 2490787 w 3128973"/>
              <a:gd name="connsiteY126" fmla="*/ 1433512 h 1752600"/>
              <a:gd name="connsiteX127" fmla="*/ 2476500 w 3128973"/>
              <a:gd name="connsiteY127" fmla="*/ 1428750 h 1752600"/>
              <a:gd name="connsiteX128" fmla="*/ 2466975 w 3128973"/>
              <a:gd name="connsiteY128" fmla="*/ 1414462 h 1752600"/>
              <a:gd name="connsiteX129" fmla="*/ 2447925 w 3128973"/>
              <a:gd name="connsiteY129" fmla="*/ 1409700 h 1752600"/>
              <a:gd name="connsiteX130" fmla="*/ 2309812 w 3128973"/>
              <a:gd name="connsiteY130" fmla="*/ 1395412 h 1752600"/>
              <a:gd name="connsiteX131" fmla="*/ 2295525 w 3128973"/>
              <a:gd name="connsiteY131" fmla="*/ 1390650 h 1752600"/>
              <a:gd name="connsiteX132" fmla="*/ 2257425 w 3128973"/>
              <a:gd name="connsiteY132" fmla="*/ 1381125 h 1752600"/>
              <a:gd name="connsiteX133" fmla="*/ 2238375 w 3128973"/>
              <a:gd name="connsiteY133" fmla="*/ 1366837 h 1752600"/>
              <a:gd name="connsiteX134" fmla="*/ 2224087 w 3128973"/>
              <a:gd name="connsiteY134" fmla="*/ 1362075 h 1752600"/>
              <a:gd name="connsiteX135" fmla="*/ 2176462 w 3128973"/>
              <a:gd name="connsiteY135" fmla="*/ 1338262 h 1752600"/>
              <a:gd name="connsiteX136" fmla="*/ 2162175 w 3128973"/>
              <a:gd name="connsiteY136" fmla="*/ 1328737 h 1752600"/>
              <a:gd name="connsiteX137" fmla="*/ 2114550 w 3128973"/>
              <a:gd name="connsiteY137" fmla="*/ 1314450 h 1752600"/>
              <a:gd name="connsiteX138" fmla="*/ 2100262 w 3128973"/>
              <a:gd name="connsiteY138" fmla="*/ 1300162 h 1752600"/>
              <a:gd name="connsiteX139" fmla="*/ 2085975 w 3128973"/>
              <a:gd name="connsiteY139" fmla="*/ 1295400 h 1752600"/>
              <a:gd name="connsiteX140" fmla="*/ 2055019 w 3128973"/>
              <a:gd name="connsiteY140" fmla="*/ 1290637 h 1752600"/>
              <a:gd name="connsiteX141" fmla="*/ 2028824 w 3128973"/>
              <a:gd name="connsiteY141" fmla="*/ 1283494 h 1752600"/>
              <a:gd name="connsiteX142" fmla="*/ 2005012 w 3128973"/>
              <a:gd name="connsiteY142" fmla="*/ 1271587 h 1752600"/>
              <a:gd name="connsiteX143" fmla="*/ 1985962 w 3128973"/>
              <a:gd name="connsiteY143" fmla="*/ 1262062 h 1752600"/>
              <a:gd name="connsiteX144" fmla="*/ 1971675 w 3128973"/>
              <a:gd name="connsiteY144" fmla="*/ 1257300 h 1752600"/>
              <a:gd name="connsiteX145" fmla="*/ 1943100 w 3128973"/>
              <a:gd name="connsiteY145" fmla="*/ 1238250 h 1752600"/>
              <a:gd name="connsiteX146" fmla="*/ 1914525 w 3128973"/>
              <a:gd name="connsiteY146" fmla="*/ 1219200 h 1752600"/>
              <a:gd name="connsiteX147" fmla="*/ 1885950 w 3128973"/>
              <a:gd name="connsiteY147" fmla="*/ 1209675 h 1752600"/>
              <a:gd name="connsiteX148" fmla="*/ 1843087 w 3128973"/>
              <a:gd name="connsiteY148" fmla="*/ 1195387 h 1752600"/>
              <a:gd name="connsiteX149" fmla="*/ 1757362 w 3128973"/>
              <a:gd name="connsiteY149" fmla="*/ 1185862 h 1752600"/>
              <a:gd name="connsiteX150" fmla="*/ 1700212 w 3128973"/>
              <a:gd name="connsiteY150" fmla="*/ 1166812 h 1752600"/>
              <a:gd name="connsiteX151" fmla="*/ 1671637 w 3128973"/>
              <a:gd name="connsiteY151" fmla="*/ 1147762 h 1752600"/>
              <a:gd name="connsiteX152" fmla="*/ 1652587 w 3128973"/>
              <a:gd name="connsiteY152" fmla="*/ 1138237 h 1752600"/>
              <a:gd name="connsiteX153" fmla="*/ 1638300 w 3128973"/>
              <a:gd name="connsiteY153" fmla="*/ 1128712 h 1752600"/>
              <a:gd name="connsiteX154" fmla="*/ 1590675 w 3128973"/>
              <a:gd name="connsiteY154" fmla="*/ 1138238 h 1752600"/>
              <a:gd name="connsiteX155" fmla="*/ 1559719 w 3128973"/>
              <a:gd name="connsiteY155" fmla="*/ 1109662 h 1752600"/>
              <a:gd name="connsiteX156" fmla="*/ 1528762 w 3128973"/>
              <a:gd name="connsiteY156" fmla="*/ 1085850 h 1752600"/>
              <a:gd name="connsiteX157" fmla="*/ 1514475 w 3128973"/>
              <a:gd name="connsiteY157" fmla="*/ 108108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83506 w 3128973"/>
              <a:gd name="connsiteY162" fmla="*/ 1028700 h 1752600"/>
              <a:gd name="connsiteX163" fmla="*/ 1366838 w 3128973"/>
              <a:gd name="connsiteY163" fmla="*/ 1019175 h 1752600"/>
              <a:gd name="connsiteX164" fmla="*/ 1335881 w 3128973"/>
              <a:gd name="connsiteY164" fmla="*/ 1007268 h 1752600"/>
              <a:gd name="connsiteX165" fmla="*/ 1319213 w 3128973"/>
              <a:gd name="connsiteY165" fmla="*/ 1007268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33475 w 3128973"/>
              <a:gd name="connsiteY172" fmla="*/ 925512 h 1752600"/>
              <a:gd name="connsiteX173" fmla="*/ 1085850 w 3128973"/>
              <a:gd name="connsiteY173" fmla="*/ 859631 h 1752600"/>
              <a:gd name="connsiteX174" fmla="*/ 1071562 w 3128973"/>
              <a:gd name="connsiteY174" fmla="*/ 842962 h 1752600"/>
              <a:gd name="connsiteX175" fmla="*/ 1047750 w 3128973"/>
              <a:gd name="connsiteY175" fmla="*/ 819150 h 1752600"/>
              <a:gd name="connsiteX176" fmla="*/ 1028700 w 3128973"/>
              <a:gd name="connsiteY176" fmla="*/ 804862 h 1752600"/>
              <a:gd name="connsiteX177" fmla="*/ 1018076 w 3128973"/>
              <a:gd name="connsiteY177" fmla="*/ 794816 h 1752600"/>
              <a:gd name="connsiteX178" fmla="*/ 1000125 w 3128973"/>
              <a:gd name="connsiteY178" fmla="*/ 785812 h 1752600"/>
              <a:gd name="connsiteX179" fmla="*/ 984342 w 3128973"/>
              <a:gd name="connsiteY179" fmla="*/ 773578 h 1752600"/>
              <a:gd name="connsiteX180" fmla="*/ 957262 w 3128973"/>
              <a:gd name="connsiteY180" fmla="*/ 766762 h 1752600"/>
              <a:gd name="connsiteX181" fmla="*/ 938212 w 3128973"/>
              <a:gd name="connsiteY181" fmla="*/ 757237 h 1752600"/>
              <a:gd name="connsiteX182" fmla="*/ 904875 w 3128973"/>
              <a:gd name="connsiteY182" fmla="*/ 747712 h 1752600"/>
              <a:gd name="connsiteX183" fmla="*/ 862012 w 3128973"/>
              <a:gd name="connsiteY183" fmla="*/ 723900 h 1752600"/>
              <a:gd name="connsiteX184" fmla="*/ 795337 w 3128973"/>
              <a:gd name="connsiteY184" fmla="*/ 685800 h 1752600"/>
              <a:gd name="connsiteX185" fmla="*/ 776287 w 3128973"/>
              <a:gd name="connsiteY185" fmla="*/ 666750 h 1752600"/>
              <a:gd name="connsiteX186" fmla="*/ 762000 w 3128973"/>
              <a:gd name="connsiteY186" fmla="*/ 661987 h 1752600"/>
              <a:gd name="connsiteX187" fmla="*/ 742950 w 3128973"/>
              <a:gd name="connsiteY187" fmla="*/ 647700 h 1752600"/>
              <a:gd name="connsiteX188" fmla="*/ 709612 w 3128973"/>
              <a:gd name="connsiteY188" fmla="*/ 638175 h 1752600"/>
              <a:gd name="connsiteX189" fmla="*/ 695325 w 3128973"/>
              <a:gd name="connsiteY189" fmla="*/ 628650 h 1752600"/>
              <a:gd name="connsiteX190" fmla="*/ 681037 w 3128973"/>
              <a:gd name="connsiteY190" fmla="*/ 623887 h 1752600"/>
              <a:gd name="connsiteX191" fmla="*/ 676275 w 3128973"/>
              <a:gd name="connsiteY191" fmla="*/ 604837 h 1752600"/>
              <a:gd name="connsiteX192" fmla="*/ 666750 w 3128973"/>
              <a:gd name="connsiteY192" fmla="*/ 576262 h 1752600"/>
              <a:gd name="connsiteX193" fmla="*/ 661987 w 3128973"/>
              <a:gd name="connsiteY193" fmla="*/ 561975 h 1752600"/>
              <a:gd name="connsiteX194" fmla="*/ 666750 w 3128973"/>
              <a:gd name="connsiteY194" fmla="*/ 538162 h 1752600"/>
              <a:gd name="connsiteX195" fmla="*/ 638175 w 3128973"/>
              <a:gd name="connsiteY195" fmla="*/ 514350 h 1752600"/>
              <a:gd name="connsiteX196" fmla="*/ 619125 w 3128973"/>
              <a:gd name="connsiteY196" fmla="*/ 500062 h 1752600"/>
              <a:gd name="connsiteX197" fmla="*/ 576262 w 3128973"/>
              <a:gd name="connsiteY197" fmla="*/ 490537 h 1752600"/>
              <a:gd name="connsiteX198" fmla="*/ 542925 w 3128973"/>
              <a:gd name="connsiteY198" fmla="*/ 452437 h 1752600"/>
              <a:gd name="connsiteX199" fmla="*/ 525462 w 3128973"/>
              <a:gd name="connsiteY199" fmla="*/ 485775 h 1752600"/>
              <a:gd name="connsiteX200" fmla="*/ 504825 w 3128973"/>
              <a:gd name="connsiteY200" fmla="*/ 466725 h 1752600"/>
              <a:gd name="connsiteX201" fmla="*/ 454025 w 3128973"/>
              <a:gd name="connsiteY201" fmla="*/ 466725 h 1752600"/>
              <a:gd name="connsiteX202" fmla="*/ 407987 w 3128973"/>
              <a:gd name="connsiteY202" fmla="*/ 473075 h 1752600"/>
              <a:gd name="connsiteX203" fmla="*/ 395287 w 3128973"/>
              <a:gd name="connsiteY203" fmla="*/ 409575 h 1752600"/>
              <a:gd name="connsiteX204" fmla="*/ 376237 w 3128973"/>
              <a:gd name="connsiteY204" fmla="*/ 404812 h 1752600"/>
              <a:gd name="connsiteX205" fmla="*/ 342900 w 3128973"/>
              <a:gd name="connsiteY205" fmla="*/ 400050 h 1752600"/>
              <a:gd name="connsiteX206" fmla="*/ 314325 w 3128973"/>
              <a:gd name="connsiteY206" fmla="*/ 390525 h 1752600"/>
              <a:gd name="connsiteX207" fmla="*/ 273844 w 3128973"/>
              <a:gd name="connsiteY207" fmla="*/ 383382 h 1752600"/>
              <a:gd name="connsiteX208" fmla="*/ 257175 w 3128973"/>
              <a:gd name="connsiteY208" fmla="*/ 371475 h 1752600"/>
              <a:gd name="connsiteX209" fmla="*/ 245269 w 3128973"/>
              <a:gd name="connsiteY209" fmla="*/ 364331 h 1752600"/>
              <a:gd name="connsiteX210" fmla="*/ 223837 w 3128973"/>
              <a:gd name="connsiteY210" fmla="*/ 347662 h 1752600"/>
              <a:gd name="connsiteX211" fmla="*/ 190500 w 3128973"/>
              <a:gd name="connsiteY211" fmla="*/ 338137 h 1752600"/>
              <a:gd name="connsiteX212" fmla="*/ 147637 w 3128973"/>
              <a:gd name="connsiteY212" fmla="*/ 333375 h 1752600"/>
              <a:gd name="connsiteX213" fmla="*/ 119062 w 3128973"/>
              <a:gd name="connsiteY213" fmla="*/ 323850 h 1752600"/>
              <a:gd name="connsiteX214" fmla="*/ 104775 w 3128973"/>
              <a:gd name="connsiteY214" fmla="*/ 319087 h 1752600"/>
              <a:gd name="connsiteX215" fmla="*/ 61912 w 3128973"/>
              <a:gd name="connsiteY215" fmla="*/ 300037 h 1752600"/>
              <a:gd name="connsiteX216" fmla="*/ 23812 w 3128973"/>
              <a:gd name="connsiteY216" fmla="*/ 290512 h 1752600"/>
              <a:gd name="connsiteX217" fmla="*/ 9525 w 3128973"/>
              <a:gd name="connsiteY217" fmla="*/ 261937 h 1752600"/>
              <a:gd name="connsiteX218" fmla="*/ 0 w 3128973"/>
              <a:gd name="connsiteY218" fmla="*/ 290512 h 1752600"/>
              <a:gd name="connsiteX219" fmla="*/ 4762 w 3128973"/>
              <a:gd name="connsiteY219" fmla="*/ 247650 h 1752600"/>
              <a:gd name="connsiteX220" fmla="*/ 19050 w 3128973"/>
              <a:gd name="connsiteY220" fmla="*/ 200025 h 1752600"/>
              <a:gd name="connsiteX221" fmla="*/ 23812 w 3128973"/>
              <a:gd name="connsiteY221" fmla="*/ 185737 h 1752600"/>
              <a:gd name="connsiteX222" fmla="*/ 71437 w 3128973"/>
              <a:gd name="connsiteY222" fmla="*/ 171450 h 1752600"/>
              <a:gd name="connsiteX223" fmla="*/ 85725 w 3128973"/>
              <a:gd name="connsiteY223" fmla="*/ 166687 h 1752600"/>
              <a:gd name="connsiteX224" fmla="*/ 100012 w 3128973"/>
              <a:gd name="connsiteY224" fmla="*/ 161925 h 1752600"/>
              <a:gd name="connsiteX225" fmla="*/ 114300 w 3128973"/>
              <a:gd name="connsiteY225" fmla="*/ 152400 h 1752600"/>
              <a:gd name="connsiteX226" fmla="*/ 133350 w 3128973"/>
              <a:gd name="connsiteY226" fmla="*/ 123825 h 1752600"/>
              <a:gd name="connsiteX227" fmla="*/ 138112 w 3128973"/>
              <a:gd name="connsiteY227" fmla="*/ 109537 h 1752600"/>
              <a:gd name="connsiteX228" fmla="*/ 135467 w 3128973"/>
              <a:gd name="connsiteY228" fmla="*/ 97059 h 1752600"/>
              <a:gd name="connsiteX229" fmla="*/ 142875 w 3128973"/>
              <a:gd name="connsiteY229" fmla="*/ 71437 h 1752600"/>
              <a:gd name="connsiteX230" fmla="*/ 157162 w 3128973"/>
              <a:gd name="connsiteY230" fmla="*/ 57150 h 1752600"/>
              <a:gd name="connsiteX231" fmla="*/ 200025 w 3128973"/>
              <a:gd name="connsiteY231" fmla="*/ 33337 h 1752600"/>
              <a:gd name="connsiteX232" fmla="*/ 309562 w 3128973"/>
              <a:gd name="connsiteY232" fmla="*/ 28575 h 1752600"/>
              <a:gd name="connsiteX233" fmla="*/ 400050 w 3128973"/>
              <a:gd name="connsiteY233" fmla="*/ 14287 h 1752600"/>
              <a:gd name="connsiteX234" fmla="*/ 414337 w 3128973"/>
              <a:gd name="connsiteY234" fmla="*/ 9525 h 1752600"/>
              <a:gd name="connsiteX235" fmla="*/ 481012 w 3128973"/>
              <a:gd name="connsiteY235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31219 w 3128973"/>
              <a:gd name="connsiteY22" fmla="*/ 119430 h 1752600"/>
              <a:gd name="connsiteX23" fmla="*/ 2121693 w 3128973"/>
              <a:gd name="connsiteY23" fmla="*/ 220975 h 1752600"/>
              <a:gd name="connsiteX24" fmla="*/ 2046801 w 3128973"/>
              <a:gd name="connsiteY24" fmla="*/ 262295 h 1752600"/>
              <a:gd name="connsiteX25" fmla="*/ 2033587 w 3128973"/>
              <a:gd name="connsiteY25" fmla="*/ 266700 h 1752600"/>
              <a:gd name="connsiteX26" fmla="*/ 2019300 w 3128973"/>
              <a:gd name="connsiteY26" fmla="*/ 280987 h 1752600"/>
              <a:gd name="connsiteX27" fmla="*/ 1990725 w 3128973"/>
              <a:gd name="connsiteY27" fmla="*/ 300037 h 1752600"/>
              <a:gd name="connsiteX28" fmla="*/ 1981200 w 3128973"/>
              <a:gd name="connsiteY28" fmla="*/ 314325 h 1752600"/>
              <a:gd name="connsiteX29" fmla="*/ 1981200 w 3128973"/>
              <a:gd name="connsiteY29" fmla="*/ 419100 h 1752600"/>
              <a:gd name="connsiteX30" fmla="*/ 1985962 w 3128973"/>
              <a:gd name="connsiteY30" fmla="*/ 433387 h 1752600"/>
              <a:gd name="connsiteX31" fmla="*/ 2000250 w 3128973"/>
              <a:gd name="connsiteY31" fmla="*/ 442912 h 1752600"/>
              <a:gd name="connsiteX32" fmla="*/ 2005012 w 3128973"/>
              <a:gd name="connsiteY32" fmla="*/ 457200 h 1752600"/>
              <a:gd name="connsiteX33" fmla="*/ 2005012 w 3128973"/>
              <a:gd name="connsiteY33" fmla="*/ 561975 h 1752600"/>
              <a:gd name="connsiteX34" fmla="*/ 2009775 w 3128973"/>
              <a:gd name="connsiteY34" fmla="*/ 576262 h 1752600"/>
              <a:gd name="connsiteX35" fmla="*/ 2024062 w 3128973"/>
              <a:gd name="connsiteY35" fmla="*/ 581025 h 1752600"/>
              <a:gd name="connsiteX36" fmla="*/ 2038350 w 3128973"/>
              <a:gd name="connsiteY36" fmla="*/ 595312 h 1752600"/>
              <a:gd name="connsiteX37" fmla="*/ 2052637 w 3128973"/>
              <a:gd name="connsiteY37" fmla="*/ 600075 h 1752600"/>
              <a:gd name="connsiteX38" fmla="*/ 2133600 w 3128973"/>
              <a:gd name="connsiteY38" fmla="*/ 590550 h 1752600"/>
              <a:gd name="connsiteX39" fmla="*/ 2147887 w 3128973"/>
              <a:gd name="connsiteY39" fmla="*/ 585787 h 1752600"/>
              <a:gd name="connsiteX40" fmla="*/ 2195512 w 3128973"/>
              <a:gd name="connsiteY40" fmla="*/ 600075 h 1752600"/>
              <a:gd name="connsiteX41" fmla="*/ 2205037 w 3128973"/>
              <a:gd name="connsiteY41" fmla="*/ 614362 h 1752600"/>
              <a:gd name="connsiteX42" fmla="*/ 2219325 w 3128973"/>
              <a:gd name="connsiteY42" fmla="*/ 628650 h 1752600"/>
              <a:gd name="connsiteX43" fmla="*/ 2224087 w 3128973"/>
              <a:gd name="connsiteY43" fmla="*/ 642937 h 1752600"/>
              <a:gd name="connsiteX44" fmla="*/ 2233612 w 3128973"/>
              <a:gd name="connsiteY44" fmla="*/ 657225 h 1752600"/>
              <a:gd name="connsiteX45" fmla="*/ 2247900 w 3128973"/>
              <a:gd name="connsiteY45" fmla="*/ 685800 h 1752600"/>
              <a:gd name="connsiteX46" fmla="*/ 2262187 w 3128973"/>
              <a:gd name="connsiteY46" fmla="*/ 733425 h 1752600"/>
              <a:gd name="connsiteX47" fmla="*/ 2305050 w 3128973"/>
              <a:gd name="connsiteY47" fmla="*/ 771525 h 1752600"/>
              <a:gd name="connsiteX48" fmla="*/ 2319337 w 3128973"/>
              <a:gd name="connsiteY48" fmla="*/ 804862 h 1752600"/>
              <a:gd name="connsiteX49" fmla="*/ 2333625 w 3128973"/>
              <a:gd name="connsiteY49" fmla="*/ 819150 h 1752600"/>
              <a:gd name="connsiteX50" fmla="*/ 2338387 w 3128973"/>
              <a:gd name="connsiteY50" fmla="*/ 833437 h 1752600"/>
              <a:gd name="connsiteX51" fmla="*/ 2352675 w 3128973"/>
              <a:gd name="connsiteY51" fmla="*/ 847725 h 1752600"/>
              <a:gd name="connsiteX52" fmla="*/ 2395537 w 3128973"/>
              <a:gd name="connsiteY52" fmla="*/ 871537 h 1752600"/>
              <a:gd name="connsiteX53" fmla="*/ 2409825 w 3128973"/>
              <a:gd name="connsiteY53" fmla="*/ 890587 h 1752600"/>
              <a:gd name="connsiteX54" fmla="*/ 2424112 w 3128973"/>
              <a:gd name="connsiteY54" fmla="*/ 895350 h 1752600"/>
              <a:gd name="connsiteX55" fmla="*/ 2433637 w 3128973"/>
              <a:gd name="connsiteY55" fmla="*/ 914400 h 1752600"/>
              <a:gd name="connsiteX56" fmla="*/ 2466975 w 3128973"/>
              <a:gd name="connsiteY56" fmla="*/ 942975 h 1752600"/>
              <a:gd name="connsiteX57" fmla="*/ 2474637 w 3128973"/>
              <a:gd name="connsiteY57" fmla="*/ 954728 h 1752600"/>
              <a:gd name="connsiteX58" fmla="*/ 2495550 w 3128973"/>
              <a:gd name="connsiteY58" fmla="*/ 971550 h 1752600"/>
              <a:gd name="connsiteX59" fmla="*/ 2508776 w 3128973"/>
              <a:gd name="connsiteY59" fmla="*/ 983894 h 1752600"/>
              <a:gd name="connsiteX60" fmla="*/ 2533650 w 3128973"/>
              <a:gd name="connsiteY60" fmla="*/ 1000125 h 1752600"/>
              <a:gd name="connsiteX61" fmla="*/ 2547937 w 3128973"/>
              <a:gd name="connsiteY61" fmla="*/ 1028700 h 1752600"/>
              <a:gd name="connsiteX62" fmla="*/ 2552700 w 3128973"/>
              <a:gd name="connsiteY62" fmla="*/ 1042987 h 1752600"/>
              <a:gd name="connsiteX63" fmla="*/ 2576512 w 3128973"/>
              <a:gd name="connsiteY63" fmla="*/ 1071562 h 1752600"/>
              <a:gd name="connsiteX64" fmla="*/ 2584921 w 3128973"/>
              <a:gd name="connsiteY64" fmla="*/ 1082873 h 1752600"/>
              <a:gd name="connsiteX65" fmla="*/ 2600325 w 3128973"/>
              <a:gd name="connsiteY65" fmla="*/ 1095375 h 1752600"/>
              <a:gd name="connsiteX66" fmla="*/ 2609850 w 3128973"/>
              <a:gd name="connsiteY66" fmla="*/ 1109662 h 1752600"/>
              <a:gd name="connsiteX67" fmla="*/ 2652712 w 3128973"/>
              <a:gd name="connsiteY67" fmla="*/ 1143000 h 1752600"/>
              <a:gd name="connsiteX68" fmla="*/ 2681287 w 3128973"/>
              <a:gd name="connsiteY68" fmla="*/ 1152525 h 1752600"/>
              <a:gd name="connsiteX69" fmla="*/ 2700337 w 3128973"/>
              <a:gd name="connsiteY69" fmla="*/ 1162050 h 1752600"/>
              <a:gd name="connsiteX70" fmla="*/ 2714625 w 3128973"/>
              <a:gd name="connsiteY70" fmla="*/ 1171575 h 1752600"/>
              <a:gd name="connsiteX71" fmla="*/ 2752725 w 3128973"/>
              <a:gd name="connsiteY71" fmla="*/ 1181100 h 1752600"/>
              <a:gd name="connsiteX72" fmla="*/ 2767012 w 3128973"/>
              <a:gd name="connsiteY72" fmla="*/ 1195387 h 1752600"/>
              <a:gd name="connsiteX73" fmla="*/ 2781300 w 3128973"/>
              <a:gd name="connsiteY73" fmla="*/ 1200150 h 1752600"/>
              <a:gd name="connsiteX74" fmla="*/ 2795587 w 3128973"/>
              <a:gd name="connsiteY74" fmla="*/ 1209675 h 1752600"/>
              <a:gd name="connsiteX75" fmla="*/ 2805112 w 3128973"/>
              <a:gd name="connsiteY75" fmla="*/ 1223962 h 1752600"/>
              <a:gd name="connsiteX76" fmla="*/ 2809875 w 3128973"/>
              <a:gd name="connsiteY76" fmla="*/ 1238250 h 1752600"/>
              <a:gd name="connsiteX77" fmla="*/ 2833687 w 3128973"/>
              <a:gd name="connsiteY77" fmla="*/ 1276350 h 1752600"/>
              <a:gd name="connsiteX78" fmla="*/ 2895600 w 3128973"/>
              <a:gd name="connsiteY78" fmla="*/ 1333500 h 1752600"/>
              <a:gd name="connsiteX79" fmla="*/ 2900362 w 3128973"/>
              <a:gd name="connsiteY79" fmla="*/ 1352550 h 1752600"/>
              <a:gd name="connsiteX80" fmla="*/ 2928937 w 3128973"/>
              <a:gd name="connsiteY80" fmla="*/ 1395412 h 1752600"/>
              <a:gd name="connsiteX81" fmla="*/ 2943225 w 3128973"/>
              <a:gd name="connsiteY81" fmla="*/ 1404937 h 1752600"/>
              <a:gd name="connsiteX82" fmla="*/ 2957512 w 3128973"/>
              <a:gd name="connsiteY82" fmla="*/ 1419225 h 1752600"/>
              <a:gd name="connsiteX83" fmla="*/ 2986087 w 3128973"/>
              <a:gd name="connsiteY83" fmla="*/ 1443037 h 1752600"/>
              <a:gd name="connsiteX84" fmla="*/ 3000375 w 3128973"/>
              <a:gd name="connsiteY84" fmla="*/ 1462087 h 1752600"/>
              <a:gd name="connsiteX85" fmla="*/ 3016395 w 3128973"/>
              <a:gd name="connsiteY85" fmla="*/ 1476222 h 1752600"/>
              <a:gd name="connsiteX86" fmla="*/ 3028950 w 3128973"/>
              <a:gd name="connsiteY86" fmla="*/ 1495425 h 1752600"/>
              <a:gd name="connsiteX87" fmla="*/ 3043237 w 3128973"/>
              <a:gd name="connsiteY87" fmla="*/ 1552575 h 1752600"/>
              <a:gd name="connsiteX88" fmla="*/ 3052762 w 3128973"/>
              <a:gd name="connsiteY88" fmla="*/ 1566862 h 1752600"/>
              <a:gd name="connsiteX89" fmla="*/ 3057525 w 3128973"/>
              <a:gd name="connsiteY89" fmla="*/ 1581150 h 1752600"/>
              <a:gd name="connsiteX90" fmla="*/ 3067050 w 3128973"/>
              <a:gd name="connsiteY90" fmla="*/ 1662112 h 1752600"/>
              <a:gd name="connsiteX91" fmla="*/ 3071812 w 3128973"/>
              <a:gd name="connsiteY91" fmla="*/ 1676400 h 1752600"/>
              <a:gd name="connsiteX92" fmla="*/ 3100387 w 3128973"/>
              <a:gd name="connsiteY92" fmla="*/ 1690687 h 1752600"/>
              <a:gd name="connsiteX93" fmla="*/ 3114675 w 3128973"/>
              <a:gd name="connsiteY93" fmla="*/ 1685925 h 1752600"/>
              <a:gd name="connsiteX94" fmla="*/ 3124200 w 3128973"/>
              <a:gd name="connsiteY94" fmla="*/ 1671637 h 1752600"/>
              <a:gd name="connsiteX95" fmla="*/ 3128973 w 3128973"/>
              <a:gd name="connsiteY95" fmla="*/ 1651467 h 1752600"/>
              <a:gd name="connsiteX96" fmla="*/ 3128021 w 3128973"/>
              <a:gd name="connsiteY96" fmla="*/ 1710279 h 1752600"/>
              <a:gd name="connsiteX97" fmla="*/ 3043237 w 3128973"/>
              <a:gd name="connsiteY97" fmla="*/ 1714500 h 1752600"/>
              <a:gd name="connsiteX98" fmla="*/ 3028950 w 3128973"/>
              <a:gd name="connsiteY98" fmla="*/ 1728787 h 1752600"/>
              <a:gd name="connsiteX99" fmla="*/ 2986087 w 3128973"/>
              <a:gd name="connsiteY99" fmla="*/ 1738312 h 1752600"/>
              <a:gd name="connsiteX100" fmla="*/ 2971800 w 3128973"/>
              <a:gd name="connsiteY100" fmla="*/ 1743075 h 1752600"/>
              <a:gd name="connsiteX101" fmla="*/ 2943225 w 3128973"/>
              <a:gd name="connsiteY101" fmla="*/ 1738312 h 1752600"/>
              <a:gd name="connsiteX102" fmla="*/ 2928937 w 3128973"/>
              <a:gd name="connsiteY102" fmla="*/ 1747837 h 1752600"/>
              <a:gd name="connsiteX103" fmla="*/ 2914650 w 3128973"/>
              <a:gd name="connsiteY103" fmla="*/ 1752600 h 1752600"/>
              <a:gd name="connsiteX104" fmla="*/ 2895600 w 3128973"/>
              <a:gd name="connsiteY104" fmla="*/ 1724025 h 1752600"/>
              <a:gd name="connsiteX105" fmla="*/ 2883310 w 3128973"/>
              <a:gd name="connsiteY105" fmla="*/ 1701201 h 1752600"/>
              <a:gd name="connsiteX106" fmla="*/ 2883805 w 3128973"/>
              <a:gd name="connsiteY106" fmla="*/ 1696138 h 1752600"/>
              <a:gd name="connsiteX107" fmla="*/ 2871787 w 3128973"/>
              <a:gd name="connsiteY107" fmla="*/ 1685925 h 1752600"/>
              <a:gd name="connsiteX108" fmla="*/ 2847975 w 3128973"/>
              <a:gd name="connsiteY108" fmla="*/ 1657350 h 1752600"/>
              <a:gd name="connsiteX109" fmla="*/ 2834034 w 3128973"/>
              <a:gd name="connsiteY109" fmla="*/ 1637762 h 1752600"/>
              <a:gd name="connsiteX110" fmla="*/ 2814637 w 3128973"/>
              <a:gd name="connsiteY110" fmla="*/ 1619250 h 1752600"/>
              <a:gd name="connsiteX111" fmla="*/ 2809875 w 3128973"/>
              <a:gd name="connsiteY111" fmla="*/ 1604962 h 1752600"/>
              <a:gd name="connsiteX112" fmla="*/ 2795587 w 3128973"/>
              <a:gd name="connsiteY112" fmla="*/ 1600200 h 1752600"/>
              <a:gd name="connsiteX113" fmla="*/ 2781300 w 3128973"/>
              <a:gd name="connsiteY113" fmla="*/ 1590675 h 1752600"/>
              <a:gd name="connsiteX114" fmla="*/ 2752725 w 3128973"/>
              <a:gd name="connsiteY114" fmla="*/ 1581150 h 1752600"/>
              <a:gd name="connsiteX115" fmla="*/ 2733675 w 3128973"/>
              <a:gd name="connsiteY115" fmla="*/ 1625600 h 1752600"/>
              <a:gd name="connsiteX116" fmla="*/ 2709862 w 3128973"/>
              <a:gd name="connsiteY116" fmla="*/ 1619250 h 1752600"/>
              <a:gd name="connsiteX117" fmla="*/ 2723566 w 3128973"/>
              <a:gd name="connsiteY117" fmla="*/ 1590361 h 1752600"/>
              <a:gd name="connsiteX118" fmla="*/ 2674937 w 3128973"/>
              <a:gd name="connsiteY118" fmla="*/ 1560512 h 1752600"/>
              <a:gd name="connsiteX119" fmla="*/ 2643187 w 3128973"/>
              <a:gd name="connsiteY119" fmla="*/ 1495425 h 1752600"/>
              <a:gd name="connsiteX120" fmla="*/ 2628900 w 3128973"/>
              <a:gd name="connsiteY120" fmla="*/ 1490662 h 1752600"/>
              <a:gd name="connsiteX121" fmla="*/ 2595562 w 3128973"/>
              <a:gd name="connsiteY121" fmla="*/ 1481137 h 1752600"/>
              <a:gd name="connsiteX122" fmla="*/ 2581275 w 3128973"/>
              <a:gd name="connsiteY122" fmla="*/ 1466850 h 1752600"/>
              <a:gd name="connsiteX123" fmla="*/ 2552700 w 3128973"/>
              <a:gd name="connsiteY123" fmla="*/ 1457325 h 1752600"/>
              <a:gd name="connsiteX124" fmla="*/ 2538412 w 3128973"/>
              <a:gd name="connsiteY124" fmla="*/ 1447800 h 1752600"/>
              <a:gd name="connsiteX125" fmla="*/ 2519362 w 3128973"/>
              <a:gd name="connsiteY125" fmla="*/ 1443037 h 1752600"/>
              <a:gd name="connsiteX126" fmla="*/ 2490787 w 3128973"/>
              <a:gd name="connsiteY126" fmla="*/ 1433512 h 1752600"/>
              <a:gd name="connsiteX127" fmla="*/ 2476500 w 3128973"/>
              <a:gd name="connsiteY127" fmla="*/ 1428750 h 1752600"/>
              <a:gd name="connsiteX128" fmla="*/ 2466975 w 3128973"/>
              <a:gd name="connsiteY128" fmla="*/ 1414462 h 1752600"/>
              <a:gd name="connsiteX129" fmla="*/ 2447925 w 3128973"/>
              <a:gd name="connsiteY129" fmla="*/ 1409700 h 1752600"/>
              <a:gd name="connsiteX130" fmla="*/ 2309812 w 3128973"/>
              <a:gd name="connsiteY130" fmla="*/ 1395412 h 1752600"/>
              <a:gd name="connsiteX131" fmla="*/ 2295525 w 3128973"/>
              <a:gd name="connsiteY131" fmla="*/ 1390650 h 1752600"/>
              <a:gd name="connsiteX132" fmla="*/ 2257425 w 3128973"/>
              <a:gd name="connsiteY132" fmla="*/ 1381125 h 1752600"/>
              <a:gd name="connsiteX133" fmla="*/ 2238375 w 3128973"/>
              <a:gd name="connsiteY133" fmla="*/ 1366837 h 1752600"/>
              <a:gd name="connsiteX134" fmla="*/ 2224087 w 3128973"/>
              <a:gd name="connsiteY134" fmla="*/ 1362075 h 1752600"/>
              <a:gd name="connsiteX135" fmla="*/ 2176462 w 3128973"/>
              <a:gd name="connsiteY135" fmla="*/ 1338262 h 1752600"/>
              <a:gd name="connsiteX136" fmla="*/ 2162175 w 3128973"/>
              <a:gd name="connsiteY136" fmla="*/ 1328737 h 1752600"/>
              <a:gd name="connsiteX137" fmla="*/ 2114550 w 3128973"/>
              <a:gd name="connsiteY137" fmla="*/ 1314450 h 1752600"/>
              <a:gd name="connsiteX138" fmla="*/ 2100262 w 3128973"/>
              <a:gd name="connsiteY138" fmla="*/ 1300162 h 1752600"/>
              <a:gd name="connsiteX139" fmla="*/ 2085975 w 3128973"/>
              <a:gd name="connsiteY139" fmla="*/ 1295400 h 1752600"/>
              <a:gd name="connsiteX140" fmla="*/ 2055019 w 3128973"/>
              <a:gd name="connsiteY140" fmla="*/ 1290637 h 1752600"/>
              <a:gd name="connsiteX141" fmla="*/ 2028824 w 3128973"/>
              <a:gd name="connsiteY141" fmla="*/ 1283494 h 1752600"/>
              <a:gd name="connsiteX142" fmla="*/ 2005012 w 3128973"/>
              <a:gd name="connsiteY142" fmla="*/ 1271587 h 1752600"/>
              <a:gd name="connsiteX143" fmla="*/ 1985962 w 3128973"/>
              <a:gd name="connsiteY143" fmla="*/ 1262062 h 1752600"/>
              <a:gd name="connsiteX144" fmla="*/ 1971675 w 3128973"/>
              <a:gd name="connsiteY144" fmla="*/ 1257300 h 1752600"/>
              <a:gd name="connsiteX145" fmla="*/ 1943100 w 3128973"/>
              <a:gd name="connsiteY145" fmla="*/ 1238250 h 1752600"/>
              <a:gd name="connsiteX146" fmla="*/ 1914525 w 3128973"/>
              <a:gd name="connsiteY146" fmla="*/ 1219200 h 1752600"/>
              <a:gd name="connsiteX147" fmla="*/ 1885950 w 3128973"/>
              <a:gd name="connsiteY147" fmla="*/ 1209675 h 1752600"/>
              <a:gd name="connsiteX148" fmla="*/ 1843087 w 3128973"/>
              <a:gd name="connsiteY148" fmla="*/ 1195387 h 1752600"/>
              <a:gd name="connsiteX149" fmla="*/ 1757362 w 3128973"/>
              <a:gd name="connsiteY149" fmla="*/ 1185862 h 1752600"/>
              <a:gd name="connsiteX150" fmla="*/ 1700212 w 3128973"/>
              <a:gd name="connsiteY150" fmla="*/ 1166812 h 1752600"/>
              <a:gd name="connsiteX151" fmla="*/ 1671637 w 3128973"/>
              <a:gd name="connsiteY151" fmla="*/ 1147762 h 1752600"/>
              <a:gd name="connsiteX152" fmla="*/ 1652587 w 3128973"/>
              <a:gd name="connsiteY152" fmla="*/ 1138237 h 1752600"/>
              <a:gd name="connsiteX153" fmla="*/ 1638300 w 3128973"/>
              <a:gd name="connsiteY153" fmla="*/ 1128712 h 1752600"/>
              <a:gd name="connsiteX154" fmla="*/ 1590675 w 3128973"/>
              <a:gd name="connsiteY154" fmla="*/ 1138238 h 1752600"/>
              <a:gd name="connsiteX155" fmla="*/ 1559719 w 3128973"/>
              <a:gd name="connsiteY155" fmla="*/ 1109662 h 1752600"/>
              <a:gd name="connsiteX156" fmla="*/ 1528762 w 3128973"/>
              <a:gd name="connsiteY156" fmla="*/ 1085850 h 1752600"/>
              <a:gd name="connsiteX157" fmla="*/ 1514475 w 3128973"/>
              <a:gd name="connsiteY157" fmla="*/ 108108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83506 w 3128973"/>
              <a:gd name="connsiteY162" fmla="*/ 1028700 h 1752600"/>
              <a:gd name="connsiteX163" fmla="*/ 1366838 w 3128973"/>
              <a:gd name="connsiteY163" fmla="*/ 1019175 h 1752600"/>
              <a:gd name="connsiteX164" fmla="*/ 1335881 w 3128973"/>
              <a:gd name="connsiteY164" fmla="*/ 1007268 h 1752600"/>
              <a:gd name="connsiteX165" fmla="*/ 1319213 w 3128973"/>
              <a:gd name="connsiteY165" fmla="*/ 1007268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33475 w 3128973"/>
              <a:gd name="connsiteY172" fmla="*/ 925512 h 1752600"/>
              <a:gd name="connsiteX173" fmla="*/ 1085850 w 3128973"/>
              <a:gd name="connsiteY173" fmla="*/ 859631 h 1752600"/>
              <a:gd name="connsiteX174" fmla="*/ 1071562 w 3128973"/>
              <a:gd name="connsiteY174" fmla="*/ 842962 h 1752600"/>
              <a:gd name="connsiteX175" fmla="*/ 1047750 w 3128973"/>
              <a:gd name="connsiteY175" fmla="*/ 819150 h 1752600"/>
              <a:gd name="connsiteX176" fmla="*/ 1028700 w 3128973"/>
              <a:gd name="connsiteY176" fmla="*/ 804862 h 1752600"/>
              <a:gd name="connsiteX177" fmla="*/ 1018076 w 3128973"/>
              <a:gd name="connsiteY177" fmla="*/ 794816 h 1752600"/>
              <a:gd name="connsiteX178" fmla="*/ 1000125 w 3128973"/>
              <a:gd name="connsiteY178" fmla="*/ 785812 h 1752600"/>
              <a:gd name="connsiteX179" fmla="*/ 984342 w 3128973"/>
              <a:gd name="connsiteY179" fmla="*/ 773578 h 1752600"/>
              <a:gd name="connsiteX180" fmla="*/ 957262 w 3128973"/>
              <a:gd name="connsiteY180" fmla="*/ 766762 h 1752600"/>
              <a:gd name="connsiteX181" fmla="*/ 938212 w 3128973"/>
              <a:gd name="connsiteY181" fmla="*/ 757237 h 1752600"/>
              <a:gd name="connsiteX182" fmla="*/ 904875 w 3128973"/>
              <a:gd name="connsiteY182" fmla="*/ 747712 h 1752600"/>
              <a:gd name="connsiteX183" fmla="*/ 862012 w 3128973"/>
              <a:gd name="connsiteY183" fmla="*/ 723900 h 1752600"/>
              <a:gd name="connsiteX184" fmla="*/ 795337 w 3128973"/>
              <a:gd name="connsiteY184" fmla="*/ 685800 h 1752600"/>
              <a:gd name="connsiteX185" fmla="*/ 776287 w 3128973"/>
              <a:gd name="connsiteY185" fmla="*/ 666750 h 1752600"/>
              <a:gd name="connsiteX186" fmla="*/ 762000 w 3128973"/>
              <a:gd name="connsiteY186" fmla="*/ 661987 h 1752600"/>
              <a:gd name="connsiteX187" fmla="*/ 742950 w 3128973"/>
              <a:gd name="connsiteY187" fmla="*/ 647700 h 1752600"/>
              <a:gd name="connsiteX188" fmla="*/ 709612 w 3128973"/>
              <a:gd name="connsiteY188" fmla="*/ 638175 h 1752600"/>
              <a:gd name="connsiteX189" fmla="*/ 695325 w 3128973"/>
              <a:gd name="connsiteY189" fmla="*/ 628650 h 1752600"/>
              <a:gd name="connsiteX190" fmla="*/ 681037 w 3128973"/>
              <a:gd name="connsiteY190" fmla="*/ 623887 h 1752600"/>
              <a:gd name="connsiteX191" fmla="*/ 676275 w 3128973"/>
              <a:gd name="connsiteY191" fmla="*/ 604837 h 1752600"/>
              <a:gd name="connsiteX192" fmla="*/ 666750 w 3128973"/>
              <a:gd name="connsiteY192" fmla="*/ 576262 h 1752600"/>
              <a:gd name="connsiteX193" fmla="*/ 661987 w 3128973"/>
              <a:gd name="connsiteY193" fmla="*/ 561975 h 1752600"/>
              <a:gd name="connsiteX194" fmla="*/ 666750 w 3128973"/>
              <a:gd name="connsiteY194" fmla="*/ 538162 h 1752600"/>
              <a:gd name="connsiteX195" fmla="*/ 638175 w 3128973"/>
              <a:gd name="connsiteY195" fmla="*/ 514350 h 1752600"/>
              <a:gd name="connsiteX196" fmla="*/ 619125 w 3128973"/>
              <a:gd name="connsiteY196" fmla="*/ 500062 h 1752600"/>
              <a:gd name="connsiteX197" fmla="*/ 576262 w 3128973"/>
              <a:gd name="connsiteY197" fmla="*/ 490537 h 1752600"/>
              <a:gd name="connsiteX198" fmla="*/ 542925 w 3128973"/>
              <a:gd name="connsiteY198" fmla="*/ 452437 h 1752600"/>
              <a:gd name="connsiteX199" fmla="*/ 525462 w 3128973"/>
              <a:gd name="connsiteY199" fmla="*/ 485775 h 1752600"/>
              <a:gd name="connsiteX200" fmla="*/ 504825 w 3128973"/>
              <a:gd name="connsiteY200" fmla="*/ 466725 h 1752600"/>
              <a:gd name="connsiteX201" fmla="*/ 454025 w 3128973"/>
              <a:gd name="connsiteY201" fmla="*/ 466725 h 1752600"/>
              <a:gd name="connsiteX202" fmla="*/ 407987 w 3128973"/>
              <a:gd name="connsiteY202" fmla="*/ 473075 h 1752600"/>
              <a:gd name="connsiteX203" fmla="*/ 395287 w 3128973"/>
              <a:gd name="connsiteY203" fmla="*/ 409575 h 1752600"/>
              <a:gd name="connsiteX204" fmla="*/ 376237 w 3128973"/>
              <a:gd name="connsiteY204" fmla="*/ 404812 h 1752600"/>
              <a:gd name="connsiteX205" fmla="*/ 342900 w 3128973"/>
              <a:gd name="connsiteY205" fmla="*/ 400050 h 1752600"/>
              <a:gd name="connsiteX206" fmla="*/ 314325 w 3128973"/>
              <a:gd name="connsiteY206" fmla="*/ 390525 h 1752600"/>
              <a:gd name="connsiteX207" fmla="*/ 273844 w 3128973"/>
              <a:gd name="connsiteY207" fmla="*/ 383382 h 1752600"/>
              <a:gd name="connsiteX208" fmla="*/ 257175 w 3128973"/>
              <a:gd name="connsiteY208" fmla="*/ 371475 h 1752600"/>
              <a:gd name="connsiteX209" fmla="*/ 245269 w 3128973"/>
              <a:gd name="connsiteY209" fmla="*/ 364331 h 1752600"/>
              <a:gd name="connsiteX210" fmla="*/ 223837 w 3128973"/>
              <a:gd name="connsiteY210" fmla="*/ 347662 h 1752600"/>
              <a:gd name="connsiteX211" fmla="*/ 190500 w 3128973"/>
              <a:gd name="connsiteY211" fmla="*/ 338137 h 1752600"/>
              <a:gd name="connsiteX212" fmla="*/ 147637 w 3128973"/>
              <a:gd name="connsiteY212" fmla="*/ 333375 h 1752600"/>
              <a:gd name="connsiteX213" fmla="*/ 119062 w 3128973"/>
              <a:gd name="connsiteY213" fmla="*/ 323850 h 1752600"/>
              <a:gd name="connsiteX214" fmla="*/ 104775 w 3128973"/>
              <a:gd name="connsiteY214" fmla="*/ 319087 h 1752600"/>
              <a:gd name="connsiteX215" fmla="*/ 61912 w 3128973"/>
              <a:gd name="connsiteY215" fmla="*/ 300037 h 1752600"/>
              <a:gd name="connsiteX216" fmla="*/ 23812 w 3128973"/>
              <a:gd name="connsiteY216" fmla="*/ 290512 h 1752600"/>
              <a:gd name="connsiteX217" fmla="*/ 9525 w 3128973"/>
              <a:gd name="connsiteY217" fmla="*/ 261937 h 1752600"/>
              <a:gd name="connsiteX218" fmla="*/ 0 w 3128973"/>
              <a:gd name="connsiteY218" fmla="*/ 290512 h 1752600"/>
              <a:gd name="connsiteX219" fmla="*/ 4762 w 3128973"/>
              <a:gd name="connsiteY219" fmla="*/ 247650 h 1752600"/>
              <a:gd name="connsiteX220" fmla="*/ 19050 w 3128973"/>
              <a:gd name="connsiteY220" fmla="*/ 200025 h 1752600"/>
              <a:gd name="connsiteX221" fmla="*/ 23812 w 3128973"/>
              <a:gd name="connsiteY221" fmla="*/ 185737 h 1752600"/>
              <a:gd name="connsiteX222" fmla="*/ 71437 w 3128973"/>
              <a:gd name="connsiteY222" fmla="*/ 171450 h 1752600"/>
              <a:gd name="connsiteX223" fmla="*/ 85725 w 3128973"/>
              <a:gd name="connsiteY223" fmla="*/ 166687 h 1752600"/>
              <a:gd name="connsiteX224" fmla="*/ 100012 w 3128973"/>
              <a:gd name="connsiteY224" fmla="*/ 161925 h 1752600"/>
              <a:gd name="connsiteX225" fmla="*/ 114300 w 3128973"/>
              <a:gd name="connsiteY225" fmla="*/ 152400 h 1752600"/>
              <a:gd name="connsiteX226" fmla="*/ 133350 w 3128973"/>
              <a:gd name="connsiteY226" fmla="*/ 123825 h 1752600"/>
              <a:gd name="connsiteX227" fmla="*/ 138112 w 3128973"/>
              <a:gd name="connsiteY227" fmla="*/ 109537 h 1752600"/>
              <a:gd name="connsiteX228" fmla="*/ 135467 w 3128973"/>
              <a:gd name="connsiteY228" fmla="*/ 97059 h 1752600"/>
              <a:gd name="connsiteX229" fmla="*/ 142875 w 3128973"/>
              <a:gd name="connsiteY229" fmla="*/ 71437 h 1752600"/>
              <a:gd name="connsiteX230" fmla="*/ 157162 w 3128973"/>
              <a:gd name="connsiteY230" fmla="*/ 57150 h 1752600"/>
              <a:gd name="connsiteX231" fmla="*/ 200025 w 3128973"/>
              <a:gd name="connsiteY231" fmla="*/ 33337 h 1752600"/>
              <a:gd name="connsiteX232" fmla="*/ 309562 w 3128973"/>
              <a:gd name="connsiteY232" fmla="*/ 28575 h 1752600"/>
              <a:gd name="connsiteX233" fmla="*/ 400050 w 3128973"/>
              <a:gd name="connsiteY233" fmla="*/ 14287 h 1752600"/>
              <a:gd name="connsiteX234" fmla="*/ 414337 w 3128973"/>
              <a:gd name="connsiteY234" fmla="*/ 9525 h 1752600"/>
              <a:gd name="connsiteX235" fmla="*/ 481012 w 3128973"/>
              <a:gd name="connsiteY235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31219 w 3128973"/>
              <a:gd name="connsiteY22" fmla="*/ 119430 h 1752600"/>
              <a:gd name="connsiteX23" fmla="*/ 2266949 w 3128973"/>
              <a:gd name="connsiteY23" fmla="*/ 60392 h 1752600"/>
              <a:gd name="connsiteX24" fmla="*/ 2046801 w 3128973"/>
              <a:gd name="connsiteY24" fmla="*/ 262295 h 1752600"/>
              <a:gd name="connsiteX25" fmla="*/ 2033587 w 3128973"/>
              <a:gd name="connsiteY25" fmla="*/ 266700 h 1752600"/>
              <a:gd name="connsiteX26" fmla="*/ 2019300 w 3128973"/>
              <a:gd name="connsiteY26" fmla="*/ 280987 h 1752600"/>
              <a:gd name="connsiteX27" fmla="*/ 1990725 w 3128973"/>
              <a:gd name="connsiteY27" fmla="*/ 300037 h 1752600"/>
              <a:gd name="connsiteX28" fmla="*/ 1981200 w 3128973"/>
              <a:gd name="connsiteY28" fmla="*/ 314325 h 1752600"/>
              <a:gd name="connsiteX29" fmla="*/ 1981200 w 3128973"/>
              <a:gd name="connsiteY29" fmla="*/ 419100 h 1752600"/>
              <a:gd name="connsiteX30" fmla="*/ 1985962 w 3128973"/>
              <a:gd name="connsiteY30" fmla="*/ 433387 h 1752600"/>
              <a:gd name="connsiteX31" fmla="*/ 2000250 w 3128973"/>
              <a:gd name="connsiteY31" fmla="*/ 442912 h 1752600"/>
              <a:gd name="connsiteX32" fmla="*/ 2005012 w 3128973"/>
              <a:gd name="connsiteY32" fmla="*/ 457200 h 1752600"/>
              <a:gd name="connsiteX33" fmla="*/ 2005012 w 3128973"/>
              <a:gd name="connsiteY33" fmla="*/ 561975 h 1752600"/>
              <a:gd name="connsiteX34" fmla="*/ 2009775 w 3128973"/>
              <a:gd name="connsiteY34" fmla="*/ 576262 h 1752600"/>
              <a:gd name="connsiteX35" fmla="*/ 2024062 w 3128973"/>
              <a:gd name="connsiteY35" fmla="*/ 581025 h 1752600"/>
              <a:gd name="connsiteX36" fmla="*/ 2038350 w 3128973"/>
              <a:gd name="connsiteY36" fmla="*/ 595312 h 1752600"/>
              <a:gd name="connsiteX37" fmla="*/ 2052637 w 3128973"/>
              <a:gd name="connsiteY37" fmla="*/ 600075 h 1752600"/>
              <a:gd name="connsiteX38" fmla="*/ 2133600 w 3128973"/>
              <a:gd name="connsiteY38" fmla="*/ 590550 h 1752600"/>
              <a:gd name="connsiteX39" fmla="*/ 2147887 w 3128973"/>
              <a:gd name="connsiteY39" fmla="*/ 585787 h 1752600"/>
              <a:gd name="connsiteX40" fmla="*/ 2195512 w 3128973"/>
              <a:gd name="connsiteY40" fmla="*/ 600075 h 1752600"/>
              <a:gd name="connsiteX41" fmla="*/ 2205037 w 3128973"/>
              <a:gd name="connsiteY41" fmla="*/ 614362 h 1752600"/>
              <a:gd name="connsiteX42" fmla="*/ 2219325 w 3128973"/>
              <a:gd name="connsiteY42" fmla="*/ 628650 h 1752600"/>
              <a:gd name="connsiteX43" fmla="*/ 2224087 w 3128973"/>
              <a:gd name="connsiteY43" fmla="*/ 642937 h 1752600"/>
              <a:gd name="connsiteX44" fmla="*/ 2233612 w 3128973"/>
              <a:gd name="connsiteY44" fmla="*/ 657225 h 1752600"/>
              <a:gd name="connsiteX45" fmla="*/ 2247900 w 3128973"/>
              <a:gd name="connsiteY45" fmla="*/ 685800 h 1752600"/>
              <a:gd name="connsiteX46" fmla="*/ 2262187 w 3128973"/>
              <a:gd name="connsiteY46" fmla="*/ 733425 h 1752600"/>
              <a:gd name="connsiteX47" fmla="*/ 2305050 w 3128973"/>
              <a:gd name="connsiteY47" fmla="*/ 771525 h 1752600"/>
              <a:gd name="connsiteX48" fmla="*/ 2319337 w 3128973"/>
              <a:gd name="connsiteY48" fmla="*/ 804862 h 1752600"/>
              <a:gd name="connsiteX49" fmla="*/ 2333625 w 3128973"/>
              <a:gd name="connsiteY49" fmla="*/ 819150 h 1752600"/>
              <a:gd name="connsiteX50" fmla="*/ 2338387 w 3128973"/>
              <a:gd name="connsiteY50" fmla="*/ 833437 h 1752600"/>
              <a:gd name="connsiteX51" fmla="*/ 2352675 w 3128973"/>
              <a:gd name="connsiteY51" fmla="*/ 847725 h 1752600"/>
              <a:gd name="connsiteX52" fmla="*/ 2395537 w 3128973"/>
              <a:gd name="connsiteY52" fmla="*/ 871537 h 1752600"/>
              <a:gd name="connsiteX53" fmla="*/ 2409825 w 3128973"/>
              <a:gd name="connsiteY53" fmla="*/ 890587 h 1752600"/>
              <a:gd name="connsiteX54" fmla="*/ 2424112 w 3128973"/>
              <a:gd name="connsiteY54" fmla="*/ 895350 h 1752600"/>
              <a:gd name="connsiteX55" fmla="*/ 2433637 w 3128973"/>
              <a:gd name="connsiteY55" fmla="*/ 914400 h 1752600"/>
              <a:gd name="connsiteX56" fmla="*/ 2466975 w 3128973"/>
              <a:gd name="connsiteY56" fmla="*/ 942975 h 1752600"/>
              <a:gd name="connsiteX57" fmla="*/ 2474637 w 3128973"/>
              <a:gd name="connsiteY57" fmla="*/ 954728 h 1752600"/>
              <a:gd name="connsiteX58" fmla="*/ 2495550 w 3128973"/>
              <a:gd name="connsiteY58" fmla="*/ 971550 h 1752600"/>
              <a:gd name="connsiteX59" fmla="*/ 2508776 w 3128973"/>
              <a:gd name="connsiteY59" fmla="*/ 983894 h 1752600"/>
              <a:gd name="connsiteX60" fmla="*/ 2533650 w 3128973"/>
              <a:gd name="connsiteY60" fmla="*/ 1000125 h 1752600"/>
              <a:gd name="connsiteX61" fmla="*/ 2547937 w 3128973"/>
              <a:gd name="connsiteY61" fmla="*/ 1028700 h 1752600"/>
              <a:gd name="connsiteX62" fmla="*/ 2552700 w 3128973"/>
              <a:gd name="connsiteY62" fmla="*/ 1042987 h 1752600"/>
              <a:gd name="connsiteX63" fmla="*/ 2576512 w 3128973"/>
              <a:gd name="connsiteY63" fmla="*/ 1071562 h 1752600"/>
              <a:gd name="connsiteX64" fmla="*/ 2584921 w 3128973"/>
              <a:gd name="connsiteY64" fmla="*/ 1082873 h 1752600"/>
              <a:gd name="connsiteX65" fmla="*/ 2600325 w 3128973"/>
              <a:gd name="connsiteY65" fmla="*/ 1095375 h 1752600"/>
              <a:gd name="connsiteX66" fmla="*/ 2609850 w 3128973"/>
              <a:gd name="connsiteY66" fmla="*/ 1109662 h 1752600"/>
              <a:gd name="connsiteX67" fmla="*/ 2652712 w 3128973"/>
              <a:gd name="connsiteY67" fmla="*/ 1143000 h 1752600"/>
              <a:gd name="connsiteX68" fmla="*/ 2681287 w 3128973"/>
              <a:gd name="connsiteY68" fmla="*/ 1152525 h 1752600"/>
              <a:gd name="connsiteX69" fmla="*/ 2700337 w 3128973"/>
              <a:gd name="connsiteY69" fmla="*/ 1162050 h 1752600"/>
              <a:gd name="connsiteX70" fmla="*/ 2714625 w 3128973"/>
              <a:gd name="connsiteY70" fmla="*/ 1171575 h 1752600"/>
              <a:gd name="connsiteX71" fmla="*/ 2752725 w 3128973"/>
              <a:gd name="connsiteY71" fmla="*/ 1181100 h 1752600"/>
              <a:gd name="connsiteX72" fmla="*/ 2767012 w 3128973"/>
              <a:gd name="connsiteY72" fmla="*/ 1195387 h 1752600"/>
              <a:gd name="connsiteX73" fmla="*/ 2781300 w 3128973"/>
              <a:gd name="connsiteY73" fmla="*/ 1200150 h 1752600"/>
              <a:gd name="connsiteX74" fmla="*/ 2795587 w 3128973"/>
              <a:gd name="connsiteY74" fmla="*/ 1209675 h 1752600"/>
              <a:gd name="connsiteX75" fmla="*/ 2805112 w 3128973"/>
              <a:gd name="connsiteY75" fmla="*/ 1223962 h 1752600"/>
              <a:gd name="connsiteX76" fmla="*/ 2809875 w 3128973"/>
              <a:gd name="connsiteY76" fmla="*/ 1238250 h 1752600"/>
              <a:gd name="connsiteX77" fmla="*/ 2833687 w 3128973"/>
              <a:gd name="connsiteY77" fmla="*/ 1276350 h 1752600"/>
              <a:gd name="connsiteX78" fmla="*/ 2895600 w 3128973"/>
              <a:gd name="connsiteY78" fmla="*/ 1333500 h 1752600"/>
              <a:gd name="connsiteX79" fmla="*/ 2900362 w 3128973"/>
              <a:gd name="connsiteY79" fmla="*/ 1352550 h 1752600"/>
              <a:gd name="connsiteX80" fmla="*/ 2928937 w 3128973"/>
              <a:gd name="connsiteY80" fmla="*/ 1395412 h 1752600"/>
              <a:gd name="connsiteX81" fmla="*/ 2943225 w 3128973"/>
              <a:gd name="connsiteY81" fmla="*/ 1404937 h 1752600"/>
              <a:gd name="connsiteX82" fmla="*/ 2957512 w 3128973"/>
              <a:gd name="connsiteY82" fmla="*/ 1419225 h 1752600"/>
              <a:gd name="connsiteX83" fmla="*/ 2986087 w 3128973"/>
              <a:gd name="connsiteY83" fmla="*/ 1443037 h 1752600"/>
              <a:gd name="connsiteX84" fmla="*/ 3000375 w 3128973"/>
              <a:gd name="connsiteY84" fmla="*/ 1462087 h 1752600"/>
              <a:gd name="connsiteX85" fmla="*/ 3016395 w 3128973"/>
              <a:gd name="connsiteY85" fmla="*/ 1476222 h 1752600"/>
              <a:gd name="connsiteX86" fmla="*/ 3028950 w 3128973"/>
              <a:gd name="connsiteY86" fmla="*/ 1495425 h 1752600"/>
              <a:gd name="connsiteX87" fmla="*/ 3043237 w 3128973"/>
              <a:gd name="connsiteY87" fmla="*/ 1552575 h 1752600"/>
              <a:gd name="connsiteX88" fmla="*/ 3052762 w 3128973"/>
              <a:gd name="connsiteY88" fmla="*/ 1566862 h 1752600"/>
              <a:gd name="connsiteX89" fmla="*/ 3057525 w 3128973"/>
              <a:gd name="connsiteY89" fmla="*/ 1581150 h 1752600"/>
              <a:gd name="connsiteX90" fmla="*/ 3067050 w 3128973"/>
              <a:gd name="connsiteY90" fmla="*/ 1662112 h 1752600"/>
              <a:gd name="connsiteX91" fmla="*/ 3071812 w 3128973"/>
              <a:gd name="connsiteY91" fmla="*/ 1676400 h 1752600"/>
              <a:gd name="connsiteX92" fmla="*/ 3100387 w 3128973"/>
              <a:gd name="connsiteY92" fmla="*/ 1690687 h 1752600"/>
              <a:gd name="connsiteX93" fmla="*/ 3114675 w 3128973"/>
              <a:gd name="connsiteY93" fmla="*/ 1685925 h 1752600"/>
              <a:gd name="connsiteX94" fmla="*/ 3124200 w 3128973"/>
              <a:gd name="connsiteY94" fmla="*/ 1671637 h 1752600"/>
              <a:gd name="connsiteX95" fmla="*/ 3128973 w 3128973"/>
              <a:gd name="connsiteY95" fmla="*/ 1651467 h 1752600"/>
              <a:gd name="connsiteX96" fmla="*/ 3128021 w 3128973"/>
              <a:gd name="connsiteY96" fmla="*/ 1710279 h 1752600"/>
              <a:gd name="connsiteX97" fmla="*/ 3043237 w 3128973"/>
              <a:gd name="connsiteY97" fmla="*/ 1714500 h 1752600"/>
              <a:gd name="connsiteX98" fmla="*/ 3028950 w 3128973"/>
              <a:gd name="connsiteY98" fmla="*/ 1728787 h 1752600"/>
              <a:gd name="connsiteX99" fmla="*/ 2986087 w 3128973"/>
              <a:gd name="connsiteY99" fmla="*/ 1738312 h 1752600"/>
              <a:gd name="connsiteX100" fmla="*/ 2971800 w 3128973"/>
              <a:gd name="connsiteY100" fmla="*/ 1743075 h 1752600"/>
              <a:gd name="connsiteX101" fmla="*/ 2943225 w 3128973"/>
              <a:gd name="connsiteY101" fmla="*/ 1738312 h 1752600"/>
              <a:gd name="connsiteX102" fmla="*/ 2928937 w 3128973"/>
              <a:gd name="connsiteY102" fmla="*/ 1747837 h 1752600"/>
              <a:gd name="connsiteX103" fmla="*/ 2914650 w 3128973"/>
              <a:gd name="connsiteY103" fmla="*/ 1752600 h 1752600"/>
              <a:gd name="connsiteX104" fmla="*/ 2895600 w 3128973"/>
              <a:gd name="connsiteY104" fmla="*/ 1724025 h 1752600"/>
              <a:gd name="connsiteX105" fmla="*/ 2883310 w 3128973"/>
              <a:gd name="connsiteY105" fmla="*/ 1701201 h 1752600"/>
              <a:gd name="connsiteX106" fmla="*/ 2883805 w 3128973"/>
              <a:gd name="connsiteY106" fmla="*/ 1696138 h 1752600"/>
              <a:gd name="connsiteX107" fmla="*/ 2871787 w 3128973"/>
              <a:gd name="connsiteY107" fmla="*/ 1685925 h 1752600"/>
              <a:gd name="connsiteX108" fmla="*/ 2847975 w 3128973"/>
              <a:gd name="connsiteY108" fmla="*/ 1657350 h 1752600"/>
              <a:gd name="connsiteX109" fmla="*/ 2834034 w 3128973"/>
              <a:gd name="connsiteY109" fmla="*/ 1637762 h 1752600"/>
              <a:gd name="connsiteX110" fmla="*/ 2814637 w 3128973"/>
              <a:gd name="connsiteY110" fmla="*/ 1619250 h 1752600"/>
              <a:gd name="connsiteX111" fmla="*/ 2809875 w 3128973"/>
              <a:gd name="connsiteY111" fmla="*/ 1604962 h 1752600"/>
              <a:gd name="connsiteX112" fmla="*/ 2795587 w 3128973"/>
              <a:gd name="connsiteY112" fmla="*/ 1600200 h 1752600"/>
              <a:gd name="connsiteX113" fmla="*/ 2781300 w 3128973"/>
              <a:gd name="connsiteY113" fmla="*/ 1590675 h 1752600"/>
              <a:gd name="connsiteX114" fmla="*/ 2752725 w 3128973"/>
              <a:gd name="connsiteY114" fmla="*/ 1581150 h 1752600"/>
              <a:gd name="connsiteX115" fmla="*/ 2733675 w 3128973"/>
              <a:gd name="connsiteY115" fmla="*/ 1625600 h 1752600"/>
              <a:gd name="connsiteX116" fmla="*/ 2709862 w 3128973"/>
              <a:gd name="connsiteY116" fmla="*/ 1619250 h 1752600"/>
              <a:gd name="connsiteX117" fmla="*/ 2723566 w 3128973"/>
              <a:gd name="connsiteY117" fmla="*/ 1590361 h 1752600"/>
              <a:gd name="connsiteX118" fmla="*/ 2674937 w 3128973"/>
              <a:gd name="connsiteY118" fmla="*/ 1560512 h 1752600"/>
              <a:gd name="connsiteX119" fmla="*/ 2643187 w 3128973"/>
              <a:gd name="connsiteY119" fmla="*/ 1495425 h 1752600"/>
              <a:gd name="connsiteX120" fmla="*/ 2628900 w 3128973"/>
              <a:gd name="connsiteY120" fmla="*/ 1490662 h 1752600"/>
              <a:gd name="connsiteX121" fmla="*/ 2595562 w 3128973"/>
              <a:gd name="connsiteY121" fmla="*/ 1481137 h 1752600"/>
              <a:gd name="connsiteX122" fmla="*/ 2581275 w 3128973"/>
              <a:gd name="connsiteY122" fmla="*/ 1466850 h 1752600"/>
              <a:gd name="connsiteX123" fmla="*/ 2552700 w 3128973"/>
              <a:gd name="connsiteY123" fmla="*/ 1457325 h 1752600"/>
              <a:gd name="connsiteX124" fmla="*/ 2538412 w 3128973"/>
              <a:gd name="connsiteY124" fmla="*/ 1447800 h 1752600"/>
              <a:gd name="connsiteX125" fmla="*/ 2519362 w 3128973"/>
              <a:gd name="connsiteY125" fmla="*/ 1443037 h 1752600"/>
              <a:gd name="connsiteX126" fmla="*/ 2490787 w 3128973"/>
              <a:gd name="connsiteY126" fmla="*/ 1433512 h 1752600"/>
              <a:gd name="connsiteX127" fmla="*/ 2476500 w 3128973"/>
              <a:gd name="connsiteY127" fmla="*/ 1428750 h 1752600"/>
              <a:gd name="connsiteX128" fmla="*/ 2466975 w 3128973"/>
              <a:gd name="connsiteY128" fmla="*/ 1414462 h 1752600"/>
              <a:gd name="connsiteX129" fmla="*/ 2447925 w 3128973"/>
              <a:gd name="connsiteY129" fmla="*/ 1409700 h 1752600"/>
              <a:gd name="connsiteX130" fmla="*/ 2309812 w 3128973"/>
              <a:gd name="connsiteY130" fmla="*/ 1395412 h 1752600"/>
              <a:gd name="connsiteX131" fmla="*/ 2295525 w 3128973"/>
              <a:gd name="connsiteY131" fmla="*/ 1390650 h 1752600"/>
              <a:gd name="connsiteX132" fmla="*/ 2257425 w 3128973"/>
              <a:gd name="connsiteY132" fmla="*/ 1381125 h 1752600"/>
              <a:gd name="connsiteX133" fmla="*/ 2238375 w 3128973"/>
              <a:gd name="connsiteY133" fmla="*/ 1366837 h 1752600"/>
              <a:gd name="connsiteX134" fmla="*/ 2224087 w 3128973"/>
              <a:gd name="connsiteY134" fmla="*/ 1362075 h 1752600"/>
              <a:gd name="connsiteX135" fmla="*/ 2176462 w 3128973"/>
              <a:gd name="connsiteY135" fmla="*/ 1338262 h 1752600"/>
              <a:gd name="connsiteX136" fmla="*/ 2162175 w 3128973"/>
              <a:gd name="connsiteY136" fmla="*/ 1328737 h 1752600"/>
              <a:gd name="connsiteX137" fmla="*/ 2114550 w 3128973"/>
              <a:gd name="connsiteY137" fmla="*/ 1314450 h 1752600"/>
              <a:gd name="connsiteX138" fmla="*/ 2100262 w 3128973"/>
              <a:gd name="connsiteY138" fmla="*/ 1300162 h 1752600"/>
              <a:gd name="connsiteX139" fmla="*/ 2085975 w 3128973"/>
              <a:gd name="connsiteY139" fmla="*/ 1295400 h 1752600"/>
              <a:gd name="connsiteX140" fmla="*/ 2055019 w 3128973"/>
              <a:gd name="connsiteY140" fmla="*/ 1290637 h 1752600"/>
              <a:gd name="connsiteX141" fmla="*/ 2028824 w 3128973"/>
              <a:gd name="connsiteY141" fmla="*/ 1283494 h 1752600"/>
              <a:gd name="connsiteX142" fmla="*/ 2005012 w 3128973"/>
              <a:gd name="connsiteY142" fmla="*/ 1271587 h 1752600"/>
              <a:gd name="connsiteX143" fmla="*/ 1985962 w 3128973"/>
              <a:gd name="connsiteY143" fmla="*/ 1262062 h 1752600"/>
              <a:gd name="connsiteX144" fmla="*/ 1971675 w 3128973"/>
              <a:gd name="connsiteY144" fmla="*/ 1257300 h 1752600"/>
              <a:gd name="connsiteX145" fmla="*/ 1943100 w 3128973"/>
              <a:gd name="connsiteY145" fmla="*/ 1238250 h 1752600"/>
              <a:gd name="connsiteX146" fmla="*/ 1914525 w 3128973"/>
              <a:gd name="connsiteY146" fmla="*/ 1219200 h 1752600"/>
              <a:gd name="connsiteX147" fmla="*/ 1885950 w 3128973"/>
              <a:gd name="connsiteY147" fmla="*/ 1209675 h 1752600"/>
              <a:gd name="connsiteX148" fmla="*/ 1843087 w 3128973"/>
              <a:gd name="connsiteY148" fmla="*/ 1195387 h 1752600"/>
              <a:gd name="connsiteX149" fmla="*/ 1757362 w 3128973"/>
              <a:gd name="connsiteY149" fmla="*/ 1185862 h 1752600"/>
              <a:gd name="connsiteX150" fmla="*/ 1700212 w 3128973"/>
              <a:gd name="connsiteY150" fmla="*/ 1166812 h 1752600"/>
              <a:gd name="connsiteX151" fmla="*/ 1671637 w 3128973"/>
              <a:gd name="connsiteY151" fmla="*/ 1147762 h 1752600"/>
              <a:gd name="connsiteX152" fmla="*/ 1652587 w 3128973"/>
              <a:gd name="connsiteY152" fmla="*/ 1138237 h 1752600"/>
              <a:gd name="connsiteX153" fmla="*/ 1638300 w 3128973"/>
              <a:gd name="connsiteY153" fmla="*/ 1128712 h 1752600"/>
              <a:gd name="connsiteX154" fmla="*/ 1590675 w 3128973"/>
              <a:gd name="connsiteY154" fmla="*/ 1138238 h 1752600"/>
              <a:gd name="connsiteX155" fmla="*/ 1559719 w 3128973"/>
              <a:gd name="connsiteY155" fmla="*/ 1109662 h 1752600"/>
              <a:gd name="connsiteX156" fmla="*/ 1528762 w 3128973"/>
              <a:gd name="connsiteY156" fmla="*/ 1085850 h 1752600"/>
              <a:gd name="connsiteX157" fmla="*/ 1514475 w 3128973"/>
              <a:gd name="connsiteY157" fmla="*/ 1081087 h 1752600"/>
              <a:gd name="connsiteX158" fmla="*/ 1470025 w 3128973"/>
              <a:gd name="connsiteY158" fmla="*/ 1130300 h 1752600"/>
              <a:gd name="connsiteX159" fmla="*/ 1433512 w 3128973"/>
              <a:gd name="connsiteY159" fmla="*/ 1108075 h 1752600"/>
              <a:gd name="connsiteX160" fmla="*/ 1423987 w 3128973"/>
              <a:gd name="connsiteY160" fmla="*/ 1087437 h 1752600"/>
              <a:gd name="connsiteX161" fmla="*/ 1381125 w 3128973"/>
              <a:gd name="connsiteY161" fmla="*/ 1095375 h 1752600"/>
              <a:gd name="connsiteX162" fmla="*/ 1383506 w 3128973"/>
              <a:gd name="connsiteY162" fmla="*/ 1028700 h 1752600"/>
              <a:gd name="connsiteX163" fmla="*/ 1366838 w 3128973"/>
              <a:gd name="connsiteY163" fmla="*/ 1019175 h 1752600"/>
              <a:gd name="connsiteX164" fmla="*/ 1335881 w 3128973"/>
              <a:gd name="connsiteY164" fmla="*/ 1007268 h 1752600"/>
              <a:gd name="connsiteX165" fmla="*/ 1319213 w 3128973"/>
              <a:gd name="connsiteY165" fmla="*/ 1007268 h 1752600"/>
              <a:gd name="connsiteX166" fmla="*/ 1295400 w 3128973"/>
              <a:gd name="connsiteY166" fmla="*/ 976312 h 1752600"/>
              <a:gd name="connsiteX167" fmla="*/ 1281112 w 3128973"/>
              <a:gd name="connsiteY167" fmla="*/ 966787 h 1752600"/>
              <a:gd name="connsiteX168" fmla="*/ 1238250 w 3128973"/>
              <a:gd name="connsiteY168" fmla="*/ 947737 h 1752600"/>
              <a:gd name="connsiteX169" fmla="*/ 1212850 w 3128973"/>
              <a:gd name="connsiteY169" fmla="*/ 995362 h 1752600"/>
              <a:gd name="connsiteX170" fmla="*/ 1201737 w 3128973"/>
              <a:gd name="connsiteY170" fmla="*/ 987425 h 1752600"/>
              <a:gd name="connsiteX171" fmla="*/ 1163637 w 3128973"/>
              <a:gd name="connsiteY171" fmla="*/ 952277 h 1752600"/>
              <a:gd name="connsiteX172" fmla="*/ 1133475 w 3128973"/>
              <a:gd name="connsiteY172" fmla="*/ 925512 h 1752600"/>
              <a:gd name="connsiteX173" fmla="*/ 1085850 w 3128973"/>
              <a:gd name="connsiteY173" fmla="*/ 859631 h 1752600"/>
              <a:gd name="connsiteX174" fmla="*/ 1071562 w 3128973"/>
              <a:gd name="connsiteY174" fmla="*/ 842962 h 1752600"/>
              <a:gd name="connsiteX175" fmla="*/ 1047750 w 3128973"/>
              <a:gd name="connsiteY175" fmla="*/ 819150 h 1752600"/>
              <a:gd name="connsiteX176" fmla="*/ 1028700 w 3128973"/>
              <a:gd name="connsiteY176" fmla="*/ 804862 h 1752600"/>
              <a:gd name="connsiteX177" fmla="*/ 1018076 w 3128973"/>
              <a:gd name="connsiteY177" fmla="*/ 794816 h 1752600"/>
              <a:gd name="connsiteX178" fmla="*/ 1000125 w 3128973"/>
              <a:gd name="connsiteY178" fmla="*/ 785812 h 1752600"/>
              <a:gd name="connsiteX179" fmla="*/ 984342 w 3128973"/>
              <a:gd name="connsiteY179" fmla="*/ 773578 h 1752600"/>
              <a:gd name="connsiteX180" fmla="*/ 957262 w 3128973"/>
              <a:gd name="connsiteY180" fmla="*/ 766762 h 1752600"/>
              <a:gd name="connsiteX181" fmla="*/ 938212 w 3128973"/>
              <a:gd name="connsiteY181" fmla="*/ 757237 h 1752600"/>
              <a:gd name="connsiteX182" fmla="*/ 904875 w 3128973"/>
              <a:gd name="connsiteY182" fmla="*/ 747712 h 1752600"/>
              <a:gd name="connsiteX183" fmla="*/ 862012 w 3128973"/>
              <a:gd name="connsiteY183" fmla="*/ 723900 h 1752600"/>
              <a:gd name="connsiteX184" fmla="*/ 795337 w 3128973"/>
              <a:gd name="connsiteY184" fmla="*/ 685800 h 1752600"/>
              <a:gd name="connsiteX185" fmla="*/ 776287 w 3128973"/>
              <a:gd name="connsiteY185" fmla="*/ 666750 h 1752600"/>
              <a:gd name="connsiteX186" fmla="*/ 762000 w 3128973"/>
              <a:gd name="connsiteY186" fmla="*/ 661987 h 1752600"/>
              <a:gd name="connsiteX187" fmla="*/ 742950 w 3128973"/>
              <a:gd name="connsiteY187" fmla="*/ 647700 h 1752600"/>
              <a:gd name="connsiteX188" fmla="*/ 709612 w 3128973"/>
              <a:gd name="connsiteY188" fmla="*/ 638175 h 1752600"/>
              <a:gd name="connsiteX189" fmla="*/ 695325 w 3128973"/>
              <a:gd name="connsiteY189" fmla="*/ 628650 h 1752600"/>
              <a:gd name="connsiteX190" fmla="*/ 681037 w 3128973"/>
              <a:gd name="connsiteY190" fmla="*/ 623887 h 1752600"/>
              <a:gd name="connsiteX191" fmla="*/ 676275 w 3128973"/>
              <a:gd name="connsiteY191" fmla="*/ 604837 h 1752600"/>
              <a:gd name="connsiteX192" fmla="*/ 666750 w 3128973"/>
              <a:gd name="connsiteY192" fmla="*/ 576262 h 1752600"/>
              <a:gd name="connsiteX193" fmla="*/ 661987 w 3128973"/>
              <a:gd name="connsiteY193" fmla="*/ 561975 h 1752600"/>
              <a:gd name="connsiteX194" fmla="*/ 666750 w 3128973"/>
              <a:gd name="connsiteY194" fmla="*/ 538162 h 1752600"/>
              <a:gd name="connsiteX195" fmla="*/ 638175 w 3128973"/>
              <a:gd name="connsiteY195" fmla="*/ 514350 h 1752600"/>
              <a:gd name="connsiteX196" fmla="*/ 619125 w 3128973"/>
              <a:gd name="connsiteY196" fmla="*/ 500062 h 1752600"/>
              <a:gd name="connsiteX197" fmla="*/ 576262 w 3128973"/>
              <a:gd name="connsiteY197" fmla="*/ 490537 h 1752600"/>
              <a:gd name="connsiteX198" fmla="*/ 542925 w 3128973"/>
              <a:gd name="connsiteY198" fmla="*/ 452437 h 1752600"/>
              <a:gd name="connsiteX199" fmla="*/ 525462 w 3128973"/>
              <a:gd name="connsiteY199" fmla="*/ 485775 h 1752600"/>
              <a:gd name="connsiteX200" fmla="*/ 504825 w 3128973"/>
              <a:gd name="connsiteY200" fmla="*/ 466725 h 1752600"/>
              <a:gd name="connsiteX201" fmla="*/ 454025 w 3128973"/>
              <a:gd name="connsiteY201" fmla="*/ 466725 h 1752600"/>
              <a:gd name="connsiteX202" fmla="*/ 407987 w 3128973"/>
              <a:gd name="connsiteY202" fmla="*/ 473075 h 1752600"/>
              <a:gd name="connsiteX203" fmla="*/ 395287 w 3128973"/>
              <a:gd name="connsiteY203" fmla="*/ 409575 h 1752600"/>
              <a:gd name="connsiteX204" fmla="*/ 376237 w 3128973"/>
              <a:gd name="connsiteY204" fmla="*/ 404812 h 1752600"/>
              <a:gd name="connsiteX205" fmla="*/ 342900 w 3128973"/>
              <a:gd name="connsiteY205" fmla="*/ 400050 h 1752600"/>
              <a:gd name="connsiteX206" fmla="*/ 314325 w 3128973"/>
              <a:gd name="connsiteY206" fmla="*/ 390525 h 1752600"/>
              <a:gd name="connsiteX207" fmla="*/ 273844 w 3128973"/>
              <a:gd name="connsiteY207" fmla="*/ 383382 h 1752600"/>
              <a:gd name="connsiteX208" fmla="*/ 257175 w 3128973"/>
              <a:gd name="connsiteY208" fmla="*/ 371475 h 1752600"/>
              <a:gd name="connsiteX209" fmla="*/ 245269 w 3128973"/>
              <a:gd name="connsiteY209" fmla="*/ 364331 h 1752600"/>
              <a:gd name="connsiteX210" fmla="*/ 223837 w 3128973"/>
              <a:gd name="connsiteY210" fmla="*/ 347662 h 1752600"/>
              <a:gd name="connsiteX211" fmla="*/ 190500 w 3128973"/>
              <a:gd name="connsiteY211" fmla="*/ 338137 h 1752600"/>
              <a:gd name="connsiteX212" fmla="*/ 147637 w 3128973"/>
              <a:gd name="connsiteY212" fmla="*/ 333375 h 1752600"/>
              <a:gd name="connsiteX213" fmla="*/ 119062 w 3128973"/>
              <a:gd name="connsiteY213" fmla="*/ 323850 h 1752600"/>
              <a:gd name="connsiteX214" fmla="*/ 104775 w 3128973"/>
              <a:gd name="connsiteY214" fmla="*/ 319087 h 1752600"/>
              <a:gd name="connsiteX215" fmla="*/ 61912 w 3128973"/>
              <a:gd name="connsiteY215" fmla="*/ 300037 h 1752600"/>
              <a:gd name="connsiteX216" fmla="*/ 23812 w 3128973"/>
              <a:gd name="connsiteY216" fmla="*/ 290512 h 1752600"/>
              <a:gd name="connsiteX217" fmla="*/ 9525 w 3128973"/>
              <a:gd name="connsiteY217" fmla="*/ 261937 h 1752600"/>
              <a:gd name="connsiteX218" fmla="*/ 0 w 3128973"/>
              <a:gd name="connsiteY218" fmla="*/ 290512 h 1752600"/>
              <a:gd name="connsiteX219" fmla="*/ 4762 w 3128973"/>
              <a:gd name="connsiteY219" fmla="*/ 247650 h 1752600"/>
              <a:gd name="connsiteX220" fmla="*/ 19050 w 3128973"/>
              <a:gd name="connsiteY220" fmla="*/ 200025 h 1752600"/>
              <a:gd name="connsiteX221" fmla="*/ 23812 w 3128973"/>
              <a:gd name="connsiteY221" fmla="*/ 185737 h 1752600"/>
              <a:gd name="connsiteX222" fmla="*/ 71437 w 3128973"/>
              <a:gd name="connsiteY222" fmla="*/ 171450 h 1752600"/>
              <a:gd name="connsiteX223" fmla="*/ 85725 w 3128973"/>
              <a:gd name="connsiteY223" fmla="*/ 166687 h 1752600"/>
              <a:gd name="connsiteX224" fmla="*/ 100012 w 3128973"/>
              <a:gd name="connsiteY224" fmla="*/ 161925 h 1752600"/>
              <a:gd name="connsiteX225" fmla="*/ 114300 w 3128973"/>
              <a:gd name="connsiteY225" fmla="*/ 152400 h 1752600"/>
              <a:gd name="connsiteX226" fmla="*/ 133350 w 3128973"/>
              <a:gd name="connsiteY226" fmla="*/ 123825 h 1752600"/>
              <a:gd name="connsiteX227" fmla="*/ 138112 w 3128973"/>
              <a:gd name="connsiteY227" fmla="*/ 109537 h 1752600"/>
              <a:gd name="connsiteX228" fmla="*/ 135467 w 3128973"/>
              <a:gd name="connsiteY228" fmla="*/ 97059 h 1752600"/>
              <a:gd name="connsiteX229" fmla="*/ 142875 w 3128973"/>
              <a:gd name="connsiteY229" fmla="*/ 71437 h 1752600"/>
              <a:gd name="connsiteX230" fmla="*/ 157162 w 3128973"/>
              <a:gd name="connsiteY230" fmla="*/ 57150 h 1752600"/>
              <a:gd name="connsiteX231" fmla="*/ 200025 w 3128973"/>
              <a:gd name="connsiteY231" fmla="*/ 33337 h 1752600"/>
              <a:gd name="connsiteX232" fmla="*/ 309562 w 3128973"/>
              <a:gd name="connsiteY232" fmla="*/ 28575 h 1752600"/>
              <a:gd name="connsiteX233" fmla="*/ 400050 w 3128973"/>
              <a:gd name="connsiteY233" fmla="*/ 14287 h 1752600"/>
              <a:gd name="connsiteX234" fmla="*/ 414337 w 3128973"/>
              <a:gd name="connsiteY234" fmla="*/ 9525 h 1752600"/>
              <a:gd name="connsiteX235" fmla="*/ 481012 w 3128973"/>
              <a:gd name="connsiteY235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088356 w 3128973"/>
              <a:gd name="connsiteY22" fmla="*/ 178467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046801 w 3128973"/>
              <a:gd name="connsiteY25" fmla="*/ 262295 h 1752600"/>
              <a:gd name="connsiteX26" fmla="*/ 2033587 w 3128973"/>
              <a:gd name="connsiteY26" fmla="*/ 266700 h 1752600"/>
              <a:gd name="connsiteX27" fmla="*/ 2019300 w 3128973"/>
              <a:gd name="connsiteY27" fmla="*/ 280987 h 1752600"/>
              <a:gd name="connsiteX28" fmla="*/ 1990725 w 3128973"/>
              <a:gd name="connsiteY28" fmla="*/ 300037 h 1752600"/>
              <a:gd name="connsiteX29" fmla="*/ 1981200 w 3128973"/>
              <a:gd name="connsiteY29" fmla="*/ 314325 h 1752600"/>
              <a:gd name="connsiteX30" fmla="*/ 1981200 w 3128973"/>
              <a:gd name="connsiteY30" fmla="*/ 419100 h 1752600"/>
              <a:gd name="connsiteX31" fmla="*/ 1985962 w 3128973"/>
              <a:gd name="connsiteY31" fmla="*/ 433387 h 1752600"/>
              <a:gd name="connsiteX32" fmla="*/ 2000250 w 3128973"/>
              <a:gd name="connsiteY32" fmla="*/ 442912 h 1752600"/>
              <a:gd name="connsiteX33" fmla="*/ 2005012 w 3128973"/>
              <a:gd name="connsiteY33" fmla="*/ 457200 h 1752600"/>
              <a:gd name="connsiteX34" fmla="*/ 2005012 w 3128973"/>
              <a:gd name="connsiteY34" fmla="*/ 561975 h 1752600"/>
              <a:gd name="connsiteX35" fmla="*/ 2009775 w 3128973"/>
              <a:gd name="connsiteY35" fmla="*/ 576262 h 1752600"/>
              <a:gd name="connsiteX36" fmla="*/ 2024062 w 3128973"/>
              <a:gd name="connsiteY36" fmla="*/ 581025 h 1752600"/>
              <a:gd name="connsiteX37" fmla="*/ 2038350 w 3128973"/>
              <a:gd name="connsiteY37" fmla="*/ 595312 h 1752600"/>
              <a:gd name="connsiteX38" fmla="*/ 2052637 w 3128973"/>
              <a:gd name="connsiteY38" fmla="*/ 600075 h 1752600"/>
              <a:gd name="connsiteX39" fmla="*/ 2133600 w 3128973"/>
              <a:gd name="connsiteY39" fmla="*/ 590550 h 1752600"/>
              <a:gd name="connsiteX40" fmla="*/ 2147887 w 3128973"/>
              <a:gd name="connsiteY40" fmla="*/ 585787 h 1752600"/>
              <a:gd name="connsiteX41" fmla="*/ 2195512 w 3128973"/>
              <a:gd name="connsiteY41" fmla="*/ 600075 h 1752600"/>
              <a:gd name="connsiteX42" fmla="*/ 2205037 w 3128973"/>
              <a:gd name="connsiteY42" fmla="*/ 614362 h 1752600"/>
              <a:gd name="connsiteX43" fmla="*/ 2219325 w 3128973"/>
              <a:gd name="connsiteY43" fmla="*/ 628650 h 1752600"/>
              <a:gd name="connsiteX44" fmla="*/ 2224087 w 3128973"/>
              <a:gd name="connsiteY44" fmla="*/ 642937 h 1752600"/>
              <a:gd name="connsiteX45" fmla="*/ 2233612 w 3128973"/>
              <a:gd name="connsiteY45" fmla="*/ 657225 h 1752600"/>
              <a:gd name="connsiteX46" fmla="*/ 2247900 w 3128973"/>
              <a:gd name="connsiteY46" fmla="*/ 685800 h 1752600"/>
              <a:gd name="connsiteX47" fmla="*/ 2262187 w 3128973"/>
              <a:gd name="connsiteY47" fmla="*/ 733425 h 1752600"/>
              <a:gd name="connsiteX48" fmla="*/ 2305050 w 3128973"/>
              <a:gd name="connsiteY48" fmla="*/ 771525 h 1752600"/>
              <a:gd name="connsiteX49" fmla="*/ 2319337 w 3128973"/>
              <a:gd name="connsiteY49" fmla="*/ 804862 h 1752600"/>
              <a:gd name="connsiteX50" fmla="*/ 2333625 w 3128973"/>
              <a:gd name="connsiteY50" fmla="*/ 819150 h 1752600"/>
              <a:gd name="connsiteX51" fmla="*/ 2338387 w 3128973"/>
              <a:gd name="connsiteY51" fmla="*/ 833437 h 1752600"/>
              <a:gd name="connsiteX52" fmla="*/ 2352675 w 3128973"/>
              <a:gd name="connsiteY52" fmla="*/ 847725 h 1752600"/>
              <a:gd name="connsiteX53" fmla="*/ 2395537 w 3128973"/>
              <a:gd name="connsiteY53" fmla="*/ 871537 h 1752600"/>
              <a:gd name="connsiteX54" fmla="*/ 2409825 w 3128973"/>
              <a:gd name="connsiteY54" fmla="*/ 890587 h 1752600"/>
              <a:gd name="connsiteX55" fmla="*/ 2424112 w 3128973"/>
              <a:gd name="connsiteY55" fmla="*/ 895350 h 1752600"/>
              <a:gd name="connsiteX56" fmla="*/ 2433637 w 3128973"/>
              <a:gd name="connsiteY56" fmla="*/ 914400 h 1752600"/>
              <a:gd name="connsiteX57" fmla="*/ 2466975 w 3128973"/>
              <a:gd name="connsiteY57" fmla="*/ 942975 h 1752600"/>
              <a:gd name="connsiteX58" fmla="*/ 2474637 w 3128973"/>
              <a:gd name="connsiteY58" fmla="*/ 954728 h 1752600"/>
              <a:gd name="connsiteX59" fmla="*/ 2495550 w 3128973"/>
              <a:gd name="connsiteY59" fmla="*/ 971550 h 1752600"/>
              <a:gd name="connsiteX60" fmla="*/ 2508776 w 3128973"/>
              <a:gd name="connsiteY60" fmla="*/ 983894 h 1752600"/>
              <a:gd name="connsiteX61" fmla="*/ 2533650 w 3128973"/>
              <a:gd name="connsiteY61" fmla="*/ 1000125 h 1752600"/>
              <a:gd name="connsiteX62" fmla="*/ 2547937 w 3128973"/>
              <a:gd name="connsiteY62" fmla="*/ 1028700 h 1752600"/>
              <a:gd name="connsiteX63" fmla="*/ 2552700 w 3128973"/>
              <a:gd name="connsiteY63" fmla="*/ 1042987 h 1752600"/>
              <a:gd name="connsiteX64" fmla="*/ 2576512 w 3128973"/>
              <a:gd name="connsiteY64" fmla="*/ 1071562 h 1752600"/>
              <a:gd name="connsiteX65" fmla="*/ 2584921 w 3128973"/>
              <a:gd name="connsiteY65" fmla="*/ 1082873 h 1752600"/>
              <a:gd name="connsiteX66" fmla="*/ 2600325 w 3128973"/>
              <a:gd name="connsiteY66" fmla="*/ 1095375 h 1752600"/>
              <a:gd name="connsiteX67" fmla="*/ 2609850 w 3128973"/>
              <a:gd name="connsiteY67" fmla="*/ 1109662 h 1752600"/>
              <a:gd name="connsiteX68" fmla="*/ 2652712 w 3128973"/>
              <a:gd name="connsiteY68" fmla="*/ 1143000 h 1752600"/>
              <a:gd name="connsiteX69" fmla="*/ 2681287 w 3128973"/>
              <a:gd name="connsiteY69" fmla="*/ 1152525 h 1752600"/>
              <a:gd name="connsiteX70" fmla="*/ 2700337 w 3128973"/>
              <a:gd name="connsiteY70" fmla="*/ 1162050 h 1752600"/>
              <a:gd name="connsiteX71" fmla="*/ 2714625 w 3128973"/>
              <a:gd name="connsiteY71" fmla="*/ 1171575 h 1752600"/>
              <a:gd name="connsiteX72" fmla="*/ 2752725 w 3128973"/>
              <a:gd name="connsiteY72" fmla="*/ 1181100 h 1752600"/>
              <a:gd name="connsiteX73" fmla="*/ 2767012 w 3128973"/>
              <a:gd name="connsiteY73" fmla="*/ 1195387 h 1752600"/>
              <a:gd name="connsiteX74" fmla="*/ 2781300 w 3128973"/>
              <a:gd name="connsiteY74" fmla="*/ 1200150 h 1752600"/>
              <a:gd name="connsiteX75" fmla="*/ 2795587 w 3128973"/>
              <a:gd name="connsiteY75" fmla="*/ 1209675 h 1752600"/>
              <a:gd name="connsiteX76" fmla="*/ 2805112 w 3128973"/>
              <a:gd name="connsiteY76" fmla="*/ 1223962 h 1752600"/>
              <a:gd name="connsiteX77" fmla="*/ 2809875 w 3128973"/>
              <a:gd name="connsiteY77" fmla="*/ 1238250 h 1752600"/>
              <a:gd name="connsiteX78" fmla="*/ 2833687 w 3128973"/>
              <a:gd name="connsiteY78" fmla="*/ 1276350 h 1752600"/>
              <a:gd name="connsiteX79" fmla="*/ 2895600 w 3128973"/>
              <a:gd name="connsiteY79" fmla="*/ 1333500 h 1752600"/>
              <a:gd name="connsiteX80" fmla="*/ 2900362 w 3128973"/>
              <a:gd name="connsiteY80" fmla="*/ 1352550 h 1752600"/>
              <a:gd name="connsiteX81" fmla="*/ 2928937 w 3128973"/>
              <a:gd name="connsiteY81" fmla="*/ 1395412 h 1752600"/>
              <a:gd name="connsiteX82" fmla="*/ 2943225 w 3128973"/>
              <a:gd name="connsiteY82" fmla="*/ 1404937 h 1752600"/>
              <a:gd name="connsiteX83" fmla="*/ 2957512 w 3128973"/>
              <a:gd name="connsiteY83" fmla="*/ 1419225 h 1752600"/>
              <a:gd name="connsiteX84" fmla="*/ 2986087 w 3128973"/>
              <a:gd name="connsiteY84" fmla="*/ 1443037 h 1752600"/>
              <a:gd name="connsiteX85" fmla="*/ 3000375 w 3128973"/>
              <a:gd name="connsiteY85" fmla="*/ 1462087 h 1752600"/>
              <a:gd name="connsiteX86" fmla="*/ 3016395 w 3128973"/>
              <a:gd name="connsiteY86" fmla="*/ 1476222 h 1752600"/>
              <a:gd name="connsiteX87" fmla="*/ 3028950 w 3128973"/>
              <a:gd name="connsiteY87" fmla="*/ 1495425 h 1752600"/>
              <a:gd name="connsiteX88" fmla="*/ 3043237 w 3128973"/>
              <a:gd name="connsiteY88" fmla="*/ 1552575 h 1752600"/>
              <a:gd name="connsiteX89" fmla="*/ 3052762 w 3128973"/>
              <a:gd name="connsiteY89" fmla="*/ 1566862 h 1752600"/>
              <a:gd name="connsiteX90" fmla="*/ 3057525 w 3128973"/>
              <a:gd name="connsiteY90" fmla="*/ 1581150 h 1752600"/>
              <a:gd name="connsiteX91" fmla="*/ 3067050 w 3128973"/>
              <a:gd name="connsiteY91" fmla="*/ 1662112 h 1752600"/>
              <a:gd name="connsiteX92" fmla="*/ 3071812 w 3128973"/>
              <a:gd name="connsiteY92" fmla="*/ 1676400 h 1752600"/>
              <a:gd name="connsiteX93" fmla="*/ 3100387 w 3128973"/>
              <a:gd name="connsiteY93" fmla="*/ 1690687 h 1752600"/>
              <a:gd name="connsiteX94" fmla="*/ 3114675 w 3128973"/>
              <a:gd name="connsiteY94" fmla="*/ 1685925 h 1752600"/>
              <a:gd name="connsiteX95" fmla="*/ 3124200 w 3128973"/>
              <a:gd name="connsiteY95" fmla="*/ 1671637 h 1752600"/>
              <a:gd name="connsiteX96" fmla="*/ 3128973 w 3128973"/>
              <a:gd name="connsiteY96" fmla="*/ 1651467 h 1752600"/>
              <a:gd name="connsiteX97" fmla="*/ 3128021 w 3128973"/>
              <a:gd name="connsiteY97" fmla="*/ 1710279 h 1752600"/>
              <a:gd name="connsiteX98" fmla="*/ 3043237 w 3128973"/>
              <a:gd name="connsiteY98" fmla="*/ 1714500 h 1752600"/>
              <a:gd name="connsiteX99" fmla="*/ 3028950 w 3128973"/>
              <a:gd name="connsiteY99" fmla="*/ 1728787 h 1752600"/>
              <a:gd name="connsiteX100" fmla="*/ 2986087 w 3128973"/>
              <a:gd name="connsiteY100" fmla="*/ 1738312 h 1752600"/>
              <a:gd name="connsiteX101" fmla="*/ 2971800 w 3128973"/>
              <a:gd name="connsiteY101" fmla="*/ 1743075 h 1752600"/>
              <a:gd name="connsiteX102" fmla="*/ 2943225 w 3128973"/>
              <a:gd name="connsiteY102" fmla="*/ 1738312 h 1752600"/>
              <a:gd name="connsiteX103" fmla="*/ 2928937 w 3128973"/>
              <a:gd name="connsiteY103" fmla="*/ 1747837 h 1752600"/>
              <a:gd name="connsiteX104" fmla="*/ 2914650 w 3128973"/>
              <a:gd name="connsiteY104" fmla="*/ 1752600 h 1752600"/>
              <a:gd name="connsiteX105" fmla="*/ 2895600 w 3128973"/>
              <a:gd name="connsiteY105" fmla="*/ 1724025 h 1752600"/>
              <a:gd name="connsiteX106" fmla="*/ 2883310 w 3128973"/>
              <a:gd name="connsiteY106" fmla="*/ 1701201 h 1752600"/>
              <a:gd name="connsiteX107" fmla="*/ 2883805 w 3128973"/>
              <a:gd name="connsiteY107" fmla="*/ 1696138 h 1752600"/>
              <a:gd name="connsiteX108" fmla="*/ 2871787 w 3128973"/>
              <a:gd name="connsiteY108" fmla="*/ 1685925 h 1752600"/>
              <a:gd name="connsiteX109" fmla="*/ 2847975 w 3128973"/>
              <a:gd name="connsiteY109" fmla="*/ 1657350 h 1752600"/>
              <a:gd name="connsiteX110" fmla="*/ 2834034 w 3128973"/>
              <a:gd name="connsiteY110" fmla="*/ 1637762 h 1752600"/>
              <a:gd name="connsiteX111" fmla="*/ 2814637 w 3128973"/>
              <a:gd name="connsiteY111" fmla="*/ 1619250 h 1752600"/>
              <a:gd name="connsiteX112" fmla="*/ 2809875 w 3128973"/>
              <a:gd name="connsiteY112" fmla="*/ 1604962 h 1752600"/>
              <a:gd name="connsiteX113" fmla="*/ 2795587 w 3128973"/>
              <a:gd name="connsiteY113" fmla="*/ 1600200 h 1752600"/>
              <a:gd name="connsiteX114" fmla="*/ 2781300 w 3128973"/>
              <a:gd name="connsiteY114" fmla="*/ 1590675 h 1752600"/>
              <a:gd name="connsiteX115" fmla="*/ 2752725 w 3128973"/>
              <a:gd name="connsiteY115" fmla="*/ 1581150 h 1752600"/>
              <a:gd name="connsiteX116" fmla="*/ 2733675 w 3128973"/>
              <a:gd name="connsiteY116" fmla="*/ 1625600 h 1752600"/>
              <a:gd name="connsiteX117" fmla="*/ 2709862 w 3128973"/>
              <a:gd name="connsiteY117" fmla="*/ 1619250 h 1752600"/>
              <a:gd name="connsiteX118" fmla="*/ 2723566 w 3128973"/>
              <a:gd name="connsiteY118" fmla="*/ 1590361 h 1752600"/>
              <a:gd name="connsiteX119" fmla="*/ 2674937 w 3128973"/>
              <a:gd name="connsiteY119" fmla="*/ 1560512 h 1752600"/>
              <a:gd name="connsiteX120" fmla="*/ 2643187 w 3128973"/>
              <a:gd name="connsiteY120" fmla="*/ 1495425 h 1752600"/>
              <a:gd name="connsiteX121" fmla="*/ 2628900 w 3128973"/>
              <a:gd name="connsiteY121" fmla="*/ 1490662 h 1752600"/>
              <a:gd name="connsiteX122" fmla="*/ 2595562 w 3128973"/>
              <a:gd name="connsiteY122" fmla="*/ 1481137 h 1752600"/>
              <a:gd name="connsiteX123" fmla="*/ 2581275 w 3128973"/>
              <a:gd name="connsiteY123" fmla="*/ 1466850 h 1752600"/>
              <a:gd name="connsiteX124" fmla="*/ 2552700 w 3128973"/>
              <a:gd name="connsiteY124" fmla="*/ 1457325 h 1752600"/>
              <a:gd name="connsiteX125" fmla="*/ 2538412 w 3128973"/>
              <a:gd name="connsiteY125" fmla="*/ 1447800 h 1752600"/>
              <a:gd name="connsiteX126" fmla="*/ 2519362 w 3128973"/>
              <a:gd name="connsiteY126" fmla="*/ 1443037 h 1752600"/>
              <a:gd name="connsiteX127" fmla="*/ 2490787 w 3128973"/>
              <a:gd name="connsiteY127" fmla="*/ 1433512 h 1752600"/>
              <a:gd name="connsiteX128" fmla="*/ 2476500 w 3128973"/>
              <a:gd name="connsiteY128" fmla="*/ 1428750 h 1752600"/>
              <a:gd name="connsiteX129" fmla="*/ 2466975 w 3128973"/>
              <a:gd name="connsiteY129" fmla="*/ 1414462 h 1752600"/>
              <a:gd name="connsiteX130" fmla="*/ 2447925 w 3128973"/>
              <a:gd name="connsiteY130" fmla="*/ 1409700 h 1752600"/>
              <a:gd name="connsiteX131" fmla="*/ 2309812 w 3128973"/>
              <a:gd name="connsiteY131" fmla="*/ 1395412 h 1752600"/>
              <a:gd name="connsiteX132" fmla="*/ 2295525 w 3128973"/>
              <a:gd name="connsiteY132" fmla="*/ 1390650 h 1752600"/>
              <a:gd name="connsiteX133" fmla="*/ 2257425 w 3128973"/>
              <a:gd name="connsiteY133" fmla="*/ 1381125 h 1752600"/>
              <a:gd name="connsiteX134" fmla="*/ 2238375 w 3128973"/>
              <a:gd name="connsiteY134" fmla="*/ 1366837 h 1752600"/>
              <a:gd name="connsiteX135" fmla="*/ 2224087 w 3128973"/>
              <a:gd name="connsiteY135" fmla="*/ 1362075 h 1752600"/>
              <a:gd name="connsiteX136" fmla="*/ 2176462 w 3128973"/>
              <a:gd name="connsiteY136" fmla="*/ 1338262 h 1752600"/>
              <a:gd name="connsiteX137" fmla="*/ 2162175 w 3128973"/>
              <a:gd name="connsiteY137" fmla="*/ 1328737 h 1752600"/>
              <a:gd name="connsiteX138" fmla="*/ 2114550 w 3128973"/>
              <a:gd name="connsiteY138" fmla="*/ 1314450 h 1752600"/>
              <a:gd name="connsiteX139" fmla="*/ 2100262 w 3128973"/>
              <a:gd name="connsiteY139" fmla="*/ 1300162 h 1752600"/>
              <a:gd name="connsiteX140" fmla="*/ 2085975 w 3128973"/>
              <a:gd name="connsiteY140" fmla="*/ 1295400 h 1752600"/>
              <a:gd name="connsiteX141" fmla="*/ 2055019 w 3128973"/>
              <a:gd name="connsiteY141" fmla="*/ 1290637 h 1752600"/>
              <a:gd name="connsiteX142" fmla="*/ 2028824 w 3128973"/>
              <a:gd name="connsiteY142" fmla="*/ 1283494 h 1752600"/>
              <a:gd name="connsiteX143" fmla="*/ 2005012 w 3128973"/>
              <a:gd name="connsiteY143" fmla="*/ 1271587 h 1752600"/>
              <a:gd name="connsiteX144" fmla="*/ 1985962 w 3128973"/>
              <a:gd name="connsiteY144" fmla="*/ 1262062 h 1752600"/>
              <a:gd name="connsiteX145" fmla="*/ 1971675 w 3128973"/>
              <a:gd name="connsiteY145" fmla="*/ 1257300 h 1752600"/>
              <a:gd name="connsiteX146" fmla="*/ 1943100 w 3128973"/>
              <a:gd name="connsiteY146" fmla="*/ 1238250 h 1752600"/>
              <a:gd name="connsiteX147" fmla="*/ 1914525 w 3128973"/>
              <a:gd name="connsiteY147" fmla="*/ 1219200 h 1752600"/>
              <a:gd name="connsiteX148" fmla="*/ 1885950 w 3128973"/>
              <a:gd name="connsiteY148" fmla="*/ 1209675 h 1752600"/>
              <a:gd name="connsiteX149" fmla="*/ 1843087 w 3128973"/>
              <a:gd name="connsiteY149" fmla="*/ 1195387 h 1752600"/>
              <a:gd name="connsiteX150" fmla="*/ 1757362 w 3128973"/>
              <a:gd name="connsiteY150" fmla="*/ 1185862 h 1752600"/>
              <a:gd name="connsiteX151" fmla="*/ 1700212 w 3128973"/>
              <a:gd name="connsiteY151" fmla="*/ 1166812 h 1752600"/>
              <a:gd name="connsiteX152" fmla="*/ 1671637 w 3128973"/>
              <a:gd name="connsiteY152" fmla="*/ 1147762 h 1752600"/>
              <a:gd name="connsiteX153" fmla="*/ 1652587 w 3128973"/>
              <a:gd name="connsiteY153" fmla="*/ 1138237 h 1752600"/>
              <a:gd name="connsiteX154" fmla="*/ 1638300 w 3128973"/>
              <a:gd name="connsiteY154" fmla="*/ 1128712 h 1752600"/>
              <a:gd name="connsiteX155" fmla="*/ 1590675 w 3128973"/>
              <a:gd name="connsiteY155" fmla="*/ 1138238 h 1752600"/>
              <a:gd name="connsiteX156" fmla="*/ 1559719 w 3128973"/>
              <a:gd name="connsiteY156" fmla="*/ 1109662 h 1752600"/>
              <a:gd name="connsiteX157" fmla="*/ 1528762 w 3128973"/>
              <a:gd name="connsiteY157" fmla="*/ 1085850 h 1752600"/>
              <a:gd name="connsiteX158" fmla="*/ 1514475 w 3128973"/>
              <a:gd name="connsiteY158" fmla="*/ 1081087 h 1752600"/>
              <a:gd name="connsiteX159" fmla="*/ 1470025 w 3128973"/>
              <a:gd name="connsiteY159" fmla="*/ 1130300 h 1752600"/>
              <a:gd name="connsiteX160" fmla="*/ 1433512 w 3128973"/>
              <a:gd name="connsiteY160" fmla="*/ 1108075 h 1752600"/>
              <a:gd name="connsiteX161" fmla="*/ 1423987 w 3128973"/>
              <a:gd name="connsiteY161" fmla="*/ 1087437 h 1752600"/>
              <a:gd name="connsiteX162" fmla="*/ 1381125 w 3128973"/>
              <a:gd name="connsiteY162" fmla="*/ 1095375 h 1752600"/>
              <a:gd name="connsiteX163" fmla="*/ 1383506 w 3128973"/>
              <a:gd name="connsiteY163" fmla="*/ 1028700 h 1752600"/>
              <a:gd name="connsiteX164" fmla="*/ 1366838 w 3128973"/>
              <a:gd name="connsiteY164" fmla="*/ 1019175 h 1752600"/>
              <a:gd name="connsiteX165" fmla="*/ 1335881 w 3128973"/>
              <a:gd name="connsiteY165" fmla="*/ 1007268 h 1752600"/>
              <a:gd name="connsiteX166" fmla="*/ 1319213 w 3128973"/>
              <a:gd name="connsiteY166" fmla="*/ 1007268 h 1752600"/>
              <a:gd name="connsiteX167" fmla="*/ 1295400 w 3128973"/>
              <a:gd name="connsiteY167" fmla="*/ 976312 h 1752600"/>
              <a:gd name="connsiteX168" fmla="*/ 1281112 w 3128973"/>
              <a:gd name="connsiteY168" fmla="*/ 966787 h 1752600"/>
              <a:gd name="connsiteX169" fmla="*/ 1238250 w 3128973"/>
              <a:gd name="connsiteY169" fmla="*/ 947737 h 1752600"/>
              <a:gd name="connsiteX170" fmla="*/ 1212850 w 3128973"/>
              <a:gd name="connsiteY170" fmla="*/ 995362 h 1752600"/>
              <a:gd name="connsiteX171" fmla="*/ 1201737 w 3128973"/>
              <a:gd name="connsiteY171" fmla="*/ 987425 h 1752600"/>
              <a:gd name="connsiteX172" fmla="*/ 1163637 w 3128973"/>
              <a:gd name="connsiteY172" fmla="*/ 952277 h 1752600"/>
              <a:gd name="connsiteX173" fmla="*/ 1133475 w 3128973"/>
              <a:gd name="connsiteY173" fmla="*/ 925512 h 1752600"/>
              <a:gd name="connsiteX174" fmla="*/ 1085850 w 3128973"/>
              <a:gd name="connsiteY174" fmla="*/ 859631 h 1752600"/>
              <a:gd name="connsiteX175" fmla="*/ 1071562 w 3128973"/>
              <a:gd name="connsiteY175" fmla="*/ 842962 h 1752600"/>
              <a:gd name="connsiteX176" fmla="*/ 1047750 w 3128973"/>
              <a:gd name="connsiteY176" fmla="*/ 819150 h 1752600"/>
              <a:gd name="connsiteX177" fmla="*/ 1028700 w 3128973"/>
              <a:gd name="connsiteY177" fmla="*/ 804862 h 1752600"/>
              <a:gd name="connsiteX178" fmla="*/ 1018076 w 3128973"/>
              <a:gd name="connsiteY178" fmla="*/ 794816 h 1752600"/>
              <a:gd name="connsiteX179" fmla="*/ 1000125 w 3128973"/>
              <a:gd name="connsiteY179" fmla="*/ 785812 h 1752600"/>
              <a:gd name="connsiteX180" fmla="*/ 984342 w 3128973"/>
              <a:gd name="connsiteY180" fmla="*/ 773578 h 1752600"/>
              <a:gd name="connsiteX181" fmla="*/ 957262 w 3128973"/>
              <a:gd name="connsiteY181" fmla="*/ 766762 h 1752600"/>
              <a:gd name="connsiteX182" fmla="*/ 938212 w 3128973"/>
              <a:gd name="connsiteY182" fmla="*/ 757237 h 1752600"/>
              <a:gd name="connsiteX183" fmla="*/ 904875 w 3128973"/>
              <a:gd name="connsiteY183" fmla="*/ 747712 h 1752600"/>
              <a:gd name="connsiteX184" fmla="*/ 862012 w 3128973"/>
              <a:gd name="connsiteY184" fmla="*/ 723900 h 1752600"/>
              <a:gd name="connsiteX185" fmla="*/ 795337 w 3128973"/>
              <a:gd name="connsiteY185" fmla="*/ 685800 h 1752600"/>
              <a:gd name="connsiteX186" fmla="*/ 776287 w 3128973"/>
              <a:gd name="connsiteY186" fmla="*/ 666750 h 1752600"/>
              <a:gd name="connsiteX187" fmla="*/ 762000 w 3128973"/>
              <a:gd name="connsiteY187" fmla="*/ 661987 h 1752600"/>
              <a:gd name="connsiteX188" fmla="*/ 742950 w 3128973"/>
              <a:gd name="connsiteY188" fmla="*/ 647700 h 1752600"/>
              <a:gd name="connsiteX189" fmla="*/ 709612 w 3128973"/>
              <a:gd name="connsiteY189" fmla="*/ 638175 h 1752600"/>
              <a:gd name="connsiteX190" fmla="*/ 695325 w 3128973"/>
              <a:gd name="connsiteY190" fmla="*/ 628650 h 1752600"/>
              <a:gd name="connsiteX191" fmla="*/ 681037 w 3128973"/>
              <a:gd name="connsiteY191" fmla="*/ 623887 h 1752600"/>
              <a:gd name="connsiteX192" fmla="*/ 676275 w 3128973"/>
              <a:gd name="connsiteY192" fmla="*/ 604837 h 1752600"/>
              <a:gd name="connsiteX193" fmla="*/ 666750 w 3128973"/>
              <a:gd name="connsiteY193" fmla="*/ 576262 h 1752600"/>
              <a:gd name="connsiteX194" fmla="*/ 661987 w 3128973"/>
              <a:gd name="connsiteY194" fmla="*/ 561975 h 1752600"/>
              <a:gd name="connsiteX195" fmla="*/ 666750 w 3128973"/>
              <a:gd name="connsiteY195" fmla="*/ 538162 h 1752600"/>
              <a:gd name="connsiteX196" fmla="*/ 638175 w 3128973"/>
              <a:gd name="connsiteY196" fmla="*/ 514350 h 1752600"/>
              <a:gd name="connsiteX197" fmla="*/ 619125 w 3128973"/>
              <a:gd name="connsiteY197" fmla="*/ 500062 h 1752600"/>
              <a:gd name="connsiteX198" fmla="*/ 576262 w 3128973"/>
              <a:gd name="connsiteY198" fmla="*/ 490537 h 1752600"/>
              <a:gd name="connsiteX199" fmla="*/ 542925 w 3128973"/>
              <a:gd name="connsiteY199" fmla="*/ 452437 h 1752600"/>
              <a:gd name="connsiteX200" fmla="*/ 525462 w 3128973"/>
              <a:gd name="connsiteY200" fmla="*/ 485775 h 1752600"/>
              <a:gd name="connsiteX201" fmla="*/ 504825 w 3128973"/>
              <a:gd name="connsiteY201" fmla="*/ 466725 h 1752600"/>
              <a:gd name="connsiteX202" fmla="*/ 454025 w 3128973"/>
              <a:gd name="connsiteY202" fmla="*/ 466725 h 1752600"/>
              <a:gd name="connsiteX203" fmla="*/ 407987 w 3128973"/>
              <a:gd name="connsiteY203" fmla="*/ 473075 h 1752600"/>
              <a:gd name="connsiteX204" fmla="*/ 395287 w 3128973"/>
              <a:gd name="connsiteY204" fmla="*/ 409575 h 1752600"/>
              <a:gd name="connsiteX205" fmla="*/ 376237 w 3128973"/>
              <a:gd name="connsiteY205" fmla="*/ 404812 h 1752600"/>
              <a:gd name="connsiteX206" fmla="*/ 342900 w 3128973"/>
              <a:gd name="connsiteY206" fmla="*/ 400050 h 1752600"/>
              <a:gd name="connsiteX207" fmla="*/ 314325 w 3128973"/>
              <a:gd name="connsiteY207" fmla="*/ 390525 h 1752600"/>
              <a:gd name="connsiteX208" fmla="*/ 273844 w 3128973"/>
              <a:gd name="connsiteY208" fmla="*/ 383382 h 1752600"/>
              <a:gd name="connsiteX209" fmla="*/ 257175 w 3128973"/>
              <a:gd name="connsiteY209" fmla="*/ 371475 h 1752600"/>
              <a:gd name="connsiteX210" fmla="*/ 245269 w 3128973"/>
              <a:gd name="connsiteY210" fmla="*/ 364331 h 1752600"/>
              <a:gd name="connsiteX211" fmla="*/ 223837 w 3128973"/>
              <a:gd name="connsiteY211" fmla="*/ 347662 h 1752600"/>
              <a:gd name="connsiteX212" fmla="*/ 190500 w 3128973"/>
              <a:gd name="connsiteY212" fmla="*/ 338137 h 1752600"/>
              <a:gd name="connsiteX213" fmla="*/ 147637 w 3128973"/>
              <a:gd name="connsiteY213" fmla="*/ 333375 h 1752600"/>
              <a:gd name="connsiteX214" fmla="*/ 119062 w 3128973"/>
              <a:gd name="connsiteY214" fmla="*/ 323850 h 1752600"/>
              <a:gd name="connsiteX215" fmla="*/ 104775 w 3128973"/>
              <a:gd name="connsiteY215" fmla="*/ 319087 h 1752600"/>
              <a:gd name="connsiteX216" fmla="*/ 61912 w 3128973"/>
              <a:gd name="connsiteY216" fmla="*/ 300037 h 1752600"/>
              <a:gd name="connsiteX217" fmla="*/ 23812 w 3128973"/>
              <a:gd name="connsiteY217" fmla="*/ 290512 h 1752600"/>
              <a:gd name="connsiteX218" fmla="*/ 9525 w 3128973"/>
              <a:gd name="connsiteY218" fmla="*/ 261937 h 1752600"/>
              <a:gd name="connsiteX219" fmla="*/ 0 w 3128973"/>
              <a:gd name="connsiteY219" fmla="*/ 290512 h 1752600"/>
              <a:gd name="connsiteX220" fmla="*/ 4762 w 3128973"/>
              <a:gd name="connsiteY220" fmla="*/ 247650 h 1752600"/>
              <a:gd name="connsiteX221" fmla="*/ 19050 w 3128973"/>
              <a:gd name="connsiteY221" fmla="*/ 200025 h 1752600"/>
              <a:gd name="connsiteX222" fmla="*/ 23812 w 3128973"/>
              <a:gd name="connsiteY222" fmla="*/ 185737 h 1752600"/>
              <a:gd name="connsiteX223" fmla="*/ 71437 w 3128973"/>
              <a:gd name="connsiteY223" fmla="*/ 171450 h 1752600"/>
              <a:gd name="connsiteX224" fmla="*/ 85725 w 3128973"/>
              <a:gd name="connsiteY224" fmla="*/ 166687 h 1752600"/>
              <a:gd name="connsiteX225" fmla="*/ 100012 w 3128973"/>
              <a:gd name="connsiteY225" fmla="*/ 161925 h 1752600"/>
              <a:gd name="connsiteX226" fmla="*/ 114300 w 3128973"/>
              <a:gd name="connsiteY226" fmla="*/ 152400 h 1752600"/>
              <a:gd name="connsiteX227" fmla="*/ 133350 w 3128973"/>
              <a:gd name="connsiteY227" fmla="*/ 123825 h 1752600"/>
              <a:gd name="connsiteX228" fmla="*/ 138112 w 3128973"/>
              <a:gd name="connsiteY228" fmla="*/ 109537 h 1752600"/>
              <a:gd name="connsiteX229" fmla="*/ 135467 w 3128973"/>
              <a:gd name="connsiteY229" fmla="*/ 97059 h 1752600"/>
              <a:gd name="connsiteX230" fmla="*/ 142875 w 3128973"/>
              <a:gd name="connsiteY230" fmla="*/ 71437 h 1752600"/>
              <a:gd name="connsiteX231" fmla="*/ 157162 w 3128973"/>
              <a:gd name="connsiteY231" fmla="*/ 57150 h 1752600"/>
              <a:gd name="connsiteX232" fmla="*/ 200025 w 3128973"/>
              <a:gd name="connsiteY232" fmla="*/ 33337 h 1752600"/>
              <a:gd name="connsiteX233" fmla="*/ 309562 w 3128973"/>
              <a:gd name="connsiteY233" fmla="*/ 28575 h 1752600"/>
              <a:gd name="connsiteX234" fmla="*/ 400050 w 3128973"/>
              <a:gd name="connsiteY234" fmla="*/ 14287 h 1752600"/>
              <a:gd name="connsiteX235" fmla="*/ 414337 w 3128973"/>
              <a:gd name="connsiteY235" fmla="*/ 9525 h 1752600"/>
              <a:gd name="connsiteX236" fmla="*/ 481012 w 3128973"/>
              <a:gd name="connsiteY236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046801 w 3128973"/>
              <a:gd name="connsiteY25" fmla="*/ 262295 h 1752600"/>
              <a:gd name="connsiteX26" fmla="*/ 2033587 w 3128973"/>
              <a:gd name="connsiteY26" fmla="*/ 266700 h 1752600"/>
              <a:gd name="connsiteX27" fmla="*/ 2019300 w 3128973"/>
              <a:gd name="connsiteY27" fmla="*/ 280987 h 1752600"/>
              <a:gd name="connsiteX28" fmla="*/ 1990725 w 3128973"/>
              <a:gd name="connsiteY28" fmla="*/ 300037 h 1752600"/>
              <a:gd name="connsiteX29" fmla="*/ 1981200 w 3128973"/>
              <a:gd name="connsiteY29" fmla="*/ 314325 h 1752600"/>
              <a:gd name="connsiteX30" fmla="*/ 1981200 w 3128973"/>
              <a:gd name="connsiteY30" fmla="*/ 419100 h 1752600"/>
              <a:gd name="connsiteX31" fmla="*/ 1985962 w 3128973"/>
              <a:gd name="connsiteY31" fmla="*/ 433387 h 1752600"/>
              <a:gd name="connsiteX32" fmla="*/ 2000250 w 3128973"/>
              <a:gd name="connsiteY32" fmla="*/ 442912 h 1752600"/>
              <a:gd name="connsiteX33" fmla="*/ 2005012 w 3128973"/>
              <a:gd name="connsiteY33" fmla="*/ 457200 h 1752600"/>
              <a:gd name="connsiteX34" fmla="*/ 2005012 w 3128973"/>
              <a:gd name="connsiteY34" fmla="*/ 561975 h 1752600"/>
              <a:gd name="connsiteX35" fmla="*/ 2009775 w 3128973"/>
              <a:gd name="connsiteY35" fmla="*/ 576262 h 1752600"/>
              <a:gd name="connsiteX36" fmla="*/ 2024062 w 3128973"/>
              <a:gd name="connsiteY36" fmla="*/ 581025 h 1752600"/>
              <a:gd name="connsiteX37" fmla="*/ 2038350 w 3128973"/>
              <a:gd name="connsiteY37" fmla="*/ 595312 h 1752600"/>
              <a:gd name="connsiteX38" fmla="*/ 2052637 w 3128973"/>
              <a:gd name="connsiteY38" fmla="*/ 600075 h 1752600"/>
              <a:gd name="connsiteX39" fmla="*/ 2133600 w 3128973"/>
              <a:gd name="connsiteY39" fmla="*/ 590550 h 1752600"/>
              <a:gd name="connsiteX40" fmla="*/ 2147887 w 3128973"/>
              <a:gd name="connsiteY40" fmla="*/ 585787 h 1752600"/>
              <a:gd name="connsiteX41" fmla="*/ 2195512 w 3128973"/>
              <a:gd name="connsiteY41" fmla="*/ 600075 h 1752600"/>
              <a:gd name="connsiteX42" fmla="*/ 2205037 w 3128973"/>
              <a:gd name="connsiteY42" fmla="*/ 614362 h 1752600"/>
              <a:gd name="connsiteX43" fmla="*/ 2219325 w 3128973"/>
              <a:gd name="connsiteY43" fmla="*/ 628650 h 1752600"/>
              <a:gd name="connsiteX44" fmla="*/ 2224087 w 3128973"/>
              <a:gd name="connsiteY44" fmla="*/ 642937 h 1752600"/>
              <a:gd name="connsiteX45" fmla="*/ 2233612 w 3128973"/>
              <a:gd name="connsiteY45" fmla="*/ 657225 h 1752600"/>
              <a:gd name="connsiteX46" fmla="*/ 2247900 w 3128973"/>
              <a:gd name="connsiteY46" fmla="*/ 685800 h 1752600"/>
              <a:gd name="connsiteX47" fmla="*/ 2262187 w 3128973"/>
              <a:gd name="connsiteY47" fmla="*/ 733425 h 1752600"/>
              <a:gd name="connsiteX48" fmla="*/ 2305050 w 3128973"/>
              <a:gd name="connsiteY48" fmla="*/ 771525 h 1752600"/>
              <a:gd name="connsiteX49" fmla="*/ 2319337 w 3128973"/>
              <a:gd name="connsiteY49" fmla="*/ 804862 h 1752600"/>
              <a:gd name="connsiteX50" fmla="*/ 2333625 w 3128973"/>
              <a:gd name="connsiteY50" fmla="*/ 819150 h 1752600"/>
              <a:gd name="connsiteX51" fmla="*/ 2338387 w 3128973"/>
              <a:gd name="connsiteY51" fmla="*/ 833437 h 1752600"/>
              <a:gd name="connsiteX52" fmla="*/ 2352675 w 3128973"/>
              <a:gd name="connsiteY52" fmla="*/ 847725 h 1752600"/>
              <a:gd name="connsiteX53" fmla="*/ 2395537 w 3128973"/>
              <a:gd name="connsiteY53" fmla="*/ 871537 h 1752600"/>
              <a:gd name="connsiteX54" fmla="*/ 2409825 w 3128973"/>
              <a:gd name="connsiteY54" fmla="*/ 890587 h 1752600"/>
              <a:gd name="connsiteX55" fmla="*/ 2424112 w 3128973"/>
              <a:gd name="connsiteY55" fmla="*/ 895350 h 1752600"/>
              <a:gd name="connsiteX56" fmla="*/ 2433637 w 3128973"/>
              <a:gd name="connsiteY56" fmla="*/ 914400 h 1752600"/>
              <a:gd name="connsiteX57" fmla="*/ 2466975 w 3128973"/>
              <a:gd name="connsiteY57" fmla="*/ 942975 h 1752600"/>
              <a:gd name="connsiteX58" fmla="*/ 2474637 w 3128973"/>
              <a:gd name="connsiteY58" fmla="*/ 954728 h 1752600"/>
              <a:gd name="connsiteX59" fmla="*/ 2495550 w 3128973"/>
              <a:gd name="connsiteY59" fmla="*/ 971550 h 1752600"/>
              <a:gd name="connsiteX60" fmla="*/ 2508776 w 3128973"/>
              <a:gd name="connsiteY60" fmla="*/ 983894 h 1752600"/>
              <a:gd name="connsiteX61" fmla="*/ 2533650 w 3128973"/>
              <a:gd name="connsiteY61" fmla="*/ 1000125 h 1752600"/>
              <a:gd name="connsiteX62" fmla="*/ 2547937 w 3128973"/>
              <a:gd name="connsiteY62" fmla="*/ 1028700 h 1752600"/>
              <a:gd name="connsiteX63" fmla="*/ 2552700 w 3128973"/>
              <a:gd name="connsiteY63" fmla="*/ 1042987 h 1752600"/>
              <a:gd name="connsiteX64" fmla="*/ 2576512 w 3128973"/>
              <a:gd name="connsiteY64" fmla="*/ 1071562 h 1752600"/>
              <a:gd name="connsiteX65" fmla="*/ 2584921 w 3128973"/>
              <a:gd name="connsiteY65" fmla="*/ 1082873 h 1752600"/>
              <a:gd name="connsiteX66" fmla="*/ 2600325 w 3128973"/>
              <a:gd name="connsiteY66" fmla="*/ 1095375 h 1752600"/>
              <a:gd name="connsiteX67" fmla="*/ 2609850 w 3128973"/>
              <a:gd name="connsiteY67" fmla="*/ 1109662 h 1752600"/>
              <a:gd name="connsiteX68" fmla="*/ 2652712 w 3128973"/>
              <a:gd name="connsiteY68" fmla="*/ 1143000 h 1752600"/>
              <a:gd name="connsiteX69" fmla="*/ 2681287 w 3128973"/>
              <a:gd name="connsiteY69" fmla="*/ 1152525 h 1752600"/>
              <a:gd name="connsiteX70" fmla="*/ 2700337 w 3128973"/>
              <a:gd name="connsiteY70" fmla="*/ 1162050 h 1752600"/>
              <a:gd name="connsiteX71" fmla="*/ 2714625 w 3128973"/>
              <a:gd name="connsiteY71" fmla="*/ 1171575 h 1752600"/>
              <a:gd name="connsiteX72" fmla="*/ 2752725 w 3128973"/>
              <a:gd name="connsiteY72" fmla="*/ 1181100 h 1752600"/>
              <a:gd name="connsiteX73" fmla="*/ 2767012 w 3128973"/>
              <a:gd name="connsiteY73" fmla="*/ 1195387 h 1752600"/>
              <a:gd name="connsiteX74" fmla="*/ 2781300 w 3128973"/>
              <a:gd name="connsiteY74" fmla="*/ 1200150 h 1752600"/>
              <a:gd name="connsiteX75" fmla="*/ 2795587 w 3128973"/>
              <a:gd name="connsiteY75" fmla="*/ 1209675 h 1752600"/>
              <a:gd name="connsiteX76" fmla="*/ 2805112 w 3128973"/>
              <a:gd name="connsiteY76" fmla="*/ 1223962 h 1752600"/>
              <a:gd name="connsiteX77" fmla="*/ 2809875 w 3128973"/>
              <a:gd name="connsiteY77" fmla="*/ 1238250 h 1752600"/>
              <a:gd name="connsiteX78" fmla="*/ 2833687 w 3128973"/>
              <a:gd name="connsiteY78" fmla="*/ 1276350 h 1752600"/>
              <a:gd name="connsiteX79" fmla="*/ 2895600 w 3128973"/>
              <a:gd name="connsiteY79" fmla="*/ 1333500 h 1752600"/>
              <a:gd name="connsiteX80" fmla="*/ 2900362 w 3128973"/>
              <a:gd name="connsiteY80" fmla="*/ 1352550 h 1752600"/>
              <a:gd name="connsiteX81" fmla="*/ 2928937 w 3128973"/>
              <a:gd name="connsiteY81" fmla="*/ 1395412 h 1752600"/>
              <a:gd name="connsiteX82" fmla="*/ 2943225 w 3128973"/>
              <a:gd name="connsiteY82" fmla="*/ 1404937 h 1752600"/>
              <a:gd name="connsiteX83" fmla="*/ 2957512 w 3128973"/>
              <a:gd name="connsiteY83" fmla="*/ 1419225 h 1752600"/>
              <a:gd name="connsiteX84" fmla="*/ 2986087 w 3128973"/>
              <a:gd name="connsiteY84" fmla="*/ 1443037 h 1752600"/>
              <a:gd name="connsiteX85" fmla="*/ 3000375 w 3128973"/>
              <a:gd name="connsiteY85" fmla="*/ 1462087 h 1752600"/>
              <a:gd name="connsiteX86" fmla="*/ 3016395 w 3128973"/>
              <a:gd name="connsiteY86" fmla="*/ 1476222 h 1752600"/>
              <a:gd name="connsiteX87" fmla="*/ 3028950 w 3128973"/>
              <a:gd name="connsiteY87" fmla="*/ 1495425 h 1752600"/>
              <a:gd name="connsiteX88" fmla="*/ 3043237 w 3128973"/>
              <a:gd name="connsiteY88" fmla="*/ 1552575 h 1752600"/>
              <a:gd name="connsiteX89" fmla="*/ 3052762 w 3128973"/>
              <a:gd name="connsiteY89" fmla="*/ 1566862 h 1752600"/>
              <a:gd name="connsiteX90" fmla="*/ 3057525 w 3128973"/>
              <a:gd name="connsiteY90" fmla="*/ 1581150 h 1752600"/>
              <a:gd name="connsiteX91" fmla="*/ 3067050 w 3128973"/>
              <a:gd name="connsiteY91" fmla="*/ 1662112 h 1752600"/>
              <a:gd name="connsiteX92" fmla="*/ 3071812 w 3128973"/>
              <a:gd name="connsiteY92" fmla="*/ 1676400 h 1752600"/>
              <a:gd name="connsiteX93" fmla="*/ 3100387 w 3128973"/>
              <a:gd name="connsiteY93" fmla="*/ 1690687 h 1752600"/>
              <a:gd name="connsiteX94" fmla="*/ 3114675 w 3128973"/>
              <a:gd name="connsiteY94" fmla="*/ 1685925 h 1752600"/>
              <a:gd name="connsiteX95" fmla="*/ 3124200 w 3128973"/>
              <a:gd name="connsiteY95" fmla="*/ 1671637 h 1752600"/>
              <a:gd name="connsiteX96" fmla="*/ 3128973 w 3128973"/>
              <a:gd name="connsiteY96" fmla="*/ 1651467 h 1752600"/>
              <a:gd name="connsiteX97" fmla="*/ 3128021 w 3128973"/>
              <a:gd name="connsiteY97" fmla="*/ 1710279 h 1752600"/>
              <a:gd name="connsiteX98" fmla="*/ 3043237 w 3128973"/>
              <a:gd name="connsiteY98" fmla="*/ 1714500 h 1752600"/>
              <a:gd name="connsiteX99" fmla="*/ 3028950 w 3128973"/>
              <a:gd name="connsiteY99" fmla="*/ 1728787 h 1752600"/>
              <a:gd name="connsiteX100" fmla="*/ 2986087 w 3128973"/>
              <a:gd name="connsiteY100" fmla="*/ 1738312 h 1752600"/>
              <a:gd name="connsiteX101" fmla="*/ 2971800 w 3128973"/>
              <a:gd name="connsiteY101" fmla="*/ 1743075 h 1752600"/>
              <a:gd name="connsiteX102" fmla="*/ 2943225 w 3128973"/>
              <a:gd name="connsiteY102" fmla="*/ 1738312 h 1752600"/>
              <a:gd name="connsiteX103" fmla="*/ 2928937 w 3128973"/>
              <a:gd name="connsiteY103" fmla="*/ 1747837 h 1752600"/>
              <a:gd name="connsiteX104" fmla="*/ 2914650 w 3128973"/>
              <a:gd name="connsiteY104" fmla="*/ 1752600 h 1752600"/>
              <a:gd name="connsiteX105" fmla="*/ 2895600 w 3128973"/>
              <a:gd name="connsiteY105" fmla="*/ 1724025 h 1752600"/>
              <a:gd name="connsiteX106" fmla="*/ 2883310 w 3128973"/>
              <a:gd name="connsiteY106" fmla="*/ 1701201 h 1752600"/>
              <a:gd name="connsiteX107" fmla="*/ 2883805 w 3128973"/>
              <a:gd name="connsiteY107" fmla="*/ 1696138 h 1752600"/>
              <a:gd name="connsiteX108" fmla="*/ 2871787 w 3128973"/>
              <a:gd name="connsiteY108" fmla="*/ 1685925 h 1752600"/>
              <a:gd name="connsiteX109" fmla="*/ 2847975 w 3128973"/>
              <a:gd name="connsiteY109" fmla="*/ 1657350 h 1752600"/>
              <a:gd name="connsiteX110" fmla="*/ 2834034 w 3128973"/>
              <a:gd name="connsiteY110" fmla="*/ 1637762 h 1752600"/>
              <a:gd name="connsiteX111" fmla="*/ 2814637 w 3128973"/>
              <a:gd name="connsiteY111" fmla="*/ 1619250 h 1752600"/>
              <a:gd name="connsiteX112" fmla="*/ 2809875 w 3128973"/>
              <a:gd name="connsiteY112" fmla="*/ 1604962 h 1752600"/>
              <a:gd name="connsiteX113" fmla="*/ 2795587 w 3128973"/>
              <a:gd name="connsiteY113" fmla="*/ 1600200 h 1752600"/>
              <a:gd name="connsiteX114" fmla="*/ 2781300 w 3128973"/>
              <a:gd name="connsiteY114" fmla="*/ 1590675 h 1752600"/>
              <a:gd name="connsiteX115" fmla="*/ 2752725 w 3128973"/>
              <a:gd name="connsiteY115" fmla="*/ 1581150 h 1752600"/>
              <a:gd name="connsiteX116" fmla="*/ 2733675 w 3128973"/>
              <a:gd name="connsiteY116" fmla="*/ 1625600 h 1752600"/>
              <a:gd name="connsiteX117" fmla="*/ 2709862 w 3128973"/>
              <a:gd name="connsiteY117" fmla="*/ 1619250 h 1752600"/>
              <a:gd name="connsiteX118" fmla="*/ 2723566 w 3128973"/>
              <a:gd name="connsiteY118" fmla="*/ 1590361 h 1752600"/>
              <a:gd name="connsiteX119" fmla="*/ 2674937 w 3128973"/>
              <a:gd name="connsiteY119" fmla="*/ 1560512 h 1752600"/>
              <a:gd name="connsiteX120" fmla="*/ 2643187 w 3128973"/>
              <a:gd name="connsiteY120" fmla="*/ 1495425 h 1752600"/>
              <a:gd name="connsiteX121" fmla="*/ 2628900 w 3128973"/>
              <a:gd name="connsiteY121" fmla="*/ 1490662 h 1752600"/>
              <a:gd name="connsiteX122" fmla="*/ 2595562 w 3128973"/>
              <a:gd name="connsiteY122" fmla="*/ 1481137 h 1752600"/>
              <a:gd name="connsiteX123" fmla="*/ 2581275 w 3128973"/>
              <a:gd name="connsiteY123" fmla="*/ 1466850 h 1752600"/>
              <a:gd name="connsiteX124" fmla="*/ 2552700 w 3128973"/>
              <a:gd name="connsiteY124" fmla="*/ 1457325 h 1752600"/>
              <a:gd name="connsiteX125" fmla="*/ 2538412 w 3128973"/>
              <a:gd name="connsiteY125" fmla="*/ 1447800 h 1752600"/>
              <a:gd name="connsiteX126" fmla="*/ 2519362 w 3128973"/>
              <a:gd name="connsiteY126" fmla="*/ 1443037 h 1752600"/>
              <a:gd name="connsiteX127" fmla="*/ 2490787 w 3128973"/>
              <a:gd name="connsiteY127" fmla="*/ 1433512 h 1752600"/>
              <a:gd name="connsiteX128" fmla="*/ 2476500 w 3128973"/>
              <a:gd name="connsiteY128" fmla="*/ 1428750 h 1752600"/>
              <a:gd name="connsiteX129" fmla="*/ 2466975 w 3128973"/>
              <a:gd name="connsiteY129" fmla="*/ 1414462 h 1752600"/>
              <a:gd name="connsiteX130" fmla="*/ 2447925 w 3128973"/>
              <a:gd name="connsiteY130" fmla="*/ 1409700 h 1752600"/>
              <a:gd name="connsiteX131" fmla="*/ 2309812 w 3128973"/>
              <a:gd name="connsiteY131" fmla="*/ 1395412 h 1752600"/>
              <a:gd name="connsiteX132" fmla="*/ 2295525 w 3128973"/>
              <a:gd name="connsiteY132" fmla="*/ 1390650 h 1752600"/>
              <a:gd name="connsiteX133" fmla="*/ 2257425 w 3128973"/>
              <a:gd name="connsiteY133" fmla="*/ 1381125 h 1752600"/>
              <a:gd name="connsiteX134" fmla="*/ 2238375 w 3128973"/>
              <a:gd name="connsiteY134" fmla="*/ 1366837 h 1752600"/>
              <a:gd name="connsiteX135" fmla="*/ 2224087 w 3128973"/>
              <a:gd name="connsiteY135" fmla="*/ 1362075 h 1752600"/>
              <a:gd name="connsiteX136" fmla="*/ 2176462 w 3128973"/>
              <a:gd name="connsiteY136" fmla="*/ 1338262 h 1752600"/>
              <a:gd name="connsiteX137" fmla="*/ 2162175 w 3128973"/>
              <a:gd name="connsiteY137" fmla="*/ 1328737 h 1752600"/>
              <a:gd name="connsiteX138" fmla="*/ 2114550 w 3128973"/>
              <a:gd name="connsiteY138" fmla="*/ 1314450 h 1752600"/>
              <a:gd name="connsiteX139" fmla="*/ 2100262 w 3128973"/>
              <a:gd name="connsiteY139" fmla="*/ 1300162 h 1752600"/>
              <a:gd name="connsiteX140" fmla="*/ 2085975 w 3128973"/>
              <a:gd name="connsiteY140" fmla="*/ 1295400 h 1752600"/>
              <a:gd name="connsiteX141" fmla="*/ 2055019 w 3128973"/>
              <a:gd name="connsiteY141" fmla="*/ 1290637 h 1752600"/>
              <a:gd name="connsiteX142" fmla="*/ 2028824 w 3128973"/>
              <a:gd name="connsiteY142" fmla="*/ 1283494 h 1752600"/>
              <a:gd name="connsiteX143" fmla="*/ 2005012 w 3128973"/>
              <a:gd name="connsiteY143" fmla="*/ 1271587 h 1752600"/>
              <a:gd name="connsiteX144" fmla="*/ 1985962 w 3128973"/>
              <a:gd name="connsiteY144" fmla="*/ 1262062 h 1752600"/>
              <a:gd name="connsiteX145" fmla="*/ 1971675 w 3128973"/>
              <a:gd name="connsiteY145" fmla="*/ 1257300 h 1752600"/>
              <a:gd name="connsiteX146" fmla="*/ 1943100 w 3128973"/>
              <a:gd name="connsiteY146" fmla="*/ 1238250 h 1752600"/>
              <a:gd name="connsiteX147" fmla="*/ 1914525 w 3128973"/>
              <a:gd name="connsiteY147" fmla="*/ 1219200 h 1752600"/>
              <a:gd name="connsiteX148" fmla="*/ 1885950 w 3128973"/>
              <a:gd name="connsiteY148" fmla="*/ 1209675 h 1752600"/>
              <a:gd name="connsiteX149" fmla="*/ 1843087 w 3128973"/>
              <a:gd name="connsiteY149" fmla="*/ 1195387 h 1752600"/>
              <a:gd name="connsiteX150" fmla="*/ 1757362 w 3128973"/>
              <a:gd name="connsiteY150" fmla="*/ 1185862 h 1752600"/>
              <a:gd name="connsiteX151" fmla="*/ 1700212 w 3128973"/>
              <a:gd name="connsiteY151" fmla="*/ 1166812 h 1752600"/>
              <a:gd name="connsiteX152" fmla="*/ 1671637 w 3128973"/>
              <a:gd name="connsiteY152" fmla="*/ 1147762 h 1752600"/>
              <a:gd name="connsiteX153" fmla="*/ 1652587 w 3128973"/>
              <a:gd name="connsiteY153" fmla="*/ 1138237 h 1752600"/>
              <a:gd name="connsiteX154" fmla="*/ 1638300 w 3128973"/>
              <a:gd name="connsiteY154" fmla="*/ 1128712 h 1752600"/>
              <a:gd name="connsiteX155" fmla="*/ 1590675 w 3128973"/>
              <a:gd name="connsiteY155" fmla="*/ 1138238 h 1752600"/>
              <a:gd name="connsiteX156" fmla="*/ 1559719 w 3128973"/>
              <a:gd name="connsiteY156" fmla="*/ 1109662 h 1752600"/>
              <a:gd name="connsiteX157" fmla="*/ 1528762 w 3128973"/>
              <a:gd name="connsiteY157" fmla="*/ 1085850 h 1752600"/>
              <a:gd name="connsiteX158" fmla="*/ 1514475 w 3128973"/>
              <a:gd name="connsiteY158" fmla="*/ 1081087 h 1752600"/>
              <a:gd name="connsiteX159" fmla="*/ 1470025 w 3128973"/>
              <a:gd name="connsiteY159" fmla="*/ 1130300 h 1752600"/>
              <a:gd name="connsiteX160" fmla="*/ 1433512 w 3128973"/>
              <a:gd name="connsiteY160" fmla="*/ 1108075 h 1752600"/>
              <a:gd name="connsiteX161" fmla="*/ 1423987 w 3128973"/>
              <a:gd name="connsiteY161" fmla="*/ 1087437 h 1752600"/>
              <a:gd name="connsiteX162" fmla="*/ 1381125 w 3128973"/>
              <a:gd name="connsiteY162" fmla="*/ 1095375 h 1752600"/>
              <a:gd name="connsiteX163" fmla="*/ 1383506 w 3128973"/>
              <a:gd name="connsiteY163" fmla="*/ 1028700 h 1752600"/>
              <a:gd name="connsiteX164" fmla="*/ 1366838 w 3128973"/>
              <a:gd name="connsiteY164" fmla="*/ 1019175 h 1752600"/>
              <a:gd name="connsiteX165" fmla="*/ 1335881 w 3128973"/>
              <a:gd name="connsiteY165" fmla="*/ 1007268 h 1752600"/>
              <a:gd name="connsiteX166" fmla="*/ 1319213 w 3128973"/>
              <a:gd name="connsiteY166" fmla="*/ 1007268 h 1752600"/>
              <a:gd name="connsiteX167" fmla="*/ 1295400 w 3128973"/>
              <a:gd name="connsiteY167" fmla="*/ 976312 h 1752600"/>
              <a:gd name="connsiteX168" fmla="*/ 1281112 w 3128973"/>
              <a:gd name="connsiteY168" fmla="*/ 966787 h 1752600"/>
              <a:gd name="connsiteX169" fmla="*/ 1238250 w 3128973"/>
              <a:gd name="connsiteY169" fmla="*/ 947737 h 1752600"/>
              <a:gd name="connsiteX170" fmla="*/ 1212850 w 3128973"/>
              <a:gd name="connsiteY170" fmla="*/ 995362 h 1752600"/>
              <a:gd name="connsiteX171" fmla="*/ 1201737 w 3128973"/>
              <a:gd name="connsiteY171" fmla="*/ 987425 h 1752600"/>
              <a:gd name="connsiteX172" fmla="*/ 1163637 w 3128973"/>
              <a:gd name="connsiteY172" fmla="*/ 952277 h 1752600"/>
              <a:gd name="connsiteX173" fmla="*/ 1133475 w 3128973"/>
              <a:gd name="connsiteY173" fmla="*/ 925512 h 1752600"/>
              <a:gd name="connsiteX174" fmla="*/ 1085850 w 3128973"/>
              <a:gd name="connsiteY174" fmla="*/ 859631 h 1752600"/>
              <a:gd name="connsiteX175" fmla="*/ 1071562 w 3128973"/>
              <a:gd name="connsiteY175" fmla="*/ 842962 h 1752600"/>
              <a:gd name="connsiteX176" fmla="*/ 1047750 w 3128973"/>
              <a:gd name="connsiteY176" fmla="*/ 819150 h 1752600"/>
              <a:gd name="connsiteX177" fmla="*/ 1028700 w 3128973"/>
              <a:gd name="connsiteY177" fmla="*/ 804862 h 1752600"/>
              <a:gd name="connsiteX178" fmla="*/ 1018076 w 3128973"/>
              <a:gd name="connsiteY178" fmla="*/ 794816 h 1752600"/>
              <a:gd name="connsiteX179" fmla="*/ 1000125 w 3128973"/>
              <a:gd name="connsiteY179" fmla="*/ 785812 h 1752600"/>
              <a:gd name="connsiteX180" fmla="*/ 984342 w 3128973"/>
              <a:gd name="connsiteY180" fmla="*/ 773578 h 1752600"/>
              <a:gd name="connsiteX181" fmla="*/ 957262 w 3128973"/>
              <a:gd name="connsiteY181" fmla="*/ 766762 h 1752600"/>
              <a:gd name="connsiteX182" fmla="*/ 938212 w 3128973"/>
              <a:gd name="connsiteY182" fmla="*/ 757237 h 1752600"/>
              <a:gd name="connsiteX183" fmla="*/ 904875 w 3128973"/>
              <a:gd name="connsiteY183" fmla="*/ 747712 h 1752600"/>
              <a:gd name="connsiteX184" fmla="*/ 862012 w 3128973"/>
              <a:gd name="connsiteY184" fmla="*/ 723900 h 1752600"/>
              <a:gd name="connsiteX185" fmla="*/ 795337 w 3128973"/>
              <a:gd name="connsiteY185" fmla="*/ 685800 h 1752600"/>
              <a:gd name="connsiteX186" fmla="*/ 776287 w 3128973"/>
              <a:gd name="connsiteY186" fmla="*/ 666750 h 1752600"/>
              <a:gd name="connsiteX187" fmla="*/ 762000 w 3128973"/>
              <a:gd name="connsiteY187" fmla="*/ 661987 h 1752600"/>
              <a:gd name="connsiteX188" fmla="*/ 742950 w 3128973"/>
              <a:gd name="connsiteY188" fmla="*/ 647700 h 1752600"/>
              <a:gd name="connsiteX189" fmla="*/ 709612 w 3128973"/>
              <a:gd name="connsiteY189" fmla="*/ 638175 h 1752600"/>
              <a:gd name="connsiteX190" fmla="*/ 695325 w 3128973"/>
              <a:gd name="connsiteY190" fmla="*/ 628650 h 1752600"/>
              <a:gd name="connsiteX191" fmla="*/ 681037 w 3128973"/>
              <a:gd name="connsiteY191" fmla="*/ 623887 h 1752600"/>
              <a:gd name="connsiteX192" fmla="*/ 676275 w 3128973"/>
              <a:gd name="connsiteY192" fmla="*/ 604837 h 1752600"/>
              <a:gd name="connsiteX193" fmla="*/ 666750 w 3128973"/>
              <a:gd name="connsiteY193" fmla="*/ 576262 h 1752600"/>
              <a:gd name="connsiteX194" fmla="*/ 661987 w 3128973"/>
              <a:gd name="connsiteY194" fmla="*/ 561975 h 1752600"/>
              <a:gd name="connsiteX195" fmla="*/ 666750 w 3128973"/>
              <a:gd name="connsiteY195" fmla="*/ 538162 h 1752600"/>
              <a:gd name="connsiteX196" fmla="*/ 638175 w 3128973"/>
              <a:gd name="connsiteY196" fmla="*/ 514350 h 1752600"/>
              <a:gd name="connsiteX197" fmla="*/ 619125 w 3128973"/>
              <a:gd name="connsiteY197" fmla="*/ 500062 h 1752600"/>
              <a:gd name="connsiteX198" fmla="*/ 576262 w 3128973"/>
              <a:gd name="connsiteY198" fmla="*/ 490537 h 1752600"/>
              <a:gd name="connsiteX199" fmla="*/ 542925 w 3128973"/>
              <a:gd name="connsiteY199" fmla="*/ 452437 h 1752600"/>
              <a:gd name="connsiteX200" fmla="*/ 525462 w 3128973"/>
              <a:gd name="connsiteY200" fmla="*/ 485775 h 1752600"/>
              <a:gd name="connsiteX201" fmla="*/ 504825 w 3128973"/>
              <a:gd name="connsiteY201" fmla="*/ 466725 h 1752600"/>
              <a:gd name="connsiteX202" fmla="*/ 454025 w 3128973"/>
              <a:gd name="connsiteY202" fmla="*/ 466725 h 1752600"/>
              <a:gd name="connsiteX203" fmla="*/ 407987 w 3128973"/>
              <a:gd name="connsiteY203" fmla="*/ 473075 h 1752600"/>
              <a:gd name="connsiteX204" fmla="*/ 395287 w 3128973"/>
              <a:gd name="connsiteY204" fmla="*/ 409575 h 1752600"/>
              <a:gd name="connsiteX205" fmla="*/ 376237 w 3128973"/>
              <a:gd name="connsiteY205" fmla="*/ 404812 h 1752600"/>
              <a:gd name="connsiteX206" fmla="*/ 342900 w 3128973"/>
              <a:gd name="connsiteY206" fmla="*/ 400050 h 1752600"/>
              <a:gd name="connsiteX207" fmla="*/ 314325 w 3128973"/>
              <a:gd name="connsiteY207" fmla="*/ 390525 h 1752600"/>
              <a:gd name="connsiteX208" fmla="*/ 273844 w 3128973"/>
              <a:gd name="connsiteY208" fmla="*/ 383382 h 1752600"/>
              <a:gd name="connsiteX209" fmla="*/ 257175 w 3128973"/>
              <a:gd name="connsiteY209" fmla="*/ 371475 h 1752600"/>
              <a:gd name="connsiteX210" fmla="*/ 245269 w 3128973"/>
              <a:gd name="connsiteY210" fmla="*/ 364331 h 1752600"/>
              <a:gd name="connsiteX211" fmla="*/ 223837 w 3128973"/>
              <a:gd name="connsiteY211" fmla="*/ 347662 h 1752600"/>
              <a:gd name="connsiteX212" fmla="*/ 190500 w 3128973"/>
              <a:gd name="connsiteY212" fmla="*/ 338137 h 1752600"/>
              <a:gd name="connsiteX213" fmla="*/ 147637 w 3128973"/>
              <a:gd name="connsiteY213" fmla="*/ 333375 h 1752600"/>
              <a:gd name="connsiteX214" fmla="*/ 119062 w 3128973"/>
              <a:gd name="connsiteY214" fmla="*/ 323850 h 1752600"/>
              <a:gd name="connsiteX215" fmla="*/ 104775 w 3128973"/>
              <a:gd name="connsiteY215" fmla="*/ 319087 h 1752600"/>
              <a:gd name="connsiteX216" fmla="*/ 61912 w 3128973"/>
              <a:gd name="connsiteY216" fmla="*/ 300037 h 1752600"/>
              <a:gd name="connsiteX217" fmla="*/ 23812 w 3128973"/>
              <a:gd name="connsiteY217" fmla="*/ 290512 h 1752600"/>
              <a:gd name="connsiteX218" fmla="*/ 9525 w 3128973"/>
              <a:gd name="connsiteY218" fmla="*/ 261937 h 1752600"/>
              <a:gd name="connsiteX219" fmla="*/ 0 w 3128973"/>
              <a:gd name="connsiteY219" fmla="*/ 290512 h 1752600"/>
              <a:gd name="connsiteX220" fmla="*/ 4762 w 3128973"/>
              <a:gd name="connsiteY220" fmla="*/ 247650 h 1752600"/>
              <a:gd name="connsiteX221" fmla="*/ 19050 w 3128973"/>
              <a:gd name="connsiteY221" fmla="*/ 200025 h 1752600"/>
              <a:gd name="connsiteX222" fmla="*/ 23812 w 3128973"/>
              <a:gd name="connsiteY222" fmla="*/ 185737 h 1752600"/>
              <a:gd name="connsiteX223" fmla="*/ 71437 w 3128973"/>
              <a:gd name="connsiteY223" fmla="*/ 171450 h 1752600"/>
              <a:gd name="connsiteX224" fmla="*/ 85725 w 3128973"/>
              <a:gd name="connsiteY224" fmla="*/ 166687 h 1752600"/>
              <a:gd name="connsiteX225" fmla="*/ 100012 w 3128973"/>
              <a:gd name="connsiteY225" fmla="*/ 161925 h 1752600"/>
              <a:gd name="connsiteX226" fmla="*/ 114300 w 3128973"/>
              <a:gd name="connsiteY226" fmla="*/ 152400 h 1752600"/>
              <a:gd name="connsiteX227" fmla="*/ 133350 w 3128973"/>
              <a:gd name="connsiteY227" fmla="*/ 123825 h 1752600"/>
              <a:gd name="connsiteX228" fmla="*/ 138112 w 3128973"/>
              <a:gd name="connsiteY228" fmla="*/ 109537 h 1752600"/>
              <a:gd name="connsiteX229" fmla="*/ 135467 w 3128973"/>
              <a:gd name="connsiteY229" fmla="*/ 97059 h 1752600"/>
              <a:gd name="connsiteX230" fmla="*/ 142875 w 3128973"/>
              <a:gd name="connsiteY230" fmla="*/ 71437 h 1752600"/>
              <a:gd name="connsiteX231" fmla="*/ 157162 w 3128973"/>
              <a:gd name="connsiteY231" fmla="*/ 57150 h 1752600"/>
              <a:gd name="connsiteX232" fmla="*/ 200025 w 3128973"/>
              <a:gd name="connsiteY232" fmla="*/ 33337 h 1752600"/>
              <a:gd name="connsiteX233" fmla="*/ 309562 w 3128973"/>
              <a:gd name="connsiteY233" fmla="*/ 28575 h 1752600"/>
              <a:gd name="connsiteX234" fmla="*/ 400050 w 3128973"/>
              <a:gd name="connsiteY234" fmla="*/ 14287 h 1752600"/>
              <a:gd name="connsiteX235" fmla="*/ 414337 w 3128973"/>
              <a:gd name="connsiteY235" fmla="*/ 9525 h 1752600"/>
              <a:gd name="connsiteX236" fmla="*/ 481012 w 3128973"/>
              <a:gd name="connsiteY236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214562 w 3128973"/>
              <a:gd name="connsiteY25" fmla="*/ 109984 h 1752600"/>
              <a:gd name="connsiteX26" fmla="*/ 2046801 w 3128973"/>
              <a:gd name="connsiteY26" fmla="*/ 262295 h 1752600"/>
              <a:gd name="connsiteX27" fmla="*/ 2033587 w 3128973"/>
              <a:gd name="connsiteY27" fmla="*/ 266700 h 1752600"/>
              <a:gd name="connsiteX28" fmla="*/ 2019300 w 3128973"/>
              <a:gd name="connsiteY28" fmla="*/ 280987 h 1752600"/>
              <a:gd name="connsiteX29" fmla="*/ 1990725 w 3128973"/>
              <a:gd name="connsiteY29" fmla="*/ 300037 h 1752600"/>
              <a:gd name="connsiteX30" fmla="*/ 1981200 w 3128973"/>
              <a:gd name="connsiteY30" fmla="*/ 314325 h 1752600"/>
              <a:gd name="connsiteX31" fmla="*/ 1981200 w 3128973"/>
              <a:gd name="connsiteY31" fmla="*/ 419100 h 1752600"/>
              <a:gd name="connsiteX32" fmla="*/ 1985962 w 3128973"/>
              <a:gd name="connsiteY32" fmla="*/ 433387 h 1752600"/>
              <a:gd name="connsiteX33" fmla="*/ 2000250 w 3128973"/>
              <a:gd name="connsiteY33" fmla="*/ 442912 h 1752600"/>
              <a:gd name="connsiteX34" fmla="*/ 2005012 w 3128973"/>
              <a:gd name="connsiteY34" fmla="*/ 457200 h 1752600"/>
              <a:gd name="connsiteX35" fmla="*/ 2005012 w 3128973"/>
              <a:gd name="connsiteY35" fmla="*/ 561975 h 1752600"/>
              <a:gd name="connsiteX36" fmla="*/ 2009775 w 3128973"/>
              <a:gd name="connsiteY36" fmla="*/ 576262 h 1752600"/>
              <a:gd name="connsiteX37" fmla="*/ 2024062 w 3128973"/>
              <a:gd name="connsiteY37" fmla="*/ 581025 h 1752600"/>
              <a:gd name="connsiteX38" fmla="*/ 2038350 w 3128973"/>
              <a:gd name="connsiteY38" fmla="*/ 595312 h 1752600"/>
              <a:gd name="connsiteX39" fmla="*/ 2052637 w 3128973"/>
              <a:gd name="connsiteY39" fmla="*/ 600075 h 1752600"/>
              <a:gd name="connsiteX40" fmla="*/ 2133600 w 3128973"/>
              <a:gd name="connsiteY40" fmla="*/ 590550 h 1752600"/>
              <a:gd name="connsiteX41" fmla="*/ 2147887 w 3128973"/>
              <a:gd name="connsiteY41" fmla="*/ 585787 h 1752600"/>
              <a:gd name="connsiteX42" fmla="*/ 2195512 w 3128973"/>
              <a:gd name="connsiteY42" fmla="*/ 600075 h 1752600"/>
              <a:gd name="connsiteX43" fmla="*/ 2205037 w 3128973"/>
              <a:gd name="connsiteY43" fmla="*/ 614362 h 1752600"/>
              <a:gd name="connsiteX44" fmla="*/ 2219325 w 3128973"/>
              <a:gd name="connsiteY44" fmla="*/ 628650 h 1752600"/>
              <a:gd name="connsiteX45" fmla="*/ 2224087 w 3128973"/>
              <a:gd name="connsiteY45" fmla="*/ 642937 h 1752600"/>
              <a:gd name="connsiteX46" fmla="*/ 2233612 w 3128973"/>
              <a:gd name="connsiteY46" fmla="*/ 657225 h 1752600"/>
              <a:gd name="connsiteX47" fmla="*/ 2247900 w 3128973"/>
              <a:gd name="connsiteY47" fmla="*/ 685800 h 1752600"/>
              <a:gd name="connsiteX48" fmla="*/ 2262187 w 3128973"/>
              <a:gd name="connsiteY48" fmla="*/ 733425 h 1752600"/>
              <a:gd name="connsiteX49" fmla="*/ 2305050 w 3128973"/>
              <a:gd name="connsiteY49" fmla="*/ 771525 h 1752600"/>
              <a:gd name="connsiteX50" fmla="*/ 2319337 w 3128973"/>
              <a:gd name="connsiteY50" fmla="*/ 804862 h 1752600"/>
              <a:gd name="connsiteX51" fmla="*/ 2333625 w 3128973"/>
              <a:gd name="connsiteY51" fmla="*/ 819150 h 1752600"/>
              <a:gd name="connsiteX52" fmla="*/ 2338387 w 3128973"/>
              <a:gd name="connsiteY52" fmla="*/ 833437 h 1752600"/>
              <a:gd name="connsiteX53" fmla="*/ 2352675 w 3128973"/>
              <a:gd name="connsiteY53" fmla="*/ 847725 h 1752600"/>
              <a:gd name="connsiteX54" fmla="*/ 2395537 w 3128973"/>
              <a:gd name="connsiteY54" fmla="*/ 871537 h 1752600"/>
              <a:gd name="connsiteX55" fmla="*/ 2409825 w 3128973"/>
              <a:gd name="connsiteY55" fmla="*/ 890587 h 1752600"/>
              <a:gd name="connsiteX56" fmla="*/ 2424112 w 3128973"/>
              <a:gd name="connsiteY56" fmla="*/ 895350 h 1752600"/>
              <a:gd name="connsiteX57" fmla="*/ 2433637 w 3128973"/>
              <a:gd name="connsiteY57" fmla="*/ 914400 h 1752600"/>
              <a:gd name="connsiteX58" fmla="*/ 2466975 w 3128973"/>
              <a:gd name="connsiteY58" fmla="*/ 942975 h 1752600"/>
              <a:gd name="connsiteX59" fmla="*/ 2474637 w 3128973"/>
              <a:gd name="connsiteY59" fmla="*/ 954728 h 1752600"/>
              <a:gd name="connsiteX60" fmla="*/ 2495550 w 3128973"/>
              <a:gd name="connsiteY60" fmla="*/ 971550 h 1752600"/>
              <a:gd name="connsiteX61" fmla="*/ 2508776 w 3128973"/>
              <a:gd name="connsiteY61" fmla="*/ 983894 h 1752600"/>
              <a:gd name="connsiteX62" fmla="*/ 2533650 w 3128973"/>
              <a:gd name="connsiteY62" fmla="*/ 1000125 h 1752600"/>
              <a:gd name="connsiteX63" fmla="*/ 2547937 w 3128973"/>
              <a:gd name="connsiteY63" fmla="*/ 1028700 h 1752600"/>
              <a:gd name="connsiteX64" fmla="*/ 2552700 w 3128973"/>
              <a:gd name="connsiteY64" fmla="*/ 1042987 h 1752600"/>
              <a:gd name="connsiteX65" fmla="*/ 2576512 w 3128973"/>
              <a:gd name="connsiteY65" fmla="*/ 1071562 h 1752600"/>
              <a:gd name="connsiteX66" fmla="*/ 2584921 w 3128973"/>
              <a:gd name="connsiteY66" fmla="*/ 1082873 h 1752600"/>
              <a:gd name="connsiteX67" fmla="*/ 2600325 w 3128973"/>
              <a:gd name="connsiteY67" fmla="*/ 1095375 h 1752600"/>
              <a:gd name="connsiteX68" fmla="*/ 2609850 w 3128973"/>
              <a:gd name="connsiteY68" fmla="*/ 1109662 h 1752600"/>
              <a:gd name="connsiteX69" fmla="*/ 2652712 w 3128973"/>
              <a:gd name="connsiteY69" fmla="*/ 1143000 h 1752600"/>
              <a:gd name="connsiteX70" fmla="*/ 2681287 w 3128973"/>
              <a:gd name="connsiteY70" fmla="*/ 1152525 h 1752600"/>
              <a:gd name="connsiteX71" fmla="*/ 2700337 w 3128973"/>
              <a:gd name="connsiteY71" fmla="*/ 1162050 h 1752600"/>
              <a:gd name="connsiteX72" fmla="*/ 2714625 w 3128973"/>
              <a:gd name="connsiteY72" fmla="*/ 1171575 h 1752600"/>
              <a:gd name="connsiteX73" fmla="*/ 2752725 w 3128973"/>
              <a:gd name="connsiteY73" fmla="*/ 1181100 h 1752600"/>
              <a:gd name="connsiteX74" fmla="*/ 2767012 w 3128973"/>
              <a:gd name="connsiteY74" fmla="*/ 1195387 h 1752600"/>
              <a:gd name="connsiteX75" fmla="*/ 2781300 w 3128973"/>
              <a:gd name="connsiteY75" fmla="*/ 1200150 h 1752600"/>
              <a:gd name="connsiteX76" fmla="*/ 2795587 w 3128973"/>
              <a:gd name="connsiteY76" fmla="*/ 1209675 h 1752600"/>
              <a:gd name="connsiteX77" fmla="*/ 2805112 w 3128973"/>
              <a:gd name="connsiteY77" fmla="*/ 1223962 h 1752600"/>
              <a:gd name="connsiteX78" fmla="*/ 2809875 w 3128973"/>
              <a:gd name="connsiteY78" fmla="*/ 1238250 h 1752600"/>
              <a:gd name="connsiteX79" fmla="*/ 2833687 w 3128973"/>
              <a:gd name="connsiteY79" fmla="*/ 1276350 h 1752600"/>
              <a:gd name="connsiteX80" fmla="*/ 2895600 w 3128973"/>
              <a:gd name="connsiteY80" fmla="*/ 1333500 h 1752600"/>
              <a:gd name="connsiteX81" fmla="*/ 2900362 w 3128973"/>
              <a:gd name="connsiteY81" fmla="*/ 1352550 h 1752600"/>
              <a:gd name="connsiteX82" fmla="*/ 2928937 w 3128973"/>
              <a:gd name="connsiteY82" fmla="*/ 1395412 h 1752600"/>
              <a:gd name="connsiteX83" fmla="*/ 2943225 w 3128973"/>
              <a:gd name="connsiteY83" fmla="*/ 1404937 h 1752600"/>
              <a:gd name="connsiteX84" fmla="*/ 2957512 w 3128973"/>
              <a:gd name="connsiteY84" fmla="*/ 1419225 h 1752600"/>
              <a:gd name="connsiteX85" fmla="*/ 2986087 w 3128973"/>
              <a:gd name="connsiteY85" fmla="*/ 1443037 h 1752600"/>
              <a:gd name="connsiteX86" fmla="*/ 3000375 w 3128973"/>
              <a:gd name="connsiteY86" fmla="*/ 1462087 h 1752600"/>
              <a:gd name="connsiteX87" fmla="*/ 3016395 w 3128973"/>
              <a:gd name="connsiteY87" fmla="*/ 1476222 h 1752600"/>
              <a:gd name="connsiteX88" fmla="*/ 3028950 w 3128973"/>
              <a:gd name="connsiteY88" fmla="*/ 1495425 h 1752600"/>
              <a:gd name="connsiteX89" fmla="*/ 3043237 w 3128973"/>
              <a:gd name="connsiteY89" fmla="*/ 1552575 h 1752600"/>
              <a:gd name="connsiteX90" fmla="*/ 3052762 w 3128973"/>
              <a:gd name="connsiteY90" fmla="*/ 1566862 h 1752600"/>
              <a:gd name="connsiteX91" fmla="*/ 3057525 w 3128973"/>
              <a:gd name="connsiteY91" fmla="*/ 1581150 h 1752600"/>
              <a:gd name="connsiteX92" fmla="*/ 3067050 w 3128973"/>
              <a:gd name="connsiteY92" fmla="*/ 1662112 h 1752600"/>
              <a:gd name="connsiteX93" fmla="*/ 3071812 w 3128973"/>
              <a:gd name="connsiteY93" fmla="*/ 1676400 h 1752600"/>
              <a:gd name="connsiteX94" fmla="*/ 3100387 w 3128973"/>
              <a:gd name="connsiteY94" fmla="*/ 1690687 h 1752600"/>
              <a:gd name="connsiteX95" fmla="*/ 3114675 w 3128973"/>
              <a:gd name="connsiteY95" fmla="*/ 1685925 h 1752600"/>
              <a:gd name="connsiteX96" fmla="*/ 3124200 w 3128973"/>
              <a:gd name="connsiteY96" fmla="*/ 1671637 h 1752600"/>
              <a:gd name="connsiteX97" fmla="*/ 3128973 w 3128973"/>
              <a:gd name="connsiteY97" fmla="*/ 1651467 h 1752600"/>
              <a:gd name="connsiteX98" fmla="*/ 3128021 w 3128973"/>
              <a:gd name="connsiteY98" fmla="*/ 1710279 h 1752600"/>
              <a:gd name="connsiteX99" fmla="*/ 3043237 w 3128973"/>
              <a:gd name="connsiteY99" fmla="*/ 1714500 h 1752600"/>
              <a:gd name="connsiteX100" fmla="*/ 3028950 w 3128973"/>
              <a:gd name="connsiteY100" fmla="*/ 1728787 h 1752600"/>
              <a:gd name="connsiteX101" fmla="*/ 2986087 w 3128973"/>
              <a:gd name="connsiteY101" fmla="*/ 1738312 h 1752600"/>
              <a:gd name="connsiteX102" fmla="*/ 2971800 w 3128973"/>
              <a:gd name="connsiteY102" fmla="*/ 1743075 h 1752600"/>
              <a:gd name="connsiteX103" fmla="*/ 2943225 w 3128973"/>
              <a:gd name="connsiteY103" fmla="*/ 1738312 h 1752600"/>
              <a:gd name="connsiteX104" fmla="*/ 2928937 w 3128973"/>
              <a:gd name="connsiteY104" fmla="*/ 1747837 h 1752600"/>
              <a:gd name="connsiteX105" fmla="*/ 2914650 w 3128973"/>
              <a:gd name="connsiteY105" fmla="*/ 1752600 h 1752600"/>
              <a:gd name="connsiteX106" fmla="*/ 2895600 w 3128973"/>
              <a:gd name="connsiteY106" fmla="*/ 1724025 h 1752600"/>
              <a:gd name="connsiteX107" fmla="*/ 2883310 w 3128973"/>
              <a:gd name="connsiteY107" fmla="*/ 1701201 h 1752600"/>
              <a:gd name="connsiteX108" fmla="*/ 2883805 w 3128973"/>
              <a:gd name="connsiteY108" fmla="*/ 1696138 h 1752600"/>
              <a:gd name="connsiteX109" fmla="*/ 2871787 w 3128973"/>
              <a:gd name="connsiteY109" fmla="*/ 1685925 h 1752600"/>
              <a:gd name="connsiteX110" fmla="*/ 2847975 w 3128973"/>
              <a:gd name="connsiteY110" fmla="*/ 1657350 h 1752600"/>
              <a:gd name="connsiteX111" fmla="*/ 2834034 w 3128973"/>
              <a:gd name="connsiteY111" fmla="*/ 1637762 h 1752600"/>
              <a:gd name="connsiteX112" fmla="*/ 2814637 w 3128973"/>
              <a:gd name="connsiteY112" fmla="*/ 1619250 h 1752600"/>
              <a:gd name="connsiteX113" fmla="*/ 2809875 w 3128973"/>
              <a:gd name="connsiteY113" fmla="*/ 1604962 h 1752600"/>
              <a:gd name="connsiteX114" fmla="*/ 2795587 w 3128973"/>
              <a:gd name="connsiteY114" fmla="*/ 1600200 h 1752600"/>
              <a:gd name="connsiteX115" fmla="*/ 2781300 w 3128973"/>
              <a:gd name="connsiteY115" fmla="*/ 1590675 h 1752600"/>
              <a:gd name="connsiteX116" fmla="*/ 2752725 w 3128973"/>
              <a:gd name="connsiteY116" fmla="*/ 1581150 h 1752600"/>
              <a:gd name="connsiteX117" fmla="*/ 2733675 w 3128973"/>
              <a:gd name="connsiteY117" fmla="*/ 1625600 h 1752600"/>
              <a:gd name="connsiteX118" fmla="*/ 2709862 w 3128973"/>
              <a:gd name="connsiteY118" fmla="*/ 1619250 h 1752600"/>
              <a:gd name="connsiteX119" fmla="*/ 2723566 w 3128973"/>
              <a:gd name="connsiteY119" fmla="*/ 1590361 h 1752600"/>
              <a:gd name="connsiteX120" fmla="*/ 2674937 w 3128973"/>
              <a:gd name="connsiteY120" fmla="*/ 1560512 h 1752600"/>
              <a:gd name="connsiteX121" fmla="*/ 2643187 w 3128973"/>
              <a:gd name="connsiteY121" fmla="*/ 1495425 h 1752600"/>
              <a:gd name="connsiteX122" fmla="*/ 2628900 w 3128973"/>
              <a:gd name="connsiteY122" fmla="*/ 1490662 h 1752600"/>
              <a:gd name="connsiteX123" fmla="*/ 2595562 w 3128973"/>
              <a:gd name="connsiteY123" fmla="*/ 1481137 h 1752600"/>
              <a:gd name="connsiteX124" fmla="*/ 2581275 w 3128973"/>
              <a:gd name="connsiteY124" fmla="*/ 1466850 h 1752600"/>
              <a:gd name="connsiteX125" fmla="*/ 2552700 w 3128973"/>
              <a:gd name="connsiteY125" fmla="*/ 1457325 h 1752600"/>
              <a:gd name="connsiteX126" fmla="*/ 2538412 w 3128973"/>
              <a:gd name="connsiteY126" fmla="*/ 1447800 h 1752600"/>
              <a:gd name="connsiteX127" fmla="*/ 2519362 w 3128973"/>
              <a:gd name="connsiteY127" fmla="*/ 1443037 h 1752600"/>
              <a:gd name="connsiteX128" fmla="*/ 2490787 w 3128973"/>
              <a:gd name="connsiteY128" fmla="*/ 1433512 h 1752600"/>
              <a:gd name="connsiteX129" fmla="*/ 2476500 w 3128973"/>
              <a:gd name="connsiteY129" fmla="*/ 1428750 h 1752600"/>
              <a:gd name="connsiteX130" fmla="*/ 2466975 w 3128973"/>
              <a:gd name="connsiteY130" fmla="*/ 1414462 h 1752600"/>
              <a:gd name="connsiteX131" fmla="*/ 2447925 w 3128973"/>
              <a:gd name="connsiteY131" fmla="*/ 1409700 h 1752600"/>
              <a:gd name="connsiteX132" fmla="*/ 2309812 w 3128973"/>
              <a:gd name="connsiteY132" fmla="*/ 1395412 h 1752600"/>
              <a:gd name="connsiteX133" fmla="*/ 2295525 w 3128973"/>
              <a:gd name="connsiteY133" fmla="*/ 1390650 h 1752600"/>
              <a:gd name="connsiteX134" fmla="*/ 2257425 w 3128973"/>
              <a:gd name="connsiteY134" fmla="*/ 1381125 h 1752600"/>
              <a:gd name="connsiteX135" fmla="*/ 2238375 w 3128973"/>
              <a:gd name="connsiteY135" fmla="*/ 1366837 h 1752600"/>
              <a:gd name="connsiteX136" fmla="*/ 2224087 w 3128973"/>
              <a:gd name="connsiteY136" fmla="*/ 1362075 h 1752600"/>
              <a:gd name="connsiteX137" fmla="*/ 2176462 w 3128973"/>
              <a:gd name="connsiteY137" fmla="*/ 1338262 h 1752600"/>
              <a:gd name="connsiteX138" fmla="*/ 2162175 w 3128973"/>
              <a:gd name="connsiteY138" fmla="*/ 1328737 h 1752600"/>
              <a:gd name="connsiteX139" fmla="*/ 2114550 w 3128973"/>
              <a:gd name="connsiteY139" fmla="*/ 1314450 h 1752600"/>
              <a:gd name="connsiteX140" fmla="*/ 2100262 w 3128973"/>
              <a:gd name="connsiteY140" fmla="*/ 1300162 h 1752600"/>
              <a:gd name="connsiteX141" fmla="*/ 2085975 w 3128973"/>
              <a:gd name="connsiteY141" fmla="*/ 1295400 h 1752600"/>
              <a:gd name="connsiteX142" fmla="*/ 2055019 w 3128973"/>
              <a:gd name="connsiteY142" fmla="*/ 1290637 h 1752600"/>
              <a:gd name="connsiteX143" fmla="*/ 2028824 w 3128973"/>
              <a:gd name="connsiteY143" fmla="*/ 1283494 h 1752600"/>
              <a:gd name="connsiteX144" fmla="*/ 2005012 w 3128973"/>
              <a:gd name="connsiteY144" fmla="*/ 1271587 h 1752600"/>
              <a:gd name="connsiteX145" fmla="*/ 1985962 w 3128973"/>
              <a:gd name="connsiteY145" fmla="*/ 1262062 h 1752600"/>
              <a:gd name="connsiteX146" fmla="*/ 1971675 w 3128973"/>
              <a:gd name="connsiteY146" fmla="*/ 1257300 h 1752600"/>
              <a:gd name="connsiteX147" fmla="*/ 1943100 w 3128973"/>
              <a:gd name="connsiteY147" fmla="*/ 1238250 h 1752600"/>
              <a:gd name="connsiteX148" fmla="*/ 1914525 w 3128973"/>
              <a:gd name="connsiteY148" fmla="*/ 1219200 h 1752600"/>
              <a:gd name="connsiteX149" fmla="*/ 1885950 w 3128973"/>
              <a:gd name="connsiteY149" fmla="*/ 1209675 h 1752600"/>
              <a:gd name="connsiteX150" fmla="*/ 1843087 w 3128973"/>
              <a:gd name="connsiteY150" fmla="*/ 1195387 h 1752600"/>
              <a:gd name="connsiteX151" fmla="*/ 1757362 w 3128973"/>
              <a:gd name="connsiteY151" fmla="*/ 1185862 h 1752600"/>
              <a:gd name="connsiteX152" fmla="*/ 1700212 w 3128973"/>
              <a:gd name="connsiteY152" fmla="*/ 1166812 h 1752600"/>
              <a:gd name="connsiteX153" fmla="*/ 1671637 w 3128973"/>
              <a:gd name="connsiteY153" fmla="*/ 1147762 h 1752600"/>
              <a:gd name="connsiteX154" fmla="*/ 1652587 w 3128973"/>
              <a:gd name="connsiteY154" fmla="*/ 1138237 h 1752600"/>
              <a:gd name="connsiteX155" fmla="*/ 1638300 w 3128973"/>
              <a:gd name="connsiteY155" fmla="*/ 1128712 h 1752600"/>
              <a:gd name="connsiteX156" fmla="*/ 1590675 w 3128973"/>
              <a:gd name="connsiteY156" fmla="*/ 1138238 h 1752600"/>
              <a:gd name="connsiteX157" fmla="*/ 1559719 w 3128973"/>
              <a:gd name="connsiteY157" fmla="*/ 1109662 h 1752600"/>
              <a:gd name="connsiteX158" fmla="*/ 1528762 w 3128973"/>
              <a:gd name="connsiteY158" fmla="*/ 1085850 h 1752600"/>
              <a:gd name="connsiteX159" fmla="*/ 1514475 w 3128973"/>
              <a:gd name="connsiteY159" fmla="*/ 1081087 h 1752600"/>
              <a:gd name="connsiteX160" fmla="*/ 1470025 w 3128973"/>
              <a:gd name="connsiteY160" fmla="*/ 1130300 h 1752600"/>
              <a:gd name="connsiteX161" fmla="*/ 1433512 w 3128973"/>
              <a:gd name="connsiteY161" fmla="*/ 1108075 h 1752600"/>
              <a:gd name="connsiteX162" fmla="*/ 1423987 w 3128973"/>
              <a:gd name="connsiteY162" fmla="*/ 1087437 h 1752600"/>
              <a:gd name="connsiteX163" fmla="*/ 1381125 w 3128973"/>
              <a:gd name="connsiteY163" fmla="*/ 1095375 h 1752600"/>
              <a:gd name="connsiteX164" fmla="*/ 1383506 w 3128973"/>
              <a:gd name="connsiteY164" fmla="*/ 1028700 h 1752600"/>
              <a:gd name="connsiteX165" fmla="*/ 1366838 w 3128973"/>
              <a:gd name="connsiteY165" fmla="*/ 1019175 h 1752600"/>
              <a:gd name="connsiteX166" fmla="*/ 1335881 w 3128973"/>
              <a:gd name="connsiteY166" fmla="*/ 1007268 h 1752600"/>
              <a:gd name="connsiteX167" fmla="*/ 1319213 w 3128973"/>
              <a:gd name="connsiteY167" fmla="*/ 1007268 h 1752600"/>
              <a:gd name="connsiteX168" fmla="*/ 1295400 w 3128973"/>
              <a:gd name="connsiteY168" fmla="*/ 976312 h 1752600"/>
              <a:gd name="connsiteX169" fmla="*/ 1281112 w 3128973"/>
              <a:gd name="connsiteY169" fmla="*/ 966787 h 1752600"/>
              <a:gd name="connsiteX170" fmla="*/ 1238250 w 3128973"/>
              <a:gd name="connsiteY170" fmla="*/ 947737 h 1752600"/>
              <a:gd name="connsiteX171" fmla="*/ 1212850 w 3128973"/>
              <a:gd name="connsiteY171" fmla="*/ 995362 h 1752600"/>
              <a:gd name="connsiteX172" fmla="*/ 1201737 w 3128973"/>
              <a:gd name="connsiteY172" fmla="*/ 987425 h 1752600"/>
              <a:gd name="connsiteX173" fmla="*/ 1163637 w 3128973"/>
              <a:gd name="connsiteY173" fmla="*/ 952277 h 1752600"/>
              <a:gd name="connsiteX174" fmla="*/ 1133475 w 3128973"/>
              <a:gd name="connsiteY174" fmla="*/ 925512 h 1752600"/>
              <a:gd name="connsiteX175" fmla="*/ 1085850 w 3128973"/>
              <a:gd name="connsiteY175" fmla="*/ 859631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25462 w 3128973"/>
              <a:gd name="connsiteY201" fmla="*/ 485775 h 1752600"/>
              <a:gd name="connsiteX202" fmla="*/ 504825 w 3128973"/>
              <a:gd name="connsiteY202" fmla="*/ 466725 h 1752600"/>
              <a:gd name="connsiteX203" fmla="*/ 454025 w 3128973"/>
              <a:gd name="connsiteY203" fmla="*/ 466725 h 1752600"/>
              <a:gd name="connsiteX204" fmla="*/ 407987 w 3128973"/>
              <a:gd name="connsiteY204" fmla="*/ 473075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73844 w 3128973"/>
              <a:gd name="connsiteY209" fmla="*/ 383382 h 1752600"/>
              <a:gd name="connsiteX210" fmla="*/ 257175 w 3128973"/>
              <a:gd name="connsiteY210" fmla="*/ 371475 h 1752600"/>
              <a:gd name="connsiteX211" fmla="*/ 245269 w 3128973"/>
              <a:gd name="connsiteY211" fmla="*/ 364331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046801 w 3128973"/>
              <a:gd name="connsiteY26" fmla="*/ 262295 h 1752600"/>
              <a:gd name="connsiteX27" fmla="*/ 2033587 w 3128973"/>
              <a:gd name="connsiteY27" fmla="*/ 266700 h 1752600"/>
              <a:gd name="connsiteX28" fmla="*/ 2019300 w 3128973"/>
              <a:gd name="connsiteY28" fmla="*/ 280987 h 1752600"/>
              <a:gd name="connsiteX29" fmla="*/ 1990725 w 3128973"/>
              <a:gd name="connsiteY29" fmla="*/ 300037 h 1752600"/>
              <a:gd name="connsiteX30" fmla="*/ 1981200 w 3128973"/>
              <a:gd name="connsiteY30" fmla="*/ 314325 h 1752600"/>
              <a:gd name="connsiteX31" fmla="*/ 1981200 w 3128973"/>
              <a:gd name="connsiteY31" fmla="*/ 419100 h 1752600"/>
              <a:gd name="connsiteX32" fmla="*/ 1985962 w 3128973"/>
              <a:gd name="connsiteY32" fmla="*/ 433387 h 1752600"/>
              <a:gd name="connsiteX33" fmla="*/ 2000250 w 3128973"/>
              <a:gd name="connsiteY33" fmla="*/ 442912 h 1752600"/>
              <a:gd name="connsiteX34" fmla="*/ 2005012 w 3128973"/>
              <a:gd name="connsiteY34" fmla="*/ 457200 h 1752600"/>
              <a:gd name="connsiteX35" fmla="*/ 2005012 w 3128973"/>
              <a:gd name="connsiteY35" fmla="*/ 561975 h 1752600"/>
              <a:gd name="connsiteX36" fmla="*/ 2009775 w 3128973"/>
              <a:gd name="connsiteY36" fmla="*/ 576262 h 1752600"/>
              <a:gd name="connsiteX37" fmla="*/ 2024062 w 3128973"/>
              <a:gd name="connsiteY37" fmla="*/ 581025 h 1752600"/>
              <a:gd name="connsiteX38" fmla="*/ 2038350 w 3128973"/>
              <a:gd name="connsiteY38" fmla="*/ 595312 h 1752600"/>
              <a:gd name="connsiteX39" fmla="*/ 2052637 w 3128973"/>
              <a:gd name="connsiteY39" fmla="*/ 600075 h 1752600"/>
              <a:gd name="connsiteX40" fmla="*/ 2133600 w 3128973"/>
              <a:gd name="connsiteY40" fmla="*/ 590550 h 1752600"/>
              <a:gd name="connsiteX41" fmla="*/ 2147887 w 3128973"/>
              <a:gd name="connsiteY41" fmla="*/ 585787 h 1752600"/>
              <a:gd name="connsiteX42" fmla="*/ 2195512 w 3128973"/>
              <a:gd name="connsiteY42" fmla="*/ 600075 h 1752600"/>
              <a:gd name="connsiteX43" fmla="*/ 2205037 w 3128973"/>
              <a:gd name="connsiteY43" fmla="*/ 614362 h 1752600"/>
              <a:gd name="connsiteX44" fmla="*/ 2219325 w 3128973"/>
              <a:gd name="connsiteY44" fmla="*/ 628650 h 1752600"/>
              <a:gd name="connsiteX45" fmla="*/ 2224087 w 3128973"/>
              <a:gd name="connsiteY45" fmla="*/ 642937 h 1752600"/>
              <a:gd name="connsiteX46" fmla="*/ 2233612 w 3128973"/>
              <a:gd name="connsiteY46" fmla="*/ 657225 h 1752600"/>
              <a:gd name="connsiteX47" fmla="*/ 2247900 w 3128973"/>
              <a:gd name="connsiteY47" fmla="*/ 685800 h 1752600"/>
              <a:gd name="connsiteX48" fmla="*/ 2262187 w 3128973"/>
              <a:gd name="connsiteY48" fmla="*/ 733425 h 1752600"/>
              <a:gd name="connsiteX49" fmla="*/ 2305050 w 3128973"/>
              <a:gd name="connsiteY49" fmla="*/ 771525 h 1752600"/>
              <a:gd name="connsiteX50" fmla="*/ 2319337 w 3128973"/>
              <a:gd name="connsiteY50" fmla="*/ 804862 h 1752600"/>
              <a:gd name="connsiteX51" fmla="*/ 2333625 w 3128973"/>
              <a:gd name="connsiteY51" fmla="*/ 819150 h 1752600"/>
              <a:gd name="connsiteX52" fmla="*/ 2338387 w 3128973"/>
              <a:gd name="connsiteY52" fmla="*/ 833437 h 1752600"/>
              <a:gd name="connsiteX53" fmla="*/ 2352675 w 3128973"/>
              <a:gd name="connsiteY53" fmla="*/ 847725 h 1752600"/>
              <a:gd name="connsiteX54" fmla="*/ 2395537 w 3128973"/>
              <a:gd name="connsiteY54" fmla="*/ 871537 h 1752600"/>
              <a:gd name="connsiteX55" fmla="*/ 2409825 w 3128973"/>
              <a:gd name="connsiteY55" fmla="*/ 890587 h 1752600"/>
              <a:gd name="connsiteX56" fmla="*/ 2424112 w 3128973"/>
              <a:gd name="connsiteY56" fmla="*/ 895350 h 1752600"/>
              <a:gd name="connsiteX57" fmla="*/ 2433637 w 3128973"/>
              <a:gd name="connsiteY57" fmla="*/ 914400 h 1752600"/>
              <a:gd name="connsiteX58" fmla="*/ 2466975 w 3128973"/>
              <a:gd name="connsiteY58" fmla="*/ 942975 h 1752600"/>
              <a:gd name="connsiteX59" fmla="*/ 2474637 w 3128973"/>
              <a:gd name="connsiteY59" fmla="*/ 954728 h 1752600"/>
              <a:gd name="connsiteX60" fmla="*/ 2495550 w 3128973"/>
              <a:gd name="connsiteY60" fmla="*/ 971550 h 1752600"/>
              <a:gd name="connsiteX61" fmla="*/ 2508776 w 3128973"/>
              <a:gd name="connsiteY61" fmla="*/ 983894 h 1752600"/>
              <a:gd name="connsiteX62" fmla="*/ 2533650 w 3128973"/>
              <a:gd name="connsiteY62" fmla="*/ 1000125 h 1752600"/>
              <a:gd name="connsiteX63" fmla="*/ 2547937 w 3128973"/>
              <a:gd name="connsiteY63" fmla="*/ 1028700 h 1752600"/>
              <a:gd name="connsiteX64" fmla="*/ 2552700 w 3128973"/>
              <a:gd name="connsiteY64" fmla="*/ 1042987 h 1752600"/>
              <a:gd name="connsiteX65" fmla="*/ 2576512 w 3128973"/>
              <a:gd name="connsiteY65" fmla="*/ 1071562 h 1752600"/>
              <a:gd name="connsiteX66" fmla="*/ 2584921 w 3128973"/>
              <a:gd name="connsiteY66" fmla="*/ 1082873 h 1752600"/>
              <a:gd name="connsiteX67" fmla="*/ 2600325 w 3128973"/>
              <a:gd name="connsiteY67" fmla="*/ 1095375 h 1752600"/>
              <a:gd name="connsiteX68" fmla="*/ 2609850 w 3128973"/>
              <a:gd name="connsiteY68" fmla="*/ 1109662 h 1752600"/>
              <a:gd name="connsiteX69" fmla="*/ 2652712 w 3128973"/>
              <a:gd name="connsiteY69" fmla="*/ 1143000 h 1752600"/>
              <a:gd name="connsiteX70" fmla="*/ 2681287 w 3128973"/>
              <a:gd name="connsiteY70" fmla="*/ 1152525 h 1752600"/>
              <a:gd name="connsiteX71" fmla="*/ 2700337 w 3128973"/>
              <a:gd name="connsiteY71" fmla="*/ 1162050 h 1752600"/>
              <a:gd name="connsiteX72" fmla="*/ 2714625 w 3128973"/>
              <a:gd name="connsiteY72" fmla="*/ 1171575 h 1752600"/>
              <a:gd name="connsiteX73" fmla="*/ 2752725 w 3128973"/>
              <a:gd name="connsiteY73" fmla="*/ 1181100 h 1752600"/>
              <a:gd name="connsiteX74" fmla="*/ 2767012 w 3128973"/>
              <a:gd name="connsiteY74" fmla="*/ 1195387 h 1752600"/>
              <a:gd name="connsiteX75" fmla="*/ 2781300 w 3128973"/>
              <a:gd name="connsiteY75" fmla="*/ 1200150 h 1752600"/>
              <a:gd name="connsiteX76" fmla="*/ 2795587 w 3128973"/>
              <a:gd name="connsiteY76" fmla="*/ 1209675 h 1752600"/>
              <a:gd name="connsiteX77" fmla="*/ 2805112 w 3128973"/>
              <a:gd name="connsiteY77" fmla="*/ 1223962 h 1752600"/>
              <a:gd name="connsiteX78" fmla="*/ 2809875 w 3128973"/>
              <a:gd name="connsiteY78" fmla="*/ 1238250 h 1752600"/>
              <a:gd name="connsiteX79" fmla="*/ 2833687 w 3128973"/>
              <a:gd name="connsiteY79" fmla="*/ 1276350 h 1752600"/>
              <a:gd name="connsiteX80" fmla="*/ 2895600 w 3128973"/>
              <a:gd name="connsiteY80" fmla="*/ 1333500 h 1752600"/>
              <a:gd name="connsiteX81" fmla="*/ 2900362 w 3128973"/>
              <a:gd name="connsiteY81" fmla="*/ 1352550 h 1752600"/>
              <a:gd name="connsiteX82" fmla="*/ 2928937 w 3128973"/>
              <a:gd name="connsiteY82" fmla="*/ 1395412 h 1752600"/>
              <a:gd name="connsiteX83" fmla="*/ 2943225 w 3128973"/>
              <a:gd name="connsiteY83" fmla="*/ 1404937 h 1752600"/>
              <a:gd name="connsiteX84" fmla="*/ 2957512 w 3128973"/>
              <a:gd name="connsiteY84" fmla="*/ 1419225 h 1752600"/>
              <a:gd name="connsiteX85" fmla="*/ 2986087 w 3128973"/>
              <a:gd name="connsiteY85" fmla="*/ 1443037 h 1752600"/>
              <a:gd name="connsiteX86" fmla="*/ 3000375 w 3128973"/>
              <a:gd name="connsiteY86" fmla="*/ 1462087 h 1752600"/>
              <a:gd name="connsiteX87" fmla="*/ 3016395 w 3128973"/>
              <a:gd name="connsiteY87" fmla="*/ 1476222 h 1752600"/>
              <a:gd name="connsiteX88" fmla="*/ 3028950 w 3128973"/>
              <a:gd name="connsiteY88" fmla="*/ 1495425 h 1752600"/>
              <a:gd name="connsiteX89" fmla="*/ 3043237 w 3128973"/>
              <a:gd name="connsiteY89" fmla="*/ 1552575 h 1752600"/>
              <a:gd name="connsiteX90" fmla="*/ 3052762 w 3128973"/>
              <a:gd name="connsiteY90" fmla="*/ 1566862 h 1752600"/>
              <a:gd name="connsiteX91" fmla="*/ 3057525 w 3128973"/>
              <a:gd name="connsiteY91" fmla="*/ 1581150 h 1752600"/>
              <a:gd name="connsiteX92" fmla="*/ 3067050 w 3128973"/>
              <a:gd name="connsiteY92" fmla="*/ 1662112 h 1752600"/>
              <a:gd name="connsiteX93" fmla="*/ 3071812 w 3128973"/>
              <a:gd name="connsiteY93" fmla="*/ 1676400 h 1752600"/>
              <a:gd name="connsiteX94" fmla="*/ 3100387 w 3128973"/>
              <a:gd name="connsiteY94" fmla="*/ 1690687 h 1752600"/>
              <a:gd name="connsiteX95" fmla="*/ 3114675 w 3128973"/>
              <a:gd name="connsiteY95" fmla="*/ 1685925 h 1752600"/>
              <a:gd name="connsiteX96" fmla="*/ 3124200 w 3128973"/>
              <a:gd name="connsiteY96" fmla="*/ 1671637 h 1752600"/>
              <a:gd name="connsiteX97" fmla="*/ 3128973 w 3128973"/>
              <a:gd name="connsiteY97" fmla="*/ 1651467 h 1752600"/>
              <a:gd name="connsiteX98" fmla="*/ 3128021 w 3128973"/>
              <a:gd name="connsiteY98" fmla="*/ 1710279 h 1752600"/>
              <a:gd name="connsiteX99" fmla="*/ 3043237 w 3128973"/>
              <a:gd name="connsiteY99" fmla="*/ 1714500 h 1752600"/>
              <a:gd name="connsiteX100" fmla="*/ 3028950 w 3128973"/>
              <a:gd name="connsiteY100" fmla="*/ 1728787 h 1752600"/>
              <a:gd name="connsiteX101" fmla="*/ 2986087 w 3128973"/>
              <a:gd name="connsiteY101" fmla="*/ 1738312 h 1752600"/>
              <a:gd name="connsiteX102" fmla="*/ 2971800 w 3128973"/>
              <a:gd name="connsiteY102" fmla="*/ 1743075 h 1752600"/>
              <a:gd name="connsiteX103" fmla="*/ 2943225 w 3128973"/>
              <a:gd name="connsiteY103" fmla="*/ 1738312 h 1752600"/>
              <a:gd name="connsiteX104" fmla="*/ 2928937 w 3128973"/>
              <a:gd name="connsiteY104" fmla="*/ 1747837 h 1752600"/>
              <a:gd name="connsiteX105" fmla="*/ 2914650 w 3128973"/>
              <a:gd name="connsiteY105" fmla="*/ 1752600 h 1752600"/>
              <a:gd name="connsiteX106" fmla="*/ 2895600 w 3128973"/>
              <a:gd name="connsiteY106" fmla="*/ 1724025 h 1752600"/>
              <a:gd name="connsiteX107" fmla="*/ 2883310 w 3128973"/>
              <a:gd name="connsiteY107" fmla="*/ 1701201 h 1752600"/>
              <a:gd name="connsiteX108" fmla="*/ 2883805 w 3128973"/>
              <a:gd name="connsiteY108" fmla="*/ 1696138 h 1752600"/>
              <a:gd name="connsiteX109" fmla="*/ 2871787 w 3128973"/>
              <a:gd name="connsiteY109" fmla="*/ 1685925 h 1752600"/>
              <a:gd name="connsiteX110" fmla="*/ 2847975 w 3128973"/>
              <a:gd name="connsiteY110" fmla="*/ 1657350 h 1752600"/>
              <a:gd name="connsiteX111" fmla="*/ 2834034 w 3128973"/>
              <a:gd name="connsiteY111" fmla="*/ 1637762 h 1752600"/>
              <a:gd name="connsiteX112" fmla="*/ 2814637 w 3128973"/>
              <a:gd name="connsiteY112" fmla="*/ 1619250 h 1752600"/>
              <a:gd name="connsiteX113" fmla="*/ 2809875 w 3128973"/>
              <a:gd name="connsiteY113" fmla="*/ 1604962 h 1752600"/>
              <a:gd name="connsiteX114" fmla="*/ 2795587 w 3128973"/>
              <a:gd name="connsiteY114" fmla="*/ 1600200 h 1752600"/>
              <a:gd name="connsiteX115" fmla="*/ 2781300 w 3128973"/>
              <a:gd name="connsiteY115" fmla="*/ 1590675 h 1752600"/>
              <a:gd name="connsiteX116" fmla="*/ 2752725 w 3128973"/>
              <a:gd name="connsiteY116" fmla="*/ 1581150 h 1752600"/>
              <a:gd name="connsiteX117" fmla="*/ 2733675 w 3128973"/>
              <a:gd name="connsiteY117" fmla="*/ 1625600 h 1752600"/>
              <a:gd name="connsiteX118" fmla="*/ 2709862 w 3128973"/>
              <a:gd name="connsiteY118" fmla="*/ 1619250 h 1752600"/>
              <a:gd name="connsiteX119" fmla="*/ 2723566 w 3128973"/>
              <a:gd name="connsiteY119" fmla="*/ 1590361 h 1752600"/>
              <a:gd name="connsiteX120" fmla="*/ 2674937 w 3128973"/>
              <a:gd name="connsiteY120" fmla="*/ 1560512 h 1752600"/>
              <a:gd name="connsiteX121" fmla="*/ 2643187 w 3128973"/>
              <a:gd name="connsiteY121" fmla="*/ 1495425 h 1752600"/>
              <a:gd name="connsiteX122" fmla="*/ 2628900 w 3128973"/>
              <a:gd name="connsiteY122" fmla="*/ 1490662 h 1752600"/>
              <a:gd name="connsiteX123" fmla="*/ 2595562 w 3128973"/>
              <a:gd name="connsiteY123" fmla="*/ 1481137 h 1752600"/>
              <a:gd name="connsiteX124" fmla="*/ 2581275 w 3128973"/>
              <a:gd name="connsiteY124" fmla="*/ 1466850 h 1752600"/>
              <a:gd name="connsiteX125" fmla="*/ 2552700 w 3128973"/>
              <a:gd name="connsiteY125" fmla="*/ 1457325 h 1752600"/>
              <a:gd name="connsiteX126" fmla="*/ 2538412 w 3128973"/>
              <a:gd name="connsiteY126" fmla="*/ 1447800 h 1752600"/>
              <a:gd name="connsiteX127" fmla="*/ 2519362 w 3128973"/>
              <a:gd name="connsiteY127" fmla="*/ 1443037 h 1752600"/>
              <a:gd name="connsiteX128" fmla="*/ 2490787 w 3128973"/>
              <a:gd name="connsiteY128" fmla="*/ 1433512 h 1752600"/>
              <a:gd name="connsiteX129" fmla="*/ 2476500 w 3128973"/>
              <a:gd name="connsiteY129" fmla="*/ 1428750 h 1752600"/>
              <a:gd name="connsiteX130" fmla="*/ 2466975 w 3128973"/>
              <a:gd name="connsiteY130" fmla="*/ 1414462 h 1752600"/>
              <a:gd name="connsiteX131" fmla="*/ 2447925 w 3128973"/>
              <a:gd name="connsiteY131" fmla="*/ 1409700 h 1752600"/>
              <a:gd name="connsiteX132" fmla="*/ 2309812 w 3128973"/>
              <a:gd name="connsiteY132" fmla="*/ 1395412 h 1752600"/>
              <a:gd name="connsiteX133" fmla="*/ 2295525 w 3128973"/>
              <a:gd name="connsiteY133" fmla="*/ 1390650 h 1752600"/>
              <a:gd name="connsiteX134" fmla="*/ 2257425 w 3128973"/>
              <a:gd name="connsiteY134" fmla="*/ 1381125 h 1752600"/>
              <a:gd name="connsiteX135" fmla="*/ 2238375 w 3128973"/>
              <a:gd name="connsiteY135" fmla="*/ 1366837 h 1752600"/>
              <a:gd name="connsiteX136" fmla="*/ 2224087 w 3128973"/>
              <a:gd name="connsiteY136" fmla="*/ 1362075 h 1752600"/>
              <a:gd name="connsiteX137" fmla="*/ 2176462 w 3128973"/>
              <a:gd name="connsiteY137" fmla="*/ 1338262 h 1752600"/>
              <a:gd name="connsiteX138" fmla="*/ 2162175 w 3128973"/>
              <a:gd name="connsiteY138" fmla="*/ 1328737 h 1752600"/>
              <a:gd name="connsiteX139" fmla="*/ 2114550 w 3128973"/>
              <a:gd name="connsiteY139" fmla="*/ 1314450 h 1752600"/>
              <a:gd name="connsiteX140" fmla="*/ 2100262 w 3128973"/>
              <a:gd name="connsiteY140" fmla="*/ 1300162 h 1752600"/>
              <a:gd name="connsiteX141" fmla="*/ 2085975 w 3128973"/>
              <a:gd name="connsiteY141" fmla="*/ 1295400 h 1752600"/>
              <a:gd name="connsiteX142" fmla="*/ 2055019 w 3128973"/>
              <a:gd name="connsiteY142" fmla="*/ 1290637 h 1752600"/>
              <a:gd name="connsiteX143" fmla="*/ 2028824 w 3128973"/>
              <a:gd name="connsiteY143" fmla="*/ 1283494 h 1752600"/>
              <a:gd name="connsiteX144" fmla="*/ 2005012 w 3128973"/>
              <a:gd name="connsiteY144" fmla="*/ 1271587 h 1752600"/>
              <a:gd name="connsiteX145" fmla="*/ 1985962 w 3128973"/>
              <a:gd name="connsiteY145" fmla="*/ 1262062 h 1752600"/>
              <a:gd name="connsiteX146" fmla="*/ 1971675 w 3128973"/>
              <a:gd name="connsiteY146" fmla="*/ 1257300 h 1752600"/>
              <a:gd name="connsiteX147" fmla="*/ 1943100 w 3128973"/>
              <a:gd name="connsiteY147" fmla="*/ 1238250 h 1752600"/>
              <a:gd name="connsiteX148" fmla="*/ 1914525 w 3128973"/>
              <a:gd name="connsiteY148" fmla="*/ 1219200 h 1752600"/>
              <a:gd name="connsiteX149" fmla="*/ 1885950 w 3128973"/>
              <a:gd name="connsiteY149" fmla="*/ 1209675 h 1752600"/>
              <a:gd name="connsiteX150" fmla="*/ 1843087 w 3128973"/>
              <a:gd name="connsiteY150" fmla="*/ 1195387 h 1752600"/>
              <a:gd name="connsiteX151" fmla="*/ 1757362 w 3128973"/>
              <a:gd name="connsiteY151" fmla="*/ 1185862 h 1752600"/>
              <a:gd name="connsiteX152" fmla="*/ 1700212 w 3128973"/>
              <a:gd name="connsiteY152" fmla="*/ 1166812 h 1752600"/>
              <a:gd name="connsiteX153" fmla="*/ 1671637 w 3128973"/>
              <a:gd name="connsiteY153" fmla="*/ 1147762 h 1752600"/>
              <a:gd name="connsiteX154" fmla="*/ 1652587 w 3128973"/>
              <a:gd name="connsiteY154" fmla="*/ 1138237 h 1752600"/>
              <a:gd name="connsiteX155" fmla="*/ 1638300 w 3128973"/>
              <a:gd name="connsiteY155" fmla="*/ 1128712 h 1752600"/>
              <a:gd name="connsiteX156" fmla="*/ 1590675 w 3128973"/>
              <a:gd name="connsiteY156" fmla="*/ 1138238 h 1752600"/>
              <a:gd name="connsiteX157" fmla="*/ 1559719 w 3128973"/>
              <a:gd name="connsiteY157" fmla="*/ 1109662 h 1752600"/>
              <a:gd name="connsiteX158" fmla="*/ 1528762 w 3128973"/>
              <a:gd name="connsiteY158" fmla="*/ 1085850 h 1752600"/>
              <a:gd name="connsiteX159" fmla="*/ 1514475 w 3128973"/>
              <a:gd name="connsiteY159" fmla="*/ 1081087 h 1752600"/>
              <a:gd name="connsiteX160" fmla="*/ 1470025 w 3128973"/>
              <a:gd name="connsiteY160" fmla="*/ 1130300 h 1752600"/>
              <a:gd name="connsiteX161" fmla="*/ 1433512 w 3128973"/>
              <a:gd name="connsiteY161" fmla="*/ 1108075 h 1752600"/>
              <a:gd name="connsiteX162" fmla="*/ 1423987 w 3128973"/>
              <a:gd name="connsiteY162" fmla="*/ 1087437 h 1752600"/>
              <a:gd name="connsiteX163" fmla="*/ 1381125 w 3128973"/>
              <a:gd name="connsiteY163" fmla="*/ 1095375 h 1752600"/>
              <a:gd name="connsiteX164" fmla="*/ 1383506 w 3128973"/>
              <a:gd name="connsiteY164" fmla="*/ 1028700 h 1752600"/>
              <a:gd name="connsiteX165" fmla="*/ 1366838 w 3128973"/>
              <a:gd name="connsiteY165" fmla="*/ 1019175 h 1752600"/>
              <a:gd name="connsiteX166" fmla="*/ 1335881 w 3128973"/>
              <a:gd name="connsiteY166" fmla="*/ 1007268 h 1752600"/>
              <a:gd name="connsiteX167" fmla="*/ 1319213 w 3128973"/>
              <a:gd name="connsiteY167" fmla="*/ 1007268 h 1752600"/>
              <a:gd name="connsiteX168" fmla="*/ 1295400 w 3128973"/>
              <a:gd name="connsiteY168" fmla="*/ 976312 h 1752600"/>
              <a:gd name="connsiteX169" fmla="*/ 1281112 w 3128973"/>
              <a:gd name="connsiteY169" fmla="*/ 966787 h 1752600"/>
              <a:gd name="connsiteX170" fmla="*/ 1238250 w 3128973"/>
              <a:gd name="connsiteY170" fmla="*/ 947737 h 1752600"/>
              <a:gd name="connsiteX171" fmla="*/ 1212850 w 3128973"/>
              <a:gd name="connsiteY171" fmla="*/ 995362 h 1752600"/>
              <a:gd name="connsiteX172" fmla="*/ 1201737 w 3128973"/>
              <a:gd name="connsiteY172" fmla="*/ 987425 h 1752600"/>
              <a:gd name="connsiteX173" fmla="*/ 1163637 w 3128973"/>
              <a:gd name="connsiteY173" fmla="*/ 952277 h 1752600"/>
              <a:gd name="connsiteX174" fmla="*/ 1133475 w 3128973"/>
              <a:gd name="connsiteY174" fmla="*/ 925512 h 1752600"/>
              <a:gd name="connsiteX175" fmla="*/ 1085850 w 3128973"/>
              <a:gd name="connsiteY175" fmla="*/ 859631 h 1752600"/>
              <a:gd name="connsiteX176" fmla="*/ 1071562 w 3128973"/>
              <a:gd name="connsiteY176" fmla="*/ 842962 h 1752600"/>
              <a:gd name="connsiteX177" fmla="*/ 1047750 w 3128973"/>
              <a:gd name="connsiteY177" fmla="*/ 819150 h 1752600"/>
              <a:gd name="connsiteX178" fmla="*/ 1028700 w 3128973"/>
              <a:gd name="connsiteY178" fmla="*/ 804862 h 1752600"/>
              <a:gd name="connsiteX179" fmla="*/ 1018076 w 3128973"/>
              <a:gd name="connsiteY179" fmla="*/ 794816 h 1752600"/>
              <a:gd name="connsiteX180" fmla="*/ 1000125 w 3128973"/>
              <a:gd name="connsiteY180" fmla="*/ 785812 h 1752600"/>
              <a:gd name="connsiteX181" fmla="*/ 984342 w 3128973"/>
              <a:gd name="connsiteY181" fmla="*/ 773578 h 1752600"/>
              <a:gd name="connsiteX182" fmla="*/ 957262 w 3128973"/>
              <a:gd name="connsiteY182" fmla="*/ 766762 h 1752600"/>
              <a:gd name="connsiteX183" fmla="*/ 938212 w 3128973"/>
              <a:gd name="connsiteY183" fmla="*/ 757237 h 1752600"/>
              <a:gd name="connsiteX184" fmla="*/ 904875 w 3128973"/>
              <a:gd name="connsiteY184" fmla="*/ 747712 h 1752600"/>
              <a:gd name="connsiteX185" fmla="*/ 862012 w 3128973"/>
              <a:gd name="connsiteY185" fmla="*/ 723900 h 1752600"/>
              <a:gd name="connsiteX186" fmla="*/ 795337 w 3128973"/>
              <a:gd name="connsiteY186" fmla="*/ 685800 h 1752600"/>
              <a:gd name="connsiteX187" fmla="*/ 776287 w 3128973"/>
              <a:gd name="connsiteY187" fmla="*/ 666750 h 1752600"/>
              <a:gd name="connsiteX188" fmla="*/ 762000 w 3128973"/>
              <a:gd name="connsiteY188" fmla="*/ 661987 h 1752600"/>
              <a:gd name="connsiteX189" fmla="*/ 742950 w 3128973"/>
              <a:gd name="connsiteY189" fmla="*/ 647700 h 1752600"/>
              <a:gd name="connsiteX190" fmla="*/ 709612 w 3128973"/>
              <a:gd name="connsiteY190" fmla="*/ 638175 h 1752600"/>
              <a:gd name="connsiteX191" fmla="*/ 695325 w 3128973"/>
              <a:gd name="connsiteY191" fmla="*/ 628650 h 1752600"/>
              <a:gd name="connsiteX192" fmla="*/ 681037 w 3128973"/>
              <a:gd name="connsiteY192" fmla="*/ 623887 h 1752600"/>
              <a:gd name="connsiteX193" fmla="*/ 676275 w 3128973"/>
              <a:gd name="connsiteY193" fmla="*/ 604837 h 1752600"/>
              <a:gd name="connsiteX194" fmla="*/ 666750 w 3128973"/>
              <a:gd name="connsiteY194" fmla="*/ 576262 h 1752600"/>
              <a:gd name="connsiteX195" fmla="*/ 661987 w 3128973"/>
              <a:gd name="connsiteY195" fmla="*/ 561975 h 1752600"/>
              <a:gd name="connsiteX196" fmla="*/ 666750 w 3128973"/>
              <a:gd name="connsiteY196" fmla="*/ 538162 h 1752600"/>
              <a:gd name="connsiteX197" fmla="*/ 638175 w 3128973"/>
              <a:gd name="connsiteY197" fmla="*/ 514350 h 1752600"/>
              <a:gd name="connsiteX198" fmla="*/ 619125 w 3128973"/>
              <a:gd name="connsiteY198" fmla="*/ 500062 h 1752600"/>
              <a:gd name="connsiteX199" fmla="*/ 576262 w 3128973"/>
              <a:gd name="connsiteY199" fmla="*/ 490537 h 1752600"/>
              <a:gd name="connsiteX200" fmla="*/ 542925 w 3128973"/>
              <a:gd name="connsiteY200" fmla="*/ 452437 h 1752600"/>
              <a:gd name="connsiteX201" fmla="*/ 525462 w 3128973"/>
              <a:gd name="connsiteY201" fmla="*/ 485775 h 1752600"/>
              <a:gd name="connsiteX202" fmla="*/ 504825 w 3128973"/>
              <a:gd name="connsiteY202" fmla="*/ 466725 h 1752600"/>
              <a:gd name="connsiteX203" fmla="*/ 454025 w 3128973"/>
              <a:gd name="connsiteY203" fmla="*/ 466725 h 1752600"/>
              <a:gd name="connsiteX204" fmla="*/ 407987 w 3128973"/>
              <a:gd name="connsiteY204" fmla="*/ 473075 h 1752600"/>
              <a:gd name="connsiteX205" fmla="*/ 395287 w 3128973"/>
              <a:gd name="connsiteY205" fmla="*/ 409575 h 1752600"/>
              <a:gd name="connsiteX206" fmla="*/ 376237 w 3128973"/>
              <a:gd name="connsiteY206" fmla="*/ 404812 h 1752600"/>
              <a:gd name="connsiteX207" fmla="*/ 342900 w 3128973"/>
              <a:gd name="connsiteY207" fmla="*/ 400050 h 1752600"/>
              <a:gd name="connsiteX208" fmla="*/ 314325 w 3128973"/>
              <a:gd name="connsiteY208" fmla="*/ 390525 h 1752600"/>
              <a:gd name="connsiteX209" fmla="*/ 273844 w 3128973"/>
              <a:gd name="connsiteY209" fmla="*/ 383382 h 1752600"/>
              <a:gd name="connsiteX210" fmla="*/ 257175 w 3128973"/>
              <a:gd name="connsiteY210" fmla="*/ 371475 h 1752600"/>
              <a:gd name="connsiteX211" fmla="*/ 245269 w 3128973"/>
              <a:gd name="connsiteY211" fmla="*/ 364331 h 1752600"/>
              <a:gd name="connsiteX212" fmla="*/ 223837 w 3128973"/>
              <a:gd name="connsiteY212" fmla="*/ 347662 h 1752600"/>
              <a:gd name="connsiteX213" fmla="*/ 190500 w 3128973"/>
              <a:gd name="connsiteY213" fmla="*/ 338137 h 1752600"/>
              <a:gd name="connsiteX214" fmla="*/ 147637 w 3128973"/>
              <a:gd name="connsiteY214" fmla="*/ 333375 h 1752600"/>
              <a:gd name="connsiteX215" fmla="*/ 119062 w 3128973"/>
              <a:gd name="connsiteY215" fmla="*/ 323850 h 1752600"/>
              <a:gd name="connsiteX216" fmla="*/ 104775 w 3128973"/>
              <a:gd name="connsiteY216" fmla="*/ 319087 h 1752600"/>
              <a:gd name="connsiteX217" fmla="*/ 61912 w 3128973"/>
              <a:gd name="connsiteY217" fmla="*/ 300037 h 1752600"/>
              <a:gd name="connsiteX218" fmla="*/ 23812 w 3128973"/>
              <a:gd name="connsiteY218" fmla="*/ 290512 h 1752600"/>
              <a:gd name="connsiteX219" fmla="*/ 9525 w 3128973"/>
              <a:gd name="connsiteY219" fmla="*/ 261937 h 1752600"/>
              <a:gd name="connsiteX220" fmla="*/ 0 w 3128973"/>
              <a:gd name="connsiteY220" fmla="*/ 290512 h 1752600"/>
              <a:gd name="connsiteX221" fmla="*/ 4762 w 3128973"/>
              <a:gd name="connsiteY221" fmla="*/ 247650 h 1752600"/>
              <a:gd name="connsiteX222" fmla="*/ 19050 w 3128973"/>
              <a:gd name="connsiteY222" fmla="*/ 200025 h 1752600"/>
              <a:gd name="connsiteX223" fmla="*/ 23812 w 3128973"/>
              <a:gd name="connsiteY223" fmla="*/ 185737 h 1752600"/>
              <a:gd name="connsiteX224" fmla="*/ 71437 w 3128973"/>
              <a:gd name="connsiteY224" fmla="*/ 171450 h 1752600"/>
              <a:gd name="connsiteX225" fmla="*/ 85725 w 3128973"/>
              <a:gd name="connsiteY225" fmla="*/ 166687 h 1752600"/>
              <a:gd name="connsiteX226" fmla="*/ 100012 w 3128973"/>
              <a:gd name="connsiteY226" fmla="*/ 161925 h 1752600"/>
              <a:gd name="connsiteX227" fmla="*/ 114300 w 3128973"/>
              <a:gd name="connsiteY227" fmla="*/ 152400 h 1752600"/>
              <a:gd name="connsiteX228" fmla="*/ 133350 w 3128973"/>
              <a:gd name="connsiteY228" fmla="*/ 123825 h 1752600"/>
              <a:gd name="connsiteX229" fmla="*/ 138112 w 3128973"/>
              <a:gd name="connsiteY229" fmla="*/ 109537 h 1752600"/>
              <a:gd name="connsiteX230" fmla="*/ 135467 w 3128973"/>
              <a:gd name="connsiteY230" fmla="*/ 97059 h 1752600"/>
              <a:gd name="connsiteX231" fmla="*/ 142875 w 3128973"/>
              <a:gd name="connsiteY231" fmla="*/ 71437 h 1752600"/>
              <a:gd name="connsiteX232" fmla="*/ 157162 w 3128973"/>
              <a:gd name="connsiteY232" fmla="*/ 57150 h 1752600"/>
              <a:gd name="connsiteX233" fmla="*/ 200025 w 3128973"/>
              <a:gd name="connsiteY233" fmla="*/ 33337 h 1752600"/>
              <a:gd name="connsiteX234" fmla="*/ 309562 w 3128973"/>
              <a:gd name="connsiteY234" fmla="*/ 28575 h 1752600"/>
              <a:gd name="connsiteX235" fmla="*/ 400050 w 3128973"/>
              <a:gd name="connsiteY235" fmla="*/ 14287 h 1752600"/>
              <a:gd name="connsiteX236" fmla="*/ 414337 w 3128973"/>
              <a:gd name="connsiteY236" fmla="*/ 9525 h 1752600"/>
              <a:gd name="connsiteX237" fmla="*/ 481012 w 3128973"/>
              <a:gd name="connsiteY237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259806 w 3128973"/>
              <a:gd name="connsiteY26" fmla="*/ 88730 h 1752600"/>
              <a:gd name="connsiteX27" fmla="*/ 2046801 w 3128973"/>
              <a:gd name="connsiteY27" fmla="*/ 262295 h 1752600"/>
              <a:gd name="connsiteX28" fmla="*/ 2033587 w 3128973"/>
              <a:gd name="connsiteY28" fmla="*/ 266700 h 1752600"/>
              <a:gd name="connsiteX29" fmla="*/ 2019300 w 3128973"/>
              <a:gd name="connsiteY29" fmla="*/ 280987 h 1752600"/>
              <a:gd name="connsiteX30" fmla="*/ 1990725 w 3128973"/>
              <a:gd name="connsiteY30" fmla="*/ 300037 h 1752600"/>
              <a:gd name="connsiteX31" fmla="*/ 1981200 w 3128973"/>
              <a:gd name="connsiteY31" fmla="*/ 314325 h 1752600"/>
              <a:gd name="connsiteX32" fmla="*/ 1981200 w 3128973"/>
              <a:gd name="connsiteY32" fmla="*/ 419100 h 1752600"/>
              <a:gd name="connsiteX33" fmla="*/ 1985962 w 3128973"/>
              <a:gd name="connsiteY33" fmla="*/ 433387 h 1752600"/>
              <a:gd name="connsiteX34" fmla="*/ 2000250 w 3128973"/>
              <a:gd name="connsiteY34" fmla="*/ 442912 h 1752600"/>
              <a:gd name="connsiteX35" fmla="*/ 2005012 w 3128973"/>
              <a:gd name="connsiteY35" fmla="*/ 457200 h 1752600"/>
              <a:gd name="connsiteX36" fmla="*/ 2005012 w 3128973"/>
              <a:gd name="connsiteY36" fmla="*/ 561975 h 1752600"/>
              <a:gd name="connsiteX37" fmla="*/ 2009775 w 3128973"/>
              <a:gd name="connsiteY37" fmla="*/ 576262 h 1752600"/>
              <a:gd name="connsiteX38" fmla="*/ 2024062 w 3128973"/>
              <a:gd name="connsiteY38" fmla="*/ 581025 h 1752600"/>
              <a:gd name="connsiteX39" fmla="*/ 2038350 w 3128973"/>
              <a:gd name="connsiteY39" fmla="*/ 595312 h 1752600"/>
              <a:gd name="connsiteX40" fmla="*/ 2052637 w 3128973"/>
              <a:gd name="connsiteY40" fmla="*/ 600075 h 1752600"/>
              <a:gd name="connsiteX41" fmla="*/ 2133600 w 3128973"/>
              <a:gd name="connsiteY41" fmla="*/ 590550 h 1752600"/>
              <a:gd name="connsiteX42" fmla="*/ 2147887 w 3128973"/>
              <a:gd name="connsiteY42" fmla="*/ 585787 h 1752600"/>
              <a:gd name="connsiteX43" fmla="*/ 2195512 w 3128973"/>
              <a:gd name="connsiteY43" fmla="*/ 600075 h 1752600"/>
              <a:gd name="connsiteX44" fmla="*/ 2205037 w 3128973"/>
              <a:gd name="connsiteY44" fmla="*/ 614362 h 1752600"/>
              <a:gd name="connsiteX45" fmla="*/ 2219325 w 3128973"/>
              <a:gd name="connsiteY45" fmla="*/ 628650 h 1752600"/>
              <a:gd name="connsiteX46" fmla="*/ 2224087 w 3128973"/>
              <a:gd name="connsiteY46" fmla="*/ 642937 h 1752600"/>
              <a:gd name="connsiteX47" fmla="*/ 2233612 w 3128973"/>
              <a:gd name="connsiteY47" fmla="*/ 657225 h 1752600"/>
              <a:gd name="connsiteX48" fmla="*/ 2247900 w 3128973"/>
              <a:gd name="connsiteY48" fmla="*/ 685800 h 1752600"/>
              <a:gd name="connsiteX49" fmla="*/ 2262187 w 3128973"/>
              <a:gd name="connsiteY49" fmla="*/ 733425 h 1752600"/>
              <a:gd name="connsiteX50" fmla="*/ 2305050 w 3128973"/>
              <a:gd name="connsiteY50" fmla="*/ 771525 h 1752600"/>
              <a:gd name="connsiteX51" fmla="*/ 2319337 w 3128973"/>
              <a:gd name="connsiteY51" fmla="*/ 804862 h 1752600"/>
              <a:gd name="connsiteX52" fmla="*/ 2333625 w 3128973"/>
              <a:gd name="connsiteY52" fmla="*/ 819150 h 1752600"/>
              <a:gd name="connsiteX53" fmla="*/ 2338387 w 3128973"/>
              <a:gd name="connsiteY53" fmla="*/ 833437 h 1752600"/>
              <a:gd name="connsiteX54" fmla="*/ 2352675 w 3128973"/>
              <a:gd name="connsiteY54" fmla="*/ 847725 h 1752600"/>
              <a:gd name="connsiteX55" fmla="*/ 2395537 w 3128973"/>
              <a:gd name="connsiteY55" fmla="*/ 871537 h 1752600"/>
              <a:gd name="connsiteX56" fmla="*/ 2409825 w 3128973"/>
              <a:gd name="connsiteY56" fmla="*/ 890587 h 1752600"/>
              <a:gd name="connsiteX57" fmla="*/ 2424112 w 3128973"/>
              <a:gd name="connsiteY57" fmla="*/ 895350 h 1752600"/>
              <a:gd name="connsiteX58" fmla="*/ 2433637 w 3128973"/>
              <a:gd name="connsiteY58" fmla="*/ 914400 h 1752600"/>
              <a:gd name="connsiteX59" fmla="*/ 2466975 w 3128973"/>
              <a:gd name="connsiteY59" fmla="*/ 942975 h 1752600"/>
              <a:gd name="connsiteX60" fmla="*/ 2474637 w 3128973"/>
              <a:gd name="connsiteY60" fmla="*/ 954728 h 1752600"/>
              <a:gd name="connsiteX61" fmla="*/ 2495550 w 3128973"/>
              <a:gd name="connsiteY61" fmla="*/ 971550 h 1752600"/>
              <a:gd name="connsiteX62" fmla="*/ 2508776 w 3128973"/>
              <a:gd name="connsiteY62" fmla="*/ 983894 h 1752600"/>
              <a:gd name="connsiteX63" fmla="*/ 2533650 w 3128973"/>
              <a:gd name="connsiteY63" fmla="*/ 1000125 h 1752600"/>
              <a:gd name="connsiteX64" fmla="*/ 2547937 w 3128973"/>
              <a:gd name="connsiteY64" fmla="*/ 1028700 h 1752600"/>
              <a:gd name="connsiteX65" fmla="*/ 2552700 w 3128973"/>
              <a:gd name="connsiteY65" fmla="*/ 1042987 h 1752600"/>
              <a:gd name="connsiteX66" fmla="*/ 2576512 w 3128973"/>
              <a:gd name="connsiteY66" fmla="*/ 1071562 h 1752600"/>
              <a:gd name="connsiteX67" fmla="*/ 2584921 w 3128973"/>
              <a:gd name="connsiteY67" fmla="*/ 1082873 h 1752600"/>
              <a:gd name="connsiteX68" fmla="*/ 2600325 w 3128973"/>
              <a:gd name="connsiteY68" fmla="*/ 1095375 h 1752600"/>
              <a:gd name="connsiteX69" fmla="*/ 2609850 w 3128973"/>
              <a:gd name="connsiteY69" fmla="*/ 1109662 h 1752600"/>
              <a:gd name="connsiteX70" fmla="*/ 2652712 w 3128973"/>
              <a:gd name="connsiteY70" fmla="*/ 1143000 h 1752600"/>
              <a:gd name="connsiteX71" fmla="*/ 2681287 w 3128973"/>
              <a:gd name="connsiteY71" fmla="*/ 1152525 h 1752600"/>
              <a:gd name="connsiteX72" fmla="*/ 2700337 w 3128973"/>
              <a:gd name="connsiteY72" fmla="*/ 1162050 h 1752600"/>
              <a:gd name="connsiteX73" fmla="*/ 2714625 w 3128973"/>
              <a:gd name="connsiteY73" fmla="*/ 1171575 h 1752600"/>
              <a:gd name="connsiteX74" fmla="*/ 2752725 w 3128973"/>
              <a:gd name="connsiteY74" fmla="*/ 1181100 h 1752600"/>
              <a:gd name="connsiteX75" fmla="*/ 2767012 w 3128973"/>
              <a:gd name="connsiteY75" fmla="*/ 1195387 h 1752600"/>
              <a:gd name="connsiteX76" fmla="*/ 2781300 w 3128973"/>
              <a:gd name="connsiteY76" fmla="*/ 1200150 h 1752600"/>
              <a:gd name="connsiteX77" fmla="*/ 2795587 w 3128973"/>
              <a:gd name="connsiteY77" fmla="*/ 1209675 h 1752600"/>
              <a:gd name="connsiteX78" fmla="*/ 2805112 w 3128973"/>
              <a:gd name="connsiteY78" fmla="*/ 1223962 h 1752600"/>
              <a:gd name="connsiteX79" fmla="*/ 2809875 w 3128973"/>
              <a:gd name="connsiteY79" fmla="*/ 1238250 h 1752600"/>
              <a:gd name="connsiteX80" fmla="*/ 2833687 w 3128973"/>
              <a:gd name="connsiteY80" fmla="*/ 1276350 h 1752600"/>
              <a:gd name="connsiteX81" fmla="*/ 2895600 w 3128973"/>
              <a:gd name="connsiteY81" fmla="*/ 1333500 h 1752600"/>
              <a:gd name="connsiteX82" fmla="*/ 2900362 w 3128973"/>
              <a:gd name="connsiteY82" fmla="*/ 1352550 h 1752600"/>
              <a:gd name="connsiteX83" fmla="*/ 2928937 w 3128973"/>
              <a:gd name="connsiteY83" fmla="*/ 1395412 h 1752600"/>
              <a:gd name="connsiteX84" fmla="*/ 2943225 w 3128973"/>
              <a:gd name="connsiteY84" fmla="*/ 1404937 h 1752600"/>
              <a:gd name="connsiteX85" fmla="*/ 2957512 w 3128973"/>
              <a:gd name="connsiteY85" fmla="*/ 1419225 h 1752600"/>
              <a:gd name="connsiteX86" fmla="*/ 2986087 w 3128973"/>
              <a:gd name="connsiteY86" fmla="*/ 1443037 h 1752600"/>
              <a:gd name="connsiteX87" fmla="*/ 3000375 w 3128973"/>
              <a:gd name="connsiteY87" fmla="*/ 1462087 h 1752600"/>
              <a:gd name="connsiteX88" fmla="*/ 3016395 w 3128973"/>
              <a:gd name="connsiteY88" fmla="*/ 1476222 h 1752600"/>
              <a:gd name="connsiteX89" fmla="*/ 3028950 w 3128973"/>
              <a:gd name="connsiteY89" fmla="*/ 1495425 h 1752600"/>
              <a:gd name="connsiteX90" fmla="*/ 3043237 w 3128973"/>
              <a:gd name="connsiteY90" fmla="*/ 1552575 h 1752600"/>
              <a:gd name="connsiteX91" fmla="*/ 3052762 w 3128973"/>
              <a:gd name="connsiteY91" fmla="*/ 1566862 h 1752600"/>
              <a:gd name="connsiteX92" fmla="*/ 3057525 w 3128973"/>
              <a:gd name="connsiteY92" fmla="*/ 1581150 h 1752600"/>
              <a:gd name="connsiteX93" fmla="*/ 3067050 w 3128973"/>
              <a:gd name="connsiteY93" fmla="*/ 1662112 h 1752600"/>
              <a:gd name="connsiteX94" fmla="*/ 3071812 w 3128973"/>
              <a:gd name="connsiteY94" fmla="*/ 1676400 h 1752600"/>
              <a:gd name="connsiteX95" fmla="*/ 3100387 w 3128973"/>
              <a:gd name="connsiteY95" fmla="*/ 1690687 h 1752600"/>
              <a:gd name="connsiteX96" fmla="*/ 3114675 w 3128973"/>
              <a:gd name="connsiteY96" fmla="*/ 1685925 h 1752600"/>
              <a:gd name="connsiteX97" fmla="*/ 3124200 w 3128973"/>
              <a:gd name="connsiteY97" fmla="*/ 1671637 h 1752600"/>
              <a:gd name="connsiteX98" fmla="*/ 3128973 w 3128973"/>
              <a:gd name="connsiteY98" fmla="*/ 1651467 h 1752600"/>
              <a:gd name="connsiteX99" fmla="*/ 3128021 w 3128973"/>
              <a:gd name="connsiteY99" fmla="*/ 1710279 h 1752600"/>
              <a:gd name="connsiteX100" fmla="*/ 3043237 w 3128973"/>
              <a:gd name="connsiteY100" fmla="*/ 1714500 h 1752600"/>
              <a:gd name="connsiteX101" fmla="*/ 3028950 w 3128973"/>
              <a:gd name="connsiteY101" fmla="*/ 1728787 h 1752600"/>
              <a:gd name="connsiteX102" fmla="*/ 2986087 w 3128973"/>
              <a:gd name="connsiteY102" fmla="*/ 1738312 h 1752600"/>
              <a:gd name="connsiteX103" fmla="*/ 2971800 w 3128973"/>
              <a:gd name="connsiteY103" fmla="*/ 1743075 h 1752600"/>
              <a:gd name="connsiteX104" fmla="*/ 2943225 w 3128973"/>
              <a:gd name="connsiteY104" fmla="*/ 1738312 h 1752600"/>
              <a:gd name="connsiteX105" fmla="*/ 2928937 w 3128973"/>
              <a:gd name="connsiteY105" fmla="*/ 1747837 h 1752600"/>
              <a:gd name="connsiteX106" fmla="*/ 2914650 w 3128973"/>
              <a:gd name="connsiteY106" fmla="*/ 1752600 h 1752600"/>
              <a:gd name="connsiteX107" fmla="*/ 2895600 w 3128973"/>
              <a:gd name="connsiteY107" fmla="*/ 1724025 h 1752600"/>
              <a:gd name="connsiteX108" fmla="*/ 2883310 w 3128973"/>
              <a:gd name="connsiteY108" fmla="*/ 1701201 h 1752600"/>
              <a:gd name="connsiteX109" fmla="*/ 2883805 w 3128973"/>
              <a:gd name="connsiteY109" fmla="*/ 1696138 h 1752600"/>
              <a:gd name="connsiteX110" fmla="*/ 2871787 w 3128973"/>
              <a:gd name="connsiteY110" fmla="*/ 1685925 h 1752600"/>
              <a:gd name="connsiteX111" fmla="*/ 2847975 w 3128973"/>
              <a:gd name="connsiteY111" fmla="*/ 1657350 h 1752600"/>
              <a:gd name="connsiteX112" fmla="*/ 2834034 w 3128973"/>
              <a:gd name="connsiteY112" fmla="*/ 1637762 h 1752600"/>
              <a:gd name="connsiteX113" fmla="*/ 2814637 w 3128973"/>
              <a:gd name="connsiteY113" fmla="*/ 1619250 h 1752600"/>
              <a:gd name="connsiteX114" fmla="*/ 2809875 w 3128973"/>
              <a:gd name="connsiteY114" fmla="*/ 1604962 h 1752600"/>
              <a:gd name="connsiteX115" fmla="*/ 2795587 w 3128973"/>
              <a:gd name="connsiteY115" fmla="*/ 1600200 h 1752600"/>
              <a:gd name="connsiteX116" fmla="*/ 2781300 w 3128973"/>
              <a:gd name="connsiteY116" fmla="*/ 1590675 h 1752600"/>
              <a:gd name="connsiteX117" fmla="*/ 2752725 w 3128973"/>
              <a:gd name="connsiteY117" fmla="*/ 1581150 h 1752600"/>
              <a:gd name="connsiteX118" fmla="*/ 2733675 w 3128973"/>
              <a:gd name="connsiteY118" fmla="*/ 1625600 h 1752600"/>
              <a:gd name="connsiteX119" fmla="*/ 2709862 w 3128973"/>
              <a:gd name="connsiteY119" fmla="*/ 1619250 h 1752600"/>
              <a:gd name="connsiteX120" fmla="*/ 2723566 w 3128973"/>
              <a:gd name="connsiteY120" fmla="*/ 1590361 h 1752600"/>
              <a:gd name="connsiteX121" fmla="*/ 2674937 w 3128973"/>
              <a:gd name="connsiteY121" fmla="*/ 1560512 h 1752600"/>
              <a:gd name="connsiteX122" fmla="*/ 2643187 w 3128973"/>
              <a:gd name="connsiteY122" fmla="*/ 1495425 h 1752600"/>
              <a:gd name="connsiteX123" fmla="*/ 2628900 w 3128973"/>
              <a:gd name="connsiteY123" fmla="*/ 1490662 h 1752600"/>
              <a:gd name="connsiteX124" fmla="*/ 2595562 w 3128973"/>
              <a:gd name="connsiteY124" fmla="*/ 1481137 h 1752600"/>
              <a:gd name="connsiteX125" fmla="*/ 2581275 w 3128973"/>
              <a:gd name="connsiteY125" fmla="*/ 1466850 h 1752600"/>
              <a:gd name="connsiteX126" fmla="*/ 2552700 w 3128973"/>
              <a:gd name="connsiteY126" fmla="*/ 1457325 h 1752600"/>
              <a:gd name="connsiteX127" fmla="*/ 2538412 w 3128973"/>
              <a:gd name="connsiteY127" fmla="*/ 1447800 h 1752600"/>
              <a:gd name="connsiteX128" fmla="*/ 2519362 w 3128973"/>
              <a:gd name="connsiteY128" fmla="*/ 1443037 h 1752600"/>
              <a:gd name="connsiteX129" fmla="*/ 2490787 w 3128973"/>
              <a:gd name="connsiteY129" fmla="*/ 1433512 h 1752600"/>
              <a:gd name="connsiteX130" fmla="*/ 2476500 w 3128973"/>
              <a:gd name="connsiteY130" fmla="*/ 1428750 h 1752600"/>
              <a:gd name="connsiteX131" fmla="*/ 2466975 w 3128973"/>
              <a:gd name="connsiteY131" fmla="*/ 1414462 h 1752600"/>
              <a:gd name="connsiteX132" fmla="*/ 2447925 w 3128973"/>
              <a:gd name="connsiteY132" fmla="*/ 1409700 h 1752600"/>
              <a:gd name="connsiteX133" fmla="*/ 2309812 w 3128973"/>
              <a:gd name="connsiteY133" fmla="*/ 1395412 h 1752600"/>
              <a:gd name="connsiteX134" fmla="*/ 2295525 w 3128973"/>
              <a:gd name="connsiteY134" fmla="*/ 1390650 h 1752600"/>
              <a:gd name="connsiteX135" fmla="*/ 2257425 w 3128973"/>
              <a:gd name="connsiteY135" fmla="*/ 1381125 h 1752600"/>
              <a:gd name="connsiteX136" fmla="*/ 2238375 w 3128973"/>
              <a:gd name="connsiteY136" fmla="*/ 1366837 h 1752600"/>
              <a:gd name="connsiteX137" fmla="*/ 2224087 w 3128973"/>
              <a:gd name="connsiteY137" fmla="*/ 1362075 h 1752600"/>
              <a:gd name="connsiteX138" fmla="*/ 2176462 w 3128973"/>
              <a:gd name="connsiteY138" fmla="*/ 1338262 h 1752600"/>
              <a:gd name="connsiteX139" fmla="*/ 2162175 w 3128973"/>
              <a:gd name="connsiteY139" fmla="*/ 1328737 h 1752600"/>
              <a:gd name="connsiteX140" fmla="*/ 2114550 w 3128973"/>
              <a:gd name="connsiteY140" fmla="*/ 1314450 h 1752600"/>
              <a:gd name="connsiteX141" fmla="*/ 2100262 w 3128973"/>
              <a:gd name="connsiteY141" fmla="*/ 1300162 h 1752600"/>
              <a:gd name="connsiteX142" fmla="*/ 2085975 w 3128973"/>
              <a:gd name="connsiteY142" fmla="*/ 1295400 h 1752600"/>
              <a:gd name="connsiteX143" fmla="*/ 2055019 w 3128973"/>
              <a:gd name="connsiteY143" fmla="*/ 1290637 h 1752600"/>
              <a:gd name="connsiteX144" fmla="*/ 2028824 w 3128973"/>
              <a:gd name="connsiteY144" fmla="*/ 1283494 h 1752600"/>
              <a:gd name="connsiteX145" fmla="*/ 2005012 w 3128973"/>
              <a:gd name="connsiteY145" fmla="*/ 1271587 h 1752600"/>
              <a:gd name="connsiteX146" fmla="*/ 1985962 w 3128973"/>
              <a:gd name="connsiteY146" fmla="*/ 1262062 h 1752600"/>
              <a:gd name="connsiteX147" fmla="*/ 1971675 w 3128973"/>
              <a:gd name="connsiteY147" fmla="*/ 1257300 h 1752600"/>
              <a:gd name="connsiteX148" fmla="*/ 1943100 w 3128973"/>
              <a:gd name="connsiteY148" fmla="*/ 1238250 h 1752600"/>
              <a:gd name="connsiteX149" fmla="*/ 1914525 w 3128973"/>
              <a:gd name="connsiteY149" fmla="*/ 1219200 h 1752600"/>
              <a:gd name="connsiteX150" fmla="*/ 1885950 w 3128973"/>
              <a:gd name="connsiteY150" fmla="*/ 1209675 h 1752600"/>
              <a:gd name="connsiteX151" fmla="*/ 1843087 w 3128973"/>
              <a:gd name="connsiteY151" fmla="*/ 1195387 h 1752600"/>
              <a:gd name="connsiteX152" fmla="*/ 1757362 w 3128973"/>
              <a:gd name="connsiteY152" fmla="*/ 1185862 h 1752600"/>
              <a:gd name="connsiteX153" fmla="*/ 1700212 w 3128973"/>
              <a:gd name="connsiteY153" fmla="*/ 1166812 h 1752600"/>
              <a:gd name="connsiteX154" fmla="*/ 1671637 w 3128973"/>
              <a:gd name="connsiteY154" fmla="*/ 1147762 h 1752600"/>
              <a:gd name="connsiteX155" fmla="*/ 1652587 w 3128973"/>
              <a:gd name="connsiteY155" fmla="*/ 1138237 h 1752600"/>
              <a:gd name="connsiteX156" fmla="*/ 1638300 w 3128973"/>
              <a:gd name="connsiteY156" fmla="*/ 1128712 h 1752600"/>
              <a:gd name="connsiteX157" fmla="*/ 1590675 w 3128973"/>
              <a:gd name="connsiteY157" fmla="*/ 1138238 h 1752600"/>
              <a:gd name="connsiteX158" fmla="*/ 1559719 w 3128973"/>
              <a:gd name="connsiteY158" fmla="*/ 1109662 h 1752600"/>
              <a:gd name="connsiteX159" fmla="*/ 1528762 w 3128973"/>
              <a:gd name="connsiteY159" fmla="*/ 1085850 h 1752600"/>
              <a:gd name="connsiteX160" fmla="*/ 1514475 w 3128973"/>
              <a:gd name="connsiteY160" fmla="*/ 1081087 h 1752600"/>
              <a:gd name="connsiteX161" fmla="*/ 1470025 w 3128973"/>
              <a:gd name="connsiteY161" fmla="*/ 1130300 h 1752600"/>
              <a:gd name="connsiteX162" fmla="*/ 1433512 w 3128973"/>
              <a:gd name="connsiteY162" fmla="*/ 1108075 h 1752600"/>
              <a:gd name="connsiteX163" fmla="*/ 1423987 w 3128973"/>
              <a:gd name="connsiteY163" fmla="*/ 1087437 h 1752600"/>
              <a:gd name="connsiteX164" fmla="*/ 1381125 w 3128973"/>
              <a:gd name="connsiteY164" fmla="*/ 1095375 h 1752600"/>
              <a:gd name="connsiteX165" fmla="*/ 1383506 w 3128973"/>
              <a:gd name="connsiteY165" fmla="*/ 1028700 h 1752600"/>
              <a:gd name="connsiteX166" fmla="*/ 1366838 w 3128973"/>
              <a:gd name="connsiteY166" fmla="*/ 1019175 h 1752600"/>
              <a:gd name="connsiteX167" fmla="*/ 1335881 w 3128973"/>
              <a:gd name="connsiteY167" fmla="*/ 1007268 h 1752600"/>
              <a:gd name="connsiteX168" fmla="*/ 1319213 w 3128973"/>
              <a:gd name="connsiteY168" fmla="*/ 1007268 h 1752600"/>
              <a:gd name="connsiteX169" fmla="*/ 1295400 w 3128973"/>
              <a:gd name="connsiteY169" fmla="*/ 976312 h 1752600"/>
              <a:gd name="connsiteX170" fmla="*/ 1281112 w 3128973"/>
              <a:gd name="connsiteY170" fmla="*/ 966787 h 1752600"/>
              <a:gd name="connsiteX171" fmla="*/ 1238250 w 3128973"/>
              <a:gd name="connsiteY171" fmla="*/ 947737 h 1752600"/>
              <a:gd name="connsiteX172" fmla="*/ 1212850 w 3128973"/>
              <a:gd name="connsiteY172" fmla="*/ 995362 h 1752600"/>
              <a:gd name="connsiteX173" fmla="*/ 1201737 w 3128973"/>
              <a:gd name="connsiteY173" fmla="*/ 987425 h 1752600"/>
              <a:gd name="connsiteX174" fmla="*/ 1163637 w 3128973"/>
              <a:gd name="connsiteY174" fmla="*/ 952277 h 1752600"/>
              <a:gd name="connsiteX175" fmla="*/ 1133475 w 3128973"/>
              <a:gd name="connsiteY175" fmla="*/ 925512 h 1752600"/>
              <a:gd name="connsiteX176" fmla="*/ 1085850 w 3128973"/>
              <a:gd name="connsiteY176" fmla="*/ 859631 h 1752600"/>
              <a:gd name="connsiteX177" fmla="*/ 1071562 w 3128973"/>
              <a:gd name="connsiteY177" fmla="*/ 842962 h 1752600"/>
              <a:gd name="connsiteX178" fmla="*/ 1047750 w 3128973"/>
              <a:gd name="connsiteY178" fmla="*/ 819150 h 1752600"/>
              <a:gd name="connsiteX179" fmla="*/ 1028700 w 3128973"/>
              <a:gd name="connsiteY179" fmla="*/ 804862 h 1752600"/>
              <a:gd name="connsiteX180" fmla="*/ 1018076 w 3128973"/>
              <a:gd name="connsiteY180" fmla="*/ 794816 h 1752600"/>
              <a:gd name="connsiteX181" fmla="*/ 1000125 w 3128973"/>
              <a:gd name="connsiteY181" fmla="*/ 785812 h 1752600"/>
              <a:gd name="connsiteX182" fmla="*/ 984342 w 3128973"/>
              <a:gd name="connsiteY182" fmla="*/ 773578 h 1752600"/>
              <a:gd name="connsiteX183" fmla="*/ 957262 w 3128973"/>
              <a:gd name="connsiteY183" fmla="*/ 766762 h 1752600"/>
              <a:gd name="connsiteX184" fmla="*/ 938212 w 3128973"/>
              <a:gd name="connsiteY184" fmla="*/ 757237 h 1752600"/>
              <a:gd name="connsiteX185" fmla="*/ 904875 w 3128973"/>
              <a:gd name="connsiteY185" fmla="*/ 747712 h 1752600"/>
              <a:gd name="connsiteX186" fmla="*/ 862012 w 3128973"/>
              <a:gd name="connsiteY186" fmla="*/ 723900 h 1752600"/>
              <a:gd name="connsiteX187" fmla="*/ 795337 w 3128973"/>
              <a:gd name="connsiteY187" fmla="*/ 685800 h 1752600"/>
              <a:gd name="connsiteX188" fmla="*/ 776287 w 3128973"/>
              <a:gd name="connsiteY188" fmla="*/ 666750 h 1752600"/>
              <a:gd name="connsiteX189" fmla="*/ 762000 w 3128973"/>
              <a:gd name="connsiteY189" fmla="*/ 661987 h 1752600"/>
              <a:gd name="connsiteX190" fmla="*/ 742950 w 3128973"/>
              <a:gd name="connsiteY190" fmla="*/ 647700 h 1752600"/>
              <a:gd name="connsiteX191" fmla="*/ 709612 w 3128973"/>
              <a:gd name="connsiteY191" fmla="*/ 638175 h 1752600"/>
              <a:gd name="connsiteX192" fmla="*/ 695325 w 3128973"/>
              <a:gd name="connsiteY192" fmla="*/ 628650 h 1752600"/>
              <a:gd name="connsiteX193" fmla="*/ 681037 w 3128973"/>
              <a:gd name="connsiteY193" fmla="*/ 623887 h 1752600"/>
              <a:gd name="connsiteX194" fmla="*/ 676275 w 3128973"/>
              <a:gd name="connsiteY194" fmla="*/ 604837 h 1752600"/>
              <a:gd name="connsiteX195" fmla="*/ 666750 w 3128973"/>
              <a:gd name="connsiteY195" fmla="*/ 576262 h 1752600"/>
              <a:gd name="connsiteX196" fmla="*/ 661987 w 3128973"/>
              <a:gd name="connsiteY196" fmla="*/ 561975 h 1752600"/>
              <a:gd name="connsiteX197" fmla="*/ 666750 w 3128973"/>
              <a:gd name="connsiteY197" fmla="*/ 538162 h 1752600"/>
              <a:gd name="connsiteX198" fmla="*/ 638175 w 3128973"/>
              <a:gd name="connsiteY198" fmla="*/ 514350 h 1752600"/>
              <a:gd name="connsiteX199" fmla="*/ 619125 w 3128973"/>
              <a:gd name="connsiteY199" fmla="*/ 500062 h 1752600"/>
              <a:gd name="connsiteX200" fmla="*/ 576262 w 3128973"/>
              <a:gd name="connsiteY200" fmla="*/ 490537 h 1752600"/>
              <a:gd name="connsiteX201" fmla="*/ 542925 w 3128973"/>
              <a:gd name="connsiteY201" fmla="*/ 452437 h 1752600"/>
              <a:gd name="connsiteX202" fmla="*/ 525462 w 3128973"/>
              <a:gd name="connsiteY202" fmla="*/ 485775 h 1752600"/>
              <a:gd name="connsiteX203" fmla="*/ 504825 w 3128973"/>
              <a:gd name="connsiteY203" fmla="*/ 466725 h 1752600"/>
              <a:gd name="connsiteX204" fmla="*/ 454025 w 3128973"/>
              <a:gd name="connsiteY204" fmla="*/ 466725 h 1752600"/>
              <a:gd name="connsiteX205" fmla="*/ 407987 w 3128973"/>
              <a:gd name="connsiteY205" fmla="*/ 473075 h 1752600"/>
              <a:gd name="connsiteX206" fmla="*/ 395287 w 3128973"/>
              <a:gd name="connsiteY206" fmla="*/ 409575 h 1752600"/>
              <a:gd name="connsiteX207" fmla="*/ 376237 w 3128973"/>
              <a:gd name="connsiteY207" fmla="*/ 404812 h 1752600"/>
              <a:gd name="connsiteX208" fmla="*/ 342900 w 3128973"/>
              <a:gd name="connsiteY208" fmla="*/ 400050 h 1752600"/>
              <a:gd name="connsiteX209" fmla="*/ 314325 w 3128973"/>
              <a:gd name="connsiteY209" fmla="*/ 390525 h 1752600"/>
              <a:gd name="connsiteX210" fmla="*/ 273844 w 3128973"/>
              <a:gd name="connsiteY210" fmla="*/ 383382 h 1752600"/>
              <a:gd name="connsiteX211" fmla="*/ 257175 w 3128973"/>
              <a:gd name="connsiteY211" fmla="*/ 371475 h 1752600"/>
              <a:gd name="connsiteX212" fmla="*/ 245269 w 3128973"/>
              <a:gd name="connsiteY212" fmla="*/ 364331 h 1752600"/>
              <a:gd name="connsiteX213" fmla="*/ 223837 w 3128973"/>
              <a:gd name="connsiteY213" fmla="*/ 347662 h 1752600"/>
              <a:gd name="connsiteX214" fmla="*/ 190500 w 3128973"/>
              <a:gd name="connsiteY214" fmla="*/ 338137 h 1752600"/>
              <a:gd name="connsiteX215" fmla="*/ 147637 w 3128973"/>
              <a:gd name="connsiteY215" fmla="*/ 333375 h 1752600"/>
              <a:gd name="connsiteX216" fmla="*/ 119062 w 3128973"/>
              <a:gd name="connsiteY216" fmla="*/ 323850 h 1752600"/>
              <a:gd name="connsiteX217" fmla="*/ 104775 w 3128973"/>
              <a:gd name="connsiteY217" fmla="*/ 319087 h 1752600"/>
              <a:gd name="connsiteX218" fmla="*/ 61912 w 3128973"/>
              <a:gd name="connsiteY218" fmla="*/ 300037 h 1752600"/>
              <a:gd name="connsiteX219" fmla="*/ 23812 w 3128973"/>
              <a:gd name="connsiteY219" fmla="*/ 290512 h 1752600"/>
              <a:gd name="connsiteX220" fmla="*/ 9525 w 3128973"/>
              <a:gd name="connsiteY220" fmla="*/ 261937 h 1752600"/>
              <a:gd name="connsiteX221" fmla="*/ 0 w 3128973"/>
              <a:gd name="connsiteY221" fmla="*/ 290512 h 1752600"/>
              <a:gd name="connsiteX222" fmla="*/ 4762 w 3128973"/>
              <a:gd name="connsiteY222" fmla="*/ 247650 h 1752600"/>
              <a:gd name="connsiteX223" fmla="*/ 19050 w 3128973"/>
              <a:gd name="connsiteY223" fmla="*/ 200025 h 1752600"/>
              <a:gd name="connsiteX224" fmla="*/ 23812 w 3128973"/>
              <a:gd name="connsiteY224" fmla="*/ 185737 h 1752600"/>
              <a:gd name="connsiteX225" fmla="*/ 71437 w 3128973"/>
              <a:gd name="connsiteY225" fmla="*/ 171450 h 1752600"/>
              <a:gd name="connsiteX226" fmla="*/ 85725 w 3128973"/>
              <a:gd name="connsiteY226" fmla="*/ 166687 h 1752600"/>
              <a:gd name="connsiteX227" fmla="*/ 100012 w 3128973"/>
              <a:gd name="connsiteY227" fmla="*/ 161925 h 1752600"/>
              <a:gd name="connsiteX228" fmla="*/ 114300 w 3128973"/>
              <a:gd name="connsiteY228" fmla="*/ 152400 h 1752600"/>
              <a:gd name="connsiteX229" fmla="*/ 133350 w 3128973"/>
              <a:gd name="connsiteY229" fmla="*/ 123825 h 1752600"/>
              <a:gd name="connsiteX230" fmla="*/ 138112 w 3128973"/>
              <a:gd name="connsiteY230" fmla="*/ 109537 h 1752600"/>
              <a:gd name="connsiteX231" fmla="*/ 135467 w 3128973"/>
              <a:gd name="connsiteY231" fmla="*/ 97059 h 1752600"/>
              <a:gd name="connsiteX232" fmla="*/ 142875 w 3128973"/>
              <a:gd name="connsiteY232" fmla="*/ 71437 h 1752600"/>
              <a:gd name="connsiteX233" fmla="*/ 157162 w 3128973"/>
              <a:gd name="connsiteY233" fmla="*/ 57150 h 1752600"/>
              <a:gd name="connsiteX234" fmla="*/ 200025 w 3128973"/>
              <a:gd name="connsiteY234" fmla="*/ 33337 h 1752600"/>
              <a:gd name="connsiteX235" fmla="*/ 309562 w 3128973"/>
              <a:gd name="connsiteY235" fmla="*/ 28575 h 1752600"/>
              <a:gd name="connsiteX236" fmla="*/ 400050 w 3128973"/>
              <a:gd name="connsiteY236" fmla="*/ 14287 h 1752600"/>
              <a:gd name="connsiteX237" fmla="*/ 414337 w 3128973"/>
              <a:gd name="connsiteY237" fmla="*/ 9525 h 1752600"/>
              <a:gd name="connsiteX238" fmla="*/ 481012 w 3128973"/>
              <a:gd name="connsiteY238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046801 w 3128973"/>
              <a:gd name="connsiteY27" fmla="*/ 262295 h 1752600"/>
              <a:gd name="connsiteX28" fmla="*/ 2033587 w 3128973"/>
              <a:gd name="connsiteY28" fmla="*/ 266700 h 1752600"/>
              <a:gd name="connsiteX29" fmla="*/ 2019300 w 3128973"/>
              <a:gd name="connsiteY29" fmla="*/ 280987 h 1752600"/>
              <a:gd name="connsiteX30" fmla="*/ 1990725 w 3128973"/>
              <a:gd name="connsiteY30" fmla="*/ 300037 h 1752600"/>
              <a:gd name="connsiteX31" fmla="*/ 1981200 w 3128973"/>
              <a:gd name="connsiteY31" fmla="*/ 314325 h 1752600"/>
              <a:gd name="connsiteX32" fmla="*/ 1981200 w 3128973"/>
              <a:gd name="connsiteY32" fmla="*/ 419100 h 1752600"/>
              <a:gd name="connsiteX33" fmla="*/ 1985962 w 3128973"/>
              <a:gd name="connsiteY33" fmla="*/ 433387 h 1752600"/>
              <a:gd name="connsiteX34" fmla="*/ 2000250 w 3128973"/>
              <a:gd name="connsiteY34" fmla="*/ 442912 h 1752600"/>
              <a:gd name="connsiteX35" fmla="*/ 2005012 w 3128973"/>
              <a:gd name="connsiteY35" fmla="*/ 457200 h 1752600"/>
              <a:gd name="connsiteX36" fmla="*/ 2005012 w 3128973"/>
              <a:gd name="connsiteY36" fmla="*/ 561975 h 1752600"/>
              <a:gd name="connsiteX37" fmla="*/ 2009775 w 3128973"/>
              <a:gd name="connsiteY37" fmla="*/ 576262 h 1752600"/>
              <a:gd name="connsiteX38" fmla="*/ 2024062 w 3128973"/>
              <a:gd name="connsiteY38" fmla="*/ 581025 h 1752600"/>
              <a:gd name="connsiteX39" fmla="*/ 2038350 w 3128973"/>
              <a:gd name="connsiteY39" fmla="*/ 595312 h 1752600"/>
              <a:gd name="connsiteX40" fmla="*/ 2052637 w 3128973"/>
              <a:gd name="connsiteY40" fmla="*/ 600075 h 1752600"/>
              <a:gd name="connsiteX41" fmla="*/ 2133600 w 3128973"/>
              <a:gd name="connsiteY41" fmla="*/ 590550 h 1752600"/>
              <a:gd name="connsiteX42" fmla="*/ 2147887 w 3128973"/>
              <a:gd name="connsiteY42" fmla="*/ 585787 h 1752600"/>
              <a:gd name="connsiteX43" fmla="*/ 2195512 w 3128973"/>
              <a:gd name="connsiteY43" fmla="*/ 600075 h 1752600"/>
              <a:gd name="connsiteX44" fmla="*/ 2205037 w 3128973"/>
              <a:gd name="connsiteY44" fmla="*/ 614362 h 1752600"/>
              <a:gd name="connsiteX45" fmla="*/ 2219325 w 3128973"/>
              <a:gd name="connsiteY45" fmla="*/ 628650 h 1752600"/>
              <a:gd name="connsiteX46" fmla="*/ 2224087 w 3128973"/>
              <a:gd name="connsiteY46" fmla="*/ 642937 h 1752600"/>
              <a:gd name="connsiteX47" fmla="*/ 2233612 w 3128973"/>
              <a:gd name="connsiteY47" fmla="*/ 657225 h 1752600"/>
              <a:gd name="connsiteX48" fmla="*/ 2247900 w 3128973"/>
              <a:gd name="connsiteY48" fmla="*/ 685800 h 1752600"/>
              <a:gd name="connsiteX49" fmla="*/ 2262187 w 3128973"/>
              <a:gd name="connsiteY49" fmla="*/ 733425 h 1752600"/>
              <a:gd name="connsiteX50" fmla="*/ 2305050 w 3128973"/>
              <a:gd name="connsiteY50" fmla="*/ 771525 h 1752600"/>
              <a:gd name="connsiteX51" fmla="*/ 2319337 w 3128973"/>
              <a:gd name="connsiteY51" fmla="*/ 804862 h 1752600"/>
              <a:gd name="connsiteX52" fmla="*/ 2333625 w 3128973"/>
              <a:gd name="connsiteY52" fmla="*/ 819150 h 1752600"/>
              <a:gd name="connsiteX53" fmla="*/ 2338387 w 3128973"/>
              <a:gd name="connsiteY53" fmla="*/ 833437 h 1752600"/>
              <a:gd name="connsiteX54" fmla="*/ 2352675 w 3128973"/>
              <a:gd name="connsiteY54" fmla="*/ 847725 h 1752600"/>
              <a:gd name="connsiteX55" fmla="*/ 2395537 w 3128973"/>
              <a:gd name="connsiteY55" fmla="*/ 871537 h 1752600"/>
              <a:gd name="connsiteX56" fmla="*/ 2409825 w 3128973"/>
              <a:gd name="connsiteY56" fmla="*/ 890587 h 1752600"/>
              <a:gd name="connsiteX57" fmla="*/ 2424112 w 3128973"/>
              <a:gd name="connsiteY57" fmla="*/ 895350 h 1752600"/>
              <a:gd name="connsiteX58" fmla="*/ 2433637 w 3128973"/>
              <a:gd name="connsiteY58" fmla="*/ 914400 h 1752600"/>
              <a:gd name="connsiteX59" fmla="*/ 2466975 w 3128973"/>
              <a:gd name="connsiteY59" fmla="*/ 942975 h 1752600"/>
              <a:gd name="connsiteX60" fmla="*/ 2474637 w 3128973"/>
              <a:gd name="connsiteY60" fmla="*/ 954728 h 1752600"/>
              <a:gd name="connsiteX61" fmla="*/ 2495550 w 3128973"/>
              <a:gd name="connsiteY61" fmla="*/ 971550 h 1752600"/>
              <a:gd name="connsiteX62" fmla="*/ 2508776 w 3128973"/>
              <a:gd name="connsiteY62" fmla="*/ 983894 h 1752600"/>
              <a:gd name="connsiteX63" fmla="*/ 2533650 w 3128973"/>
              <a:gd name="connsiteY63" fmla="*/ 1000125 h 1752600"/>
              <a:gd name="connsiteX64" fmla="*/ 2547937 w 3128973"/>
              <a:gd name="connsiteY64" fmla="*/ 1028700 h 1752600"/>
              <a:gd name="connsiteX65" fmla="*/ 2552700 w 3128973"/>
              <a:gd name="connsiteY65" fmla="*/ 1042987 h 1752600"/>
              <a:gd name="connsiteX66" fmla="*/ 2576512 w 3128973"/>
              <a:gd name="connsiteY66" fmla="*/ 1071562 h 1752600"/>
              <a:gd name="connsiteX67" fmla="*/ 2584921 w 3128973"/>
              <a:gd name="connsiteY67" fmla="*/ 1082873 h 1752600"/>
              <a:gd name="connsiteX68" fmla="*/ 2600325 w 3128973"/>
              <a:gd name="connsiteY68" fmla="*/ 1095375 h 1752600"/>
              <a:gd name="connsiteX69" fmla="*/ 2609850 w 3128973"/>
              <a:gd name="connsiteY69" fmla="*/ 1109662 h 1752600"/>
              <a:gd name="connsiteX70" fmla="*/ 2652712 w 3128973"/>
              <a:gd name="connsiteY70" fmla="*/ 1143000 h 1752600"/>
              <a:gd name="connsiteX71" fmla="*/ 2681287 w 3128973"/>
              <a:gd name="connsiteY71" fmla="*/ 1152525 h 1752600"/>
              <a:gd name="connsiteX72" fmla="*/ 2700337 w 3128973"/>
              <a:gd name="connsiteY72" fmla="*/ 1162050 h 1752600"/>
              <a:gd name="connsiteX73" fmla="*/ 2714625 w 3128973"/>
              <a:gd name="connsiteY73" fmla="*/ 1171575 h 1752600"/>
              <a:gd name="connsiteX74" fmla="*/ 2752725 w 3128973"/>
              <a:gd name="connsiteY74" fmla="*/ 1181100 h 1752600"/>
              <a:gd name="connsiteX75" fmla="*/ 2767012 w 3128973"/>
              <a:gd name="connsiteY75" fmla="*/ 1195387 h 1752600"/>
              <a:gd name="connsiteX76" fmla="*/ 2781300 w 3128973"/>
              <a:gd name="connsiteY76" fmla="*/ 1200150 h 1752600"/>
              <a:gd name="connsiteX77" fmla="*/ 2795587 w 3128973"/>
              <a:gd name="connsiteY77" fmla="*/ 1209675 h 1752600"/>
              <a:gd name="connsiteX78" fmla="*/ 2805112 w 3128973"/>
              <a:gd name="connsiteY78" fmla="*/ 1223962 h 1752600"/>
              <a:gd name="connsiteX79" fmla="*/ 2809875 w 3128973"/>
              <a:gd name="connsiteY79" fmla="*/ 1238250 h 1752600"/>
              <a:gd name="connsiteX80" fmla="*/ 2833687 w 3128973"/>
              <a:gd name="connsiteY80" fmla="*/ 1276350 h 1752600"/>
              <a:gd name="connsiteX81" fmla="*/ 2895600 w 3128973"/>
              <a:gd name="connsiteY81" fmla="*/ 1333500 h 1752600"/>
              <a:gd name="connsiteX82" fmla="*/ 2900362 w 3128973"/>
              <a:gd name="connsiteY82" fmla="*/ 1352550 h 1752600"/>
              <a:gd name="connsiteX83" fmla="*/ 2928937 w 3128973"/>
              <a:gd name="connsiteY83" fmla="*/ 1395412 h 1752600"/>
              <a:gd name="connsiteX84" fmla="*/ 2943225 w 3128973"/>
              <a:gd name="connsiteY84" fmla="*/ 1404937 h 1752600"/>
              <a:gd name="connsiteX85" fmla="*/ 2957512 w 3128973"/>
              <a:gd name="connsiteY85" fmla="*/ 1419225 h 1752600"/>
              <a:gd name="connsiteX86" fmla="*/ 2986087 w 3128973"/>
              <a:gd name="connsiteY86" fmla="*/ 1443037 h 1752600"/>
              <a:gd name="connsiteX87" fmla="*/ 3000375 w 3128973"/>
              <a:gd name="connsiteY87" fmla="*/ 1462087 h 1752600"/>
              <a:gd name="connsiteX88" fmla="*/ 3016395 w 3128973"/>
              <a:gd name="connsiteY88" fmla="*/ 1476222 h 1752600"/>
              <a:gd name="connsiteX89" fmla="*/ 3028950 w 3128973"/>
              <a:gd name="connsiteY89" fmla="*/ 1495425 h 1752600"/>
              <a:gd name="connsiteX90" fmla="*/ 3043237 w 3128973"/>
              <a:gd name="connsiteY90" fmla="*/ 1552575 h 1752600"/>
              <a:gd name="connsiteX91" fmla="*/ 3052762 w 3128973"/>
              <a:gd name="connsiteY91" fmla="*/ 1566862 h 1752600"/>
              <a:gd name="connsiteX92" fmla="*/ 3057525 w 3128973"/>
              <a:gd name="connsiteY92" fmla="*/ 1581150 h 1752600"/>
              <a:gd name="connsiteX93" fmla="*/ 3067050 w 3128973"/>
              <a:gd name="connsiteY93" fmla="*/ 1662112 h 1752600"/>
              <a:gd name="connsiteX94" fmla="*/ 3071812 w 3128973"/>
              <a:gd name="connsiteY94" fmla="*/ 1676400 h 1752600"/>
              <a:gd name="connsiteX95" fmla="*/ 3100387 w 3128973"/>
              <a:gd name="connsiteY95" fmla="*/ 1690687 h 1752600"/>
              <a:gd name="connsiteX96" fmla="*/ 3114675 w 3128973"/>
              <a:gd name="connsiteY96" fmla="*/ 1685925 h 1752600"/>
              <a:gd name="connsiteX97" fmla="*/ 3124200 w 3128973"/>
              <a:gd name="connsiteY97" fmla="*/ 1671637 h 1752600"/>
              <a:gd name="connsiteX98" fmla="*/ 3128973 w 3128973"/>
              <a:gd name="connsiteY98" fmla="*/ 1651467 h 1752600"/>
              <a:gd name="connsiteX99" fmla="*/ 3128021 w 3128973"/>
              <a:gd name="connsiteY99" fmla="*/ 1710279 h 1752600"/>
              <a:gd name="connsiteX100" fmla="*/ 3043237 w 3128973"/>
              <a:gd name="connsiteY100" fmla="*/ 1714500 h 1752600"/>
              <a:gd name="connsiteX101" fmla="*/ 3028950 w 3128973"/>
              <a:gd name="connsiteY101" fmla="*/ 1728787 h 1752600"/>
              <a:gd name="connsiteX102" fmla="*/ 2986087 w 3128973"/>
              <a:gd name="connsiteY102" fmla="*/ 1738312 h 1752600"/>
              <a:gd name="connsiteX103" fmla="*/ 2971800 w 3128973"/>
              <a:gd name="connsiteY103" fmla="*/ 1743075 h 1752600"/>
              <a:gd name="connsiteX104" fmla="*/ 2943225 w 3128973"/>
              <a:gd name="connsiteY104" fmla="*/ 1738312 h 1752600"/>
              <a:gd name="connsiteX105" fmla="*/ 2928937 w 3128973"/>
              <a:gd name="connsiteY105" fmla="*/ 1747837 h 1752600"/>
              <a:gd name="connsiteX106" fmla="*/ 2914650 w 3128973"/>
              <a:gd name="connsiteY106" fmla="*/ 1752600 h 1752600"/>
              <a:gd name="connsiteX107" fmla="*/ 2895600 w 3128973"/>
              <a:gd name="connsiteY107" fmla="*/ 1724025 h 1752600"/>
              <a:gd name="connsiteX108" fmla="*/ 2883310 w 3128973"/>
              <a:gd name="connsiteY108" fmla="*/ 1701201 h 1752600"/>
              <a:gd name="connsiteX109" fmla="*/ 2883805 w 3128973"/>
              <a:gd name="connsiteY109" fmla="*/ 1696138 h 1752600"/>
              <a:gd name="connsiteX110" fmla="*/ 2871787 w 3128973"/>
              <a:gd name="connsiteY110" fmla="*/ 1685925 h 1752600"/>
              <a:gd name="connsiteX111" fmla="*/ 2847975 w 3128973"/>
              <a:gd name="connsiteY111" fmla="*/ 1657350 h 1752600"/>
              <a:gd name="connsiteX112" fmla="*/ 2834034 w 3128973"/>
              <a:gd name="connsiteY112" fmla="*/ 1637762 h 1752600"/>
              <a:gd name="connsiteX113" fmla="*/ 2814637 w 3128973"/>
              <a:gd name="connsiteY113" fmla="*/ 1619250 h 1752600"/>
              <a:gd name="connsiteX114" fmla="*/ 2809875 w 3128973"/>
              <a:gd name="connsiteY114" fmla="*/ 1604962 h 1752600"/>
              <a:gd name="connsiteX115" fmla="*/ 2795587 w 3128973"/>
              <a:gd name="connsiteY115" fmla="*/ 1600200 h 1752600"/>
              <a:gd name="connsiteX116" fmla="*/ 2781300 w 3128973"/>
              <a:gd name="connsiteY116" fmla="*/ 1590675 h 1752600"/>
              <a:gd name="connsiteX117" fmla="*/ 2752725 w 3128973"/>
              <a:gd name="connsiteY117" fmla="*/ 1581150 h 1752600"/>
              <a:gd name="connsiteX118" fmla="*/ 2733675 w 3128973"/>
              <a:gd name="connsiteY118" fmla="*/ 1625600 h 1752600"/>
              <a:gd name="connsiteX119" fmla="*/ 2709862 w 3128973"/>
              <a:gd name="connsiteY119" fmla="*/ 1619250 h 1752600"/>
              <a:gd name="connsiteX120" fmla="*/ 2723566 w 3128973"/>
              <a:gd name="connsiteY120" fmla="*/ 1590361 h 1752600"/>
              <a:gd name="connsiteX121" fmla="*/ 2674937 w 3128973"/>
              <a:gd name="connsiteY121" fmla="*/ 1560512 h 1752600"/>
              <a:gd name="connsiteX122" fmla="*/ 2643187 w 3128973"/>
              <a:gd name="connsiteY122" fmla="*/ 1495425 h 1752600"/>
              <a:gd name="connsiteX123" fmla="*/ 2628900 w 3128973"/>
              <a:gd name="connsiteY123" fmla="*/ 1490662 h 1752600"/>
              <a:gd name="connsiteX124" fmla="*/ 2595562 w 3128973"/>
              <a:gd name="connsiteY124" fmla="*/ 1481137 h 1752600"/>
              <a:gd name="connsiteX125" fmla="*/ 2581275 w 3128973"/>
              <a:gd name="connsiteY125" fmla="*/ 1466850 h 1752600"/>
              <a:gd name="connsiteX126" fmla="*/ 2552700 w 3128973"/>
              <a:gd name="connsiteY126" fmla="*/ 1457325 h 1752600"/>
              <a:gd name="connsiteX127" fmla="*/ 2538412 w 3128973"/>
              <a:gd name="connsiteY127" fmla="*/ 1447800 h 1752600"/>
              <a:gd name="connsiteX128" fmla="*/ 2519362 w 3128973"/>
              <a:gd name="connsiteY128" fmla="*/ 1443037 h 1752600"/>
              <a:gd name="connsiteX129" fmla="*/ 2490787 w 3128973"/>
              <a:gd name="connsiteY129" fmla="*/ 1433512 h 1752600"/>
              <a:gd name="connsiteX130" fmla="*/ 2476500 w 3128973"/>
              <a:gd name="connsiteY130" fmla="*/ 1428750 h 1752600"/>
              <a:gd name="connsiteX131" fmla="*/ 2466975 w 3128973"/>
              <a:gd name="connsiteY131" fmla="*/ 1414462 h 1752600"/>
              <a:gd name="connsiteX132" fmla="*/ 2447925 w 3128973"/>
              <a:gd name="connsiteY132" fmla="*/ 1409700 h 1752600"/>
              <a:gd name="connsiteX133" fmla="*/ 2309812 w 3128973"/>
              <a:gd name="connsiteY133" fmla="*/ 1395412 h 1752600"/>
              <a:gd name="connsiteX134" fmla="*/ 2295525 w 3128973"/>
              <a:gd name="connsiteY134" fmla="*/ 1390650 h 1752600"/>
              <a:gd name="connsiteX135" fmla="*/ 2257425 w 3128973"/>
              <a:gd name="connsiteY135" fmla="*/ 1381125 h 1752600"/>
              <a:gd name="connsiteX136" fmla="*/ 2238375 w 3128973"/>
              <a:gd name="connsiteY136" fmla="*/ 1366837 h 1752600"/>
              <a:gd name="connsiteX137" fmla="*/ 2224087 w 3128973"/>
              <a:gd name="connsiteY137" fmla="*/ 1362075 h 1752600"/>
              <a:gd name="connsiteX138" fmla="*/ 2176462 w 3128973"/>
              <a:gd name="connsiteY138" fmla="*/ 1338262 h 1752600"/>
              <a:gd name="connsiteX139" fmla="*/ 2162175 w 3128973"/>
              <a:gd name="connsiteY139" fmla="*/ 1328737 h 1752600"/>
              <a:gd name="connsiteX140" fmla="*/ 2114550 w 3128973"/>
              <a:gd name="connsiteY140" fmla="*/ 1314450 h 1752600"/>
              <a:gd name="connsiteX141" fmla="*/ 2100262 w 3128973"/>
              <a:gd name="connsiteY141" fmla="*/ 1300162 h 1752600"/>
              <a:gd name="connsiteX142" fmla="*/ 2085975 w 3128973"/>
              <a:gd name="connsiteY142" fmla="*/ 1295400 h 1752600"/>
              <a:gd name="connsiteX143" fmla="*/ 2055019 w 3128973"/>
              <a:gd name="connsiteY143" fmla="*/ 1290637 h 1752600"/>
              <a:gd name="connsiteX144" fmla="*/ 2028824 w 3128973"/>
              <a:gd name="connsiteY144" fmla="*/ 1283494 h 1752600"/>
              <a:gd name="connsiteX145" fmla="*/ 2005012 w 3128973"/>
              <a:gd name="connsiteY145" fmla="*/ 1271587 h 1752600"/>
              <a:gd name="connsiteX146" fmla="*/ 1985962 w 3128973"/>
              <a:gd name="connsiteY146" fmla="*/ 1262062 h 1752600"/>
              <a:gd name="connsiteX147" fmla="*/ 1971675 w 3128973"/>
              <a:gd name="connsiteY147" fmla="*/ 1257300 h 1752600"/>
              <a:gd name="connsiteX148" fmla="*/ 1943100 w 3128973"/>
              <a:gd name="connsiteY148" fmla="*/ 1238250 h 1752600"/>
              <a:gd name="connsiteX149" fmla="*/ 1914525 w 3128973"/>
              <a:gd name="connsiteY149" fmla="*/ 1219200 h 1752600"/>
              <a:gd name="connsiteX150" fmla="*/ 1885950 w 3128973"/>
              <a:gd name="connsiteY150" fmla="*/ 1209675 h 1752600"/>
              <a:gd name="connsiteX151" fmla="*/ 1843087 w 3128973"/>
              <a:gd name="connsiteY151" fmla="*/ 1195387 h 1752600"/>
              <a:gd name="connsiteX152" fmla="*/ 1757362 w 3128973"/>
              <a:gd name="connsiteY152" fmla="*/ 1185862 h 1752600"/>
              <a:gd name="connsiteX153" fmla="*/ 1700212 w 3128973"/>
              <a:gd name="connsiteY153" fmla="*/ 1166812 h 1752600"/>
              <a:gd name="connsiteX154" fmla="*/ 1671637 w 3128973"/>
              <a:gd name="connsiteY154" fmla="*/ 1147762 h 1752600"/>
              <a:gd name="connsiteX155" fmla="*/ 1652587 w 3128973"/>
              <a:gd name="connsiteY155" fmla="*/ 1138237 h 1752600"/>
              <a:gd name="connsiteX156" fmla="*/ 1638300 w 3128973"/>
              <a:gd name="connsiteY156" fmla="*/ 1128712 h 1752600"/>
              <a:gd name="connsiteX157" fmla="*/ 1590675 w 3128973"/>
              <a:gd name="connsiteY157" fmla="*/ 1138238 h 1752600"/>
              <a:gd name="connsiteX158" fmla="*/ 1559719 w 3128973"/>
              <a:gd name="connsiteY158" fmla="*/ 1109662 h 1752600"/>
              <a:gd name="connsiteX159" fmla="*/ 1528762 w 3128973"/>
              <a:gd name="connsiteY159" fmla="*/ 1085850 h 1752600"/>
              <a:gd name="connsiteX160" fmla="*/ 1514475 w 3128973"/>
              <a:gd name="connsiteY160" fmla="*/ 1081087 h 1752600"/>
              <a:gd name="connsiteX161" fmla="*/ 1470025 w 3128973"/>
              <a:gd name="connsiteY161" fmla="*/ 1130300 h 1752600"/>
              <a:gd name="connsiteX162" fmla="*/ 1433512 w 3128973"/>
              <a:gd name="connsiteY162" fmla="*/ 1108075 h 1752600"/>
              <a:gd name="connsiteX163" fmla="*/ 1423987 w 3128973"/>
              <a:gd name="connsiteY163" fmla="*/ 1087437 h 1752600"/>
              <a:gd name="connsiteX164" fmla="*/ 1381125 w 3128973"/>
              <a:gd name="connsiteY164" fmla="*/ 1095375 h 1752600"/>
              <a:gd name="connsiteX165" fmla="*/ 1383506 w 3128973"/>
              <a:gd name="connsiteY165" fmla="*/ 1028700 h 1752600"/>
              <a:gd name="connsiteX166" fmla="*/ 1366838 w 3128973"/>
              <a:gd name="connsiteY166" fmla="*/ 1019175 h 1752600"/>
              <a:gd name="connsiteX167" fmla="*/ 1335881 w 3128973"/>
              <a:gd name="connsiteY167" fmla="*/ 1007268 h 1752600"/>
              <a:gd name="connsiteX168" fmla="*/ 1319213 w 3128973"/>
              <a:gd name="connsiteY168" fmla="*/ 1007268 h 1752600"/>
              <a:gd name="connsiteX169" fmla="*/ 1295400 w 3128973"/>
              <a:gd name="connsiteY169" fmla="*/ 976312 h 1752600"/>
              <a:gd name="connsiteX170" fmla="*/ 1281112 w 3128973"/>
              <a:gd name="connsiteY170" fmla="*/ 966787 h 1752600"/>
              <a:gd name="connsiteX171" fmla="*/ 1238250 w 3128973"/>
              <a:gd name="connsiteY171" fmla="*/ 947737 h 1752600"/>
              <a:gd name="connsiteX172" fmla="*/ 1212850 w 3128973"/>
              <a:gd name="connsiteY172" fmla="*/ 995362 h 1752600"/>
              <a:gd name="connsiteX173" fmla="*/ 1201737 w 3128973"/>
              <a:gd name="connsiteY173" fmla="*/ 987425 h 1752600"/>
              <a:gd name="connsiteX174" fmla="*/ 1163637 w 3128973"/>
              <a:gd name="connsiteY174" fmla="*/ 952277 h 1752600"/>
              <a:gd name="connsiteX175" fmla="*/ 1133475 w 3128973"/>
              <a:gd name="connsiteY175" fmla="*/ 925512 h 1752600"/>
              <a:gd name="connsiteX176" fmla="*/ 1085850 w 3128973"/>
              <a:gd name="connsiteY176" fmla="*/ 859631 h 1752600"/>
              <a:gd name="connsiteX177" fmla="*/ 1071562 w 3128973"/>
              <a:gd name="connsiteY177" fmla="*/ 842962 h 1752600"/>
              <a:gd name="connsiteX178" fmla="*/ 1047750 w 3128973"/>
              <a:gd name="connsiteY178" fmla="*/ 819150 h 1752600"/>
              <a:gd name="connsiteX179" fmla="*/ 1028700 w 3128973"/>
              <a:gd name="connsiteY179" fmla="*/ 804862 h 1752600"/>
              <a:gd name="connsiteX180" fmla="*/ 1018076 w 3128973"/>
              <a:gd name="connsiteY180" fmla="*/ 794816 h 1752600"/>
              <a:gd name="connsiteX181" fmla="*/ 1000125 w 3128973"/>
              <a:gd name="connsiteY181" fmla="*/ 785812 h 1752600"/>
              <a:gd name="connsiteX182" fmla="*/ 984342 w 3128973"/>
              <a:gd name="connsiteY182" fmla="*/ 773578 h 1752600"/>
              <a:gd name="connsiteX183" fmla="*/ 957262 w 3128973"/>
              <a:gd name="connsiteY183" fmla="*/ 766762 h 1752600"/>
              <a:gd name="connsiteX184" fmla="*/ 938212 w 3128973"/>
              <a:gd name="connsiteY184" fmla="*/ 757237 h 1752600"/>
              <a:gd name="connsiteX185" fmla="*/ 904875 w 3128973"/>
              <a:gd name="connsiteY185" fmla="*/ 747712 h 1752600"/>
              <a:gd name="connsiteX186" fmla="*/ 862012 w 3128973"/>
              <a:gd name="connsiteY186" fmla="*/ 723900 h 1752600"/>
              <a:gd name="connsiteX187" fmla="*/ 795337 w 3128973"/>
              <a:gd name="connsiteY187" fmla="*/ 685800 h 1752600"/>
              <a:gd name="connsiteX188" fmla="*/ 776287 w 3128973"/>
              <a:gd name="connsiteY188" fmla="*/ 666750 h 1752600"/>
              <a:gd name="connsiteX189" fmla="*/ 762000 w 3128973"/>
              <a:gd name="connsiteY189" fmla="*/ 661987 h 1752600"/>
              <a:gd name="connsiteX190" fmla="*/ 742950 w 3128973"/>
              <a:gd name="connsiteY190" fmla="*/ 647700 h 1752600"/>
              <a:gd name="connsiteX191" fmla="*/ 709612 w 3128973"/>
              <a:gd name="connsiteY191" fmla="*/ 638175 h 1752600"/>
              <a:gd name="connsiteX192" fmla="*/ 695325 w 3128973"/>
              <a:gd name="connsiteY192" fmla="*/ 628650 h 1752600"/>
              <a:gd name="connsiteX193" fmla="*/ 681037 w 3128973"/>
              <a:gd name="connsiteY193" fmla="*/ 623887 h 1752600"/>
              <a:gd name="connsiteX194" fmla="*/ 676275 w 3128973"/>
              <a:gd name="connsiteY194" fmla="*/ 604837 h 1752600"/>
              <a:gd name="connsiteX195" fmla="*/ 666750 w 3128973"/>
              <a:gd name="connsiteY195" fmla="*/ 576262 h 1752600"/>
              <a:gd name="connsiteX196" fmla="*/ 661987 w 3128973"/>
              <a:gd name="connsiteY196" fmla="*/ 561975 h 1752600"/>
              <a:gd name="connsiteX197" fmla="*/ 666750 w 3128973"/>
              <a:gd name="connsiteY197" fmla="*/ 538162 h 1752600"/>
              <a:gd name="connsiteX198" fmla="*/ 638175 w 3128973"/>
              <a:gd name="connsiteY198" fmla="*/ 514350 h 1752600"/>
              <a:gd name="connsiteX199" fmla="*/ 619125 w 3128973"/>
              <a:gd name="connsiteY199" fmla="*/ 500062 h 1752600"/>
              <a:gd name="connsiteX200" fmla="*/ 576262 w 3128973"/>
              <a:gd name="connsiteY200" fmla="*/ 490537 h 1752600"/>
              <a:gd name="connsiteX201" fmla="*/ 542925 w 3128973"/>
              <a:gd name="connsiteY201" fmla="*/ 452437 h 1752600"/>
              <a:gd name="connsiteX202" fmla="*/ 525462 w 3128973"/>
              <a:gd name="connsiteY202" fmla="*/ 485775 h 1752600"/>
              <a:gd name="connsiteX203" fmla="*/ 504825 w 3128973"/>
              <a:gd name="connsiteY203" fmla="*/ 466725 h 1752600"/>
              <a:gd name="connsiteX204" fmla="*/ 454025 w 3128973"/>
              <a:gd name="connsiteY204" fmla="*/ 466725 h 1752600"/>
              <a:gd name="connsiteX205" fmla="*/ 407987 w 3128973"/>
              <a:gd name="connsiteY205" fmla="*/ 473075 h 1752600"/>
              <a:gd name="connsiteX206" fmla="*/ 395287 w 3128973"/>
              <a:gd name="connsiteY206" fmla="*/ 409575 h 1752600"/>
              <a:gd name="connsiteX207" fmla="*/ 376237 w 3128973"/>
              <a:gd name="connsiteY207" fmla="*/ 404812 h 1752600"/>
              <a:gd name="connsiteX208" fmla="*/ 342900 w 3128973"/>
              <a:gd name="connsiteY208" fmla="*/ 400050 h 1752600"/>
              <a:gd name="connsiteX209" fmla="*/ 314325 w 3128973"/>
              <a:gd name="connsiteY209" fmla="*/ 390525 h 1752600"/>
              <a:gd name="connsiteX210" fmla="*/ 273844 w 3128973"/>
              <a:gd name="connsiteY210" fmla="*/ 383382 h 1752600"/>
              <a:gd name="connsiteX211" fmla="*/ 257175 w 3128973"/>
              <a:gd name="connsiteY211" fmla="*/ 371475 h 1752600"/>
              <a:gd name="connsiteX212" fmla="*/ 245269 w 3128973"/>
              <a:gd name="connsiteY212" fmla="*/ 364331 h 1752600"/>
              <a:gd name="connsiteX213" fmla="*/ 223837 w 3128973"/>
              <a:gd name="connsiteY213" fmla="*/ 347662 h 1752600"/>
              <a:gd name="connsiteX214" fmla="*/ 190500 w 3128973"/>
              <a:gd name="connsiteY214" fmla="*/ 338137 h 1752600"/>
              <a:gd name="connsiteX215" fmla="*/ 147637 w 3128973"/>
              <a:gd name="connsiteY215" fmla="*/ 333375 h 1752600"/>
              <a:gd name="connsiteX216" fmla="*/ 119062 w 3128973"/>
              <a:gd name="connsiteY216" fmla="*/ 323850 h 1752600"/>
              <a:gd name="connsiteX217" fmla="*/ 104775 w 3128973"/>
              <a:gd name="connsiteY217" fmla="*/ 319087 h 1752600"/>
              <a:gd name="connsiteX218" fmla="*/ 61912 w 3128973"/>
              <a:gd name="connsiteY218" fmla="*/ 300037 h 1752600"/>
              <a:gd name="connsiteX219" fmla="*/ 23812 w 3128973"/>
              <a:gd name="connsiteY219" fmla="*/ 290512 h 1752600"/>
              <a:gd name="connsiteX220" fmla="*/ 9525 w 3128973"/>
              <a:gd name="connsiteY220" fmla="*/ 261937 h 1752600"/>
              <a:gd name="connsiteX221" fmla="*/ 0 w 3128973"/>
              <a:gd name="connsiteY221" fmla="*/ 290512 h 1752600"/>
              <a:gd name="connsiteX222" fmla="*/ 4762 w 3128973"/>
              <a:gd name="connsiteY222" fmla="*/ 247650 h 1752600"/>
              <a:gd name="connsiteX223" fmla="*/ 19050 w 3128973"/>
              <a:gd name="connsiteY223" fmla="*/ 200025 h 1752600"/>
              <a:gd name="connsiteX224" fmla="*/ 23812 w 3128973"/>
              <a:gd name="connsiteY224" fmla="*/ 185737 h 1752600"/>
              <a:gd name="connsiteX225" fmla="*/ 71437 w 3128973"/>
              <a:gd name="connsiteY225" fmla="*/ 171450 h 1752600"/>
              <a:gd name="connsiteX226" fmla="*/ 85725 w 3128973"/>
              <a:gd name="connsiteY226" fmla="*/ 166687 h 1752600"/>
              <a:gd name="connsiteX227" fmla="*/ 100012 w 3128973"/>
              <a:gd name="connsiteY227" fmla="*/ 161925 h 1752600"/>
              <a:gd name="connsiteX228" fmla="*/ 114300 w 3128973"/>
              <a:gd name="connsiteY228" fmla="*/ 152400 h 1752600"/>
              <a:gd name="connsiteX229" fmla="*/ 133350 w 3128973"/>
              <a:gd name="connsiteY229" fmla="*/ 123825 h 1752600"/>
              <a:gd name="connsiteX230" fmla="*/ 138112 w 3128973"/>
              <a:gd name="connsiteY230" fmla="*/ 109537 h 1752600"/>
              <a:gd name="connsiteX231" fmla="*/ 135467 w 3128973"/>
              <a:gd name="connsiteY231" fmla="*/ 97059 h 1752600"/>
              <a:gd name="connsiteX232" fmla="*/ 142875 w 3128973"/>
              <a:gd name="connsiteY232" fmla="*/ 71437 h 1752600"/>
              <a:gd name="connsiteX233" fmla="*/ 157162 w 3128973"/>
              <a:gd name="connsiteY233" fmla="*/ 57150 h 1752600"/>
              <a:gd name="connsiteX234" fmla="*/ 200025 w 3128973"/>
              <a:gd name="connsiteY234" fmla="*/ 33337 h 1752600"/>
              <a:gd name="connsiteX235" fmla="*/ 309562 w 3128973"/>
              <a:gd name="connsiteY235" fmla="*/ 28575 h 1752600"/>
              <a:gd name="connsiteX236" fmla="*/ 400050 w 3128973"/>
              <a:gd name="connsiteY236" fmla="*/ 14287 h 1752600"/>
              <a:gd name="connsiteX237" fmla="*/ 414337 w 3128973"/>
              <a:gd name="connsiteY237" fmla="*/ 9525 h 1752600"/>
              <a:gd name="connsiteX238" fmla="*/ 481012 w 3128973"/>
              <a:gd name="connsiteY238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302668 w 3128973"/>
              <a:gd name="connsiteY27" fmla="*/ 95815 h 1752600"/>
              <a:gd name="connsiteX28" fmla="*/ 2046801 w 3128973"/>
              <a:gd name="connsiteY28" fmla="*/ 262295 h 1752600"/>
              <a:gd name="connsiteX29" fmla="*/ 2033587 w 3128973"/>
              <a:gd name="connsiteY29" fmla="*/ 266700 h 1752600"/>
              <a:gd name="connsiteX30" fmla="*/ 2019300 w 3128973"/>
              <a:gd name="connsiteY30" fmla="*/ 280987 h 1752600"/>
              <a:gd name="connsiteX31" fmla="*/ 1990725 w 3128973"/>
              <a:gd name="connsiteY31" fmla="*/ 300037 h 1752600"/>
              <a:gd name="connsiteX32" fmla="*/ 1981200 w 3128973"/>
              <a:gd name="connsiteY32" fmla="*/ 314325 h 1752600"/>
              <a:gd name="connsiteX33" fmla="*/ 1981200 w 3128973"/>
              <a:gd name="connsiteY33" fmla="*/ 419100 h 1752600"/>
              <a:gd name="connsiteX34" fmla="*/ 1985962 w 3128973"/>
              <a:gd name="connsiteY34" fmla="*/ 433387 h 1752600"/>
              <a:gd name="connsiteX35" fmla="*/ 2000250 w 3128973"/>
              <a:gd name="connsiteY35" fmla="*/ 442912 h 1752600"/>
              <a:gd name="connsiteX36" fmla="*/ 2005012 w 3128973"/>
              <a:gd name="connsiteY36" fmla="*/ 457200 h 1752600"/>
              <a:gd name="connsiteX37" fmla="*/ 2005012 w 3128973"/>
              <a:gd name="connsiteY37" fmla="*/ 561975 h 1752600"/>
              <a:gd name="connsiteX38" fmla="*/ 2009775 w 3128973"/>
              <a:gd name="connsiteY38" fmla="*/ 576262 h 1752600"/>
              <a:gd name="connsiteX39" fmla="*/ 2024062 w 3128973"/>
              <a:gd name="connsiteY39" fmla="*/ 581025 h 1752600"/>
              <a:gd name="connsiteX40" fmla="*/ 2038350 w 3128973"/>
              <a:gd name="connsiteY40" fmla="*/ 595312 h 1752600"/>
              <a:gd name="connsiteX41" fmla="*/ 2052637 w 3128973"/>
              <a:gd name="connsiteY41" fmla="*/ 600075 h 1752600"/>
              <a:gd name="connsiteX42" fmla="*/ 2133600 w 3128973"/>
              <a:gd name="connsiteY42" fmla="*/ 590550 h 1752600"/>
              <a:gd name="connsiteX43" fmla="*/ 2147887 w 3128973"/>
              <a:gd name="connsiteY43" fmla="*/ 585787 h 1752600"/>
              <a:gd name="connsiteX44" fmla="*/ 2195512 w 3128973"/>
              <a:gd name="connsiteY44" fmla="*/ 600075 h 1752600"/>
              <a:gd name="connsiteX45" fmla="*/ 2205037 w 3128973"/>
              <a:gd name="connsiteY45" fmla="*/ 614362 h 1752600"/>
              <a:gd name="connsiteX46" fmla="*/ 2219325 w 3128973"/>
              <a:gd name="connsiteY46" fmla="*/ 628650 h 1752600"/>
              <a:gd name="connsiteX47" fmla="*/ 2224087 w 3128973"/>
              <a:gd name="connsiteY47" fmla="*/ 642937 h 1752600"/>
              <a:gd name="connsiteX48" fmla="*/ 2233612 w 3128973"/>
              <a:gd name="connsiteY48" fmla="*/ 657225 h 1752600"/>
              <a:gd name="connsiteX49" fmla="*/ 2247900 w 3128973"/>
              <a:gd name="connsiteY49" fmla="*/ 685800 h 1752600"/>
              <a:gd name="connsiteX50" fmla="*/ 2262187 w 3128973"/>
              <a:gd name="connsiteY50" fmla="*/ 733425 h 1752600"/>
              <a:gd name="connsiteX51" fmla="*/ 2305050 w 3128973"/>
              <a:gd name="connsiteY51" fmla="*/ 771525 h 1752600"/>
              <a:gd name="connsiteX52" fmla="*/ 2319337 w 3128973"/>
              <a:gd name="connsiteY52" fmla="*/ 804862 h 1752600"/>
              <a:gd name="connsiteX53" fmla="*/ 2333625 w 3128973"/>
              <a:gd name="connsiteY53" fmla="*/ 819150 h 1752600"/>
              <a:gd name="connsiteX54" fmla="*/ 2338387 w 3128973"/>
              <a:gd name="connsiteY54" fmla="*/ 833437 h 1752600"/>
              <a:gd name="connsiteX55" fmla="*/ 2352675 w 3128973"/>
              <a:gd name="connsiteY55" fmla="*/ 847725 h 1752600"/>
              <a:gd name="connsiteX56" fmla="*/ 2395537 w 3128973"/>
              <a:gd name="connsiteY56" fmla="*/ 871537 h 1752600"/>
              <a:gd name="connsiteX57" fmla="*/ 2409825 w 3128973"/>
              <a:gd name="connsiteY57" fmla="*/ 890587 h 1752600"/>
              <a:gd name="connsiteX58" fmla="*/ 2424112 w 3128973"/>
              <a:gd name="connsiteY58" fmla="*/ 895350 h 1752600"/>
              <a:gd name="connsiteX59" fmla="*/ 2433637 w 3128973"/>
              <a:gd name="connsiteY59" fmla="*/ 914400 h 1752600"/>
              <a:gd name="connsiteX60" fmla="*/ 2466975 w 3128973"/>
              <a:gd name="connsiteY60" fmla="*/ 942975 h 1752600"/>
              <a:gd name="connsiteX61" fmla="*/ 2474637 w 3128973"/>
              <a:gd name="connsiteY61" fmla="*/ 954728 h 1752600"/>
              <a:gd name="connsiteX62" fmla="*/ 2495550 w 3128973"/>
              <a:gd name="connsiteY62" fmla="*/ 971550 h 1752600"/>
              <a:gd name="connsiteX63" fmla="*/ 2508776 w 3128973"/>
              <a:gd name="connsiteY63" fmla="*/ 983894 h 1752600"/>
              <a:gd name="connsiteX64" fmla="*/ 2533650 w 3128973"/>
              <a:gd name="connsiteY64" fmla="*/ 1000125 h 1752600"/>
              <a:gd name="connsiteX65" fmla="*/ 2547937 w 3128973"/>
              <a:gd name="connsiteY65" fmla="*/ 1028700 h 1752600"/>
              <a:gd name="connsiteX66" fmla="*/ 2552700 w 3128973"/>
              <a:gd name="connsiteY66" fmla="*/ 1042987 h 1752600"/>
              <a:gd name="connsiteX67" fmla="*/ 2576512 w 3128973"/>
              <a:gd name="connsiteY67" fmla="*/ 1071562 h 1752600"/>
              <a:gd name="connsiteX68" fmla="*/ 2584921 w 3128973"/>
              <a:gd name="connsiteY68" fmla="*/ 1082873 h 1752600"/>
              <a:gd name="connsiteX69" fmla="*/ 2600325 w 3128973"/>
              <a:gd name="connsiteY69" fmla="*/ 1095375 h 1752600"/>
              <a:gd name="connsiteX70" fmla="*/ 2609850 w 3128973"/>
              <a:gd name="connsiteY70" fmla="*/ 1109662 h 1752600"/>
              <a:gd name="connsiteX71" fmla="*/ 2652712 w 3128973"/>
              <a:gd name="connsiteY71" fmla="*/ 1143000 h 1752600"/>
              <a:gd name="connsiteX72" fmla="*/ 2681287 w 3128973"/>
              <a:gd name="connsiteY72" fmla="*/ 1152525 h 1752600"/>
              <a:gd name="connsiteX73" fmla="*/ 2700337 w 3128973"/>
              <a:gd name="connsiteY73" fmla="*/ 1162050 h 1752600"/>
              <a:gd name="connsiteX74" fmla="*/ 2714625 w 3128973"/>
              <a:gd name="connsiteY74" fmla="*/ 1171575 h 1752600"/>
              <a:gd name="connsiteX75" fmla="*/ 2752725 w 3128973"/>
              <a:gd name="connsiteY75" fmla="*/ 1181100 h 1752600"/>
              <a:gd name="connsiteX76" fmla="*/ 2767012 w 3128973"/>
              <a:gd name="connsiteY76" fmla="*/ 1195387 h 1752600"/>
              <a:gd name="connsiteX77" fmla="*/ 2781300 w 3128973"/>
              <a:gd name="connsiteY77" fmla="*/ 1200150 h 1752600"/>
              <a:gd name="connsiteX78" fmla="*/ 2795587 w 3128973"/>
              <a:gd name="connsiteY78" fmla="*/ 1209675 h 1752600"/>
              <a:gd name="connsiteX79" fmla="*/ 2805112 w 3128973"/>
              <a:gd name="connsiteY79" fmla="*/ 1223962 h 1752600"/>
              <a:gd name="connsiteX80" fmla="*/ 2809875 w 3128973"/>
              <a:gd name="connsiteY80" fmla="*/ 1238250 h 1752600"/>
              <a:gd name="connsiteX81" fmla="*/ 2833687 w 3128973"/>
              <a:gd name="connsiteY81" fmla="*/ 1276350 h 1752600"/>
              <a:gd name="connsiteX82" fmla="*/ 2895600 w 3128973"/>
              <a:gd name="connsiteY82" fmla="*/ 1333500 h 1752600"/>
              <a:gd name="connsiteX83" fmla="*/ 2900362 w 3128973"/>
              <a:gd name="connsiteY83" fmla="*/ 1352550 h 1752600"/>
              <a:gd name="connsiteX84" fmla="*/ 2928937 w 3128973"/>
              <a:gd name="connsiteY84" fmla="*/ 1395412 h 1752600"/>
              <a:gd name="connsiteX85" fmla="*/ 2943225 w 3128973"/>
              <a:gd name="connsiteY85" fmla="*/ 1404937 h 1752600"/>
              <a:gd name="connsiteX86" fmla="*/ 2957512 w 3128973"/>
              <a:gd name="connsiteY86" fmla="*/ 1419225 h 1752600"/>
              <a:gd name="connsiteX87" fmla="*/ 2986087 w 3128973"/>
              <a:gd name="connsiteY87" fmla="*/ 1443037 h 1752600"/>
              <a:gd name="connsiteX88" fmla="*/ 3000375 w 3128973"/>
              <a:gd name="connsiteY88" fmla="*/ 1462087 h 1752600"/>
              <a:gd name="connsiteX89" fmla="*/ 3016395 w 3128973"/>
              <a:gd name="connsiteY89" fmla="*/ 1476222 h 1752600"/>
              <a:gd name="connsiteX90" fmla="*/ 3028950 w 3128973"/>
              <a:gd name="connsiteY90" fmla="*/ 1495425 h 1752600"/>
              <a:gd name="connsiteX91" fmla="*/ 3043237 w 3128973"/>
              <a:gd name="connsiteY91" fmla="*/ 1552575 h 1752600"/>
              <a:gd name="connsiteX92" fmla="*/ 3052762 w 3128973"/>
              <a:gd name="connsiteY92" fmla="*/ 1566862 h 1752600"/>
              <a:gd name="connsiteX93" fmla="*/ 3057525 w 3128973"/>
              <a:gd name="connsiteY93" fmla="*/ 1581150 h 1752600"/>
              <a:gd name="connsiteX94" fmla="*/ 3067050 w 3128973"/>
              <a:gd name="connsiteY94" fmla="*/ 1662112 h 1752600"/>
              <a:gd name="connsiteX95" fmla="*/ 3071812 w 3128973"/>
              <a:gd name="connsiteY95" fmla="*/ 1676400 h 1752600"/>
              <a:gd name="connsiteX96" fmla="*/ 3100387 w 3128973"/>
              <a:gd name="connsiteY96" fmla="*/ 1690687 h 1752600"/>
              <a:gd name="connsiteX97" fmla="*/ 3114675 w 3128973"/>
              <a:gd name="connsiteY97" fmla="*/ 1685925 h 1752600"/>
              <a:gd name="connsiteX98" fmla="*/ 3124200 w 3128973"/>
              <a:gd name="connsiteY98" fmla="*/ 1671637 h 1752600"/>
              <a:gd name="connsiteX99" fmla="*/ 3128973 w 3128973"/>
              <a:gd name="connsiteY99" fmla="*/ 1651467 h 1752600"/>
              <a:gd name="connsiteX100" fmla="*/ 3128021 w 3128973"/>
              <a:gd name="connsiteY100" fmla="*/ 1710279 h 1752600"/>
              <a:gd name="connsiteX101" fmla="*/ 3043237 w 3128973"/>
              <a:gd name="connsiteY101" fmla="*/ 1714500 h 1752600"/>
              <a:gd name="connsiteX102" fmla="*/ 3028950 w 3128973"/>
              <a:gd name="connsiteY102" fmla="*/ 1728787 h 1752600"/>
              <a:gd name="connsiteX103" fmla="*/ 2986087 w 3128973"/>
              <a:gd name="connsiteY103" fmla="*/ 1738312 h 1752600"/>
              <a:gd name="connsiteX104" fmla="*/ 2971800 w 3128973"/>
              <a:gd name="connsiteY104" fmla="*/ 1743075 h 1752600"/>
              <a:gd name="connsiteX105" fmla="*/ 2943225 w 3128973"/>
              <a:gd name="connsiteY105" fmla="*/ 1738312 h 1752600"/>
              <a:gd name="connsiteX106" fmla="*/ 2928937 w 3128973"/>
              <a:gd name="connsiteY106" fmla="*/ 1747837 h 1752600"/>
              <a:gd name="connsiteX107" fmla="*/ 2914650 w 3128973"/>
              <a:gd name="connsiteY107" fmla="*/ 1752600 h 1752600"/>
              <a:gd name="connsiteX108" fmla="*/ 2895600 w 3128973"/>
              <a:gd name="connsiteY108" fmla="*/ 1724025 h 1752600"/>
              <a:gd name="connsiteX109" fmla="*/ 2883310 w 3128973"/>
              <a:gd name="connsiteY109" fmla="*/ 1701201 h 1752600"/>
              <a:gd name="connsiteX110" fmla="*/ 2883805 w 3128973"/>
              <a:gd name="connsiteY110" fmla="*/ 1696138 h 1752600"/>
              <a:gd name="connsiteX111" fmla="*/ 2871787 w 3128973"/>
              <a:gd name="connsiteY111" fmla="*/ 1685925 h 1752600"/>
              <a:gd name="connsiteX112" fmla="*/ 2847975 w 3128973"/>
              <a:gd name="connsiteY112" fmla="*/ 1657350 h 1752600"/>
              <a:gd name="connsiteX113" fmla="*/ 2834034 w 3128973"/>
              <a:gd name="connsiteY113" fmla="*/ 1637762 h 1752600"/>
              <a:gd name="connsiteX114" fmla="*/ 2814637 w 3128973"/>
              <a:gd name="connsiteY114" fmla="*/ 1619250 h 1752600"/>
              <a:gd name="connsiteX115" fmla="*/ 2809875 w 3128973"/>
              <a:gd name="connsiteY115" fmla="*/ 1604962 h 1752600"/>
              <a:gd name="connsiteX116" fmla="*/ 2795587 w 3128973"/>
              <a:gd name="connsiteY116" fmla="*/ 1600200 h 1752600"/>
              <a:gd name="connsiteX117" fmla="*/ 2781300 w 3128973"/>
              <a:gd name="connsiteY117" fmla="*/ 1590675 h 1752600"/>
              <a:gd name="connsiteX118" fmla="*/ 2752725 w 3128973"/>
              <a:gd name="connsiteY118" fmla="*/ 1581150 h 1752600"/>
              <a:gd name="connsiteX119" fmla="*/ 2733675 w 3128973"/>
              <a:gd name="connsiteY119" fmla="*/ 1625600 h 1752600"/>
              <a:gd name="connsiteX120" fmla="*/ 2709862 w 3128973"/>
              <a:gd name="connsiteY120" fmla="*/ 1619250 h 1752600"/>
              <a:gd name="connsiteX121" fmla="*/ 2723566 w 3128973"/>
              <a:gd name="connsiteY121" fmla="*/ 1590361 h 1752600"/>
              <a:gd name="connsiteX122" fmla="*/ 2674937 w 3128973"/>
              <a:gd name="connsiteY122" fmla="*/ 1560512 h 1752600"/>
              <a:gd name="connsiteX123" fmla="*/ 2643187 w 3128973"/>
              <a:gd name="connsiteY123" fmla="*/ 1495425 h 1752600"/>
              <a:gd name="connsiteX124" fmla="*/ 2628900 w 3128973"/>
              <a:gd name="connsiteY124" fmla="*/ 1490662 h 1752600"/>
              <a:gd name="connsiteX125" fmla="*/ 2595562 w 3128973"/>
              <a:gd name="connsiteY125" fmla="*/ 1481137 h 1752600"/>
              <a:gd name="connsiteX126" fmla="*/ 2581275 w 3128973"/>
              <a:gd name="connsiteY126" fmla="*/ 1466850 h 1752600"/>
              <a:gd name="connsiteX127" fmla="*/ 2552700 w 3128973"/>
              <a:gd name="connsiteY127" fmla="*/ 1457325 h 1752600"/>
              <a:gd name="connsiteX128" fmla="*/ 2538412 w 3128973"/>
              <a:gd name="connsiteY128" fmla="*/ 1447800 h 1752600"/>
              <a:gd name="connsiteX129" fmla="*/ 2519362 w 3128973"/>
              <a:gd name="connsiteY129" fmla="*/ 1443037 h 1752600"/>
              <a:gd name="connsiteX130" fmla="*/ 2490787 w 3128973"/>
              <a:gd name="connsiteY130" fmla="*/ 1433512 h 1752600"/>
              <a:gd name="connsiteX131" fmla="*/ 2476500 w 3128973"/>
              <a:gd name="connsiteY131" fmla="*/ 1428750 h 1752600"/>
              <a:gd name="connsiteX132" fmla="*/ 2466975 w 3128973"/>
              <a:gd name="connsiteY132" fmla="*/ 1414462 h 1752600"/>
              <a:gd name="connsiteX133" fmla="*/ 2447925 w 3128973"/>
              <a:gd name="connsiteY133" fmla="*/ 1409700 h 1752600"/>
              <a:gd name="connsiteX134" fmla="*/ 2309812 w 3128973"/>
              <a:gd name="connsiteY134" fmla="*/ 1395412 h 1752600"/>
              <a:gd name="connsiteX135" fmla="*/ 2295525 w 3128973"/>
              <a:gd name="connsiteY135" fmla="*/ 1390650 h 1752600"/>
              <a:gd name="connsiteX136" fmla="*/ 2257425 w 3128973"/>
              <a:gd name="connsiteY136" fmla="*/ 1381125 h 1752600"/>
              <a:gd name="connsiteX137" fmla="*/ 2238375 w 3128973"/>
              <a:gd name="connsiteY137" fmla="*/ 1366837 h 1752600"/>
              <a:gd name="connsiteX138" fmla="*/ 2224087 w 3128973"/>
              <a:gd name="connsiteY138" fmla="*/ 1362075 h 1752600"/>
              <a:gd name="connsiteX139" fmla="*/ 2176462 w 3128973"/>
              <a:gd name="connsiteY139" fmla="*/ 1338262 h 1752600"/>
              <a:gd name="connsiteX140" fmla="*/ 2162175 w 3128973"/>
              <a:gd name="connsiteY140" fmla="*/ 1328737 h 1752600"/>
              <a:gd name="connsiteX141" fmla="*/ 2114550 w 3128973"/>
              <a:gd name="connsiteY141" fmla="*/ 1314450 h 1752600"/>
              <a:gd name="connsiteX142" fmla="*/ 2100262 w 3128973"/>
              <a:gd name="connsiteY142" fmla="*/ 1300162 h 1752600"/>
              <a:gd name="connsiteX143" fmla="*/ 2085975 w 3128973"/>
              <a:gd name="connsiteY143" fmla="*/ 1295400 h 1752600"/>
              <a:gd name="connsiteX144" fmla="*/ 2055019 w 3128973"/>
              <a:gd name="connsiteY144" fmla="*/ 1290637 h 1752600"/>
              <a:gd name="connsiteX145" fmla="*/ 2028824 w 3128973"/>
              <a:gd name="connsiteY145" fmla="*/ 1283494 h 1752600"/>
              <a:gd name="connsiteX146" fmla="*/ 2005012 w 3128973"/>
              <a:gd name="connsiteY146" fmla="*/ 1271587 h 1752600"/>
              <a:gd name="connsiteX147" fmla="*/ 1985962 w 3128973"/>
              <a:gd name="connsiteY147" fmla="*/ 1262062 h 1752600"/>
              <a:gd name="connsiteX148" fmla="*/ 1971675 w 3128973"/>
              <a:gd name="connsiteY148" fmla="*/ 1257300 h 1752600"/>
              <a:gd name="connsiteX149" fmla="*/ 1943100 w 3128973"/>
              <a:gd name="connsiteY149" fmla="*/ 1238250 h 1752600"/>
              <a:gd name="connsiteX150" fmla="*/ 1914525 w 3128973"/>
              <a:gd name="connsiteY150" fmla="*/ 1219200 h 1752600"/>
              <a:gd name="connsiteX151" fmla="*/ 1885950 w 3128973"/>
              <a:gd name="connsiteY151" fmla="*/ 1209675 h 1752600"/>
              <a:gd name="connsiteX152" fmla="*/ 1843087 w 3128973"/>
              <a:gd name="connsiteY152" fmla="*/ 1195387 h 1752600"/>
              <a:gd name="connsiteX153" fmla="*/ 1757362 w 3128973"/>
              <a:gd name="connsiteY153" fmla="*/ 1185862 h 1752600"/>
              <a:gd name="connsiteX154" fmla="*/ 1700212 w 3128973"/>
              <a:gd name="connsiteY154" fmla="*/ 1166812 h 1752600"/>
              <a:gd name="connsiteX155" fmla="*/ 1671637 w 3128973"/>
              <a:gd name="connsiteY155" fmla="*/ 1147762 h 1752600"/>
              <a:gd name="connsiteX156" fmla="*/ 1652587 w 3128973"/>
              <a:gd name="connsiteY156" fmla="*/ 1138237 h 1752600"/>
              <a:gd name="connsiteX157" fmla="*/ 1638300 w 3128973"/>
              <a:gd name="connsiteY157" fmla="*/ 1128712 h 1752600"/>
              <a:gd name="connsiteX158" fmla="*/ 1590675 w 3128973"/>
              <a:gd name="connsiteY158" fmla="*/ 1138238 h 1752600"/>
              <a:gd name="connsiteX159" fmla="*/ 1559719 w 3128973"/>
              <a:gd name="connsiteY159" fmla="*/ 1109662 h 1752600"/>
              <a:gd name="connsiteX160" fmla="*/ 1528762 w 3128973"/>
              <a:gd name="connsiteY160" fmla="*/ 1085850 h 1752600"/>
              <a:gd name="connsiteX161" fmla="*/ 1514475 w 3128973"/>
              <a:gd name="connsiteY161" fmla="*/ 1081087 h 1752600"/>
              <a:gd name="connsiteX162" fmla="*/ 1470025 w 3128973"/>
              <a:gd name="connsiteY162" fmla="*/ 1130300 h 1752600"/>
              <a:gd name="connsiteX163" fmla="*/ 1433512 w 3128973"/>
              <a:gd name="connsiteY163" fmla="*/ 1108075 h 1752600"/>
              <a:gd name="connsiteX164" fmla="*/ 1423987 w 3128973"/>
              <a:gd name="connsiteY164" fmla="*/ 1087437 h 1752600"/>
              <a:gd name="connsiteX165" fmla="*/ 1381125 w 3128973"/>
              <a:gd name="connsiteY165" fmla="*/ 1095375 h 1752600"/>
              <a:gd name="connsiteX166" fmla="*/ 1383506 w 3128973"/>
              <a:gd name="connsiteY166" fmla="*/ 1028700 h 1752600"/>
              <a:gd name="connsiteX167" fmla="*/ 1366838 w 3128973"/>
              <a:gd name="connsiteY167" fmla="*/ 1019175 h 1752600"/>
              <a:gd name="connsiteX168" fmla="*/ 1335881 w 3128973"/>
              <a:gd name="connsiteY168" fmla="*/ 1007268 h 1752600"/>
              <a:gd name="connsiteX169" fmla="*/ 1319213 w 3128973"/>
              <a:gd name="connsiteY169" fmla="*/ 1007268 h 1752600"/>
              <a:gd name="connsiteX170" fmla="*/ 1295400 w 3128973"/>
              <a:gd name="connsiteY170" fmla="*/ 976312 h 1752600"/>
              <a:gd name="connsiteX171" fmla="*/ 1281112 w 3128973"/>
              <a:gd name="connsiteY171" fmla="*/ 966787 h 1752600"/>
              <a:gd name="connsiteX172" fmla="*/ 1238250 w 3128973"/>
              <a:gd name="connsiteY172" fmla="*/ 947737 h 1752600"/>
              <a:gd name="connsiteX173" fmla="*/ 1212850 w 3128973"/>
              <a:gd name="connsiteY173" fmla="*/ 995362 h 1752600"/>
              <a:gd name="connsiteX174" fmla="*/ 1201737 w 3128973"/>
              <a:gd name="connsiteY174" fmla="*/ 987425 h 1752600"/>
              <a:gd name="connsiteX175" fmla="*/ 1163637 w 3128973"/>
              <a:gd name="connsiteY175" fmla="*/ 952277 h 1752600"/>
              <a:gd name="connsiteX176" fmla="*/ 1133475 w 3128973"/>
              <a:gd name="connsiteY176" fmla="*/ 925512 h 1752600"/>
              <a:gd name="connsiteX177" fmla="*/ 1085850 w 3128973"/>
              <a:gd name="connsiteY177" fmla="*/ 859631 h 1752600"/>
              <a:gd name="connsiteX178" fmla="*/ 1071562 w 3128973"/>
              <a:gd name="connsiteY178" fmla="*/ 842962 h 1752600"/>
              <a:gd name="connsiteX179" fmla="*/ 1047750 w 3128973"/>
              <a:gd name="connsiteY179" fmla="*/ 819150 h 1752600"/>
              <a:gd name="connsiteX180" fmla="*/ 1028700 w 3128973"/>
              <a:gd name="connsiteY180" fmla="*/ 804862 h 1752600"/>
              <a:gd name="connsiteX181" fmla="*/ 1018076 w 3128973"/>
              <a:gd name="connsiteY181" fmla="*/ 794816 h 1752600"/>
              <a:gd name="connsiteX182" fmla="*/ 1000125 w 3128973"/>
              <a:gd name="connsiteY182" fmla="*/ 785812 h 1752600"/>
              <a:gd name="connsiteX183" fmla="*/ 984342 w 3128973"/>
              <a:gd name="connsiteY183" fmla="*/ 773578 h 1752600"/>
              <a:gd name="connsiteX184" fmla="*/ 957262 w 3128973"/>
              <a:gd name="connsiteY184" fmla="*/ 766762 h 1752600"/>
              <a:gd name="connsiteX185" fmla="*/ 938212 w 3128973"/>
              <a:gd name="connsiteY185" fmla="*/ 757237 h 1752600"/>
              <a:gd name="connsiteX186" fmla="*/ 904875 w 3128973"/>
              <a:gd name="connsiteY186" fmla="*/ 747712 h 1752600"/>
              <a:gd name="connsiteX187" fmla="*/ 862012 w 3128973"/>
              <a:gd name="connsiteY187" fmla="*/ 723900 h 1752600"/>
              <a:gd name="connsiteX188" fmla="*/ 795337 w 3128973"/>
              <a:gd name="connsiteY188" fmla="*/ 685800 h 1752600"/>
              <a:gd name="connsiteX189" fmla="*/ 776287 w 3128973"/>
              <a:gd name="connsiteY189" fmla="*/ 666750 h 1752600"/>
              <a:gd name="connsiteX190" fmla="*/ 762000 w 3128973"/>
              <a:gd name="connsiteY190" fmla="*/ 661987 h 1752600"/>
              <a:gd name="connsiteX191" fmla="*/ 742950 w 3128973"/>
              <a:gd name="connsiteY191" fmla="*/ 647700 h 1752600"/>
              <a:gd name="connsiteX192" fmla="*/ 709612 w 3128973"/>
              <a:gd name="connsiteY192" fmla="*/ 638175 h 1752600"/>
              <a:gd name="connsiteX193" fmla="*/ 695325 w 3128973"/>
              <a:gd name="connsiteY193" fmla="*/ 628650 h 1752600"/>
              <a:gd name="connsiteX194" fmla="*/ 681037 w 3128973"/>
              <a:gd name="connsiteY194" fmla="*/ 623887 h 1752600"/>
              <a:gd name="connsiteX195" fmla="*/ 676275 w 3128973"/>
              <a:gd name="connsiteY195" fmla="*/ 604837 h 1752600"/>
              <a:gd name="connsiteX196" fmla="*/ 666750 w 3128973"/>
              <a:gd name="connsiteY196" fmla="*/ 576262 h 1752600"/>
              <a:gd name="connsiteX197" fmla="*/ 661987 w 3128973"/>
              <a:gd name="connsiteY197" fmla="*/ 561975 h 1752600"/>
              <a:gd name="connsiteX198" fmla="*/ 666750 w 3128973"/>
              <a:gd name="connsiteY198" fmla="*/ 538162 h 1752600"/>
              <a:gd name="connsiteX199" fmla="*/ 638175 w 3128973"/>
              <a:gd name="connsiteY199" fmla="*/ 514350 h 1752600"/>
              <a:gd name="connsiteX200" fmla="*/ 619125 w 3128973"/>
              <a:gd name="connsiteY200" fmla="*/ 500062 h 1752600"/>
              <a:gd name="connsiteX201" fmla="*/ 576262 w 3128973"/>
              <a:gd name="connsiteY201" fmla="*/ 490537 h 1752600"/>
              <a:gd name="connsiteX202" fmla="*/ 542925 w 3128973"/>
              <a:gd name="connsiteY202" fmla="*/ 452437 h 1752600"/>
              <a:gd name="connsiteX203" fmla="*/ 525462 w 3128973"/>
              <a:gd name="connsiteY203" fmla="*/ 485775 h 1752600"/>
              <a:gd name="connsiteX204" fmla="*/ 504825 w 3128973"/>
              <a:gd name="connsiteY204" fmla="*/ 466725 h 1752600"/>
              <a:gd name="connsiteX205" fmla="*/ 454025 w 3128973"/>
              <a:gd name="connsiteY205" fmla="*/ 466725 h 1752600"/>
              <a:gd name="connsiteX206" fmla="*/ 407987 w 3128973"/>
              <a:gd name="connsiteY206" fmla="*/ 473075 h 1752600"/>
              <a:gd name="connsiteX207" fmla="*/ 395287 w 3128973"/>
              <a:gd name="connsiteY207" fmla="*/ 409575 h 1752600"/>
              <a:gd name="connsiteX208" fmla="*/ 376237 w 3128973"/>
              <a:gd name="connsiteY208" fmla="*/ 404812 h 1752600"/>
              <a:gd name="connsiteX209" fmla="*/ 342900 w 3128973"/>
              <a:gd name="connsiteY209" fmla="*/ 400050 h 1752600"/>
              <a:gd name="connsiteX210" fmla="*/ 314325 w 3128973"/>
              <a:gd name="connsiteY210" fmla="*/ 390525 h 1752600"/>
              <a:gd name="connsiteX211" fmla="*/ 273844 w 3128973"/>
              <a:gd name="connsiteY211" fmla="*/ 383382 h 1752600"/>
              <a:gd name="connsiteX212" fmla="*/ 257175 w 3128973"/>
              <a:gd name="connsiteY212" fmla="*/ 371475 h 1752600"/>
              <a:gd name="connsiteX213" fmla="*/ 245269 w 3128973"/>
              <a:gd name="connsiteY213" fmla="*/ 364331 h 1752600"/>
              <a:gd name="connsiteX214" fmla="*/ 223837 w 3128973"/>
              <a:gd name="connsiteY214" fmla="*/ 347662 h 1752600"/>
              <a:gd name="connsiteX215" fmla="*/ 190500 w 3128973"/>
              <a:gd name="connsiteY215" fmla="*/ 338137 h 1752600"/>
              <a:gd name="connsiteX216" fmla="*/ 147637 w 3128973"/>
              <a:gd name="connsiteY216" fmla="*/ 333375 h 1752600"/>
              <a:gd name="connsiteX217" fmla="*/ 119062 w 3128973"/>
              <a:gd name="connsiteY217" fmla="*/ 323850 h 1752600"/>
              <a:gd name="connsiteX218" fmla="*/ 104775 w 3128973"/>
              <a:gd name="connsiteY218" fmla="*/ 319087 h 1752600"/>
              <a:gd name="connsiteX219" fmla="*/ 61912 w 3128973"/>
              <a:gd name="connsiteY219" fmla="*/ 300037 h 1752600"/>
              <a:gd name="connsiteX220" fmla="*/ 23812 w 3128973"/>
              <a:gd name="connsiteY220" fmla="*/ 290512 h 1752600"/>
              <a:gd name="connsiteX221" fmla="*/ 9525 w 3128973"/>
              <a:gd name="connsiteY221" fmla="*/ 261937 h 1752600"/>
              <a:gd name="connsiteX222" fmla="*/ 0 w 3128973"/>
              <a:gd name="connsiteY222" fmla="*/ 290512 h 1752600"/>
              <a:gd name="connsiteX223" fmla="*/ 4762 w 3128973"/>
              <a:gd name="connsiteY223" fmla="*/ 247650 h 1752600"/>
              <a:gd name="connsiteX224" fmla="*/ 19050 w 3128973"/>
              <a:gd name="connsiteY224" fmla="*/ 200025 h 1752600"/>
              <a:gd name="connsiteX225" fmla="*/ 23812 w 3128973"/>
              <a:gd name="connsiteY225" fmla="*/ 185737 h 1752600"/>
              <a:gd name="connsiteX226" fmla="*/ 71437 w 3128973"/>
              <a:gd name="connsiteY226" fmla="*/ 171450 h 1752600"/>
              <a:gd name="connsiteX227" fmla="*/ 85725 w 3128973"/>
              <a:gd name="connsiteY227" fmla="*/ 166687 h 1752600"/>
              <a:gd name="connsiteX228" fmla="*/ 100012 w 3128973"/>
              <a:gd name="connsiteY228" fmla="*/ 161925 h 1752600"/>
              <a:gd name="connsiteX229" fmla="*/ 114300 w 3128973"/>
              <a:gd name="connsiteY229" fmla="*/ 152400 h 1752600"/>
              <a:gd name="connsiteX230" fmla="*/ 133350 w 3128973"/>
              <a:gd name="connsiteY230" fmla="*/ 123825 h 1752600"/>
              <a:gd name="connsiteX231" fmla="*/ 138112 w 3128973"/>
              <a:gd name="connsiteY231" fmla="*/ 109537 h 1752600"/>
              <a:gd name="connsiteX232" fmla="*/ 135467 w 3128973"/>
              <a:gd name="connsiteY232" fmla="*/ 97059 h 1752600"/>
              <a:gd name="connsiteX233" fmla="*/ 142875 w 3128973"/>
              <a:gd name="connsiteY233" fmla="*/ 71437 h 1752600"/>
              <a:gd name="connsiteX234" fmla="*/ 157162 w 3128973"/>
              <a:gd name="connsiteY234" fmla="*/ 57150 h 1752600"/>
              <a:gd name="connsiteX235" fmla="*/ 200025 w 3128973"/>
              <a:gd name="connsiteY235" fmla="*/ 33337 h 1752600"/>
              <a:gd name="connsiteX236" fmla="*/ 309562 w 3128973"/>
              <a:gd name="connsiteY236" fmla="*/ 28575 h 1752600"/>
              <a:gd name="connsiteX237" fmla="*/ 400050 w 3128973"/>
              <a:gd name="connsiteY237" fmla="*/ 14287 h 1752600"/>
              <a:gd name="connsiteX238" fmla="*/ 414337 w 3128973"/>
              <a:gd name="connsiteY238" fmla="*/ 9525 h 1752600"/>
              <a:gd name="connsiteX239" fmla="*/ 481012 w 3128973"/>
              <a:gd name="connsiteY239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046801 w 3128973"/>
              <a:gd name="connsiteY28" fmla="*/ 262295 h 1752600"/>
              <a:gd name="connsiteX29" fmla="*/ 2033587 w 3128973"/>
              <a:gd name="connsiteY29" fmla="*/ 266700 h 1752600"/>
              <a:gd name="connsiteX30" fmla="*/ 2019300 w 3128973"/>
              <a:gd name="connsiteY30" fmla="*/ 280987 h 1752600"/>
              <a:gd name="connsiteX31" fmla="*/ 1990725 w 3128973"/>
              <a:gd name="connsiteY31" fmla="*/ 300037 h 1752600"/>
              <a:gd name="connsiteX32" fmla="*/ 1981200 w 3128973"/>
              <a:gd name="connsiteY32" fmla="*/ 314325 h 1752600"/>
              <a:gd name="connsiteX33" fmla="*/ 1981200 w 3128973"/>
              <a:gd name="connsiteY33" fmla="*/ 419100 h 1752600"/>
              <a:gd name="connsiteX34" fmla="*/ 1985962 w 3128973"/>
              <a:gd name="connsiteY34" fmla="*/ 433387 h 1752600"/>
              <a:gd name="connsiteX35" fmla="*/ 2000250 w 3128973"/>
              <a:gd name="connsiteY35" fmla="*/ 442912 h 1752600"/>
              <a:gd name="connsiteX36" fmla="*/ 2005012 w 3128973"/>
              <a:gd name="connsiteY36" fmla="*/ 457200 h 1752600"/>
              <a:gd name="connsiteX37" fmla="*/ 2005012 w 3128973"/>
              <a:gd name="connsiteY37" fmla="*/ 561975 h 1752600"/>
              <a:gd name="connsiteX38" fmla="*/ 2009775 w 3128973"/>
              <a:gd name="connsiteY38" fmla="*/ 576262 h 1752600"/>
              <a:gd name="connsiteX39" fmla="*/ 2024062 w 3128973"/>
              <a:gd name="connsiteY39" fmla="*/ 581025 h 1752600"/>
              <a:gd name="connsiteX40" fmla="*/ 2038350 w 3128973"/>
              <a:gd name="connsiteY40" fmla="*/ 595312 h 1752600"/>
              <a:gd name="connsiteX41" fmla="*/ 2052637 w 3128973"/>
              <a:gd name="connsiteY41" fmla="*/ 600075 h 1752600"/>
              <a:gd name="connsiteX42" fmla="*/ 2133600 w 3128973"/>
              <a:gd name="connsiteY42" fmla="*/ 590550 h 1752600"/>
              <a:gd name="connsiteX43" fmla="*/ 2147887 w 3128973"/>
              <a:gd name="connsiteY43" fmla="*/ 585787 h 1752600"/>
              <a:gd name="connsiteX44" fmla="*/ 2195512 w 3128973"/>
              <a:gd name="connsiteY44" fmla="*/ 600075 h 1752600"/>
              <a:gd name="connsiteX45" fmla="*/ 2205037 w 3128973"/>
              <a:gd name="connsiteY45" fmla="*/ 614362 h 1752600"/>
              <a:gd name="connsiteX46" fmla="*/ 2219325 w 3128973"/>
              <a:gd name="connsiteY46" fmla="*/ 628650 h 1752600"/>
              <a:gd name="connsiteX47" fmla="*/ 2224087 w 3128973"/>
              <a:gd name="connsiteY47" fmla="*/ 642937 h 1752600"/>
              <a:gd name="connsiteX48" fmla="*/ 2233612 w 3128973"/>
              <a:gd name="connsiteY48" fmla="*/ 657225 h 1752600"/>
              <a:gd name="connsiteX49" fmla="*/ 2247900 w 3128973"/>
              <a:gd name="connsiteY49" fmla="*/ 685800 h 1752600"/>
              <a:gd name="connsiteX50" fmla="*/ 2262187 w 3128973"/>
              <a:gd name="connsiteY50" fmla="*/ 733425 h 1752600"/>
              <a:gd name="connsiteX51" fmla="*/ 2305050 w 3128973"/>
              <a:gd name="connsiteY51" fmla="*/ 771525 h 1752600"/>
              <a:gd name="connsiteX52" fmla="*/ 2319337 w 3128973"/>
              <a:gd name="connsiteY52" fmla="*/ 804862 h 1752600"/>
              <a:gd name="connsiteX53" fmla="*/ 2333625 w 3128973"/>
              <a:gd name="connsiteY53" fmla="*/ 819150 h 1752600"/>
              <a:gd name="connsiteX54" fmla="*/ 2338387 w 3128973"/>
              <a:gd name="connsiteY54" fmla="*/ 833437 h 1752600"/>
              <a:gd name="connsiteX55" fmla="*/ 2352675 w 3128973"/>
              <a:gd name="connsiteY55" fmla="*/ 847725 h 1752600"/>
              <a:gd name="connsiteX56" fmla="*/ 2395537 w 3128973"/>
              <a:gd name="connsiteY56" fmla="*/ 871537 h 1752600"/>
              <a:gd name="connsiteX57" fmla="*/ 2409825 w 3128973"/>
              <a:gd name="connsiteY57" fmla="*/ 890587 h 1752600"/>
              <a:gd name="connsiteX58" fmla="*/ 2424112 w 3128973"/>
              <a:gd name="connsiteY58" fmla="*/ 895350 h 1752600"/>
              <a:gd name="connsiteX59" fmla="*/ 2433637 w 3128973"/>
              <a:gd name="connsiteY59" fmla="*/ 914400 h 1752600"/>
              <a:gd name="connsiteX60" fmla="*/ 2466975 w 3128973"/>
              <a:gd name="connsiteY60" fmla="*/ 942975 h 1752600"/>
              <a:gd name="connsiteX61" fmla="*/ 2474637 w 3128973"/>
              <a:gd name="connsiteY61" fmla="*/ 954728 h 1752600"/>
              <a:gd name="connsiteX62" fmla="*/ 2495550 w 3128973"/>
              <a:gd name="connsiteY62" fmla="*/ 971550 h 1752600"/>
              <a:gd name="connsiteX63" fmla="*/ 2508776 w 3128973"/>
              <a:gd name="connsiteY63" fmla="*/ 983894 h 1752600"/>
              <a:gd name="connsiteX64" fmla="*/ 2533650 w 3128973"/>
              <a:gd name="connsiteY64" fmla="*/ 1000125 h 1752600"/>
              <a:gd name="connsiteX65" fmla="*/ 2547937 w 3128973"/>
              <a:gd name="connsiteY65" fmla="*/ 1028700 h 1752600"/>
              <a:gd name="connsiteX66" fmla="*/ 2552700 w 3128973"/>
              <a:gd name="connsiteY66" fmla="*/ 1042987 h 1752600"/>
              <a:gd name="connsiteX67" fmla="*/ 2576512 w 3128973"/>
              <a:gd name="connsiteY67" fmla="*/ 1071562 h 1752600"/>
              <a:gd name="connsiteX68" fmla="*/ 2584921 w 3128973"/>
              <a:gd name="connsiteY68" fmla="*/ 1082873 h 1752600"/>
              <a:gd name="connsiteX69" fmla="*/ 2600325 w 3128973"/>
              <a:gd name="connsiteY69" fmla="*/ 1095375 h 1752600"/>
              <a:gd name="connsiteX70" fmla="*/ 2609850 w 3128973"/>
              <a:gd name="connsiteY70" fmla="*/ 1109662 h 1752600"/>
              <a:gd name="connsiteX71" fmla="*/ 2652712 w 3128973"/>
              <a:gd name="connsiteY71" fmla="*/ 1143000 h 1752600"/>
              <a:gd name="connsiteX72" fmla="*/ 2681287 w 3128973"/>
              <a:gd name="connsiteY72" fmla="*/ 1152525 h 1752600"/>
              <a:gd name="connsiteX73" fmla="*/ 2700337 w 3128973"/>
              <a:gd name="connsiteY73" fmla="*/ 1162050 h 1752600"/>
              <a:gd name="connsiteX74" fmla="*/ 2714625 w 3128973"/>
              <a:gd name="connsiteY74" fmla="*/ 1171575 h 1752600"/>
              <a:gd name="connsiteX75" fmla="*/ 2752725 w 3128973"/>
              <a:gd name="connsiteY75" fmla="*/ 1181100 h 1752600"/>
              <a:gd name="connsiteX76" fmla="*/ 2767012 w 3128973"/>
              <a:gd name="connsiteY76" fmla="*/ 1195387 h 1752600"/>
              <a:gd name="connsiteX77" fmla="*/ 2781300 w 3128973"/>
              <a:gd name="connsiteY77" fmla="*/ 1200150 h 1752600"/>
              <a:gd name="connsiteX78" fmla="*/ 2795587 w 3128973"/>
              <a:gd name="connsiteY78" fmla="*/ 1209675 h 1752600"/>
              <a:gd name="connsiteX79" fmla="*/ 2805112 w 3128973"/>
              <a:gd name="connsiteY79" fmla="*/ 1223962 h 1752600"/>
              <a:gd name="connsiteX80" fmla="*/ 2809875 w 3128973"/>
              <a:gd name="connsiteY80" fmla="*/ 1238250 h 1752600"/>
              <a:gd name="connsiteX81" fmla="*/ 2833687 w 3128973"/>
              <a:gd name="connsiteY81" fmla="*/ 1276350 h 1752600"/>
              <a:gd name="connsiteX82" fmla="*/ 2895600 w 3128973"/>
              <a:gd name="connsiteY82" fmla="*/ 1333500 h 1752600"/>
              <a:gd name="connsiteX83" fmla="*/ 2900362 w 3128973"/>
              <a:gd name="connsiteY83" fmla="*/ 1352550 h 1752600"/>
              <a:gd name="connsiteX84" fmla="*/ 2928937 w 3128973"/>
              <a:gd name="connsiteY84" fmla="*/ 1395412 h 1752600"/>
              <a:gd name="connsiteX85" fmla="*/ 2943225 w 3128973"/>
              <a:gd name="connsiteY85" fmla="*/ 1404937 h 1752600"/>
              <a:gd name="connsiteX86" fmla="*/ 2957512 w 3128973"/>
              <a:gd name="connsiteY86" fmla="*/ 1419225 h 1752600"/>
              <a:gd name="connsiteX87" fmla="*/ 2986087 w 3128973"/>
              <a:gd name="connsiteY87" fmla="*/ 1443037 h 1752600"/>
              <a:gd name="connsiteX88" fmla="*/ 3000375 w 3128973"/>
              <a:gd name="connsiteY88" fmla="*/ 1462087 h 1752600"/>
              <a:gd name="connsiteX89" fmla="*/ 3016395 w 3128973"/>
              <a:gd name="connsiteY89" fmla="*/ 1476222 h 1752600"/>
              <a:gd name="connsiteX90" fmla="*/ 3028950 w 3128973"/>
              <a:gd name="connsiteY90" fmla="*/ 1495425 h 1752600"/>
              <a:gd name="connsiteX91" fmla="*/ 3043237 w 3128973"/>
              <a:gd name="connsiteY91" fmla="*/ 1552575 h 1752600"/>
              <a:gd name="connsiteX92" fmla="*/ 3052762 w 3128973"/>
              <a:gd name="connsiteY92" fmla="*/ 1566862 h 1752600"/>
              <a:gd name="connsiteX93" fmla="*/ 3057525 w 3128973"/>
              <a:gd name="connsiteY93" fmla="*/ 1581150 h 1752600"/>
              <a:gd name="connsiteX94" fmla="*/ 3067050 w 3128973"/>
              <a:gd name="connsiteY94" fmla="*/ 1662112 h 1752600"/>
              <a:gd name="connsiteX95" fmla="*/ 3071812 w 3128973"/>
              <a:gd name="connsiteY95" fmla="*/ 1676400 h 1752600"/>
              <a:gd name="connsiteX96" fmla="*/ 3100387 w 3128973"/>
              <a:gd name="connsiteY96" fmla="*/ 1690687 h 1752600"/>
              <a:gd name="connsiteX97" fmla="*/ 3114675 w 3128973"/>
              <a:gd name="connsiteY97" fmla="*/ 1685925 h 1752600"/>
              <a:gd name="connsiteX98" fmla="*/ 3124200 w 3128973"/>
              <a:gd name="connsiteY98" fmla="*/ 1671637 h 1752600"/>
              <a:gd name="connsiteX99" fmla="*/ 3128973 w 3128973"/>
              <a:gd name="connsiteY99" fmla="*/ 1651467 h 1752600"/>
              <a:gd name="connsiteX100" fmla="*/ 3128021 w 3128973"/>
              <a:gd name="connsiteY100" fmla="*/ 1710279 h 1752600"/>
              <a:gd name="connsiteX101" fmla="*/ 3043237 w 3128973"/>
              <a:gd name="connsiteY101" fmla="*/ 1714500 h 1752600"/>
              <a:gd name="connsiteX102" fmla="*/ 3028950 w 3128973"/>
              <a:gd name="connsiteY102" fmla="*/ 1728787 h 1752600"/>
              <a:gd name="connsiteX103" fmla="*/ 2986087 w 3128973"/>
              <a:gd name="connsiteY103" fmla="*/ 1738312 h 1752600"/>
              <a:gd name="connsiteX104" fmla="*/ 2971800 w 3128973"/>
              <a:gd name="connsiteY104" fmla="*/ 1743075 h 1752600"/>
              <a:gd name="connsiteX105" fmla="*/ 2943225 w 3128973"/>
              <a:gd name="connsiteY105" fmla="*/ 1738312 h 1752600"/>
              <a:gd name="connsiteX106" fmla="*/ 2928937 w 3128973"/>
              <a:gd name="connsiteY106" fmla="*/ 1747837 h 1752600"/>
              <a:gd name="connsiteX107" fmla="*/ 2914650 w 3128973"/>
              <a:gd name="connsiteY107" fmla="*/ 1752600 h 1752600"/>
              <a:gd name="connsiteX108" fmla="*/ 2895600 w 3128973"/>
              <a:gd name="connsiteY108" fmla="*/ 1724025 h 1752600"/>
              <a:gd name="connsiteX109" fmla="*/ 2883310 w 3128973"/>
              <a:gd name="connsiteY109" fmla="*/ 1701201 h 1752600"/>
              <a:gd name="connsiteX110" fmla="*/ 2883805 w 3128973"/>
              <a:gd name="connsiteY110" fmla="*/ 1696138 h 1752600"/>
              <a:gd name="connsiteX111" fmla="*/ 2871787 w 3128973"/>
              <a:gd name="connsiteY111" fmla="*/ 1685925 h 1752600"/>
              <a:gd name="connsiteX112" fmla="*/ 2847975 w 3128973"/>
              <a:gd name="connsiteY112" fmla="*/ 1657350 h 1752600"/>
              <a:gd name="connsiteX113" fmla="*/ 2834034 w 3128973"/>
              <a:gd name="connsiteY113" fmla="*/ 1637762 h 1752600"/>
              <a:gd name="connsiteX114" fmla="*/ 2814637 w 3128973"/>
              <a:gd name="connsiteY114" fmla="*/ 1619250 h 1752600"/>
              <a:gd name="connsiteX115" fmla="*/ 2809875 w 3128973"/>
              <a:gd name="connsiteY115" fmla="*/ 1604962 h 1752600"/>
              <a:gd name="connsiteX116" fmla="*/ 2795587 w 3128973"/>
              <a:gd name="connsiteY116" fmla="*/ 1600200 h 1752600"/>
              <a:gd name="connsiteX117" fmla="*/ 2781300 w 3128973"/>
              <a:gd name="connsiteY117" fmla="*/ 1590675 h 1752600"/>
              <a:gd name="connsiteX118" fmla="*/ 2752725 w 3128973"/>
              <a:gd name="connsiteY118" fmla="*/ 1581150 h 1752600"/>
              <a:gd name="connsiteX119" fmla="*/ 2733675 w 3128973"/>
              <a:gd name="connsiteY119" fmla="*/ 1625600 h 1752600"/>
              <a:gd name="connsiteX120" fmla="*/ 2709862 w 3128973"/>
              <a:gd name="connsiteY120" fmla="*/ 1619250 h 1752600"/>
              <a:gd name="connsiteX121" fmla="*/ 2723566 w 3128973"/>
              <a:gd name="connsiteY121" fmla="*/ 1590361 h 1752600"/>
              <a:gd name="connsiteX122" fmla="*/ 2674937 w 3128973"/>
              <a:gd name="connsiteY122" fmla="*/ 1560512 h 1752600"/>
              <a:gd name="connsiteX123" fmla="*/ 2643187 w 3128973"/>
              <a:gd name="connsiteY123" fmla="*/ 1495425 h 1752600"/>
              <a:gd name="connsiteX124" fmla="*/ 2628900 w 3128973"/>
              <a:gd name="connsiteY124" fmla="*/ 1490662 h 1752600"/>
              <a:gd name="connsiteX125" fmla="*/ 2595562 w 3128973"/>
              <a:gd name="connsiteY125" fmla="*/ 1481137 h 1752600"/>
              <a:gd name="connsiteX126" fmla="*/ 2581275 w 3128973"/>
              <a:gd name="connsiteY126" fmla="*/ 1466850 h 1752600"/>
              <a:gd name="connsiteX127" fmla="*/ 2552700 w 3128973"/>
              <a:gd name="connsiteY127" fmla="*/ 1457325 h 1752600"/>
              <a:gd name="connsiteX128" fmla="*/ 2538412 w 3128973"/>
              <a:gd name="connsiteY128" fmla="*/ 1447800 h 1752600"/>
              <a:gd name="connsiteX129" fmla="*/ 2519362 w 3128973"/>
              <a:gd name="connsiteY129" fmla="*/ 1443037 h 1752600"/>
              <a:gd name="connsiteX130" fmla="*/ 2490787 w 3128973"/>
              <a:gd name="connsiteY130" fmla="*/ 1433512 h 1752600"/>
              <a:gd name="connsiteX131" fmla="*/ 2476500 w 3128973"/>
              <a:gd name="connsiteY131" fmla="*/ 1428750 h 1752600"/>
              <a:gd name="connsiteX132" fmla="*/ 2466975 w 3128973"/>
              <a:gd name="connsiteY132" fmla="*/ 1414462 h 1752600"/>
              <a:gd name="connsiteX133" fmla="*/ 2447925 w 3128973"/>
              <a:gd name="connsiteY133" fmla="*/ 1409700 h 1752600"/>
              <a:gd name="connsiteX134" fmla="*/ 2309812 w 3128973"/>
              <a:gd name="connsiteY134" fmla="*/ 1395412 h 1752600"/>
              <a:gd name="connsiteX135" fmla="*/ 2295525 w 3128973"/>
              <a:gd name="connsiteY135" fmla="*/ 1390650 h 1752600"/>
              <a:gd name="connsiteX136" fmla="*/ 2257425 w 3128973"/>
              <a:gd name="connsiteY136" fmla="*/ 1381125 h 1752600"/>
              <a:gd name="connsiteX137" fmla="*/ 2238375 w 3128973"/>
              <a:gd name="connsiteY137" fmla="*/ 1366837 h 1752600"/>
              <a:gd name="connsiteX138" fmla="*/ 2224087 w 3128973"/>
              <a:gd name="connsiteY138" fmla="*/ 1362075 h 1752600"/>
              <a:gd name="connsiteX139" fmla="*/ 2176462 w 3128973"/>
              <a:gd name="connsiteY139" fmla="*/ 1338262 h 1752600"/>
              <a:gd name="connsiteX140" fmla="*/ 2162175 w 3128973"/>
              <a:gd name="connsiteY140" fmla="*/ 1328737 h 1752600"/>
              <a:gd name="connsiteX141" fmla="*/ 2114550 w 3128973"/>
              <a:gd name="connsiteY141" fmla="*/ 1314450 h 1752600"/>
              <a:gd name="connsiteX142" fmla="*/ 2100262 w 3128973"/>
              <a:gd name="connsiteY142" fmla="*/ 1300162 h 1752600"/>
              <a:gd name="connsiteX143" fmla="*/ 2085975 w 3128973"/>
              <a:gd name="connsiteY143" fmla="*/ 1295400 h 1752600"/>
              <a:gd name="connsiteX144" fmla="*/ 2055019 w 3128973"/>
              <a:gd name="connsiteY144" fmla="*/ 1290637 h 1752600"/>
              <a:gd name="connsiteX145" fmla="*/ 2028824 w 3128973"/>
              <a:gd name="connsiteY145" fmla="*/ 1283494 h 1752600"/>
              <a:gd name="connsiteX146" fmla="*/ 2005012 w 3128973"/>
              <a:gd name="connsiteY146" fmla="*/ 1271587 h 1752600"/>
              <a:gd name="connsiteX147" fmla="*/ 1985962 w 3128973"/>
              <a:gd name="connsiteY147" fmla="*/ 1262062 h 1752600"/>
              <a:gd name="connsiteX148" fmla="*/ 1971675 w 3128973"/>
              <a:gd name="connsiteY148" fmla="*/ 1257300 h 1752600"/>
              <a:gd name="connsiteX149" fmla="*/ 1943100 w 3128973"/>
              <a:gd name="connsiteY149" fmla="*/ 1238250 h 1752600"/>
              <a:gd name="connsiteX150" fmla="*/ 1914525 w 3128973"/>
              <a:gd name="connsiteY150" fmla="*/ 1219200 h 1752600"/>
              <a:gd name="connsiteX151" fmla="*/ 1885950 w 3128973"/>
              <a:gd name="connsiteY151" fmla="*/ 1209675 h 1752600"/>
              <a:gd name="connsiteX152" fmla="*/ 1843087 w 3128973"/>
              <a:gd name="connsiteY152" fmla="*/ 1195387 h 1752600"/>
              <a:gd name="connsiteX153" fmla="*/ 1757362 w 3128973"/>
              <a:gd name="connsiteY153" fmla="*/ 1185862 h 1752600"/>
              <a:gd name="connsiteX154" fmla="*/ 1700212 w 3128973"/>
              <a:gd name="connsiteY154" fmla="*/ 1166812 h 1752600"/>
              <a:gd name="connsiteX155" fmla="*/ 1671637 w 3128973"/>
              <a:gd name="connsiteY155" fmla="*/ 1147762 h 1752600"/>
              <a:gd name="connsiteX156" fmla="*/ 1652587 w 3128973"/>
              <a:gd name="connsiteY156" fmla="*/ 1138237 h 1752600"/>
              <a:gd name="connsiteX157" fmla="*/ 1638300 w 3128973"/>
              <a:gd name="connsiteY157" fmla="*/ 1128712 h 1752600"/>
              <a:gd name="connsiteX158" fmla="*/ 1590675 w 3128973"/>
              <a:gd name="connsiteY158" fmla="*/ 1138238 h 1752600"/>
              <a:gd name="connsiteX159" fmla="*/ 1559719 w 3128973"/>
              <a:gd name="connsiteY159" fmla="*/ 1109662 h 1752600"/>
              <a:gd name="connsiteX160" fmla="*/ 1528762 w 3128973"/>
              <a:gd name="connsiteY160" fmla="*/ 1085850 h 1752600"/>
              <a:gd name="connsiteX161" fmla="*/ 1514475 w 3128973"/>
              <a:gd name="connsiteY161" fmla="*/ 1081087 h 1752600"/>
              <a:gd name="connsiteX162" fmla="*/ 1470025 w 3128973"/>
              <a:gd name="connsiteY162" fmla="*/ 1130300 h 1752600"/>
              <a:gd name="connsiteX163" fmla="*/ 1433512 w 3128973"/>
              <a:gd name="connsiteY163" fmla="*/ 1108075 h 1752600"/>
              <a:gd name="connsiteX164" fmla="*/ 1423987 w 3128973"/>
              <a:gd name="connsiteY164" fmla="*/ 1087437 h 1752600"/>
              <a:gd name="connsiteX165" fmla="*/ 1381125 w 3128973"/>
              <a:gd name="connsiteY165" fmla="*/ 1095375 h 1752600"/>
              <a:gd name="connsiteX166" fmla="*/ 1383506 w 3128973"/>
              <a:gd name="connsiteY166" fmla="*/ 1028700 h 1752600"/>
              <a:gd name="connsiteX167" fmla="*/ 1366838 w 3128973"/>
              <a:gd name="connsiteY167" fmla="*/ 1019175 h 1752600"/>
              <a:gd name="connsiteX168" fmla="*/ 1335881 w 3128973"/>
              <a:gd name="connsiteY168" fmla="*/ 1007268 h 1752600"/>
              <a:gd name="connsiteX169" fmla="*/ 1319213 w 3128973"/>
              <a:gd name="connsiteY169" fmla="*/ 1007268 h 1752600"/>
              <a:gd name="connsiteX170" fmla="*/ 1295400 w 3128973"/>
              <a:gd name="connsiteY170" fmla="*/ 976312 h 1752600"/>
              <a:gd name="connsiteX171" fmla="*/ 1281112 w 3128973"/>
              <a:gd name="connsiteY171" fmla="*/ 966787 h 1752600"/>
              <a:gd name="connsiteX172" fmla="*/ 1238250 w 3128973"/>
              <a:gd name="connsiteY172" fmla="*/ 947737 h 1752600"/>
              <a:gd name="connsiteX173" fmla="*/ 1212850 w 3128973"/>
              <a:gd name="connsiteY173" fmla="*/ 995362 h 1752600"/>
              <a:gd name="connsiteX174" fmla="*/ 1201737 w 3128973"/>
              <a:gd name="connsiteY174" fmla="*/ 987425 h 1752600"/>
              <a:gd name="connsiteX175" fmla="*/ 1163637 w 3128973"/>
              <a:gd name="connsiteY175" fmla="*/ 952277 h 1752600"/>
              <a:gd name="connsiteX176" fmla="*/ 1133475 w 3128973"/>
              <a:gd name="connsiteY176" fmla="*/ 925512 h 1752600"/>
              <a:gd name="connsiteX177" fmla="*/ 1085850 w 3128973"/>
              <a:gd name="connsiteY177" fmla="*/ 859631 h 1752600"/>
              <a:gd name="connsiteX178" fmla="*/ 1071562 w 3128973"/>
              <a:gd name="connsiteY178" fmla="*/ 842962 h 1752600"/>
              <a:gd name="connsiteX179" fmla="*/ 1047750 w 3128973"/>
              <a:gd name="connsiteY179" fmla="*/ 819150 h 1752600"/>
              <a:gd name="connsiteX180" fmla="*/ 1028700 w 3128973"/>
              <a:gd name="connsiteY180" fmla="*/ 804862 h 1752600"/>
              <a:gd name="connsiteX181" fmla="*/ 1018076 w 3128973"/>
              <a:gd name="connsiteY181" fmla="*/ 794816 h 1752600"/>
              <a:gd name="connsiteX182" fmla="*/ 1000125 w 3128973"/>
              <a:gd name="connsiteY182" fmla="*/ 785812 h 1752600"/>
              <a:gd name="connsiteX183" fmla="*/ 984342 w 3128973"/>
              <a:gd name="connsiteY183" fmla="*/ 773578 h 1752600"/>
              <a:gd name="connsiteX184" fmla="*/ 957262 w 3128973"/>
              <a:gd name="connsiteY184" fmla="*/ 766762 h 1752600"/>
              <a:gd name="connsiteX185" fmla="*/ 938212 w 3128973"/>
              <a:gd name="connsiteY185" fmla="*/ 757237 h 1752600"/>
              <a:gd name="connsiteX186" fmla="*/ 904875 w 3128973"/>
              <a:gd name="connsiteY186" fmla="*/ 747712 h 1752600"/>
              <a:gd name="connsiteX187" fmla="*/ 862012 w 3128973"/>
              <a:gd name="connsiteY187" fmla="*/ 723900 h 1752600"/>
              <a:gd name="connsiteX188" fmla="*/ 795337 w 3128973"/>
              <a:gd name="connsiteY188" fmla="*/ 685800 h 1752600"/>
              <a:gd name="connsiteX189" fmla="*/ 776287 w 3128973"/>
              <a:gd name="connsiteY189" fmla="*/ 666750 h 1752600"/>
              <a:gd name="connsiteX190" fmla="*/ 762000 w 3128973"/>
              <a:gd name="connsiteY190" fmla="*/ 661987 h 1752600"/>
              <a:gd name="connsiteX191" fmla="*/ 742950 w 3128973"/>
              <a:gd name="connsiteY191" fmla="*/ 647700 h 1752600"/>
              <a:gd name="connsiteX192" fmla="*/ 709612 w 3128973"/>
              <a:gd name="connsiteY192" fmla="*/ 638175 h 1752600"/>
              <a:gd name="connsiteX193" fmla="*/ 695325 w 3128973"/>
              <a:gd name="connsiteY193" fmla="*/ 628650 h 1752600"/>
              <a:gd name="connsiteX194" fmla="*/ 681037 w 3128973"/>
              <a:gd name="connsiteY194" fmla="*/ 623887 h 1752600"/>
              <a:gd name="connsiteX195" fmla="*/ 676275 w 3128973"/>
              <a:gd name="connsiteY195" fmla="*/ 604837 h 1752600"/>
              <a:gd name="connsiteX196" fmla="*/ 666750 w 3128973"/>
              <a:gd name="connsiteY196" fmla="*/ 576262 h 1752600"/>
              <a:gd name="connsiteX197" fmla="*/ 661987 w 3128973"/>
              <a:gd name="connsiteY197" fmla="*/ 561975 h 1752600"/>
              <a:gd name="connsiteX198" fmla="*/ 666750 w 3128973"/>
              <a:gd name="connsiteY198" fmla="*/ 538162 h 1752600"/>
              <a:gd name="connsiteX199" fmla="*/ 638175 w 3128973"/>
              <a:gd name="connsiteY199" fmla="*/ 514350 h 1752600"/>
              <a:gd name="connsiteX200" fmla="*/ 619125 w 3128973"/>
              <a:gd name="connsiteY200" fmla="*/ 500062 h 1752600"/>
              <a:gd name="connsiteX201" fmla="*/ 576262 w 3128973"/>
              <a:gd name="connsiteY201" fmla="*/ 490537 h 1752600"/>
              <a:gd name="connsiteX202" fmla="*/ 542925 w 3128973"/>
              <a:gd name="connsiteY202" fmla="*/ 452437 h 1752600"/>
              <a:gd name="connsiteX203" fmla="*/ 525462 w 3128973"/>
              <a:gd name="connsiteY203" fmla="*/ 485775 h 1752600"/>
              <a:gd name="connsiteX204" fmla="*/ 504825 w 3128973"/>
              <a:gd name="connsiteY204" fmla="*/ 466725 h 1752600"/>
              <a:gd name="connsiteX205" fmla="*/ 454025 w 3128973"/>
              <a:gd name="connsiteY205" fmla="*/ 466725 h 1752600"/>
              <a:gd name="connsiteX206" fmla="*/ 407987 w 3128973"/>
              <a:gd name="connsiteY206" fmla="*/ 473075 h 1752600"/>
              <a:gd name="connsiteX207" fmla="*/ 395287 w 3128973"/>
              <a:gd name="connsiteY207" fmla="*/ 409575 h 1752600"/>
              <a:gd name="connsiteX208" fmla="*/ 376237 w 3128973"/>
              <a:gd name="connsiteY208" fmla="*/ 404812 h 1752600"/>
              <a:gd name="connsiteX209" fmla="*/ 342900 w 3128973"/>
              <a:gd name="connsiteY209" fmla="*/ 400050 h 1752600"/>
              <a:gd name="connsiteX210" fmla="*/ 314325 w 3128973"/>
              <a:gd name="connsiteY210" fmla="*/ 390525 h 1752600"/>
              <a:gd name="connsiteX211" fmla="*/ 273844 w 3128973"/>
              <a:gd name="connsiteY211" fmla="*/ 383382 h 1752600"/>
              <a:gd name="connsiteX212" fmla="*/ 257175 w 3128973"/>
              <a:gd name="connsiteY212" fmla="*/ 371475 h 1752600"/>
              <a:gd name="connsiteX213" fmla="*/ 245269 w 3128973"/>
              <a:gd name="connsiteY213" fmla="*/ 364331 h 1752600"/>
              <a:gd name="connsiteX214" fmla="*/ 223837 w 3128973"/>
              <a:gd name="connsiteY214" fmla="*/ 347662 h 1752600"/>
              <a:gd name="connsiteX215" fmla="*/ 190500 w 3128973"/>
              <a:gd name="connsiteY215" fmla="*/ 338137 h 1752600"/>
              <a:gd name="connsiteX216" fmla="*/ 147637 w 3128973"/>
              <a:gd name="connsiteY216" fmla="*/ 333375 h 1752600"/>
              <a:gd name="connsiteX217" fmla="*/ 119062 w 3128973"/>
              <a:gd name="connsiteY217" fmla="*/ 323850 h 1752600"/>
              <a:gd name="connsiteX218" fmla="*/ 104775 w 3128973"/>
              <a:gd name="connsiteY218" fmla="*/ 319087 h 1752600"/>
              <a:gd name="connsiteX219" fmla="*/ 61912 w 3128973"/>
              <a:gd name="connsiteY219" fmla="*/ 300037 h 1752600"/>
              <a:gd name="connsiteX220" fmla="*/ 23812 w 3128973"/>
              <a:gd name="connsiteY220" fmla="*/ 290512 h 1752600"/>
              <a:gd name="connsiteX221" fmla="*/ 9525 w 3128973"/>
              <a:gd name="connsiteY221" fmla="*/ 261937 h 1752600"/>
              <a:gd name="connsiteX222" fmla="*/ 0 w 3128973"/>
              <a:gd name="connsiteY222" fmla="*/ 290512 h 1752600"/>
              <a:gd name="connsiteX223" fmla="*/ 4762 w 3128973"/>
              <a:gd name="connsiteY223" fmla="*/ 247650 h 1752600"/>
              <a:gd name="connsiteX224" fmla="*/ 19050 w 3128973"/>
              <a:gd name="connsiteY224" fmla="*/ 200025 h 1752600"/>
              <a:gd name="connsiteX225" fmla="*/ 23812 w 3128973"/>
              <a:gd name="connsiteY225" fmla="*/ 185737 h 1752600"/>
              <a:gd name="connsiteX226" fmla="*/ 71437 w 3128973"/>
              <a:gd name="connsiteY226" fmla="*/ 171450 h 1752600"/>
              <a:gd name="connsiteX227" fmla="*/ 85725 w 3128973"/>
              <a:gd name="connsiteY227" fmla="*/ 166687 h 1752600"/>
              <a:gd name="connsiteX228" fmla="*/ 100012 w 3128973"/>
              <a:gd name="connsiteY228" fmla="*/ 161925 h 1752600"/>
              <a:gd name="connsiteX229" fmla="*/ 114300 w 3128973"/>
              <a:gd name="connsiteY229" fmla="*/ 152400 h 1752600"/>
              <a:gd name="connsiteX230" fmla="*/ 133350 w 3128973"/>
              <a:gd name="connsiteY230" fmla="*/ 123825 h 1752600"/>
              <a:gd name="connsiteX231" fmla="*/ 138112 w 3128973"/>
              <a:gd name="connsiteY231" fmla="*/ 109537 h 1752600"/>
              <a:gd name="connsiteX232" fmla="*/ 135467 w 3128973"/>
              <a:gd name="connsiteY232" fmla="*/ 97059 h 1752600"/>
              <a:gd name="connsiteX233" fmla="*/ 142875 w 3128973"/>
              <a:gd name="connsiteY233" fmla="*/ 71437 h 1752600"/>
              <a:gd name="connsiteX234" fmla="*/ 157162 w 3128973"/>
              <a:gd name="connsiteY234" fmla="*/ 57150 h 1752600"/>
              <a:gd name="connsiteX235" fmla="*/ 200025 w 3128973"/>
              <a:gd name="connsiteY235" fmla="*/ 33337 h 1752600"/>
              <a:gd name="connsiteX236" fmla="*/ 309562 w 3128973"/>
              <a:gd name="connsiteY236" fmla="*/ 28575 h 1752600"/>
              <a:gd name="connsiteX237" fmla="*/ 400050 w 3128973"/>
              <a:gd name="connsiteY237" fmla="*/ 14287 h 1752600"/>
              <a:gd name="connsiteX238" fmla="*/ 414337 w 3128973"/>
              <a:gd name="connsiteY238" fmla="*/ 9525 h 1752600"/>
              <a:gd name="connsiteX239" fmla="*/ 481012 w 3128973"/>
              <a:gd name="connsiteY239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364581 w 3128973"/>
              <a:gd name="connsiteY28" fmla="*/ 112345 h 1752600"/>
              <a:gd name="connsiteX29" fmla="*/ 2046801 w 3128973"/>
              <a:gd name="connsiteY29" fmla="*/ 262295 h 1752600"/>
              <a:gd name="connsiteX30" fmla="*/ 2033587 w 3128973"/>
              <a:gd name="connsiteY30" fmla="*/ 266700 h 1752600"/>
              <a:gd name="connsiteX31" fmla="*/ 2019300 w 3128973"/>
              <a:gd name="connsiteY31" fmla="*/ 280987 h 1752600"/>
              <a:gd name="connsiteX32" fmla="*/ 1990725 w 3128973"/>
              <a:gd name="connsiteY32" fmla="*/ 300037 h 1752600"/>
              <a:gd name="connsiteX33" fmla="*/ 1981200 w 3128973"/>
              <a:gd name="connsiteY33" fmla="*/ 314325 h 1752600"/>
              <a:gd name="connsiteX34" fmla="*/ 1981200 w 3128973"/>
              <a:gd name="connsiteY34" fmla="*/ 419100 h 1752600"/>
              <a:gd name="connsiteX35" fmla="*/ 1985962 w 3128973"/>
              <a:gd name="connsiteY35" fmla="*/ 433387 h 1752600"/>
              <a:gd name="connsiteX36" fmla="*/ 2000250 w 3128973"/>
              <a:gd name="connsiteY36" fmla="*/ 442912 h 1752600"/>
              <a:gd name="connsiteX37" fmla="*/ 2005012 w 3128973"/>
              <a:gd name="connsiteY37" fmla="*/ 457200 h 1752600"/>
              <a:gd name="connsiteX38" fmla="*/ 2005012 w 3128973"/>
              <a:gd name="connsiteY38" fmla="*/ 561975 h 1752600"/>
              <a:gd name="connsiteX39" fmla="*/ 2009775 w 3128973"/>
              <a:gd name="connsiteY39" fmla="*/ 576262 h 1752600"/>
              <a:gd name="connsiteX40" fmla="*/ 2024062 w 3128973"/>
              <a:gd name="connsiteY40" fmla="*/ 581025 h 1752600"/>
              <a:gd name="connsiteX41" fmla="*/ 2038350 w 3128973"/>
              <a:gd name="connsiteY41" fmla="*/ 595312 h 1752600"/>
              <a:gd name="connsiteX42" fmla="*/ 2052637 w 3128973"/>
              <a:gd name="connsiteY42" fmla="*/ 600075 h 1752600"/>
              <a:gd name="connsiteX43" fmla="*/ 2133600 w 3128973"/>
              <a:gd name="connsiteY43" fmla="*/ 590550 h 1752600"/>
              <a:gd name="connsiteX44" fmla="*/ 2147887 w 3128973"/>
              <a:gd name="connsiteY44" fmla="*/ 585787 h 1752600"/>
              <a:gd name="connsiteX45" fmla="*/ 2195512 w 3128973"/>
              <a:gd name="connsiteY45" fmla="*/ 600075 h 1752600"/>
              <a:gd name="connsiteX46" fmla="*/ 2205037 w 3128973"/>
              <a:gd name="connsiteY46" fmla="*/ 614362 h 1752600"/>
              <a:gd name="connsiteX47" fmla="*/ 2219325 w 3128973"/>
              <a:gd name="connsiteY47" fmla="*/ 628650 h 1752600"/>
              <a:gd name="connsiteX48" fmla="*/ 2224087 w 3128973"/>
              <a:gd name="connsiteY48" fmla="*/ 642937 h 1752600"/>
              <a:gd name="connsiteX49" fmla="*/ 2233612 w 3128973"/>
              <a:gd name="connsiteY49" fmla="*/ 657225 h 1752600"/>
              <a:gd name="connsiteX50" fmla="*/ 2247900 w 3128973"/>
              <a:gd name="connsiteY50" fmla="*/ 685800 h 1752600"/>
              <a:gd name="connsiteX51" fmla="*/ 2262187 w 3128973"/>
              <a:gd name="connsiteY51" fmla="*/ 733425 h 1752600"/>
              <a:gd name="connsiteX52" fmla="*/ 2305050 w 3128973"/>
              <a:gd name="connsiteY52" fmla="*/ 771525 h 1752600"/>
              <a:gd name="connsiteX53" fmla="*/ 2319337 w 3128973"/>
              <a:gd name="connsiteY53" fmla="*/ 804862 h 1752600"/>
              <a:gd name="connsiteX54" fmla="*/ 2333625 w 3128973"/>
              <a:gd name="connsiteY54" fmla="*/ 819150 h 1752600"/>
              <a:gd name="connsiteX55" fmla="*/ 2338387 w 3128973"/>
              <a:gd name="connsiteY55" fmla="*/ 833437 h 1752600"/>
              <a:gd name="connsiteX56" fmla="*/ 2352675 w 3128973"/>
              <a:gd name="connsiteY56" fmla="*/ 847725 h 1752600"/>
              <a:gd name="connsiteX57" fmla="*/ 2395537 w 3128973"/>
              <a:gd name="connsiteY57" fmla="*/ 871537 h 1752600"/>
              <a:gd name="connsiteX58" fmla="*/ 2409825 w 3128973"/>
              <a:gd name="connsiteY58" fmla="*/ 890587 h 1752600"/>
              <a:gd name="connsiteX59" fmla="*/ 2424112 w 3128973"/>
              <a:gd name="connsiteY59" fmla="*/ 895350 h 1752600"/>
              <a:gd name="connsiteX60" fmla="*/ 2433637 w 3128973"/>
              <a:gd name="connsiteY60" fmla="*/ 914400 h 1752600"/>
              <a:gd name="connsiteX61" fmla="*/ 2466975 w 3128973"/>
              <a:gd name="connsiteY61" fmla="*/ 942975 h 1752600"/>
              <a:gd name="connsiteX62" fmla="*/ 2474637 w 3128973"/>
              <a:gd name="connsiteY62" fmla="*/ 954728 h 1752600"/>
              <a:gd name="connsiteX63" fmla="*/ 2495550 w 3128973"/>
              <a:gd name="connsiteY63" fmla="*/ 971550 h 1752600"/>
              <a:gd name="connsiteX64" fmla="*/ 2508776 w 3128973"/>
              <a:gd name="connsiteY64" fmla="*/ 983894 h 1752600"/>
              <a:gd name="connsiteX65" fmla="*/ 2533650 w 3128973"/>
              <a:gd name="connsiteY65" fmla="*/ 1000125 h 1752600"/>
              <a:gd name="connsiteX66" fmla="*/ 2547937 w 3128973"/>
              <a:gd name="connsiteY66" fmla="*/ 1028700 h 1752600"/>
              <a:gd name="connsiteX67" fmla="*/ 2552700 w 3128973"/>
              <a:gd name="connsiteY67" fmla="*/ 1042987 h 1752600"/>
              <a:gd name="connsiteX68" fmla="*/ 2576512 w 3128973"/>
              <a:gd name="connsiteY68" fmla="*/ 1071562 h 1752600"/>
              <a:gd name="connsiteX69" fmla="*/ 2584921 w 3128973"/>
              <a:gd name="connsiteY69" fmla="*/ 1082873 h 1752600"/>
              <a:gd name="connsiteX70" fmla="*/ 2600325 w 3128973"/>
              <a:gd name="connsiteY70" fmla="*/ 1095375 h 1752600"/>
              <a:gd name="connsiteX71" fmla="*/ 2609850 w 3128973"/>
              <a:gd name="connsiteY71" fmla="*/ 1109662 h 1752600"/>
              <a:gd name="connsiteX72" fmla="*/ 2652712 w 3128973"/>
              <a:gd name="connsiteY72" fmla="*/ 1143000 h 1752600"/>
              <a:gd name="connsiteX73" fmla="*/ 2681287 w 3128973"/>
              <a:gd name="connsiteY73" fmla="*/ 1152525 h 1752600"/>
              <a:gd name="connsiteX74" fmla="*/ 2700337 w 3128973"/>
              <a:gd name="connsiteY74" fmla="*/ 1162050 h 1752600"/>
              <a:gd name="connsiteX75" fmla="*/ 2714625 w 3128973"/>
              <a:gd name="connsiteY75" fmla="*/ 1171575 h 1752600"/>
              <a:gd name="connsiteX76" fmla="*/ 2752725 w 3128973"/>
              <a:gd name="connsiteY76" fmla="*/ 1181100 h 1752600"/>
              <a:gd name="connsiteX77" fmla="*/ 2767012 w 3128973"/>
              <a:gd name="connsiteY77" fmla="*/ 1195387 h 1752600"/>
              <a:gd name="connsiteX78" fmla="*/ 2781300 w 3128973"/>
              <a:gd name="connsiteY78" fmla="*/ 1200150 h 1752600"/>
              <a:gd name="connsiteX79" fmla="*/ 2795587 w 3128973"/>
              <a:gd name="connsiteY79" fmla="*/ 1209675 h 1752600"/>
              <a:gd name="connsiteX80" fmla="*/ 2805112 w 3128973"/>
              <a:gd name="connsiteY80" fmla="*/ 1223962 h 1752600"/>
              <a:gd name="connsiteX81" fmla="*/ 2809875 w 3128973"/>
              <a:gd name="connsiteY81" fmla="*/ 1238250 h 1752600"/>
              <a:gd name="connsiteX82" fmla="*/ 2833687 w 3128973"/>
              <a:gd name="connsiteY82" fmla="*/ 1276350 h 1752600"/>
              <a:gd name="connsiteX83" fmla="*/ 2895600 w 3128973"/>
              <a:gd name="connsiteY83" fmla="*/ 1333500 h 1752600"/>
              <a:gd name="connsiteX84" fmla="*/ 2900362 w 3128973"/>
              <a:gd name="connsiteY84" fmla="*/ 1352550 h 1752600"/>
              <a:gd name="connsiteX85" fmla="*/ 2928937 w 3128973"/>
              <a:gd name="connsiteY85" fmla="*/ 1395412 h 1752600"/>
              <a:gd name="connsiteX86" fmla="*/ 2943225 w 3128973"/>
              <a:gd name="connsiteY86" fmla="*/ 1404937 h 1752600"/>
              <a:gd name="connsiteX87" fmla="*/ 2957512 w 3128973"/>
              <a:gd name="connsiteY87" fmla="*/ 1419225 h 1752600"/>
              <a:gd name="connsiteX88" fmla="*/ 2986087 w 3128973"/>
              <a:gd name="connsiteY88" fmla="*/ 1443037 h 1752600"/>
              <a:gd name="connsiteX89" fmla="*/ 3000375 w 3128973"/>
              <a:gd name="connsiteY89" fmla="*/ 1462087 h 1752600"/>
              <a:gd name="connsiteX90" fmla="*/ 3016395 w 3128973"/>
              <a:gd name="connsiteY90" fmla="*/ 1476222 h 1752600"/>
              <a:gd name="connsiteX91" fmla="*/ 3028950 w 3128973"/>
              <a:gd name="connsiteY91" fmla="*/ 1495425 h 1752600"/>
              <a:gd name="connsiteX92" fmla="*/ 3043237 w 3128973"/>
              <a:gd name="connsiteY92" fmla="*/ 1552575 h 1752600"/>
              <a:gd name="connsiteX93" fmla="*/ 3052762 w 3128973"/>
              <a:gd name="connsiteY93" fmla="*/ 1566862 h 1752600"/>
              <a:gd name="connsiteX94" fmla="*/ 3057525 w 3128973"/>
              <a:gd name="connsiteY94" fmla="*/ 1581150 h 1752600"/>
              <a:gd name="connsiteX95" fmla="*/ 3067050 w 3128973"/>
              <a:gd name="connsiteY95" fmla="*/ 1662112 h 1752600"/>
              <a:gd name="connsiteX96" fmla="*/ 3071812 w 3128973"/>
              <a:gd name="connsiteY96" fmla="*/ 1676400 h 1752600"/>
              <a:gd name="connsiteX97" fmla="*/ 3100387 w 3128973"/>
              <a:gd name="connsiteY97" fmla="*/ 1690687 h 1752600"/>
              <a:gd name="connsiteX98" fmla="*/ 3114675 w 3128973"/>
              <a:gd name="connsiteY98" fmla="*/ 1685925 h 1752600"/>
              <a:gd name="connsiteX99" fmla="*/ 3124200 w 3128973"/>
              <a:gd name="connsiteY99" fmla="*/ 1671637 h 1752600"/>
              <a:gd name="connsiteX100" fmla="*/ 3128973 w 3128973"/>
              <a:gd name="connsiteY100" fmla="*/ 1651467 h 1752600"/>
              <a:gd name="connsiteX101" fmla="*/ 3128021 w 3128973"/>
              <a:gd name="connsiteY101" fmla="*/ 1710279 h 1752600"/>
              <a:gd name="connsiteX102" fmla="*/ 3043237 w 3128973"/>
              <a:gd name="connsiteY102" fmla="*/ 1714500 h 1752600"/>
              <a:gd name="connsiteX103" fmla="*/ 3028950 w 3128973"/>
              <a:gd name="connsiteY103" fmla="*/ 1728787 h 1752600"/>
              <a:gd name="connsiteX104" fmla="*/ 2986087 w 3128973"/>
              <a:gd name="connsiteY104" fmla="*/ 1738312 h 1752600"/>
              <a:gd name="connsiteX105" fmla="*/ 2971800 w 3128973"/>
              <a:gd name="connsiteY105" fmla="*/ 1743075 h 1752600"/>
              <a:gd name="connsiteX106" fmla="*/ 2943225 w 3128973"/>
              <a:gd name="connsiteY106" fmla="*/ 1738312 h 1752600"/>
              <a:gd name="connsiteX107" fmla="*/ 2928937 w 3128973"/>
              <a:gd name="connsiteY107" fmla="*/ 1747837 h 1752600"/>
              <a:gd name="connsiteX108" fmla="*/ 2914650 w 3128973"/>
              <a:gd name="connsiteY108" fmla="*/ 1752600 h 1752600"/>
              <a:gd name="connsiteX109" fmla="*/ 2895600 w 3128973"/>
              <a:gd name="connsiteY109" fmla="*/ 1724025 h 1752600"/>
              <a:gd name="connsiteX110" fmla="*/ 2883310 w 3128973"/>
              <a:gd name="connsiteY110" fmla="*/ 1701201 h 1752600"/>
              <a:gd name="connsiteX111" fmla="*/ 2883805 w 3128973"/>
              <a:gd name="connsiteY111" fmla="*/ 1696138 h 1752600"/>
              <a:gd name="connsiteX112" fmla="*/ 2871787 w 3128973"/>
              <a:gd name="connsiteY112" fmla="*/ 1685925 h 1752600"/>
              <a:gd name="connsiteX113" fmla="*/ 2847975 w 3128973"/>
              <a:gd name="connsiteY113" fmla="*/ 1657350 h 1752600"/>
              <a:gd name="connsiteX114" fmla="*/ 2834034 w 3128973"/>
              <a:gd name="connsiteY114" fmla="*/ 1637762 h 1752600"/>
              <a:gd name="connsiteX115" fmla="*/ 2814637 w 3128973"/>
              <a:gd name="connsiteY115" fmla="*/ 1619250 h 1752600"/>
              <a:gd name="connsiteX116" fmla="*/ 2809875 w 3128973"/>
              <a:gd name="connsiteY116" fmla="*/ 1604962 h 1752600"/>
              <a:gd name="connsiteX117" fmla="*/ 2795587 w 3128973"/>
              <a:gd name="connsiteY117" fmla="*/ 1600200 h 1752600"/>
              <a:gd name="connsiteX118" fmla="*/ 2781300 w 3128973"/>
              <a:gd name="connsiteY118" fmla="*/ 1590675 h 1752600"/>
              <a:gd name="connsiteX119" fmla="*/ 2752725 w 3128973"/>
              <a:gd name="connsiteY119" fmla="*/ 1581150 h 1752600"/>
              <a:gd name="connsiteX120" fmla="*/ 2733675 w 3128973"/>
              <a:gd name="connsiteY120" fmla="*/ 1625600 h 1752600"/>
              <a:gd name="connsiteX121" fmla="*/ 2709862 w 3128973"/>
              <a:gd name="connsiteY121" fmla="*/ 1619250 h 1752600"/>
              <a:gd name="connsiteX122" fmla="*/ 2723566 w 3128973"/>
              <a:gd name="connsiteY122" fmla="*/ 1590361 h 1752600"/>
              <a:gd name="connsiteX123" fmla="*/ 2674937 w 3128973"/>
              <a:gd name="connsiteY123" fmla="*/ 1560512 h 1752600"/>
              <a:gd name="connsiteX124" fmla="*/ 2643187 w 3128973"/>
              <a:gd name="connsiteY124" fmla="*/ 1495425 h 1752600"/>
              <a:gd name="connsiteX125" fmla="*/ 2628900 w 3128973"/>
              <a:gd name="connsiteY125" fmla="*/ 1490662 h 1752600"/>
              <a:gd name="connsiteX126" fmla="*/ 2595562 w 3128973"/>
              <a:gd name="connsiteY126" fmla="*/ 1481137 h 1752600"/>
              <a:gd name="connsiteX127" fmla="*/ 2581275 w 3128973"/>
              <a:gd name="connsiteY127" fmla="*/ 1466850 h 1752600"/>
              <a:gd name="connsiteX128" fmla="*/ 2552700 w 3128973"/>
              <a:gd name="connsiteY128" fmla="*/ 1457325 h 1752600"/>
              <a:gd name="connsiteX129" fmla="*/ 2538412 w 3128973"/>
              <a:gd name="connsiteY129" fmla="*/ 1447800 h 1752600"/>
              <a:gd name="connsiteX130" fmla="*/ 2519362 w 3128973"/>
              <a:gd name="connsiteY130" fmla="*/ 1443037 h 1752600"/>
              <a:gd name="connsiteX131" fmla="*/ 2490787 w 3128973"/>
              <a:gd name="connsiteY131" fmla="*/ 1433512 h 1752600"/>
              <a:gd name="connsiteX132" fmla="*/ 2476500 w 3128973"/>
              <a:gd name="connsiteY132" fmla="*/ 1428750 h 1752600"/>
              <a:gd name="connsiteX133" fmla="*/ 2466975 w 3128973"/>
              <a:gd name="connsiteY133" fmla="*/ 1414462 h 1752600"/>
              <a:gd name="connsiteX134" fmla="*/ 2447925 w 3128973"/>
              <a:gd name="connsiteY134" fmla="*/ 1409700 h 1752600"/>
              <a:gd name="connsiteX135" fmla="*/ 2309812 w 3128973"/>
              <a:gd name="connsiteY135" fmla="*/ 1395412 h 1752600"/>
              <a:gd name="connsiteX136" fmla="*/ 2295525 w 3128973"/>
              <a:gd name="connsiteY136" fmla="*/ 1390650 h 1752600"/>
              <a:gd name="connsiteX137" fmla="*/ 2257425 w 3128973"/>
              <a:gd name="connsiteY137" fmla="*/ 1381125 h 1752600"/>
              <a:gd name="connsiteX138" fmla="*/ 2238375 w 3128973"/>
              <a:gd name="connsiteY138" fmla="*/ 1366837 h 1752600"/>
              <a:gd name="connsiteX139" fmla="*/ 2224087 w 3128973"/>
              <a:gd name="connsiteY139" fmla="*/ 1362075 h 1752600"/>
              <a:gd name="connsiteX140" fmla="*/ 2176462 w 3128973"/>
              <a:gd name="connsiteY140" fmla="*/ 1338262 h 1752600"/>
              <a:gd name="connsiteX141" fmla="*/ 2162175 w 3128973"/>
              <a:gd name="connsiteY141" fmla="*/ 1328737 h 1752600"/>
              <a:gd name="connsiteX142" fmla="*/ 2114550 w 3128973"/>
              <a:gd name="connsiteY142" fmla="*/ 1314450 h 1752600"/>
              <a:gd name="connsiteX143" fmla="*/ 2100262 w 3128973"/>
              <a:gd name="connsiteY143" fmla="*/ 1300162 h 1752600"/>
              <a:gd name="connsiteX144" fmla="*/ 2085975 w 3128973"/>
              <a:gd name="connsiteY144" fmla="*/ 1295400 h 1752600"/>
              <a:gd name="connsiteX145" fmla="*/ 2055019 w 3128973"/>
              <a:gd name="connsiteY145" fmla="*/ 1290637 h 1752600"/>
              <a:gd name="connsiteX146" fmla="*/ 2028824 w 3128973"/>
              <a:gd name="connsiteY146" fmla="*/ 1283494 h 1752600"/>
              <a:gd name="connsiteX147" fmla="*/ 2005012 w 3128973"/>
              <a:gd name="connsiteY147" fmla="*/ 1271587 h 1752600"/>
              <a:gd name="connsiteX148" fmla="*/ 1985962 w 3128973"/>
              <a:gd name="connsiteY148" fmla="*/ 1262062 h 1752600"/>
              <a:gd name="connsiteX149" fmla="*/ 1971675 w 3128973"/>
              <a:gd name="connsiteY149" fmla="*/ 1257300 h 1752600"/>
              <a:gd name="connsiteX150" fmla="*/ 1943100 w 3128973"/>
              <a:gd name="connsiteY150" fmla="*/ 1238250 h 1752600"/>
              <a:gd name="connsiteX151" fmla="*/ 1914525 w 3128973"/>
              <a:gd name="connsiteY151" fmla="*/ 1219200 h 1752600"/>
              <a:gd name="connsiteX152" fmla="*/ 1885950 w 3128973"/>
              <a:gd name="connsiteY152" fmla="*/ 1209675 h 1752600"/>
              <a:gd name="connsiteX153" fmla="*/ 1843087 w 3128973"/>
              <a:gd name="connsiteY153" fmla="*/ 1195387 h 1752600"/>
              <a:gd name="connsiteX154" fmla="*/ 1757362 w 3128973"/>
              <a:gd name="connsiteY154" fmla="*/ 1185862 h 1752600"/>
              <a:gd name="connsiteX155" fmla="*/ 1700212 w 3128973"/>
              <a:gd name="connsiteY155" fmla="*/ 1166812 h 1752600"/>
              <a:gd name="connsiteX156" fmla="*/ 1671637 w 3128973"/>
              <a:gd name="connsiteY156" fmla="*/ 1147762 h 1752600"/>
              <a:gd name="connsiteX157" fmla="*/ 1652587 w 3128973"/>
              <a:gd name="connsiteY157" fmla="*/ 1138237 h 1752600"/>
              <a:gd name="connsiteX158" fmla="*/ 1638300 w 3128973"/>
              <a:gd name="connsiteY158" fmla="*/ 1128712 h 1752600"/>
              <a:gd name="connsiteX159" fmla="*/ 1590675 w 3128973"/>
              <a:gd name="connsiteY159" fmla="*/ 1138238 h 1752600"/>
              <a:gd name="connsiteX160" fmla="*/ 1559719 w 3128973"/>
              <a:gd name="connsiteY160" fmla="*/ 1109662 h 1752600"/>
              <a:gd name="connsiteX161" fmla="*/ 1528762 w 3128973"/>
              <a:gd name="connsiteY161" fmla="*/ 1085850 h 1752600"/>
              <a:gd name="connsiteX162" fmla="*/ 1514475 w 3128973"/>
              <a:gd name="connsiteY162" fmla="*/ 1081087 h 1752600"/>
              <a:gd name="connsiteX163" fmla="*/ 1470025 w 3128973"/>
              <a:gd name="connsiteY163" fmla="*/ 1130300 h 1752600"/>
              <a:gd name="connsiteX164" fmla="*/ 1433512 w 3128973"/>
              <a:gd name="connsiteY164" fmla="*/ 1108075 h 1752600"/>
              <a:gd name="connsiteX165" fmla="*/ 1423987 w 3128973"/>
              <a:gd name="connsiteY165" fmla="*/ 1087437 h 1752600"/>
              <a:gd name="connsiteX166" fmla="*/ 1381125 w 3128973"/>
              <a:gd name="connsiteY166" fmla="*/ 1095375 h 1752600"/>
              <a:gd name="connsiteX167" fmla="*/ 1383506 w 3128973"/>
              <a:gd name="connsiteY167" fmla="*/ 1028700 h 1752600"/>
              <a:gd name="connsiteX168" fmla="*/ 1366838 w 3128973"/>
              <a:gd name="connsiteY168" fmla="*/ 1019175 h 1752600"/>
              <a:gd name="connsiteX169" fmla="*/ 1335881 w 3128973"/>
              <a:gd name="connsiteY169" fmla="*/ 1007268 h 1752600"/>
              <a:gd name="connsiteX170" fmla="*/ 1319213 w 3128973"/>
              <a:gd name="connsiteY170" fmla="*/ 1007268 h 1752600"/>
              <a:gd name="connsiteX171" fmla="*/ 1295400 w 3128973"/>
              <a:gd name="connsiteY171" fmla="*/ 976312 h 1752600"/>
              <a:gd name="connsiteX172" fmla="*/ 1281112 w 3128973"/>
              <a:gd name="connsiteY172" fmla="*/ 966787 h 1752600"/>
              <a:gd name="connsiteX173" fmla="*/ 1238250 w 3128973"/>
              <a:gd name="connsiteY173" fmla="*/ 947737 h 1752600"/>
              <a:gd name="connsiteX174" fmla="*/ 1212850 w 3128973"/>
              <a:gd name="connsiteY174" fmla="*/ 995362 h 1752600"/>
              <a:gd name="connsiteX175" fmla="*/ 1201737 w 3128973"/>
              <a:gd name="connsiteY175" fmla="*/ 987425 h 1752600"/>
              <a:gd name="connsiteX176" fmla="*/ 1163637 w 3128973"/>
              <a:gd name="connsiteY176" fmla="*/ 952277 h 1752600"/>
              <a:gd name="connsiteX177" fmla="*/ 1133475 w 3128973"/>
              <a:gd name="connsiteY177" fmla="*/ 925512 h 1752600"/>
              <a:gd name="connsiteX178" fmla="*/ 1085850 w 3128973"/>
              <a:gd name="connsiteY178" fmla="*/ 859631 h 1752600"/>
              <a:gd name="connsiteX179" fmla="*/ 1071562 w 3128973"/>
              <a:gd name="connsiteY179" fmla="*/ 842962 h 1752600"/>
              <a:gd name="connsiteX180" fmla="*/ 1047750 w 3128973"/>
              <a:gd name="connsiteY180" fmla="*/ 819150 h 1752600"/>
              <a:gd name="connsiteX181" fmla="*/ 1028700 w 3128973"/>
              <a:gd name="connsiteY181" fmla="*/ 804862 h 1752600"/>
              <a:gd name="connsiteX182" fmla="*/ 1018076 w 3128973"/>
              <a:gd name="connsiteY182" fmla="*/ 794816 h 1752600"/>
              <a:gd name="connsiteX183" fmla="*/ 1000125 w 3128973"/>
              <a:gd name="connsiteY183" fmla="*/ 785812 h 1752600"/>
              <a:gd name="connsiteX184" fmla="*/ 984342 w 3128973"/>
              <a:gd name="connsiteY184" fmla="*/ 773578 h 1752600"/>
              <a:gd name="connsiteX185" fmla="*/ 957262 w 3128973"/>
              <a:gd name="connsiteY185" fmla="*/ 766762 h 1752600"/>
              <a:gd name="connsiteX186" fmla="*/ 938212 w 3128973"/>
              <a:gd name="connsiteY186" fmla="*/ 757237 h 1752600"/>
              <a:gd name="connsiteX187" fmla="*/ 904875 w 3128973"/>
              <a:gd name="connsiteY187" fmla="*/ 747712 h 1752600"/>
              <a:gd name="connsiteX188" fmla="*/ 862012 w 3128973"/>
              <a:gd name="connsiteY188" fmla="*/ 723900 h 1752600"/>
              <a:gd name="connsiteX189" fmla="*/ 795337 w 3128973"/>
              <a:gd name="connsiteY189" fmla="*/ 685800 h 1752600"/>
              <a:gd name="connsiteX190" fmla="*/ 776287 w 3128973"/>
              <a:gd name="connsiteY190" fmla="*/ 666750 h 1752600"/>
              <a:gd name="connsiteX191" fmla="*/ 762000 w 3128973"/>
              <a:gd name="connsiteY191" fmla="*/ 661987 h 1752600"/>
              <a:gd name="connsiteX192" fmla="*/ 742950 w 3128973"/>
              <a:gd name="connsiteY192" fmla="*/ 647700 h 1752600"/>
              <a:gd name="connsiteX193" fmla="*/ 709612 w 3128973"/>
              <a:gd name="connsiteY193" fmla="*/ 638175 h 1752600"/>
              <a:gd name="connsiteX194" fmla="*/ 695325 w 3128973"/>
              <a:gd name="connsiteY194" fmla="*/ 628650 h 1752600"/>
              <a:gd name="connsiteX195" fmla="*/ 681037 w 3128973"/>
              <a:gd name="connsiteY195" fmla="*/ 623887 h 1752600"/>
              <a:gd name="connsiteX196" fmla="*/ 676275 w 3128973"/>
              <a:gd name="connsiteY196" fmla="*/ 604837 h 1752600"/>
              <a:gd name="connsiteX197" fmla="*/ 666750 w 3128973"/>
              <a:gd name="connsiteY197" fmla="*/ 576262 h 1752600"/>
              <a:gd name="connsiteX198" fmla="*/ 661987 w 3128973"/>
              <a:gd name="connsiteY198" fmla="*/ 561975 h 1752600"/>
              <a:gd name="connsiteX199" fmla="*/ 666750 w 3128973"/>
              <a:gd name="connsiteY199" fmla="*/ 538162 h 1752600"/>
              <a:gd name="connsiteX200" fmla="*/ 638175 w 3128973"/>
              <a:gd name="connsiteY200" fmla="*/ 514350 h 1752600"/>
              <a:gd name="connsiteX201" fmla="*/ 619125 w 3128973"/>
              <a:gd name="connsiteY201" fmla="*/ 500062 h 1752600"/>
              <a:gd name="connsiteX202" fmla="*/ 576262 w 3128973"/>
              <a:gd name="connsiteY202" fmla="*/ 490537 h 1752600"/>
              <a:gd name="connsiteX203" fmla="*/ 542925 w 3128973"/>
              <a:gd name="connsiteY203" fmla="*/ 452437 h 1752600"/>
              <a:gd name="connsiteX204" fmla="*/ 525462 w 3128973"/>
              <a:gd name="connsiteY204" fmla="*/ 485775 h 1752600"/>
              <a:gd name="connsiteX205" fmla="*/ 504825 w 3128973"/>
              <a:gd name="connsiteY205" fmla="*/ 466725 h 1752600"/>
              <a:gd name="connsiteX206" fmla="*/ 454025 w 3128973"/>
              <a:gd name="connsiteY206" fmla="*/ 466725 h 1752600"/>
              <a:gd name="connsiteX207" fmla="*/ 407987 w 3128973"/>
              <a:gd name="connsiteY207" fmla="*/ 473075 h 1752600"/>
              <a:gd name="connsiteX208" fmla="*/ 395287 w 3128973"/>
              <a:gd name="connsiteY208" fmla="*/ 409575 h 1752600"/>
              <a:gd name="connsiteX209" fmla="*/ 376237 w 3128973"/>
              <a:gd name="connsiteY209" fmla="*/ 404812 h 1752600"/>
              <a:gd name="connsiteX210" fmla="*/ 342900 w 3128973"/>
              <a:gd name="connsiteY210" fmla="*/ 400050 h 1752600"/>
              <a:gd name="connsiteX211" fmla="*/ 314325 w 3128973"/>
              <a:gd name="connsiteY211" fmla="*/ 390525 h 1752600"/>
              <a:gd name="connsiteX212" fmla="*/ 273844 w 3128973"/>
              <a:gd name="connsiteY212" fmla="*/ 383382 h 1752600"/>
              <a:gd name="connsiteX213" fmla="*/ 257175 w 3128973"/>
              <a:gd name="connsiteY213" fmla="*/ 371475 h 1752600"/>
              <a:gd name="connsiteX214" fmla="*/ 245269 w 3128973"/>
              <a:gd name="connsiteY214" fmla="*/ 364331 h 1752600"/>
              <a:gd name="connsiteX215" fmla="*/ 223837 w 3128973"/>
              <a:gd name="connsiteY215" fmla="*/ 347662 h 1752600"/>
              <a:gd name="connsiteX216" fmla="*/ 190500 w 3128973"/>
              <a:gd name="connsiteY216" fmla="*/ 338137 h 1752600"/>
              <a:gd name="connsiteX217" fmla="*/ 147637 w 3128973"/>
              <a:gd name="connsiteY217" fmla="*/ 333375 h 1752600"/>
              <a:gd name="connsiteX218" fmla="*/ 119062 w 3128973"/>
              <a:gd name="connsiteY218" fmla="*/ 323850 h 1752600"/>
              <a:gd name="connsiteX219" fmla="*/ 104775 w 3128973"/>
              <a:gd name="connsiteY219" fmla="*/ 319087 h 1752600"/>
              <a:gd name="connsiteX220" fmla="*/ 61912 w 3128973"/>
              <a:gd name="connsiteY220" fmla="*/ 300037 h 1752600"/>
              <a:gd name="connsiteX221" fmla="*/ 23812 w 3128973"/>
              <a:gd name="connsiteY221" fmla="*/ 290512 h 1752600"/>
              <a:gd name="connsiteX222" fmla="*/ 9525 w 3128973"/>
              <a:gd name="connsiteY222" fmla="*/ 261937 h 1752600"/>
              <a:gd name="connsiteX223" fmla="*/ 0 w 3128973"/>
              <a:gd name="connsiteY223" fmla="*/ 290512 h 1752600"/>
              <a:gd name="connsiteX224" fmla="*/ 4762 w 3128973"/>
              <a:gd name="connsiteY224" fmla="*/ 247650 h 1752600"/>
              <a:gd name="connsiteX225" fmla="*/ 19050 w 3128973"/>
              <a:gd name="connsiteY225" fmla="*/ 200025 h 1752600"/>
              <a:gd name="connsiteX226" fmla="*/ 23812 w 3128973"/>
              <a:gd name="connsiteY226" fmla="*/ 185737 h 1752600"/>
              <a:gd name="connsiteX227" fmla="*/ 71437 w 3128973"/>
              <a:gd name="connsiteY227" fmla="*/ 171450 h 1752600"/>
              <a:gd name="connsiteX228" fmla="*/ 85725 w 3128973"/>
              <a:gd name="connsiteY228" fmla="*/ 166687 h 1752600"/>
              <a:gd name="connsiteX229" fmla="*/ 100012 w 3128973"/>
              <a:gd name="connsiteY229" fmla="*/ 161925 h 1752600"/>
              <a:gd name="connsiteX230" fmla="*/ 114300 w 3128973"/>
              <a:gd name="connsiteY230" fmla="*/ 152400 h 1752600"/>
              <a:gd name="connsiteX231" fmla="*/ 133350 w 3128973"/>
              <a:gd name="connsiteY231" fmla="*/ 123825 h 1752600"/>
              <a:gd name="connsiteX232" fmla="*/ 138112 w 3128973"/>
              <a:gd name="connsiteY232" fmla="*/ 109537 h 1752600"/>
              <a:gd name="connsiteX233" fmla="*/ 135467 w 3128973"/>
              <a:gd name="connsiteY233" fmla="*/ 97059 h 1752600"/>
              <a:gd name="connsiteX234" fmla="*/ 142875 w 3128973"/>
              <a:gd name="connsiteY234" fmla="*/ 71437 h 1752600"/>
              <a:gd name="connsiteX235" fmla="*/ 157162 w 3128973"/>
              <a:gd name="connsiteY235" fmla="*/ 57150 h 1752600"/>
              <a:gd name="connsiteX236" fmla="*/ 200025 w 3128973"/>
              <a:gd name="connsiteY236" fmla="*/ 33337 h 1752600"/>
              <a:gd name="connsiteX237" fmla="*/ 309562 w 3128973"/>
              <a:gd name="connsiteY237" fmla="*/ 28575 h 1752600"/>
              <a:gd name="connsiteX238" fmla="*/ 400050 w 3128973"/>
              <a:gd name="connsiteY238" fmla="*/ 14287 h 1752600"/>
              <a:gd name="connsiteX239" fmla="*/ 414337 w 3128973"/>
              <a:gd name="connsiteY239" fmla="*/ 9525 h 1752600"/>
              <a:gd name="connsiteX240" fmla="*/ 481012 w 3128973"/>
              <a:gd name="connsiteY240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046801 w 3128973"/>
              <a:gd name="connsiteY29" fmla="*/ 262295 h 1752600"/>
              <a:gd name="connsiteX30" fmla="*/ 2033587 w 3128973"/>
              <a:gd name="connsiteY30" fmla="*/ 266700 h 1752600"/>
              <a:gd name="connsiteX31" fmla="*/ 2019300 w 3128973"/>
              <a:gd name="connsiteY31" fmla="*/ 280987 h 1752600"/>
              <a:gd name="connsiteX32" fmla="*/ 1990725 w 3128973"/>
              <a:gd name="connsiteY32" fmla="*/ 300037 h 1752600"/>
              <a:gd name="connsiteX33" fmla="*/ 1981200 w 3128973"/>
              <a:gd name="connsiteY33" fmla="*/ 314325 h 1752600"/>
              <a:gd name="connsiteX34" fmla="*/ 1981200 w 3128973"/>
              <a:gd name="connsiteY34" fmla="*/ 419100 h 1752600"/>
              <a:gd name="connsiteX35" fmla="*/ 1985962 w 3128973"/>
              <a:gd name="connsiteY35" fmla="*/ 433387 h 1752600"/>
              <a:gd name="connsiteX36" fmla="*/ 2000250 w 3128973"/>
              <a:gd name="connsiteY36" fmla="*/ 442912 h 1752600"/>
              <a:gd name="connsiteX37" fmla="*/ 2005012 w 3128973"/>
              <a:gd name="connsiteY37" fmla="*/ 457200 h 1752600"/>
              <a:gd name="connsiteX38" fmla="*/ 2005012 w 3128973"/>
              <a:gd name="connsiteY38" fmla="*/ 561975 h 1752600"/>
              <a:gd name="connsiteX39" fmla="*/ 2009775 w 3128973"/>
              <a:gd name="connsiteY39" fmla="*/ 576262 h 1752600"/>
              <a:gd name="connsiteX40" fmla="*/ 2024062 w 3128973"/>
              <a:gd name="connsiteY40" fmla="*/ 581025 h 1752600"/>
              <a:gd name="connsiteX41" fmla="*/ 2038350 w 3128973"/>
              <a:gd name="connsiteY41" fmla="*/ 595312 h 1752600"/>
              <a:gd name="connsiteX42" fmla="*/ 2052637 w 3128973"/>
              <a:gd name="connsiteY42" fmla="*/ 600075 h 1752600"/>
              <a:gd name="connsiteX43" fmla="*/ 2133600 w 3128973"/>
              <a:gd name="connsiteY43" fmla="*/ 590550 h 1752600"/>
              <a:gd name="connsiteX44" fmla="*/ 2147887 w 3128973"/>
              <a:gd name="connsiteY44" fmla="*/ 585787 h 1752600"/>
              <a:gd name="connsiteX45" fmla="*/ 2195512 w 3128973"/>
              <a:gd name="connsiteY45" fmla="*/ 600075 h 1752600"/>
              <a:gd name="connsiteX46" fmla="*/ 2205037 w 3128973"/>
              <a:gd name="connsiteY46" fmla="*/ 614362 h 1752600"/>
              <a:gd name="connsiteX47" fmla="*/ 2219325 w 3128973"/>
              <a:gd name="connsiteY47" fmla="*/ 628650 h 1752600"/>
              <a:gd name="connsiteX48" fmla="*/ 2224087 w 3128973"/>
              <a:gd name="connsiteY48" fmla="*/ 642937 h 1752600"/>
              <a:gd name="connsiteX49" fmla="*/ 2233612 w 3128973"/>
              <a:gd name="connsiteY49" fmla="*/ 657225 h 1752600"/>
              <a:gd name="connsiteX50" fmla="*/ 2247900 w 3128973"/>
              <a:gd name="connsiteY50" fmla="*/ 685800 h 1752600"/>
              <a:gd name="connsiteX51" fmla="*/ 2262187 w 3128973"/>
              <a:gd name="connsiteY51" fmla="*/ 733425 h 1752600"/>
              <a:gd name="connsiteX52" fmla="*/ 2305050 w 3128973"/>
              <a:gd name="connsiteY52" fmla="*/ 771525 h 1752600"/>
              <a:gd name="connsiteX53" fmla="*/ 2319337 w 3128973"/>
              <a:gd name="connsiteY53" fmla="*/ 804862 h 1752600"/>
              <a:gd name="connsiteX54" fmla="*/ 2333625 w 3128973"/>
              <a:gd name="connsiteY54" fmla="*/ 819150 h 1752600"/>
              <a:gd name="connsiteX55" fmla="*/ 2338387 w 3128973"/>
              <a:gd name="connsiteY55" fmla="*/ 833437 h 1752600"/>
              <a:gd name="connsiteX56" fmla="*/ 2352675 w 3128973"/>
              <a:gd name="connsiteY56" fmla="*/ 847725 h 1752600"/>
              <a:gd name="connsiteX57" fmla="*/ 2395537 w 3128973"/>
              <a:gd name="connsiteY57" fmla="*/ 871537 h 1752600"/>
              <a:gd name="connsiteX58" fmla="*/ 2409825 w 3128973"/>
              <a:gd name="connsiteY58" fmla="*/ 890587 h 1752600"/>
              <a:gd name="connsiteX59" fmla="*/ 2424112 w 3128973"/>
              <a:gd name="connsiteY59" fmla="*/ 895350 h 1752600"/>
              <a:gd name="connsiteX60" fmla="*/ 2433637 w 3128973"/>
              <a:gd name="connsiteY60" fmla="*/ 914400 h 1752600"/>
              <a:gd name="connsiteX61" fmla="*/ 2466975 w 3128973"/>
              <a:gd name="connsiteY61" fmla="*/ 942975 h 1752600"/>
              <a:gd name="connsiteX62" fmla="*/ 2474637 w 3128973"/>
              <a:gd name="connsiteY62" fmla="*/ 954728 h 1752600"/>
              <a:gd name="connsiteX63" fmla="*/ 2495550 w 3128973"/>
              <a:gd name="connsiteY63" fmla="*/ 971550 h 1752600"/>
              <a:gd name="connsiteX64" fmla="*/ 2508776 w 3128973"/>
              <a:gd name="connsiteY64" fmla="*/ 983894 h 1752600"/>
              <a:gd name="connsiteX65" fmla="*/ 2533650 w 3128973"/>
              <a:gd name="connsiteY65" fmla="*/ 1000125 h 1752600"/>
              <a:gd name="connsiteX66" fmla="*/ 2547937 w 3128973"/>
              <a:gd name="connsiteY66" fmla="*/ 1028700 h 1752600"/>
              <a:gd name="connsiteX67" fmla="*/ 2552700 w 3128973"/>
              <a:gd name="connsiteY67" fmla="*/ 1042987 h 1752600"/>
              <a:gd name="connsiteX68" fmla="*/ 2576512 w 3128973"/>
              <a:gd name="connsiteY68" fmla="*/ 1071562 h 1752600"/>
              <a:gd name="connsiteX69" fmla="*/ 2584921 w 3128973"/>
              <a:gd name="connsiteY69" fmla="*/ 1082873 h 1752600"/>
              <a:gd name="connsiteX70" fmla="*/ 2600325 w 3128973"/>
              <a:gd name="connsiteY70" fmla="*/ 1095375 h 1752600"/>
              <a:gd name="connsiteX71" fmla="*/ 2609850 w 3128973"/>
              <a:gd name="connsiteY71" fmla="*/ 1109662 h 1752600"/>
              <a:gd name="connsiteX72" fmla="*/ 2652712 w 3128973"/>
              <a:gd name="connsiteY72" fmla="*/ 1143000 h 1752600"/>
              <a:gd name="connsiteX73" fmla="*/ 2681287 w 3128973"/>
              <a:gd name="connsiteY73" fmla="*/ 1152525 h 1752600"/>
              <a:gd name="connsiteX74" fmla="*/ 2700337 w 3128973"/>
              <a:gd name="connsiteY74" fmla="*/ 1162050 h 1752600"/>
              <a:gd name="connsiteX75" fmla="*/ 2714625 w 3128973"/>
              <a:gd name="connsiteY75" fmla="*/ 1171575 h 1752600"/>
              <a:gd name="connsiteX76" fmla="*/ 2752725 w 3128973"/>
              <a:gd name="connsiteY76" fmla="*/ 1181100 h 1752600"/>
              <a:gd name="connsiteX77" fmla="*/ 2767012 w 3128973"/>
              <a:gd name="connsiteY77" fmla="*/ 1195387 h 1752600"/>
              <a:gd name="connsiteX78" fmla="*/ 2781300 w 3128973"/>
              <a:gd name="connsiteY78" fmla="*/ 1200150 h 1752600"/>
              <a:gd name="connsiteX79" fmla="*/ 2795587 w 3128973"/>
              <a:gd name="connsiteY79" fmla="*/ 1209675 h 1752600"/>
              <a:gd name="connsiteX80" fmla="*/ 2805112 w 3128973"/>
              <a:gd name="connsiteY80" fmla="*/ 1223962 h 1752600"/>
              <a:gd name="connsiteX81" fmla="*/ 2809875 w 3128973"/>
              <a:gd name="connsiteY81" fmla="*/ 1238250 h 1752600"/>
              <a:gd name="connsiteX82" fmla="*/ 2833687 w 3128973"/>
              <a:gd name="connsiteY82" fmla="*/ 1276350 h 1752600"/>
              <a:gd name="connsiteX83" fmla="*/ 2895600 w 3128973"/>
              <a:gd name="connsiteY83" fmla="*/ 1333500 h 1752600"/>
              <a:gd name="connsiteX84" fmla="*/ 2900362 w 3128973"/>
              <a:gd name="connsiteY84" fmla="*/ 1352550 h 1752600"/>
              <a:gd name="connsiteX85" fmla="*/ 2928937 w 3128973"/>
              <a:gd name="connsiteY85" fmla="*/ 1395412 h 1752600"/>
              <a:gd name="connsiteX86" fmla="*/ 2943225 w 3128973"/>
              <a:gd name="connsiteY86" fmla="*/ 1404937 h 1752600"/>
              <a:gd name="connsiteX87" fmla="*/ 2957512 w 3128973"/>
              <a:gd name="connsiteY87" fmla="*/ 1419225 h 1752600"/>
              <a:gd name="connsiteX88" fmla="*/ 2986087 w 3128973"/>
              <a:gd name="connsiteY88" fmla="*/ 1443037 h 1752600"/>
              <a:gd name="connsiteX89" fmla="*/ 3000375 w 3128973"/>
              <a:gd name="connsiteY89" fmla="*/ 1462087 h 1752600"/>
              <a:gd name="connsiteX90" fmla="*/ 3016395 w 3128973"/>
              <a:gd name="connsiteY90" fmla="*/ 1476222 h 1752600"/>
              <a:gd name="connsiteX91" fmla="*/ 3028950 w 3128973"/>
              <a:gd name="connsiteY91" fmla="*/ 1495425 h 1752600"/>
              <a:gd name="connsiteX92" fmla="*/ 3043237 w 3128973"/>
              <a:gd name="connsiteY92" fmla="*/ 1552575 h 1752600"/>
              <a:gd name="connsiteX93" fmla="*/ 3052762 w 3128973"/>
              <a:gd name="connsiteY93" fmla="*/ 1566862 h 1752600"/>
              <a:gd name="connsiteX94" fmla="*/ 3057525 w 3128973"/>
              <a:gd name="connsiteY94" fmla="*/ 1581150 h 1752600"/>
              <a:gd name="connsiteX95" fmla="*/ 3067050 w 3128973"/>
              <a:gd name="connsiteY95" fmla="*/ 1662112 h 1752600"/>
              <a:gd name="connsiteX96" fmla="*/ 3071812 w 3128973"/>
              <a:gd name="connsiteY96" fmla="*/ 1676400 h 1752600"/>
              <a:gd name="connsiteX97" fmla="*/ 3100387 w 3128973"/>
              <a:gd name="connsiteY97" fmla="*/ 1690687 h 1752600"/>
              <a:gd name="connsiteX98" fmla="*/ 3114675 w 3128973"/>
              <a:gd name="connsiteY98" fmla="*/ 1685925 h 1752600"/>
              <a:gd name="connsiteX99" fmla="*/ 3124200 w 3128973"/>
              <a:gd name="connsiteY99" fmla="*/ 1671637 h 1752600"/>
              <a:gd name="connsiteX100" fmla="*/ 3128973 w 3128973"/>
              <a:gd name="connsiteY100" fmla="*/ 1651467 h 1752600"/>
              <a:gd name="connsiteX101" fmla="*/ 3128021 w 3128973"/>
              <a:gd name="connsiteY101" fmla="*/ 1710279 h 1752600"/>
              <a:gd name="connsiteX102" fmla="*/ 3043237 w 3128973"/>
              <a:gd name="connsiteY102" fmla="*/ 1714500 h 1752600"/>
              <a:gd name="connsiteX103" fmla="*/ 3028950 w 3128973"/>
              <a:gd name="connsiteY103" fmla="*/ 1728787 h 1752600"/>
              <a:gd name="connsiteX104" fmla="*/ 2986087 w 3128973"/>
              <a:gd name="connsiteY104" fmla="*/ 1738312 h 1752600"/>
              <a:gd name="connsiteX105" fmla="*/ 2971800 w 3128973"/>
              <a:gd name="connsiteY105" fmla="*/ 1743075 h 1752600"/>
              <a:gd name="connsiteX106" fmla="*/ 2943225 w 3128973"/>
              <a:gd name="connsiteY106" fmla="*/ 1738312 h 1752600"/>
              <a:gd name="connsiteX107" fmla="*/ 2928937 w 3128973"/>
              <a:gd name="connsiteY107" fmla="*/ 1747837 h 1752600"/>
              <a:gd name="connsiteX108" fmla="*/ 2914650 w 3128973"/>
              <a:gd name="connsiteY108" fmla="*/ 1752600 h 1752600"/>
              <a:gd name="connsiteX109" fmla="*/ 2895600 w 3128973"/>
              <a:gd name="connsiteY109" fmla="*/ 1724025 h 1752600"/>
              <a:gd name="connsiteX110" fmla="*/ 2883310 w 3128973"/>
              <a:gd name="connsiteY110" fmla="*/ 1701201 h 1752600"/>
              <a:gd name="connsiteX111" fmla="*/ 2883805 w 3128973"/>
              <a:gd name="connsiteY111" fmla="*/ 1696138 h 1752600"/>
              <a:gd name="connsiteX112" fmla="*/ 2871787 w 3128973"/>
              <a:gd name="connsiteY112" fmla="*/ 1685925 h 1752600"/>
              <a:gd name="connsiteX113" fmla="*/ 2847975 w 3128973"/>
              <a:gd name="connsiteY113" fmla="*/ 1657350 h 1752600"/>
              <a:gd name="connsiteX114" fmla="*/ 2834034 w 3128973"/>
              <a:gd name="connsiteY114" fmla="*/ 1637762 h 1752600"/>
              <a:gd name="connsiteX115" fmla="*/ 2814637 w 3128973"/>
              <a:gd name="connsiteY115" fmla="*/ 1619250 h 1752600"/>
              <a:gd name="connsiteX116" fmla="*/ 2809875 w 3128973"/>
              <a:gd name="connsiteY116" fmla="*/ 1604962 h 1752600"/>
              <a:gd name="connsiteX117" fmla="*/ 2795587 w 3128973"/>
              <a:gd name="connsiteY117" fmla="*/ 1600200 h 1752600"/>
              <a:gd name="connsiteX118" fmla="*/ 2781300 w 3128973"/>
              <a:gd name="connsiteY118" fmla="*/ 1590675 h 1752600"/>
              <a:gd name="connsiteX119" fmla="*/ 2752725 w 3128973"/>
              <a:gd name="connsiteY119" fmla="*/ 1581150 h 1752600"/>
              <a:gd name="connsiteX120" fmla="*/ 2733675 w 3128973"/>
              <a:gd name="connsiteY120" fmla="*/ 1625600 h 1752600"/>
              <a:gd name="connsiteX121" fmla="*/ 2709862 w 3128973"/>
              <a:gd name="connsiteY121" fmla="*/ 1619250 h 1752600"/>
              <a:gd name="connsiteX122" fmla="*/ 2723566 w 3128973"/>
              <a:gd name="connsiteY122" fmla="*/ 1590361 h 1752600"/>
              <a:gd name="connsiteX123" fmla="*/ 2674937 w 3128973"/>
              <a:gd name="connsiteY123" fmla="*/ 1560512 h 1752600"/>
              <a:gd name="connsiteX124" fmla="*/ 2643187 w 3128973"/>
              <a:gd name="connsiteY124" fmla="*/ 1495425 h 1752600"/>
              <a:gd name="connsiteX125" fmla="*/ 2628900 w 3128973"/>
              <a:gd name="connsiteY125" fmla="*/ 1490662 h 1752600"/>
              <a:gd name="connsiteX126" fmla="*/ 2595562 w 3128973"/>
              <a:gd name="connsiteY126" fmla="*/ 1481137 h 1752600"/>
              <a:gd name="connsiteX127" fmla="*/ 2581275 w 3128973"/>
              <a:gd name="connsiteY127" fmla="*/ 1466850 h 1752600"/>
              <a:gd name="connsiteX128" fmla="*/ 2552700 w 3128973"/>
              <a:gd name="connsiteY128" fmla="*/ 1457325 h 1752600"/>
              <a:gd name="connsiteX129" fmla="*/ 2538412 w 3128973"/>
              <a:gd name="connsiteY129" fmla="*/ 1447800 h 1752600"/>
              <a:gd name="connsiteX130" fmla="*/ 2519362 w 3128973"/>
              <a:gd name="connsiteY130" fmla="*/ 1443037 h 1752600"/>
              <a:gd name="connsiteX131" fmla="*/ 2490787 w 3128973"/>
              <a:gd name="connsiteY131" fmla="*/ 1433512 h 1752600"/>
              <a:gd name="connsiteX132" fmla="*/ 2476500 w 3128973"/>
              <a:gd name="connsiteY132" fmla="*/ 1428750 h 1752600"/>
              <a:gd name="connsiteX133" fmla="*/ 2466975 w 3128973"/>
              <a:gd name="connsiteY133" fmla="*/ 1414462 h 1752600"/>
              <a:gd name="connsiteX134" fmla="*/ 2447925 w 3128973"/>
              <a:gd name="connsiteY134" fmla="*/ 1409700 h 1752600"/>
              <a:gd name="connsiteX135" fmla="*/ 2309812 w 3128973"/>
              <a:gd name="connsiteY135" fmla="*/ 1395412 h 1752600"/>
              <a:gd name="connsiteX136" fmla="*/ 2295525 w 3128973"/>
              <a:gd name="connsiteY136" fmla="*/ 1390650 h 1752600"/>
              <a:gd name="connsiteX137" fmla="*/ 2257425 w 3128973"/>
              <a:gd name="connsiteY137" fmla="*/ 1381125 h 1752600"/>
              <a:gd name="connsiteX138" fmla="*/ 2238375 w 3128973"/>
              <a:gd name="connsiteY138" fmla="*/ 1366837 h 1752600"/>
              <a:gd name="connsiteX139" fmla="*/ 2224087 w 3128973"/>
              <a:gd name="connsiteY139" fmla="*/ 1362075 h 1752600"/>
              <a:gd name="connsiteX140" fmla="*/ 2176462 w 3128973"/>
              <a:gd name="connsiteY140" fmla="*/ 1338262 h 1752600"/>
              <a:gd name="connsiteX141" fmla="*/ 2162175 w 3128973"/>
              <a:gd name="connsiteY141" fmla="*/ 1328737 h 1752600"/>
              <a:gd name="connsiteX142" fmla="*/ 2114550 w 3128973"/>
              <a:gd name="connsiteY142" fmla="*/ 1314450 h 1752600"/>
              <a:gd name="connsiteX143" fmla="*/ 2100262 w 3128973"/>
              <a:gd name="connsiteY143" fmla="*/ 1300162 h 1752600"/>
              <a:gd name="connsiteX144" fmla="*/ 2085975 w 3128973"/>
              <a:gd name="connsiteY144" fmla="*/ 1295400 h 1752600"/>
              <a:gd name="connsiteX145" fmla="*/ 2055019 w 3128973"/>
              <a:gd name="connsiteY145" fmla="*/ 1290637 h 1752600"/>
              <a:gd name="connsiteX146" fmla="*/ 2028824 w 3128973"/>
              <a:gd name="connsiteY146" fmla="*/ 1283494 h 1752600"/>
              <a:gd name="connsiteX147" fmla="*/ 2005012 w 3128973"/>
              <a:gd name="connsiteY147" fmla="*/ 1271587 h 1752600"/>
              <a:gd name="connsiteX148" fmla="*/ 1985962 w 3128973"/>
              <a:gd name="connsiteY148" fmla="*/ 1262062 h 1752600"/>
              <a:gd name="connsiteX149" fmla="*/ 1971675 w 3128973"/>
              <a:gd name="connsiteY149" fmla="*/ 1257300 h 1752600"/>
              <a:gd name="connsiteX150" fmla="*/ 1943100 w 3128973"/>
              <a:gd name="connsiteY150" fmla="*/ 1238250 h 1752600"/>
              <a:gd name="connsiteX151" fmla="*/ 1914525 w 3128973"/>
              <a:gd name="connsiteY151" fmla="*/ 1219200 h 1752600"/>
              <a:gd name="connsiteX152" fmla="*/ 1885950 w 3128973"/>
              <a:gd name="connsiteY152" fmla="*/ 1209675 h 1752600"/>
              <a:gd name="connsiteX153" fmla="*/ 1843087 w 3128973"/>
              <a:gd name="connsiteY153" fmla="*/ 1195387 h 1752600"/>
              <a:gd name="connsiteX154" fmla="*/ 1757362 w 3128973"/>
              <a:gd name="connsiteY154" fmla="*/ 1185862 h 1752600"/>
              <a:gd name="connsiteX155" fmla="*/ 1700212 w 3128973"/>
              <a:gd name="connsiteY155" fmla="*/ 1166812 h 1752600"/>
              <a:gd name="connsiteX156" fmla="*/ 1671637 w 3128973"/>
              <a:gd name="connsiteY156" fmla="*/ 1147762 h 1752600"/>
              <a:gd name="connsiteX157" fmla="*/ 1652587 w 3128973"/>
              <a:gd name="connsiteY157" fmla="*/ 1138237 h 1752600"/>
              <a:gd name="connsiteX158" fmla="*/ 1638300 w 3128973"/>
              <a:gd name="connsiteY158" fmla="*/ 1128712 h 1752600"/>
              <a:gd name="connsiteX159" fmla="*/ 1590675 w 3128973"/>
              <a:gd name="connsiteY159" fmla="*/ 1138238 h 1752600"/>
              <a:gd name="connsiteX160" fmla="*/ 1559719 w 3128973"/>
              <a:gd name="connsiteY160" fmla="*/ 1109662 h 1752600"/>
              <a:gd name="connsiteX161" fmla="*/ 1528762 w 3128973"/>
              <a:gd name="connsiteY161" fmla="*/ 1085850 h 1752600"/>
              <a:gd name="connsiteX162" fmla="*/ 1514475 w 3128973"/>
              <a:gd name="connsiteY162" fmla="*/ 1081087 h 1752600"/>
              <a:gd name="connsiteX163" fmla="*/ 1470025 w 3128973"/>
              <a:gd name="connsiteY163" fmla="*/ 1130300 h 1752600"/>
              <a:gd name="connsiteX164" fmla="*/ 1433512 w 3128973"/>
              <a:gd name="connsiteY164" fmla="*/ 1108075 h 1752600"/>
              <a:gd name="connsiteX165" fmla="*/ 1423987 w 3128973"/>
              <a:gd name="connsiteY165" fmla="*/ 1087437 h 1752600"/>
              <a:gd name="connsiteX166" fmla="*/ 1381125 w 3128973"/>
              <a:gd name="connsiteY166" fmla="*/ 1095375 h 1752600"/>
              <a:gd name="connsiteX167" fmla="*/ 1383506 w 3128973"/>
              <a:gd name="connsiteY167" fmla="*/ 1028700 h 1752600"/>
              <a:gd name="connsiteX168" fmla="*/ 1366838 w 3128973"/>
              <a:gd name="connsiteY168" fmla="*/ 1019175 h 1752600"/>
              <a:gd name="connsiteX169" fmla="*/ 1335881 w 3128973"/>
              <a:gd name="connsiteY169" fmla="*/ 1007268 h 1752600"/>
              <a:gd name="connsiteX170" fmla="*/ 1319213 w 3128973"/>
              <a:gd name="connsiteY170" fmla="*/ 1007268 h 1752600"/>
              <a:gd name="connsiteX171" fmla="*/ 1295400 w 3128973"/>
              <a:gd name="connsiteY171" fmla="*/ 976312 h 1752600"/>
              <a:gd name="connsiteX172" fmla="*/ 1281112 w 3128973"/>
              <a:gd name="connsiteY172" fmla="*/ 966787 h 1752600"/>
              <a:gd name="connsiteX173" fmla="*/ 1238250 w 3128973"/>
              <a:gd name="connsiteY173" fmla="*/ 947737 h 1752600"/>
              <a:gd name="connsiteX174" fmla="*/ 1212850 w 3128973"/>
              <a:gd name="connsiteY174" fmla="*/ 995362 h 1752600"/>
              <a:gd name="connsiteX175" fmla="*/ 1201737 w 3128973"/>
              <a:gd name="connsiteY175" fmla="*/ 987425 h 1752600"/>
              <a:gd name="connsiteX176" fmla="*/ 1163637 w 3128973"/>
              <a:gd name="connsiteY176" fmla="*/ 952277 h 1752600"/>
              <a:gd name="connsiteX177" fmla="*/ 1133475 w 3128973"/>
              <a:gd name="connsiteY177" fmla="*/ 925512 h 1752600"/>
              <a:gd name="connsiteX178" fmla="*/ 1085850 w 3128973"/>
              <a:gd name="connsiteY178" fmla="*/ 859631 h 1752600"/>
              <a:gd name="connsiteX179" fmla="*/ 1071562 w 3128973"/>
              <a:gd name="connsiteY179" fmla="*/ 842962 h 1752600"/>
              <a:gd name="connsiteX180" fmla="*/ 1047750 w 3128973"/>
              <a:gd name="connsiteY180" fmla="*/ 819150 h 1752600"/>
              <a:gd name="connsiteX181" fmla="*/ 1028700 w 3128973"/>
              <a:gd name="connsiteY181" fmla="*/ 804862 h 1752600"/>
              <a:gd name="connsiteX182" fmla="*/ 1018076 w 3128973"/>
              <a:gd name="connsiteY182" fmla="*/ 794816 h 1752600"/>
              <a:gd name="connsiteX183" fmla="*/ 1000125 w 3128973"/>
              <a:gd name="connsiteY183" fmla="*/ 785812 h 1752600"/>
              <a:gd name="connsiteX184" fmla="*/ 984342 w 3128973"/>
              <a:gd name="connsiteY184" fmla="*/ 773578 h 1752600"/>
              <a:gd name="connsiteX185" fmla="*/ 957262 w 3128973"/>
              <a:gd name="connsiteY185" fmla="*/ 766762 h 1752600"/>
              <a:gd name="connsiteX186" fmla="*/ 938212 w 3128973"/>
              <a:gd name="connsiteY186" fmla="*/ 757237 h 1752600"/>
              <a:gd name="connsiteX187" fmla="*/ 904875 w 3128973"/>
              <a:gd name="connsiteY187" fmla="*/ 747712 h 1752600"/>
              <a:gd name="connsiteX188" fmla="*/ 862012 w 3128973"/>
              <a:gd name="connsiteY188" fmla="*/ 723900 h 1752600"/>
              <a:gd name="connsiteX189" fmla="*/ 795337 w 3128973"/>
              <a:gd name="connsiteY189" fmla="*/ 685800 h 1752600"/>
              <a:gd name="connsiteX190" fmla="*/ 776287 w 3128973"/>
              <a:gd name="connsiteY190" fmla="*/ 666750 h 1752600"/>
              <a:gd name="connsiteX191" fmla="*/ 762000 w 3128973"/>
              <a:gd name="connsiteY191" fmla="*/ 661987 h 1752600"/>
              <a:gd name="connsiteX192" fmla="*/ 742950 w 3128973"/>
              <a:gd name="connsiteY192" fmla="*/ 647700 h 1752600"/>
              <a:gd name="connsiteX193" fmla="*/ 709612 w 3128973"/>
              <a:gd name="connsiteY193" fmla="*/ 638175 h 1752600"/>
              <a:gd name="connsiteX194" fmla="*/ 695325 w 3128973"/>
              <a:gd name="connsiteY194" fmla="*/ 628650 h 1752600"/>
              <a:gd name="connsiteX195" fmla="*/ 681037 w 3128973"/>
              <a:gd name="connsiteY195" fmla="*/ 623887 h 1752600"/>
              <a:gd name="connsiteX196" fmla="*/ 676275 w 3128973"/>
              <a:gd name="connsiteY196" fmla="*/ 604837 h 1752600"/>
              <a:gd name="connsiteX197" fmla="*/ 666750 w 3128973"/>
              <a:gd name="connsiteY197" fmla="*/ 576262 h 1752600"/>
              <a:gd name="connsiteX198" fmla="*/ 661987 w 3128973"/>
              <a:gd name="connsiteY198" fmla="*/ 561975 h 1752600"/>
              <a:gd name="connsiteX199" fmla="*/ 666750 w 3128973"/>
              <a:gd name="connsiteY199" fmla="*/ 538162 h 1752600"/>
              <a:gd name="connsiteX200" fmla="*/ 638175 w 3128973"/>
              <a:gd name="connsiteY200" fmla="*/ 514350 h 1752600"/>
              <a:gd name="connsiteX201" fmla="*/ 619125 w 3128973"/>
              <a:gd name="connsiteY201" fmla="*/ 500062 h 1752600"/>
              <a:gd name="connsiteX202" fmla="*/ 576262 w 3128973"/>
              <a:gd name="connsiteY202" fmla="*/ 490537 h 1752600"/>
              <a:gd name="connsiteX203" fmla="*/ 542925 w 3128973"/>
              <a:gd name="connsiteY203" fmla="*/ 452437 h 1752600"/>
              <a:gd name="connsiteX204" fmla="*/ 525462 w 3128973"/>
              <a:gd name="connsiteY204" fmla="*/ 485775 h 1752600"/>
              <a:gd name="connsiteX205" fmla="*/ 504825 w 3128973"/>
              <a:gd name="connsiteY205" fmla="*/ 466725 h 1752600"/>
              <a:gd name="connsiteX206" fmla="*/ 454025 w 3128973"/>
              <a:gd name="connsiteY206" fmla="*/ 466725 h 1752600"/>
              <a:gd name="connsiteX207" fmla="*/ 407987 w 3128973"/>
              <a:gd name="connsiteY207" fmla="*/ 473075 h 1752600"/>
              <a:gd name="connsiteX208" fmla="*/ 395287 w 3128973"/>
              <a:gd name="connsiteY208" fmla="*/ 409575 h 1752600"/>
              <a:gd name="connsiteX209" fmla="*/ 376237 w 3128973"/>
              <a:gd name="connsiteY209" fmla="*/ 404812 h 1752600"/>
              <a:gd name="connsiteX210" fmla="*/ 342900 w 3128973"/>
              <a:gd name="connsiteY210" fmla="*/ 400050 h 1752600"/>
              <a:gd name="connsiteX211" fmla="*/ 314325 w 3128973"/>
              <a:gd name="connsiteY211" fmla="*/ 390525 h 1752600"/>
              <a:gd name="connsiteX212" fmla="*/ 273844 w 3128973"/>
              <a:gd name="connsiteY212" fmla="*/ 383382 h 1752600"/>
              <a:gd name="connsiteX213" fmla="*/ 257175 w 3128973"/>
              <a:gd name="connsiteY213" fmla="*/ 371475 h 1752600"/>
              <a:gd name="connsiteX214" fmla="*/ 245269 w 3128973"/>
              <a:gd name="connsiteY214" fmla="*/ 364331 h 1752600"/>
              <a:gd name="connsiteX215" fmla="*/ 223837 w 3128973"/>
              <a:gd name="connsiteY215" fmla="*/ 347662 h 1752600"/>
              <a:gd name="connsiteX216" fmla="*/ 190500 w 3128973"/>
              <a:gd name="connsiteY216" fmla="*/ 338137 h 1752600"/>
              <a:gd name="connsiteX217" fmla="*/ 147637 w 3128973"/>
              <a:gd name="connsiteY217" fmla="*/ 333375 h 1752600"/>
              <a:gd name="connsiteX218" fmla="*/ 119062 w 3128973"/>
              <a:gd name="connsiteY218" fmla="*/ 323850 h 1752600"/>
              <a:gd name="connsiteX219" fmla="*/ 104775 w 3128973"/>
              <a:gd name="connsiteY219" fmla="*/ 319087 h 1752600"/>
              <a:gd name="connsiteX220" fmla="*/ 61912 w 3128973"/>
              <a:gd name="connsiteY220" fmla="*/ 300037 h 1752600"/>
              <a:gd name="connsiteX221" fmla="*/ 23812 w 3128973"/>
              <a:gd name="connsiteY221" fmla="*/ 290512 h 1752600"/>
              <a:gd name="connsiteX222" fmla="*/ 9525 w 3128973"/>
              <a:gd name="connsiteY222" fmla="*/ 261937 h 1752600"/>
              <a:gd name="connsiteX223" fmla="*/ 0 w 3128973"/>
              <a:gd name="connsiteY223" fmla="*/ 290512 h 1752600"/>
              <a:gd name="connsiteX224" fmla="*/ 4762 w 3128973"/>
              <a:gd name="connsiteY224" fmla="*/ 247650 h 1752600"/>
              <a:gd name="connsiteX225" fmla="*/ 19050 w 3128973"/>
              <a:gd name="connsiteY225" fmla="*/ 200025 h 1752600"/>
              <a:gd name="connsiteX226" fmla="*/ 23812 w 3128973"/>
              <a:gd name="connsiteY226" fmla="*/ 185737 h 1752600"/>
              <a:gd name="connsiteX227" fmla="*/ 71437 w 3128973"/>
              <a:gd name="connsiteY227" fmla="*/ 171450 h 1752600"/>
              <a:gd name="connsiteX228" fmla="*/ 85725 w 3128973"/>
              <a:gd name="connsiteY228" fmla="*/ 166687 h 1752600"/>
              <a:gd name="connsiteX229" fmla="*/ 100012 w 3128973"/>
              <a:gd name="connsiteY229" fmla="*/ 161925 h 1752600"/>
              <a:gd name="connsiteX230" fmla="*/ 114300 w 3128973"/>
              <a:gd name="connsiteY230" fmla="*/ 152400 h 1752600"/>
              <a:gd name="connsiteX231" fmla="*/ 133350 w 3128973"/>
              <a:gd name="connsiteY231" fmla="*/ 123825 h 1752600"/>
              <a:gd name="connsiteX232" fmla="*/ 138112 w 3128973"/>
              <a:gd name="connsiteY232" fmla="*/ 109537 h 1752600"/>
              <a:gd name="connsiteX233" fmla="*/ 135467 w 3128973"/>
              <a:gd name="connsiteY233" fmla="*/ 97059 h 1752600"/>
              <a:gd name="connsiteX234" fmla="*/ 142875 w 3128973"/>
              <a:gd name="connsiteY234" fmla="*/ 71437 h 1752600"/>
              <a:gd name="connsiteX235" fmla="*/ 157162 w 3128973"/>
              <a:gd name="connsiteY235" fmla="*/ 57150 h 1752600"/>
              <a:gd name="connsiteX236" fmla="*/ 200025 w 3128973"/>
              <a:gd name="connsiteY236" fmla="*/ 33337 h 1752600"/>
              <a:gd name="connsiteX237" fmla="*/ 309562 w 3128973"/>
              <a:gd name="connsiteY237" fmla="*/ 28575 h 1752600"/>
              <a:gd name="connsiteX238" fmla="*/ 400050 w 3128973"/>
              <a:gd name="connsiteY238" fmla="*/ 14287 h 1752600"/>
              <a:gd name="connsiteX239" fmla="*/ 414337 w 3128973"/>
              <a:gd name="connsiteY239" fmla="*/ 9525 h 1752600"/>
              <a:gd name="connsiteX240" fmla="*/ 481012 w 3128973"/>
              <a:gd name="connsiteY240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395537 w 3128973"/>
              <a:gd name="connsiteY29" fmla="*/ 143045 h 1752600"/>
              <a:gd name="connsiteX30" fmla="*/ 2046801 w 3128973"/>
              <a:gd name="connsiteY30" fmla="*/ 262295 h 1752600"/>
              <a:gd name="connsiteX31" fmla="*/ 2033587 w 3128973"/>
              <a:gd name="connsiteY31" fmla="*/ 266700 h 1752600"/>
              <a:gd name="connsiteX32" fmla="*/ 2019300 w 3128973"/>
              <a:gd name="connsiteY32" fmla="*/ 280987 h 1752600"/>
              <a:gd name="connsiteX33" fmla="*/ 1990725 w 3128973"/>
              <a:gd name="connsiteY33" fmla="*/ 300037 h 1752600"/>
              <a:gd name="connsiteX34" fmla="*/ 1981200 w 3128973"/>
              <a:gd name="connsiteY34" fmla="*/ 314325 h 1752600"/>
              <a:gd name="connsiteX35" fmla="*/ 1981200 w 3128973"/>
              <a:gd name="connsiteY35" fmla="*/ 419100 h 1752600"/>
              <a:gd name="connsiteX36" fmla="*/ 1985962 w 3128973"/>
              <a:gd name="connsiteY36" fmla="*/ 433387 h 1752600"/>
              <a:gd name="connsiteX37" fmla="*/ 2000250 w 3128973"/>
              <a:gd name="connsiteY37" fmla="*/ 442912 h 1752600"/>
              <a:gd name="connsiteX38" fmla="*/ 2005012 w 3128973"/>
              <a:gd name="connsiteY38" fmla="*/ 457200 h 1752600"/>
              <a:gd name="connsiteX39" fmla="*/ 2005012 w 3128973"/>
              <a:gd name="connsiteY39" fmla="*/ 561975 h 1752600"/>
              <a:gd name="connsiteX40" fmla="*/ 2009775 w 3128973"/>
              <a:gd name="connsiteY40" fmla="*/ 576262 h 1752600"/>
              <a:gd name="connsiteX41" fmla="*/ 2024062 w 3128973"/>
              <a:gd name="connsiteY41" fmla="*/ 581025 h 1752600"/>
              <a:gd name="connsiteX42" fmla="*/ 2038350 w 3128973"/>
              <a:gd name="connsiteY42" fmla="*/ 595312 h 1752600"/>
              <a:gd name="connsiteX43" fmla="*/ 2052637 w 3128973"/>
              <a:gd name="connsiteY43" fmla="*/ 600075 h 1752600"/>
              <a:gd name="connsiteX44" fmla="*/ 2133600 w 3128973"/>
              <a:gd name="connsiteY44" fmla="*/ 590550 h 1752600"/>
              <a:gd name="connsiteX45" fmla="*/ 2147887 w 3128973"/>
              <a:gd name="connsiteY45" fmla="*/ 585787 h 1752600"/>
              <a:gd name="connsiteX46" fmla="*/ 2195512 w 3128973"/>
              <a:gd name="connsiteY46" fmla="*/ 600075 h 1752600"/>
              <a:gd name="connsiteX47" fmla="*/ 2205037 w 3128973"/>
              <a:gd name="connsiteY47" fmla="*/ 614362 h 1752600"/>
              <a:gd name="connsiteX48" fmla="*/ 2219325 w 3128973"/>
              <a:gd name="connsiteY48" fmla="*/ 628650 h 1752600"/>
              <a:gd name="connsiteX49" fmla="*/ 2224087 w 3128973"/>
              <a:gd name="connsiteY49" fmla="*/ 642937 h 1752600"/>
              <a:gd name="connsiteX50" fmla="*/ 2233612 w 3128973"/>
              <a:gd name="connsiteY50" fmla="*/ 657225 h 1752600"/>
              <a:gd name="connsiteX51" fmla="*/ 2247900 w 3128973"/>
              <a:gd name="connsiteY51" fmla="*/ 685800 h 1752600"/>
              <a:gd name="connsiteX52" fmla="*/ 2262187 w 3128973"/>
              <a:gd name="connsiteY52" fmla="*/ 733425 h 1752600"/>
              <a:gd name="connsiteX53" fmla="*/ 2305050 w 3128973"/>
              <a:gd name="connsiteY53" fmla="*/ 771525 h 1752600"/>
              <a:gd name="connsiteX54" fmla="*/ 2319337 w 3128973"/>
              <a:gd name="connsiteY54" fmla="*/ 804862 h 1752600"/>
              <a:gd name="connsiteX55" fmla="*/ 2333625 w 3128973"/>
              <a:gd name="connsiteY55" fmla="*/ 819150 h 1752600"/>
              <a:gd name="connsiteX56" fmla="*/ 2338387 w 3128973"/>
              <a:gd name="connsiteY56" fmla="*/ 833437 h 1752600"/>
              <a:gd name="connsiteX57" fmla="*/ 2352675 w 3128973"/>
              <a:gd name="connsiteY57" fmla="*/ 847725 h 1752600"/>
              <a:gd name="connsiteX58" fmla="*/ 2395537 w 3128973"/>
              <a:gd name="connsiteY58" fmla="*/ 871537 h 1752600"/>
              <a:gd name="connsiteX59" fmla="*/ 2409825 w 3128973"/>
              <a:gd name="connsiteY59" fmla="*/ 890587 h 1752600"/>
              <a:gd name="connsiteX60" fmla="*/ 2424112 w 3128973"/>
              <a:gd name="connsiteY60" fmla="*/ 895350 h 1752600"/>
              <a:gd name="connsiteX61" fmla="*/ 2433637 w 3128973"/>
              <a:gd name="connsiteY61" fmla="*/ 914400 h 1752600"/>
              <a:gd name="connsiteX62" fmla="*/ 2466975 w 3128973"/>
              <a:gd name="connsiteY62" fmla="*/ 942975 h 1752600"/>
              <a:gd name="connsiteX63" fmla="*/ 2474637 w 3128973"/>
              <a:gd name="connsiteY63" fmla="*/ 954728 h 1752600"/>
              <a:gd name="connsiteX64" fmla="*/ 2495550 w 3128973"/>
              <a:gd name="connsiteY64" fmla="*/ 971550 h 1752600"/>
              <a:gd name="connsiteX65" fmla="*/ 2508776 w 3128973"/>
              <a:gd name="connsiteY65" fmla="*/ 983894 h 1752600"/>
              <a:gd name="connsiteX66" fmla="*/ 2533650 w 3128973"/>
              <a:gd name="connsiteY66" fmla="*/ 1000125 h 1752600"/>
              <a:gd name="connsiteX67" fmla="*/ 2547937 w 3128973"/>
              <a:gd name="connsiteY67" fmla="*/ 1028700 h 1752600"/>
              <a:gd name="connsiteX68" fmla="*/ 2552700 w 3128973"/>
              <a:gd name="connsiteY68" fmla="*/ 1042987 h 1752600"/>
              <a:gd name="connsiteX69" fmla="*/ 2576512 w 3128973"/>
              <a:gd name="connsiteY69" fmla="*/ 1071562 h 1752600"/>
              <a:gd name="connsiteX70" fmla="*/ 2584921 w 3128973"/>
              <a:gd name="connsiteY70" fmla="*/ 1082873 h 1752600"/>
              <a:gd name="connsiteX71" fmla="*/ 2600325 w 3128973"/>
              <a:gd name="connsiteY71" fmla="*/ 1095375 h 1752600"/>
              <a:gd name="connsiteX72" fmla="*/ 2609850 w 3128973"/>
              <a:gd name="connsiteY72" fmla="*/ 1109662 h 1752600"/>
              <a:gd name="connsiteX73" fmla="*/ 2652712 w 3128973"/>
              <a:gd name="connsiteY73" fmla="*/ 1143000 h 1752600"/>
              <a:gd name="connsiteX74" fmla="*/ 2681287 w 3128973"/>
              <a:gd name="connsiteY74" fmla="*/ 1152525 h 1752600"/>
              <a:gd name="connsiteX75" fmla="*/ 2700337 w 3128973"/>
              <a:gd name="connsiteY75" fmla="*/ 1162050 h 1752600"/>
              <a:gd name="connsiteX76" fmla="*/ 2714625 w 3128973"/>
              <a:gd name="connsiteY76" fmla="*/ 1171575 h 1752600"/>
              <a:gd name="connsiteX77" fmla="*/ 2752725 w 3128973"/>
              <a:gd name="connsiteY77" fmla="*/ 1181100 h 1752600"/>
              <a:gd name="connsiteX78" fmla="*/ 2767012 w 3128973"/>
              <a:gd name="connsiteY78" fmla="*/ 1195387 h 1752600"/>
              <a:gd name="connsiteX79" fmla="*/ 2781300 w 3128973"/>
              <a:gd name="connsiteY79" fmla="*/ 1200150 h 1752600"/>
              <a:gd name="connsiteX80" fmla="*/ 2795587 w 3128973"/>
              <a:gd name="connsiteY80" fmla="*/ 1209675 h 1752600"/>
              <a:gd name="connsiteX81" fmla="*/ 2805112 w 3128973"/>
              <a:gd name="connsiteY81" fmla="*/ 1223962 h 1752600"/>
              <a:gd name="connsiteX82" fmla="*/ 2809875 w 3128973"/>
              <a:gd name="connsiteY82" fmla="*/ 1238250 h 1752600"/>
              <a:gd name="connsiteX83" fmla="*/ 2833687 w 3128973"/>
              <a:gd name="connsiteY83" fmla="*/ 1276350 h 1752600"/>
              <a:gd name="connsiteX84" fmla="*/ 2895600 w 3128973"/>
              <a:gd name="connsiteY84" fmla="*/ 1333500 h 1752600"/>
              <a:gd name="connsiteX85" fmla="*/ 2900362 w 3128973"/>
              <a:gd name="connsiteY85" fmla="*/ 1352550 h 1752600"/>
              <a:gd name="connsiteX86" fmla="*/ 2928937 w 3128973"/>
              <a:gd name="connsiteY86" fmla="*/ 1395412 h 1752600"/>
              <a:gd name="connsiteX87" fmla="*/ 2943225 w 3128973"/>
              <a:gd name="connsiteY87" fmla="*/ 1404937 h 1752600"/>
              <a:gd name="connsiteX88" fmla="*/ 2957512 w 3128973"/>
              <a:gd name="connsiteY88" fmla="*/ 1419225 h 1752600"/>
              <a:gd name="connsiteX89" fmla="*/ 2986087 w 3128973"/>
              <a:gd name="connsiteY89" fmla="*/ 1443037 h 1752600"/>
              <a:gd name="connsiteX90" fmla="*/ 3000375 w 3128973"/>
              <a:gd name="connsiteY90" fmla="*/ 1462087 h 1752600"/>
              <a:gd name="connsiteX91" fmla="*/ 3016395 w 3128973"/>
              <a:gd name="connsiteY91" fmla="*/ 1476222 h 1752600"/>
              <a:gd name="connsiteX92" fmla="*/ 3028950 w 3128973"/>
              <a:gd name="connsiteY92" fmla="*/ 1495425 h 1752600"/>
              <a:gd name="connsiteX93" fmla="*/ 3043237 w 3128973"/>
              <a:gd name="connsiteY93" fmla="*/ 1552575 h 1752600"/>
              <a:gd name="connsiteX94" fmla="*/ 3052762 w 3128973"/>
              <a:gd name="connsiteY94" fmla="*/ 1566862 h 1752600"/>
              <a:gd name="connsiteX95" fmla="*/ 3057525 w 3128973"/>
              <a:gd name="connsiteY95" fmla="*/ 1581150 h 1752600"/>
              <a:gd name="connsiteX96" fmla="*/ 3067050 w 3128973"/>
              <a:gd name="connsiteY96" fmla="*/ 1662112 h 1752600"/>
              <a:gd name="connsiteX97" fmla="*/ 3071812 w 3128973"/>
              <a:gd name="connsiteY97" fmla="*/ 1676400 h 1752600"/>
              <a:gd name="connsiteX98" fmla="*/ 3100387 w 3128973"/>
              <a:gd name="connsiteY98" fmla="*/ 1690687 h 1752600"/>
              <a:gd name="connsiteX99" fmla="*/ 3114675 w 3128973"/>
              <a:gd name="connsiteY99" fmla="*/ 1685925 h 1752600"/>
              <a:gd name="connsiteX100" fmla="*/ 3124200 w 3128973"/>
              <a:gd name="connsiteY100" fmla="*/ 1671637 h 1752600"/>
              <a:gd name="connsiteX101" fmla="*/ 3128973 w 3128973"/>
              <a:gd name="connsiteY101" fmla="*/ 1651467 h 1752600"/>
              <a:gd name="connsiteX102" fmla="*/ 3128021 w 3128973"/>
              <a:gd name="connsiteY102" fmla="*/ 1710279 h 1752600"/>
              <a:gd name="connsiteX103" fmla="*/ 3043237 w 3128973"/>
              <a:gd name="connsiteY103" fmla="*/ 1714500 h 1752600"/>
              <a:gd name="connsiteX104" fmla="*/ 3028950 w 3128973"/>
              <a:gd name="connsiteY104" fmla="*/ 1728787 h 1752600"/>
              <a:gd name="connsiteX105" fmla="*/ 2986087 w 3128973"/>
              <a:gd name="connsiteY105" fmla="*/ 1738312 h 1752600"/>
              <a:gd name="connsiteX106" fmla="*/ 2971800 w 3128973"/>
              <a:gd name="connsiteY106" fmla="*/ 1743075 h 1752600"/>
              <a:gd name="connsiteX107" fmla="*/ 2943225 w 3128973"/>
              <a:gd name="connsiteY107" fmla="*/ 1738312 h 1752600"/>
              <a:gd name="connsiteX108" fmla="*/ 2928937 w 3128973"/>
              <a:gd name="connsiteY108" fmla="*/ 1747837 h 1752600"/>
              <a:gd name="connsiteX109" fmla="*/ 2914650 w 3128973"/>
              <a:gd name="connsiteY109" fmla="*/ 1752600 h 1752600"/>
              <a:gd name="connsiteX110" fmla="*/ 2895600 w 3128973"/>
              <a:gd name="connsiteY110" fmla="*/ 1724025 h 1752600"/>
              <a:gd name="connsiteX111" fmla="*/ 2883310 w 3128973"/>
              <a:gd name="connsiteY111" fmla="*/ 1701201 h 1752600"/>
              <a:gd name="connsiteX112" fmla="*/ 2883805 w 3128973"/>
              <a:gd name="connsiteY112" fmla="*/ 1696138 h 1752600"/>
              <a:gd name="connsiteX113" fmla="*/ 2871787 w 3128973"/>
              <a:gd name="connsiteY113" fmla="*/ 1685925 h 1752600"/>
              <a:gd name="connsiteX114" fmla="*/ 2847975 w 3128973"/>
              <a:gd name="connsiteY114" fmla="*/ 1657350 h 1752600"/>
              <a:gd name="connsiteX115" fmla="*/ 2834034 w 3128973"/>
              <a:gd name="connsiteY115" fmla="*/ 1637762 h 1752600"/>
              <a:gd name="connsiteX116" fmla="*/ 2814637 w 3128973"/>
              <a:gd name="connsiteY116" fmla="*/ 1619250 h 1752600"/>
              <a:gd name="connsiteX117" fmla="*/ 2809875 w 3128973"/>
              <a:gd name="connsiteY117" fmla="*/ 1604962 h 1752600"/>
              <a:gd name="connsiteX118" fmla="*/ 2795587 w 3128973"/>
              <a:gd name="connsiteY118" fmla="*/ 1600200 h 1752600"/>
              <a:gd name="connsiteX119" fmla="*/ 2781300 w 3128973"/>
              <a:gd name="connsiteY119" fmla="*/ 1590675 h 1752600"/>
              <a:gd name="connsiteX120" fmla="*/ 2752725 w 3128973"/>
              <a:gd name="connsiteY120" fmla="*/ 1581150 h 1752600"/>
              <a:gd name="connsiteX121" fmla="*/ 2733675 w 3128973"/>
              <a:gd name="connsiteY121" fmla="*/ 1625600 h 1752600"/>
              <a:gd name="connsiteX122" fmla="*/ 2709862 w 3128973"/>
              <a:gd name="connsiteY122" fmla="*/ 1619250 h 1752600"/>
              <a:gd name="connsiteX123" fmla="*/ 2723566 w 3128973"/>
              <a:gd name="connsiteY123" fmla="*/ 1590361 h 1752600"/>
              <a:gd name="connsiteX124" fmla="*/ 2674937 w 3128973"/>
              <a:gd name="connsiteY124" fmla="*/ 1560512 h 1752600"/>
              <a:gd name="connsiteX125" fmla="*/ 2643187 w 3128973"/>
              <a:gd name="connsiteY125" fmla="*/ 1495425 h 1752600"/>
              <a:gd name="connsiteX126" fmla="*/ 2628900 w 3128973"/>
              <a:gd name="connsiteY126" fmla="*/ 1490662 h 1752600"/>
              <a:gd name="connsiteX127" fmla="*/ 2595562 w 3128973"/>
              <a:gd name="connsiteY127" fmla="*/ 1481137 h 1752600"/>
              <a:gd name="connsiteX128" fmla="*/ 2581275 w 3128973"/>
              <a:gd name="connsiteY128" fmla="*/ 1466850 h 1752600"/>
              <a:gd name="connsiteX129" fmla="*/ 2552700 w 3128973"/>
              <a:gd name="connsiteY129" fmla="*/ 1457325 h 1752600"/>
              <a:gd name="connsiteX130" fmla="*/ 2538412 w 3128973"/>
              <a:gd name="connsiteY130" fmla="*/ 1447800 h 1752600"/>
              <a:gd name="connsiteX131" fmla="*/ 2519362 w 3128973"/>
              <a:gd name="connsiteY131" fmla="*/ 1443037 h 1752600"/>
              <a:gd name="connsiteX132" fmla="*/ 2490787 w 3128973"/>
              <a:gd name="connsiteY132" fmla="*/ 1433512 h 1752600"/>
              <a:gd name="connsiteX133" fmla="*/ 2476500 w 3128973"/>
              <a:gd name="connsiteY133" fmla="*/ 1428750 h 1752600"/>
              <a:gd name="connsiteX134" fmla="*/ 2466975 w 3128973"/>
              <a:gd name="connsiteY134" fmla="*/ 1414462 h 1752600"/>
              <a:gd name="connsiteX135" fmla="*/ 2447925 w 3128973"/>
              <a:gd name="connsiteY135" fmla="*/ 1409700 h 1752600"/>
              <a:gd name="connsiteX136" fmla="*/ 2309812 w 3128973"/>
              <a:gd name="connsiteY136" fmla="*/ 1395412 h 1752600"/>
              <a:gd name="connsiteX137" fmla="*/ 2295525 w 3128973"/>
              <a:gd name="connsiteY137" fmla="*/ 1390650 h 1752600"/>
              <a:gd name="connsiteX138" fmla="*/ 2257425 w 3128973"/>
              <a:gd name="connsiteY138" fmla="*/ 1381125 h 1752600"/>
              <a:gd name="connsiteX139" fmla="*/ 2238375 w 3128973"/>
              <a:gd name="connsiteY139" fmla="*/ 1366837 h 1752600"/>
              <a:gd name="connsiteX140" fmla="*/ 2224087 w 3128973"/>
              <a:gd name="connsiteY140" fmla="*/ 1362075 h 1752600"/>
              <a:gd name="connsiteX141" fmla="*/ 2176462 w 3128973"/>
              <a:gd name="connsiteY141" fmla="*/ 1338262 h 1752600"/>
              <a:gd name="connsiteX142" fmla="*/ 2162175 w 3128973"/>
              <a:gd name="connsiteY142" fmla="*/ 1328737 h 1752600"/>
              <a:gd name="connsiteX143" fmla="*/ 2114550 w 3128973"/>
              <a:gd name="connsiteY143" fmla="*/ 1314450 h 1752600"/>
              <a:gd name="connsiteX144" fmla="*/ 2100262 w 3128973"/>
              <a:gd name="connsiteY144" fmla="*/ 1300162 h 1752600"/>
              <a:gd name="connsiteX145" fmla="*/ 2085975 w 3128973"/>
              <a:gd name="connsiteY145" fmla="*/ 1295400 h 1752600"/>
              <a:gd name="connsiteX146" fmla="*/ 2055019 w 3128973"/>
              <a:gd name="connsiteY146" fmla="*/ 1290637 h 1752600"/>
              <a:gd name="connsiteX147" fmla="*/ 2028824 w 3128973"/>
              <a:gd name="connsiteY147" fmla="*/ 1283494 h 1752600"/>
              <a:gd name="connsiteX148" fmla="*/ 2005012 w 3128973"/>
              <a:gd name="connsiteY148" fmla="*/ 1271587 h 1752600"/>
              <a:gd name="connsiteX149" fmla="*/ 1985962 w 3128973"/>
              <a:gd name="connsiteY149" fmla="*/ 1262062 h 1752600"/>
              <a:gd name="connsiteX150" fmla="*/ 1971675 w 3128973"/>
              <a:gd name="connsiteY150" fmla="*/ 1257300 h 1752600"/>
              <a:gd name="connsiteX151" fmla="*/ 1943100 w 3128973"/>
              <a:gd name="connsiteY151" fmla="*/ 1238250 h 1752600"/>
              <a:gd name="connsiteX152" fmla="*/ 1914525 w 3128973"/>
              <a:gd name="connsiteY152" fmla="*/ 1219200 h 1752600"/>
              <a:gd name="connsiteX153" fmla="*/ 1885950 w 3128973"/>
              <a:gd name="connsiteY153" fmla="*/ 1209675 h 1752600"/>
              <a:gd name="connsiteX154" fmla="*/ 1843087 w 3128973"/>
              <a:gd name="connsiteY154" fmla="*/ 1195387 h 1752600"/>
              <a:gd name="connsiteX155" fmla="*/ 1757362 w 3128973"/>
              <a:gd name="connsiteY155" fmla="*/ 1185862 h 1752600"/>
              <a:gd name="connsiteX156" fmla="*/ 1700212 w 3128973"/>
              <a:gd name="connsiteY156" fmla="*/ 1166812 h 1752600"/>
              <a:gd name="connsiteX157" fmla="*/ 1671637 w 3128973"/>
              <a:gd name="connsiteY157" fmla="*/ 1147762 h 1752600"/>
              <a:gd name="connsiteX158" fmla="*/ 1652587 w 3128973"/>
              <a:gd name="connsiteY158" fmla="*/ 1138237 h 1752600"/>
              <a:gd name="connsiteX159" fmla="*/ 1638300 w 3128973"/>
              <a:gd name="connsiteY159" fmla="*/ 1128712 h 1752600"/>
              <a:gd name="connsiteX160" fmla="*/ 1590675 w 3128973"/>
              <a:gd name="connsiteY160" fmla="*/ 1138238 h 1752600"/>
              <a:gd name="connsiteX161" fmla="*/ 1559719 w 3128973"/>
              <a:gd name="connsiteY161" fmla="*/ 1109662 h 1752600"/>
              <a:gd name="connsiteX162" fmla="*/ 1528762 w 3128973"/>
              <a:gd name="connsiteY162" fmla="*/ 1085850 h 1752600"/>
              <a:gd name="connsiteX163" fmla="*/ 1514475 w 3128973"/>
              <a:gd name="connsiteY163" fmla="*/ 1081087 h 1752600"/>
              <a:gd name="connsiteX164" fmla="*/ 1470025 w 3128973"/>
              <a:gd name="connsiteY164" fmla="*/ 1130300 h 1752600"/>
              <a:gd name="connsiteX165" fmla="*/ 1433512 w 3128973"/>
              <a:gd name="connsiteY165" fmla="*/ 1108075 h 1752600"/>
              <a:gd name="connsiteX166" fmla="*/ 1423987 w 3128973"/>
              <a:gd name="connsiteY166" fmla="*/ 1087437 h 1752600"/>
              <a:gd name="connsiteX167" fmla="*/ 1381125 w 3128973"/>
              <a:gd name="connsiteY167" fmla="*/ 1095375 h 1752600"/>
              <a:gd name="connsiteX168" fmla="*/ 1383506 w 3128973"/>
              <a:gd name="connsiteY168" fmla="*/ 1028700 h 1752600"/>
              <a:gd name="connsiteX169" fmla="*/ 1366838 w 3128973"/>
              <a:gd name="connsiteY169" fmla="*/ 1019175 h 1752600"/>
              <a:gd name="connsiteX170" fmla="*/ 1335881 w 3128973"/>
              <a:gd name="connsiteY170" fmla="*/ 1007268 h 1752600"/>
              <a:gd name="connsiteX171" fmla="*/ 1319213 w 3128973"/>
              <a:gd name="connsiteY171" fmla="*/ 1007268 h 1752600"/>
              <a:gd name="connsiteX172" fmla="*/ 1295400 w 3128973"/>
              <a:gd name="connsiteY172" fmla="*/ 976312 h 1752600"/>
              <a:gd name="connsiteX173" fmla="*/ 1281112 w 3128973"/>
              <a:gd name="connsiteY173" fmla="*/ 966787 h 1752600"/>
              <a:gd name="connsiteX174" fmla="*/ 1238250 w 3128973"/>
              <a:gd name="connsiteY174" fmla="*/ 947737 h 1752600"/>
              <a:gd name="connsiteX175" fmla="*/ 1212850 w 3128973"/>
              <a:gd name="connsiteY175" fmla="*/ 995362 h 1752600"/>
              <a:gd name="connsiteX176" fmla="*/ 1201737 w 3128973"/>
              <a:gd name="connsiteY176" fmla="*/ 987425 h 1752600"/>
              <a:gd name="connsiteX177" fmla="*/ 1163637 w 3128973"/>
              <a:gd name="connsiteY177" fmla="*/ 952277 h 1752600"/>
              <a:gd name="connsiteX178" fmla="*/ 1133475 w 3128973"/>
              <a:gd name="connsiteY178" fmla="*/ 925512 h 1752600"/>
              <a:gd name="connsiteX179" fmla="*/ 1085850 w 3128973"/>
              <a:gd name="connsiteY179" fmla="*/ 859631 h 1752600"/>
              <a:gd name="connsiteX180" fmla="*/ 1071562 w 3128973"/>
              <a:gd name="connsiteY180" fmla="*/ 842962 h 1752600"/>
              <a:gd name="connsiteX181" fmla="*/ 1047750 w 3128973"/>
              <a:gd name="connsiteY181" fmla="*/ 819150 h 1752600"/>
              <a:gd name="connsiteX182" fmla="*/ 1028700 w 3128973"/>
              <a:gd name="connsiteY182" fmla="*/ 804862 h 1752600"/>
              <a:gd name="connsiteX183" fmla="*/ 1018076 w 3128973"/>
              <a:gd name="connsiteY183" fmla="*/ 794816 h 1752600"/>
              <a:gd name="connsiteX184" fmla="*/ 1000125 w 3128973"/>
              <a:gd name="connsiteY184" fmla="*/ 785812 h 1752600"/>
              <a:gd name="connsiteX185" fmla="*/ 984342 w 3128973"/>
              <a:gd name="connsiteY185" fmla="*/ 773578 h 1752600"/>
              <a:gd name="connsiteX186" fmla="*/ 957262 w 3128973"/>
              <a:gd name="connsiteY186" fmla="*/ 766762 h 1752600"/>
              <a:gd name="connsiteX187" fmla="*/ 938212 w 3128973"/>
              <a:gd name="connsiteY187" fmla="*/ 757237 h 1752600"/>
              <a:gd name="connsiteX188" fmla="*/ 904875 w 3128973"/>
              <a:gd name="connsiteY188" fmla="*/ 747712 h 1752600"/>
              <a:gd name="connsiteX189" fmla="*/ 862012 w 3128973"/>
              <a:gd name="connsiteY189" fmla="*/ 723900 h 1752600"/>
              <a:gd name="connsiteX190" fmla="*/ 795337 w 3128973"/>
              <a:gd name="connsiteY190" fmla="*/ 685800 h 1752600"/>
              <a:gd name="connsiteX191" fmla="*/ 776287 w 3128973"/>
              <a:gd name="connsiteY191" fmla="*/ 666750 h 1752600"/>
              <a:gd name="connsiteX192" fmla="*/ 762000 w 3128973"/>
              <a:gd name="connsiteY192" fmla="*/ 661987 h 1752600"/>
              <a:gd name="connsiteX193" fmla="*/ 742950 w 3128973"/>
              <a:gd name="connsiteY193" fmla="*/ 647700 h 1752600"/>
              <a:gd name="connsiteX194" fmla="*/ 709612 w 3128973"/>
              <a:gd name="connsiteY194" fmla="*/ 638175 h 1752600"/>
              <a:gd name="connsiteX195" fmla="*/ 695325 w 3128973"/>
              <a:gd name="connsiteY195" fmla="*/ 628650 h 1752600"/>
              <a:gd name="connsiteX196" fmla="*/ 681037 w 3128973"/>
              <a:gd name="connsiteY196" fmla="*/ 623887 h 1752600"/>
              <a:gd name="connsiteX197" fmla="*/ 676275 w 3128973"/>
              <a:gd name="connsiteY197" fmla="*/ 604837 h 1752600"/>
              <a:gd name="connsiteX198" fmla="*/ 666750 w 3128973"/>
              <a:gd name="connsiteY198" fmla="*/ 576262 h 1752600"/>
              <a:gd name="connsiteX199" fmla="*/ 661987 w 3128973"/>
              <a:gd name="connsiteY199" fmla="*/ 561975 h 1752600"/>
              <a:gd name="connsiteX200" fmla="*/ 666750 w 3128973"/>
              <a:gd name="connsiteY200" fmla="*/ 538162 h 1752600"/>
              <a:gd name="connsiteX201" fmla="*/ 638175 w 3128973"/>
              <a:gd name="connsiteY201" fmla="*/ 514350 h 1752600"/>
              <a:gd name="connsiteX202" fmla="*/ 619125 w 3128973"/>
              <a:gd name="connsiteY202" fmla="*/ 500062 h 1752600"/>
              <a:gd name="connsiteX203" fmla="*/ 576262 w 3128973"/>
              <a:gd name="connsiteY203" fmla="*/ 490537 h 1752600"/>
              <a:gd name="connsiteX204" fmla="*/ 542925 w 3128973"/>
              <a:gd name="connsiteY204" fmla="*/ 452437 h 1752600"/>
              <a:gd name="connsiteX205" fmla="*/ 525462 w 3128973"/>
              <a:gd name="connsiteY205" fmla="*/ 485775 h 1752600"/>
              <a:gd name="connsiteX206" fmla="*/ 504825 w 3128973"/>
              <a:gd name="connsiteY206" fmla="*/ 466725 h 1752600"/>
              <a:gd name="connsiteX207" fmla="*/ 454025 w 3128973"/>
              <a:gd name="connsiteY207" fmla="*/ 466725 h 1752600"/>
              <a:gd name="connsiteX208" fmla="*/ 407987 w 3128973"/>
              <a:gd name="connsiteY208" fmla="*/ 473075 h 1752600"/>
              <a:gd name="connsiteX209" fmla="*/ 395287 w 3128973"/>
              <a:gd name="connsiteY209" fmla="*/ 409575 h 1752600"/>
              <a:gd name="connsiteX210" fmla="*/ 376237 w 3128973"/>
              <a:gd name="connsiteY210" fmla="*/ 404812 h 1752600"/>
              <a:gd name="connsiteX211" fmla="*/ 342900 w 3128973"/>
              <a:gd name="connsiteY211" fmla="*/ 400050 h 1752600"/>
              <a:gd name="connsiteX212" fmla="*/ 314325 w 3128973"/>
              <a:gd name="connsiteY212" fmla="*/ 390525 h 1752600"/>
              <a:gd name="connsiteX213" fmla="*/ 273844 w 3128973"/>
              <a:gd name="connsiteY213" fmla="*/ 383382 h 1752600"/>
              <a:gd name="connsiteX214" fmla="*/ 257175 w 3128973"/>
              <a:gd name="connsiteY214" fmla="*/ 371475 h 1752600"/>
              <a:gd name="connsiteX215" fmla="*/ 245269 w 3128973"/>
              <a:gd name="connsiteY215" fmla="*/ 364331 h 1752600"/>
              <a:gd name="connsiteX216" fmla="*/ 223837 w 3128973"/>
              <a:gd name="connsiteY216" fmla="*/ 347662 h 1752600"/>
              <a:gd name="connsiteX217" fmla="*/ 190500 w 3128973"/>
              <a:gd name="connsiteY217" fmla="*/ 338137 h 1752600"/>
              <a:gd name="connsiteX218" fmla="*/ 147637 w 3128973"/>
              <a:gd name="connsiteY218" fmla="*/ 333375 h 1752600"/>
              <a:gd name="connsiteX219" fmla="*/ 119062 w 3128973"/>
              <a:gd name="connsiteY219" fmla="*/ 323850 h 1752600"/>
              <a:gd name="connsiteX220" fmla="*/ 104775 w 3128973"/>
              <a:gd name="connsiteY220" fmla="*/ 319087 h 1752600"/>
              <a:gd name="connsiteX221" fmla="*/ 61912 w 3128973"/>
              <a:gd name="connsiteY221" fmla="*/ 300037 h 1752600"/>
              <a:gd name="connsiteX222" fmla="*/ 23812 w 3128973"/>
              <a:gd name="connsiteY222" fmla="*/ 290512 h 1752600"/>
              <a:gd name="connsiteX223" fmla="*/ 9525 w 3128973"/>
              <a:gd name="connsiteY223" fmla="*/ 261937 h 1752600"/>
              <a:gd name="connsiteX224" fmla="*/ 0 w 3128973"/>
              <a:gd name="connsiteY224" fmla="*/ 290512 h 1752600"/>
              <a:gd name="connsiteX225" fmla="*/ 4762 w 3128973"/>
              <a:gd name="connsiteY225" fmla="*/ 247650 h 1752600"/>
              <a:gd name="connsiteX226" fmla="*/ 19050 w 3128973"/>
              <a:gd name="connsiteY226" fmla="*/ 200025 h 1752600"/>
              <a:gd name="connsiteX227" fmla="*/ 23812 w 3128973"/>
              <a:gd name="connsiteY227" fmla="*/ 185737 h 1752600"/>
              <a:gd name="connsiteX228" fmla="*/ 71437 w 3128973"/>
              <a:gd name="connsiteY228" fmla="*/ 171450 h 1752600"/>
              <a:gd name="connsiteX229" fmla="*/ 85725 w 3128973"/>
              <a:gd name="connsiteY229" fmla="*/ 166687 h 1752600"/>
              <a:gd name="connsiteX230" fmla="*/ 100012 w 3128973"/>
              <a:gd name="connsiteY230" fmla="*/ 161925 h 1752600"/>
              <a:gd name="connsiteX231" fmla="*/ 114300 w 3128973"/>
              <a:gd name="connsiteY231" fmla="*/ 152400 h 1752600"/>
              <a:gd name="connsiteX232" fmla="*/ 133350 w 3128973"/>
              <a:gd name="connsiteY232" fmla="*/ 123825 h 1752600"/>
              <a:gd name="connsiteX233" fmla="*/ 138112 w 3128973"/>
              <a:gd name="connsiteY233" fmla="*/ 109537 h 1752600"/>
              <a:gd name="connsiteX234" fmla="*/ 135467 w 3128973"/>
              <a:gd name="connsiteY234" fmla="*/ 97059 h 1752600"/>
              <a:gd name="connsiteX235" fmla="*/ 142875 w 3128973"/>
              <a:gd name="connsiteY235" fmla="*/ 71437 h 1752600"/>
              <a:gd name="connsiteX236" fmla="*/ 157162 w 3128973"/>
              <a:gd name="connsiteY236" fmla="*/ 57150 h 1752600"/>
              <a:gd name="connsiteX237" fmla="*/ 200025 w 3128973"/>
              <a:gd name="connsiteY237" fmla="*/ 33337 h 1752600"/>
              <a:gd name="connsiteX238" fmla="*/ 309562 w 3128973"/>
              <a:gd name="connsiteY238" fmla="*/ 28575 h 1752600"/>
              <a:gd name="connsiteX239" fmla="*/ 400050 w 3128973"/>
              <a:gd name="connsiteY239" fmla="*/ 14287 h 1752600"/>
              <a:gd name="connsiteX240" fmla="*/ 414337 w 3128973"/>
              <a:gd name="connsiteY240" fmla="*/ 9525 h 1752600"/>
              <a:gd name="connsiteX241" fmla="*/ 481012 w 3128973"/>
              <a:gd name="connsiteY241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046801 w 3128973"/>
              <a:gd name="connsiteY30" fmla="*/ 262295 h 1752600"/>
              <a:gd name="connsiteX31" fmla="*/ 2033587 w 3128973"/>
              <a:gd name="connsiteY31" fmla="*/ 266700 h 1752600"/>
              <a:gd name="connsiteX32" fmla="*/ 2019300 w 3128973"/>
              <a:gd name="connsiteY32" fmla="*/ 280987 h 1752600"/>
              <a:gd name="connsiteX33" fmla="*/ 1990725 w 3128973"/>
              <a:gd name="connsiteY33" fmla="*/ 300037 h 1752600"/>
              <a:gd name="connsiteX34" fmla="*/ 1981200 w 3128973"/>
              <a:gd name="connsiteY34" fmla="*/ 314325 h 1752600"/>
              <a:gd name="connsiteX35" fmla="*/ 1981200 w 3128973"/>
              <a:gd name="connsiteY35" fmla="*/ 419100 h 1752600"/>
              <a:gd name="connsiteX36" fmla="*/ 1985962 w 3128973"/>
              <a:gd name="connsiteY36" fmla="*/ 433387 h 1752600"/>
              <a:gd name="connsiteX37" fmla="*/ 2000250 w 3128973"/>
              <a:gd name="connsiteY37" fmla="*/ 442912 h 1752600"/>
              <a:gd name="connsiteX38" fmla="*/ 2005012 w 3128973"/>
              <a:gd name="connsiteY38" fmla="*/ 457200 h 1752600"/>
              <a:gd name="connsiteX39" fmla="*/ 2005012 w 3128973"/>
              <a:gd name="connsiteY39" fmla="*/ 561975 h 1752600"/>
              <a:gd name="connsiteX40" fmla="*/ 2009775 w 3128973"/>
              <a:gd name="connsiteY40" fmla="*/ 576262 h 1752600"/>
              <a:gd name="connsiteX41" fmla="*/ 2024062 w 3128973"/>
              <a:gd name="connsiteY41" fmla="*/ 581025 h 1752600"/>
              <a:gd name="connsiteX42" fmla="*/ 2038350 w 3128973"/>
              <a:gd name="connsiteY42" fmla="*/ 595312 h 1752600"/>
              <a:gd name="connsiteX43" fmla="*/ 2052637 w 3128973"/>
              <a:gd name="connsiteY43" fmla="*/ 600075 h 1752600"/>
              <a:gd name="connsiteX44" fmla="*/ 2133600 w 3128973"/>
              <a:gd name="connsiteY44" fmla="*/ 590550 h 1752600"/>
              <a:gd name="connsiteX45" fmla="*/ 2147887 w 3128973"/>
              <a:gd name="connsiteY45" fmla="*/ 585787 h 1752600"/>
              <a:gd name="connsiteX46" fmla="*/ 2195512 w 3128973"/>
              <a:gd name="connsiteY46" fmla="*/ 600075 h 1752600"/>
              <a:gd name="connsiteX47" fmla="*/ 2205037 w 3128973"/>
              <a:gd name="connsiteY47" fmla="*/ 614362 h 1752600"/>
              <a:gd name="connsiteX48" fmla="*/ 2219325 w 3128973"/>
              <a:gd name="connsiteY48" fmla="*/ 628650 h 1752600"/>
              <a:gd name="connsiteX49" fmla="*/ 2224087 w 3128973"/>
              <a:gd name="connsiteY49" fmla="*/ 642937 h 1752600"/>
              <a:gd name="connsiteX50" fmla="*/ 2233612 w 3128973"/>
              <a:gd name="connsiteY50" fmla="*/ 657225 h 1752600"/>
              <a:gd name="connsiteX51" fmla="*/ 2247900 w 3128973"/>
              <a:gd name="connsiteY51" fmla="*/ 685800 h 1752600"/>
              <a:gd name="connsiteX52" fmla="*/ 2262187 w 3128973"/>
              <a:gd name="connsiteY52" fmla="*/ 733425 h 1752600"/>
              <a:gd name="connsiteX53" fmla="*/ 2305050 w 3128973"/>
              <a:gd name="connsiteY53" fmla="*/ 771525 h 1752600"/>
              <a:gd name="connsiteX54" fmla="*/ 2319337 w 3128973"/>
              <a:gd name="connsiteY54" fmla="*/ 804862 h 1752600"/>
              <a:gd name="connsiteX55" fmla="*/ 2333625 w 3128973"/>
              <a:gd name="connsiteY55" fmla="*/ 819150 h 1752600"/>
              <a:gd name="connsiteX56" fmla="*/ 2338387 w 3128973"/>
              <a:gd name="connsiteY56" fmla="*/ 833437 h 1752600"/>
              <a:gd name="connsiteX57" fmla="*/ 2352675 w 3128973"/>
              <a:gd name="connsiteY57" fmla="*/ 847725 h 1752600"/>
              <a:gd name="connsiteX58" fmla="*/ 2395537 w 3128973"/>
              <a:gd name="connsiteY58" fmla="*/ 871537 h 1752600"/>
              <a:gd name="connsiteX59" fmla="*/ 2409825 w 3128973"/>
              <a:gd name="connsiteY59" fmla="*/ 890587 h 1752600"/>
              <a:gd name="connsiteX60" fmla="*/ 2424112 w 3128973"/>
              <a:gd name="connsiteY60" fmla="*/ 895350 h 1752600"/>
              <a:gd name="connsiteX61" fmla="*/ 2433637 w 3128973"/>
              <a:gd name="connsiteY61" fmla="*/ 914400 h 1752600"/>
              <a:gd name="connsiteX62" fmla="*/ 2466975 w 3128973"/>
              <a:gd name="connsiteY62" fmla="*/ 942975 h 1752600"/>
              <a:gd name="connsiteX63" fmla="*/ 2474637 w 3128973"/>
              <a:gd name="connsiteY63" fmla="*/ 954728 h 1752600"/>
              <a:gd name="connsiteX64" fmla="*/ 2495550 w 3128973"/>
              <a:gd name="connsiteY64" fmla="*/ 971550 h 1752600"/>
              <a:gd name="connsiteX65" fmla="*/ 2508776 w 3128973"/>
              <a:gd name="connsiteY65" fmla="*/ 983894 h 1752600"/>
              <a:gd name="connsiteX66" fmla="*/ 2533650 w 3128973"/>
              <a:gd name="connsiteY66" fmla="*/ 1000125 h 1752600"/>
              <a:gd name="connsiteX67" fmla="*/ 2547937 w 3128973"/>
              <a:gd name="connsiteY67" fmla="*/ 1028700 h 1752600"/>
              <a:gd name="connsiteX68" fmla="*/ 2552700 w 3128973"/>
              <a:gd name="connsiteY68" fmla="*/ 1042987 h 1752600"/>
              <a:gd name="connsiteX69" fmla="*/ 2576512 w 3128973"/>
              <a:gd name="connsiteY69" fmla="*/ 1071562 h 1752600"/>
              <a:gd name="connsiteX70" fmla="*/ 2584921 w 3128973"/>
              <a:gd name="connsiteY70" fmla="*/ 1082873 h 1752600"/>
              <a:gd name="connsiteX71" fmla="*/ 2600325 w 3128973"/>
              <a:gd name="connsiteY71" fmla="*/ 1095375 h 1752600"/>
              <a:gd name="connsiteX72" fmla="*/ 2609850 w 3128973"/>
              <a:gd name="connsiteY72" fmla="*/ 1109662 h 1752600"/>
              <a:gd name="connsiteX73" fmla="*/ 2652712 w 3128973"/>
              <a:gd name="connsiteY73" fmla="*/ 1143000 h 1752600"/>
              <a:gd name="connsiteX74" fmla="*/ 2681287 w 3128973"/>
              <a:gd name="connsiteY74" fmla="*/ 1152525 h 1752600"/>
              <a:gd name="connsiteX75" fmla="*/ 2700337 w 3128973"/>
              <a:gd name="connsiteY75" fmla="*/ 1162050 h 1752600"/>
              <a:gd name="connsiteX76" fmla="*/ 2714625 w 3128973"/>
              <a:gd name="connsiteY76" fmla="*/ 1171575 h 1752600"/>
              <a:gd name="connsiteX77" fmla="*/ 2752725 w 3128973"/>
              <a:gd name="connsiteY77" fmla="*/ 1181100 h 1752600"/>
              <a:gd name="connsiteX78" fmla="*/ 2767012 w 3128973"/>
              <a:gd name="connsiteY78" fmla="*/ 1195387 h 1752600"/>
              <a:gd name="connsiteX79" fmla="*/ 2781300 w 3128973"/>
              <a:gd name="connsiteY79" fmla="*/ 1200150 h 1752600"/>
              <a:gd name="connsiteX80" fmla="*/ 2795587 w 3128973"/>
              <a:gd name="connsiteY80" fmla="*/ 1209675 h 1752600"/>
              <a:gd name="connsiteX81" fmla="*/ 2805112 w 3128973"/>
              <a:gd name="connsiteY81" fmla="*/ 1223962 h 1752600"/>
              <a:gd name="connsiteX82" fmla="*/ 2809875 w 3128973"/>
              <a:gd name="connsiteY82" fmla="*/ 1238250 h 1752600"/>
              <a:gd name="connsiteX83" fmla="*/ 2833687 w 3128973"/>
              <a:gd name="connsiteY83" fmla="*/ 1276350 h 1752600"/>
              <a:gd name="connsiteX84" fmla="*/ 2895600 w 3128973"/>
              <a:gd name="connsiteY84" fmla="*/ 1333500 h 1752600"/>
              <a:gd name="connsiteX85" fmla="*/ 2900362 w 3128973"/>
              <a:gd name="connsiteY85" fmla="*/ 1352550 h 1752600"/>
              <a:gd name="connsiteX86" fmla="*/ 2928937 w 3128973"/>
              <a:gd name="connsiteY86" fmla="*/ 1395412 h 1752600"/>
              <a:gd name="connsiteX87" fmla="*/ 2943225 w 3128973"/>
              <a:gd name="connsiteY87" fmla="*/ 1404937 h 1752600"/>
              <a:gd name="connsiteX88" fmla="*/ 2957512 w 3128973"/>
              <a:gd name="connsiteY88" fmla="*/ 1419225 h 1752600"/>
              <a:gd name="connsiteX89" fmla="*/ 2986087 w 3128973"/>
              <a:gd name="connsiteY89" fmla="*/ 1443037 h 1752600"/>
              <a:gd name="connsiteX90" fmla="*/ 3000375 w 3128973"/>
              <a:gd name="connsiteY90" fmla="*/ 1462087 h 1752600"/>
              <a:gd name="connsiteX91" fmla="*/ 3016395 w 3128973"/>
              <a:gd name="connsiteY91" fmla="*/ 1476222 h 1752600"/>
              <a:gd name="connsiteX92" fmla="*/ 3028950 w 3128973"/>
              <a:gd name="connsiteY92" fmla="*/ 1495425 h 1752600"/>
              <a:gd name="connsiteX93" fmla="*/ 3043237 w 3128973"/>
              <a:gd name="connsiteY93" fmla="*/ 1552575 h 1752600"/>
              <a:gd name="connsiteX94" fmla="*/ 3052762 w 3128973"/>
              <a:gd name="connsiteY94" fmla="*/ 1566862 h 1752600"/>
              <a:gd name="connsiteX95" fmla="*/ 3057525 w 3128973"/>
              <a:gd name="connsiteY95" fmla="*/ 1581150 h 1752600"/>
              <a:gd name="connsiteX96" fmla="*/ 3067050 w 3128973"/>
              <a:gd name="connsiteY96" fmla="*/ 1662112 h 1752600"/>
              <a:gd name="connsiteX97" fmla="*/ 3071812 w 3128973"/>
              <a:gd name="connsiteY97" fmla="*/ 1676400 h 1752600"/>
              <a:gd name="connsiteX98" fmla="*/ 3100387 w 3128973"/>
              <a:gd name="connsiteY98" fmla="*/ 1690687 h 1752600"/>
              <a:gd name="connsiteX99" fmla="*/ 3114675 w 3128973"/>
              <a:gd name="connsiteY99" fmla="*/ 1685925 h 1752600"/>
              <a:gd name="connsiteX100" fmla="*/ 3124200 w 3128973"/>
              <a:gd name="connsiteY100" fmla="*/ 1671637 h 1752600"/>
              <a:gd name="connsiteX101" fmla="*/ 3128973 w 3128973"/>
              <a:gd name="connsiteY101" fmla="*/ 1651467 h 1752600"/>
              <a:gd name="connsiteX102" fmla="*/ 3128021 w 3128973"/>
              <a:gd name="connsiteY102" fmla="*/ 1710279 h 1752600"/>
              <a:gd name="connsiteX103" fmla="*/ 3043237 w 3128973"/>
              <a:gd name="connsiteY103" fmla="*/ 1714500 h 1752600"/>
              <a:gd name="connsiteX104" fmla="*/ 3028950 w 3128973"/>
              <a:gd name="connsiteY104" fmla="*/ 1728787 h 1752600"/>
              <a:gd name="connsiteX105" fmla="*/ 2986087 w 3128973"/>
              <a:gd name="connsiteY105" fmla="*/ 1738312 h 1752600"/>
              <a:gd name="connsiteX106" fmla="*/ 2971800 w 3128973"/>
              <a:gd name="connsiteY106" fmla="*/ 1743075 h 1752600"/>
              <a:gd name="connsiteX107" fmla="*/ 2943225 w 3128973"/>
              <a:gd name="connsiteY107" fmla="*/ 1738312 h 1752600"/>
              <a:gd name="connsiteX108" fmla="*/ 2928937 w 3128973"/>
              <a:gd name="connsiteY108" fmla="*/ 1747837 h 1752600"/>
              <a:gd name="connsiteX109" fmla="*/ 2914650 w 3128973"/>
              <a:gd name="connsiteY109" fmla="*/ 1752600 h 1752600"/>
              <a:gd name="connsiteX110" fmla="*/ 2895600 w 3128973"/>
              <a:gd name="connsiteY110" fmla="*/ 1724025 h 1752600"/>
              <a:gd name="connsiteX111" fmla="*/ 2883310 w 3128973"/>
              <a:gd name="connsiteY111" fmla="*/ 1701201 h 1752600"/>
              <a:gd name="connsiteX112" fmla="*/ 2883805 w 3128973"/>
              <a:gd name="connsiteY112" fmla="*/ 1696138 h 1752600"/>
              <a:gd name="connsiteX113" fmla="*/ 2871787 w 3128973"/>
              <a:gd name="connsiteY113" fmla="*/ 1685925 h 1752600"/>
              <a:gd name="connsiteX114" fmla="*/ 2847975 w 3128973"/>
              <a:gd name="connsiteY114" fmla="*/ 1657350 h 1752600"/>
              <a:gd name="connsiteX115" fmla="*/ 2834034 w 3128973"/>
              <a:gd name="connsiteY115" fmla="*/ 1637762 h 1752600"/>
              <a:gd name="connsiteX116" fmla="*/ 2814637 w 3128973"/>
              <a:gd name="connsiteY116" fmla="*/ 1619250 h 1752600"/>
              <a:gd name="connsiteX117" fmla="*/ 2809875 w 3128973"/>
              <a:gd name="connsiteY117" fmla="*/ 1604962 h 1752600"/>
              <a:gd name="connsiteX118" fmla="*/ 2795587 w 3128973"/>
              <a:gd name="connsiteY118" fmla="*/ 1600200 h 1752600"/>
              <a:gd name="connsiteX119" fmla="*/ 2781300 w 3128973"/>
              <a:gd name="connsiteY119" fmla="*/ 1590675 h 1752600"/>
              <a:gd name="connsiteX120" fmla="*/ 2752725 w 3128973"/>
              <a:gd name="connsiteY120" fmla="*/ 1581150 h 1752600"/>
              <a:gd name="connsiteX121" fmla="*/ 2733675 w 3128973"/>
              <a:gd name="connsiteY121" fmla="*/ 1625600 h 1752600"/>
              <a:gd name="connsiteX122" fmla="*/ 2709862 w 3128973"/>
              <a:gd name="connsiteY122" fmla="*/ 1619250 h 1752600"/>
              <a:gd name="connsiteX123" fmla="*/ 2723566 w 3128973"/>
              <a:gd name="connsiteY123" fmla="*/ 1590361 h 1752600"/>
              <a:gd name="connsiteX124" fmla="*/ 2674937 w 3128973"/>
              <a:gd name="connsiteY124" fmla="*/ 1560512 h 1752600"/>
              <a:gd name="connsiteX125" fmla="*/ 2643187 w 3128973"/>
              <a:gd name="connsiteY125" fmla="*/ 1495425 h 1752600"/>
              <a:gd name="connsiteX126" fmla="*/ 2628900 w 3128973"/>
              <a:gd name="connsiteY126" fmla="*/ 1490662 h 1752600"/>
              <a:gd name="connsiteX127" fmla="*/ 2595562 w 3128973"/>
              <a:gd name="connsiteY127" fmla="*/ 1481137 h 1752600"/>
              <a:gd name="connsiteX128" fmla="*/ 2581275 w 3128973"/>
              <a:gd name="connsiteY128" fmla="*/ 1466850 h 1752600"/>
              <a:gd name="connsiteX129" fmla="*/ 2552700 w 3128973"/>
              <a:gd name="connsiteY129" fmla="*/ 1457325 h 1752600"/>
              <a:gd name="connsiteX130" fmla="*/ 2538412 w 3128973"/>
              <a:gd name="connsiteY130" fmla="*/ 1447800 h 1752600"/>
              <a:gd name="connsiteX131" fmla="*/ 2519362 w 3128973"/>
              <a:gd name="connsiteY131" fmla="*/ 1443037 h 1752600"/>
              <a:gd name="connsiteX132" fmla="*/ 2490787 w 3128973"/>
              <a:gd name="connsiteY132" fmla="*/ 1433512 h 1752600"/>
              <a:gd name="connsiteX133" fmla="*/ 2476500 w 3128973"/>
              <a:gd name="connsiteY133" fmla="*/ 1428750 h 1752600"/>
              <a:gd name="connsiteX134" fmla="*/ 2466975 w 3128973"/>
              <a:gd name="connsiteY134" fmla="*/ 1414462 h 1752600"/>
              <a:gd name="connsiteX135" fmla="*/ 2447925 w 3128973"/>
              <a:gd name="connsiteY135" fmla="*/ 1409700 h 1752600"/>
              <a:gd name="connsiteX136" fmla="*/ 2309812 w 3128973"/>
              <a:gd name="connsiteY136" fmla="*/ 1395412 h 1752600"/>
              <a:gd name="connsiteX137" fmla="*/ 2295525 w 3128973"/>
              <a:gd name="connsiteY137" fmla="*/ 1390650 h 1752600"/>
              <a:gd name="connsiteX138" fmla="*/ 2257425 w 3128973"/>
              <a:gd name="connsiteY138" fmla="*/ 1381125 h 1752600"/>
              <a:gd name="connsiteX139" fmla="*/ 2238375 w 3128973"/>
              <a:gd name="connsiteY139" fmla="*/ 1366837 h 1752600"/>
              <a:gd name="connsiteX140" fmla="*/ 2224087 w 3128973"/>
              <a:gd name="connsiteY140" fmla="*/ 1362075 h 1752600"/>
              <a:gd name="connsiteX141" fmla="*/ 2176462 w 3128973"/>
              <a:gd name="connsiteY141" fmla="*/ 1338262 h 1752600"/>
              <a:gd name="connsiteX142" fmla="*/ 2162175 w 3128973"/>
              <a:gd name="connsiteY142" fmla="*/ 1328737 h 1752600"/>
              <a:gd name="connsiteX143" fmla="*/ 2114550 w 3128973"/>
              <a:gd name="connsiteY143" fmla="*/ 1314450 h 1752600"/>
              <a:gd name="connsiteX144" fmla="*/ 2100262 w 3128973"/>
              <a:gd name="connsiteY144" fmla="*/ 1300162 h 1752600"/>
              <a:gd name="connsiteX145" fmla="*/ 2085975 w 3128973"/>
              <a:gd name="connsiteY145" fmla="*/ 1295400 h 1752600"/>
              <a:gd name="connsiteX146" fmla="*/ 2055019 w 3128973"/>
              <a:gd name="connsiteY146" fmla="*/ 1290637 h 1752600"/>
              <a:gd name="connsiteX147" fmla="*/ 2028824 w 3128973"/>
              <a:gd name="connsiteY147" fmla="*/ 1283494 h 1752600"/>
              <a:gd name="connsiteX148" fmla="*/ 2005012 w 3128973"/>
              <a:gd name="connsiteY148" fmla="*/ 1271587 h 1752600"/>
              <a:gd name="connsiteX149" fmla="*/ 1985962 w 3128973"/>
              <a:gd name="connsiteY149" fmla="*/ 1262062 h 1752600"/>
              <a:gd name="connsiteX150" fmla="*/ 1971675 w 3128973"/>
              <a:gd name="connsiteY150" fmla="*/ 1257300 h 1752600"/>
              <a:gd name="connsiteX151" fmla="*/ 1943100 w 3128973"/>
              <a:gd name="connsiteY151" fmla="*/ 1238250 h 1752600"/>
              <a:gd name="connsiteX152" fmla="*/ 1914525 w 3128973"/>
              <a:gd name="connsiteY152" fmla="*/ 1219200 h 1752600"/>
              <a:gd name="connsiteX153" fmla="*/ 1885950 w 3128973"/>
              <a:gd name="connsiteY153" fmla="*/ 1209675 h 1752600"/>
              <a:gd name="connsiteX154" fmla="*/ 1843087 w 3128973"/>
              <a:gd name="connsiteY154" fmla="*/ 1195387 h 1752600"/>
              <a:gd name="connsiteX155" fmla="*/ 1757362 w 3128973"/>
              <a:gd name="connsiteY155" fmla="*/ 1185862 h 1752600"/>
              <a:gd name="connsiteX156" fmla="*/ 1700212 w 3128973"/>
              <a:gd name="connsiteY156" fmla="*/ 1166812 h 1752600"/>
              <a:gd name="connsiteX157" fmla="*/ 1671637 w 3128973"/>
              <a:gd name="connsiteY157" fmla="*/ 1147762 h 1752600"/>
              <a:gd name="connsiteX158" fmla="*/ 1652587 w 3128973"/>
              <a:gd name="connsiteY158" fmla="*/ 1138237 h 1752600"/>
              <a:gd name="connsiteX159" fmla="*/ 1638300 w 3128973"/>
              <a:gd name="connsiteY159" fmla="*/ 1128712 h 1752600"/>
              <a:gd name="connsiteX160" fmla="*/ 1590675 w 3128973"/>
              <a:gd name="connsiteY160" fmla="*/ 1138238 h 1752600"/>
              <a:gd name="connsiteX161" fmla="*/ 1559719 w 3128973"/>
              <a:gd name="connsiteY161" fmla="*/ 1109662 h 1752600"/>
              <a:gd name="connsiteX162" fmla="*/ 1528762 w 3128973"/>
              <a:gd name="connsiteY162" fmla="*/ 1085850 h 1752600"/>
              <a:gd name="connsiteX163" fmla="*/ 1514475 w 3128973"/>
              <a:gd name="connsiteY163" fmla="*/ 1081087 h 1752600"/>
              <a:gd name="connsiteX164" fmla="*/ 1470025 w 3128973"/>
              <a:gd name="connsiteY164" fmla="*/ 1130300 h 1752600"/>
              <a:gd name="connsiteX165" fmla="*/ 1433512 w 3128973"/>
              <a:gd name="connsiteY165" fmla="*/ 1108075 h 1752600"/>
              <a:gd name="connsiteX166" fmla="*/ 1423987 w 3128973"/>
              <a:gd name="connsiteY166" fmla="*/ 1087437 h 1752600"/>
              <a:gd name="connsiteX167" fmla="*/ 1381125 w 3128973"/>
              <a:gd name="connsiteY167" fmla="*/ 1095375 h 1752600"/>
              <a:gd name="connsiteX168" fmla="*/ 1383506 w 3128973"/>
              <a:gd name="connsiteY168" fmla="*/ 1028700 h 1752600"/>
              <a:gd name="connsiteX169" fmla="*/ 1366838 w 3128973"/>
              <a:gd name="connsiteY169" fmla="*/ 1019175 h 1752600"/>
              <a:gd name="connsiteX170" fmla="*/ 1335881 w 3128973"/>
              <a:gd name="connsiteY170" fmla="*/ 1007268 h 1752600"/>
              <a:gd name="connsiteX171" fmla="*/ 1319213 w 3128973"/>
              <a:gd name="connsiteY171" fmla="*/ 1007268 h 1752600"/>
              <a:gd name="connsiteX172" fmla="*/ 1295400 w 3128973"/>
              <a:gd name="connsiteY172" fmla="*/ 976312 h 1752600"/>
              <a:gd name="connsiteX173" fmla="*/ 1281112 w 3128973"/>
              <a:gd name="connsiteY173" fmla="*/ 966787 h 1752600"/>
              <a:gd name="connsiteX174" fmla="*/ 1238250 w 3128973"/>
              <a:gd name="connsiteY174" fmla="*/ 947737 h 1752600"/>
              <a:gd name="connsiteX175" fmla="*/ 1212850 w 3128973"/>
              <a:gd name="connsiteY175" fmla="*/ 995362 h 1752600"/>
              <a:gd name="connsiteX176" fmla="*/ 1201737 w 3128973"/>
              <a:gd name="connsiteY176" fmla="*/ 987425 h 1752600"/>
              <a:gd name="connsiteX177" fmla="*/ 1163637 w 3128973"/>
              <a:gd name="connsiteY177" fmla="*/ 952277 h 1752600"/>
              <a:gd name="connsiteX178" fmla="*/ 1133475 w 3128973"/>
              <a:gd name="connsiteY178" fmla="*/ 925512 h 1752600"/>
              <a:gd name="connsiteX179" fmla="*/ 1085850 w 3128973"/>
              <a:gd name="connsiteY179" fmla="*/ 859631 h 1752600"/>
              <a:gd name="connsiteX180" fmla="*/ 1071562 w 3128973"/>
              <a:gd name="connsiteY180" fmla="*/ 842962 h 1752600"/>
              <a:gd name="connsiteX181" fmla="*/ 1047750 w 3128973"/>
              <a:gd name="connsiteY181" fmla="*/ 819150 h 1752600"/>
              <a:gd name="connsiteX182" fmla="*/ 1028700 w 3128973"/>
              <a:gd name="connsiteY182" fmla="*/ 804862 h 1752600"/>
              <a:gd name="connsiteX183" fmla="*/ 1018076 w 3128973"/>
              <a:gd name="connsiteY183" fmla="*/ 794816 h 1752600"/>
              <a:gd name="connsiteX184" fmla="*/ 1000125 w 3128973"/>
              <a:gd name="connsiteY184" fmla="*/ 785812 h 1752600"/>
              <a:gd name="connsiteX185" fmla="*/ 984342 w 3128973"/>
              <a:gd name="connsiteY185" fmla="*/ 773578 h 1752600"/>
              <a:gd name="connsiteX186" fmla="*/ 957262 w 3128973"/>
              <a:gd name="connsiteY186" fmla="*/ 766762 h 1752600"/>
              <a:gd name="connsiteX187" fmla="*/ 938212 w 3128973"/>
              <a:gd name="connsiteY187" fmla="*/ 757237 h 1752600"/>
              <a:gd name="connsiteX188" fmla="*/ 904875 w 3128973"/>
              <a:gd name="connsiteY188" fmla="*/ 747712 h 1752600"/>
              <a:gd name="connsiteX189" fmla="*/ 862012 w 3128973"/>
              <a:gd name="connsiteY189" fmla="*/ 723900 h 1752600"/>
              <a:gd name="connsiteX190" fmla="*/ 795337 w 3128973"/>
              <a:gd name="connsiteY190" fmla="*/ 685800 h 1752600"/>
              <a:gd name="connsiteX191" fmla="*/ 776287 w 3128973"/>
              <a:gd name="connsiteY191" fmla="*/ 666750 h 1752600"/>
              <a:gd name="connsiteX192" fmla="*/ 762000 w 3128973"/>
              <a:gd name="connsiteY192" fmla="*/ 661987 h 1752600"/>
              <a:gd name="connsiteX193" fmla="*/ 742950 w 3128973"/>
              <a:gd name="connsiteY193" fmla="*/ 647700 h 1752600"/>
              <a:gd name="connsiteX194" fmla="*/ 709612 w 3128973"/>
              <a:gd name="connsiteY194" fmla="*/ 638175 h 1752600"/>
              <a:gd name="connsiteX195" fmla="*/ 695325 w 3128973"/>
              <a:gd name="connsiteY195" fmla="*/ 628650 h 1752600"/>
              <a:gd name="connsiteX196" fmla="*/ 681037 w 3128973"/>
              <a:gd name="connsiteY196" fmla="*/ 623887 h 1752600"/>
              <a:gd name="connsiteX197" fmla="*/ 676275 w 3128973"/>
              <a:gd name="connsiteY197" fmla="*/ 604837 h 1752600"/>
              <a:gd name="connsiteX198" fmla="*/ 666750 w 3128973"/>
              <a:gd name="connsiteY198" fmla="*/ 576262 h 1752600"/>
              <a:gd name="connsiteX199" fmla="*/ 661987 w 3128973"/>
              <a:gd name="connsiteY199" fmla="*/ 561975 h 1752600"/>
              <a:gd name="connsiteX200" fmla="*/ 666750 w 3128973"/>
              <a:gd name="connsiteY200" fmla="*/ 538162 h 1752600"/>
              <a:gd name="connsiteX201" fmla="*/ 638175 w 3128973"/>
              <a:gd name="connsiteY201" fmla="*/ 514350 h 1752600"/>
              <a:gd name="connsiteX202" fmla="*/ 619125 w 3128973"/>
              <a:gd name="connsiteY202" fmla="*/ 500062 h 1752600"/>
              <a:gd name="connsiteX203" fmla="*/ 576262 w 3128973"/>
              <a:gd name="connsiteY203" fmla="*/ 490537 h 1752600"/>
              <a:gd name="connsiteX204" fmla="*/ 542925 w 3128973"/>
              <a:gd name="connsiteY204" fmla="*/ 452437 h 1752600"/>
              <a:gd name="connsiteX205" fmla="*/ 525462 w 3128973"/>
              <a:gd name="connsiteY205" fmla="*/ 485775 h 1752600"/>
              <a:gd name="connsiteX206" fmla="*/ 504825 w 3128973"/>
              <a:gd name="connsiteY206" fmla="*/ 466725 h 1752600"/>
              <a:gd name="connsiteX207" fmla="*/ 454025 w 3128973"/>
              <a:gd name="connsiteY207" fmla="*/ 466725 h 1752600"/>
              <a:gd name="connsiteX208" fmla="*/ 407987 w 3128973"/>
              <a:gd name="connsiteY208" fmla="*/ 473075 h 1752600"/>
              <a:gd name="connsiteX209" fmla="*/ 395287 w 3128973"/>
              <a:gd name="connsiteY209" fmla="*/ 409575 h 1752600"/>
              <a:gd name="connsiteX210" fmla="*/ 376237 w 3128973"/>
              <a:gd name="connsiteY210" fmla="*/ 404812 h 1752600"/>
              <a:gd name="connsiteX211" fmla="*/ 342900 w 3128973"/>
              <a:gd name="connsiteY211" fmla="*/ 400050 h 1752600"/>
              <a:gd name="connsiteX212" fmla="*/ 314325 w 3128973"/>
              <a:gd name="connsiteY212" fmla="*/ 390525 h 1752600"/>
              <a:gd name="connsiteX213" fmla="*/ 273844 w 3128973"/>
              <a:gd name="connsiteY213" fmla="*/ 383382 h 1752600"/>
              <a:gd name="connsiteX214" fmla="*/ 257175 w 3128973"/>
              <a:gd name="connsiteY214" fmla="*/ 371475 h 1752600"/>
              <a:gd name="connsiteX215" fmla="*/ 245269 w 3128973"/>
              <a:gd name="connsiteY215" fmla="*/ 364331 h 1752600"/>
              <a:gd name="connsiteX216" fmla="*/ 223837 w 3128973"/>
              <a:gd name="connsiteY216" fmla="*/ 347662 h 1752600"/>
              <a:gd name="connsiteX217" fmla="*/ 190500 w 3128973"/>
              <a:gd name="connsiteY217" fmla="*/ 338137 h 1752600"/>
              <a:gd name="connsiteX218" fmla="*/ 147637 w 3128973"/>
              <a:gd name="connsiteY218" fmla="*/ 333375 h 1752600"/>
              <a:gd name="connsiteX219" fmla="*/ 119062 w 3128973"/>
              <a:gd name="connsiteY219" fmla="*/ 323850 h 1752600"/>
              <a:gd name="connsiteX220" fmla="*/ 104775 w 3128973"/>
              <a:gd name="connsiteY220" fmla="*/ 319087 h 1752600"/>
              <a:gd name="connsiteX221" fmla="*/ 61912 w 3128973"/>
              <a:gd name="connsiteY221" fmla="*/ 300037 h 1752600"/>
              <a:gd name="connsiteX222" fmla="*/ 23812 w 3128973"/>
              <a:gd name="connsiteY222" fmla="*/ 290512 h 1752600"/>
              <a:gd name="connsiteX223" fmla="*/ 9525 w 3128973"/>
              <a:gd name="connsiteY223" fmla="*/ 261937 h 1752600"/>
              <a:gd name="connsiteX224" fmla="*/ 0 w 3128973"/>
              <a:gd name="connsiteY224" fmla="*/ 290512 h 1752600"/>
              <a:gd name="connsiteX225" fmla="*/ 4762 w 3128973"/>
              <a:gd name="connsiteY225" fmla="*/ 247650 h 1752600"/>
              <a:gd name="connsiteX226" fmla="*/ 19050 w 3128973"/>
              <a:gd name="connsiteY226" fmla="*/ 200025 h 1752600"/>
              <a:gd name="connsiteX227" fmla="*/ 23812 w 3128973"/>
              <a:gd name="connsiteY227" fmla="*/ 185737 h 1752600"/>
              <a:gd name="connsiteX228" fmla="*/ 71437 w 3128973"/>
              <a:gd name="connsiteY228" fmla="*/ 171450 h 1752600"/>
              <a:gd name="connsiteX229" fmla="*/ 85725 w 3128973"/>
              <a:gd name="connsiteY229" fmla="*/ 166687 h 1752600"/>
              <a:gd name="connsiteX230" fmla="*/ 100012 w 3128973"/>
              <a:gd name="connsiteY230" fmla="*/ 161925 h 1752600"/>
              <a:gd name="connsiteX231" fmla="*/ 114300 w 3128973"/>
              <a:gd name="connsiteY231" fmla="*/ 152400 h 1752600"/>
              <a:gd name="connsiteX232" fmla="*/ 133350 w 3128973"/>
              <a:gd name="connsiteY232" fmla="*/ 123825 h 1752600"/>
              <a:gd name="connsiteX233" fmla="*/ 138112 w 3128973"/>
              <a:gd name="connsiteY233" fmla="*/ 109537 h 1752600"/>
              <a:gd name="connsiteX234" fmla="*/ 135467 w 3128973"/>
              <a:gd name="connsiteY234" fmla="*/ 97059 h 1752600"/>
              <a:gd name="connsiteX235" fmla="*/ 142875 w 3128973"/>
              <a:gd name="connsiteY235" fmla="*/ 71437 h 1752600"/>
              <a:gd name="connsiteX236" fmla="*/ 157162 w 3128973"/>
              <a:gd name="connsiteY236" fmla="*/ 57150 h 1752600"/>
              <a:gd name="connsiteX237" fmla="*/ 200025 w 3128973"/>
              <a:gd name="connsiteY237" fmla="*/ 33337 h 1752600"/>
              <a:gd name="connsiteX238" fmla="*/ 309562 w 3128973"/>
              <a:gd name="connsiteY238" fmla="*/ 28575 h 1752600"/>
              <a:gd name="connsiteX239" fmla="*/ 400050 w 3128973"/>
              <a:gd name="connsiteY239" fmla="*/ 14287 h 1752600"/>
              <a:gd name="connsiteX240" fmla="*/ 414337 w 3128973"/>
              <a:gd name="connsiteY240" fmla="*/ 9525 h 1752600"/>
              <a:gd name="connsiteX241" fmla="*/ 481012 w 3128973"/>
              <a:gd name="connsiteY241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436018 w 3128973"/>
              <a:gd name="connsiteY30" fmla="*/ 176106 h 1752600"/>
              <a:gd name="connsiteX31" fmla="*/ 2046801 w 3128973"/>
              <a:gd name="connsiteY31" fmla="*/ 262295 h 1752600"/>
              <a:gd name="connsiteX32" fmla="*/ 2033587 w 3128973"/>
              <a:gd name="connsiteY32" fmla="*/ 266700 h 1752600"/>
              <a:gd name="connsiteX33" fmla="*/ 2019300 w 3128973"/>
              <a:gd name="connsiteY33" fmla="*/ 280987 h 1752600"/>
              <a:gd name="connsiteX34" fmla="*/ 1990725 w 3128973"/>
              <a:gd name="connsiteY34" fmla="*/ 300037 h 1752600"/>
              <a:gd name="connsiteX35" fmla="*/ 1981200 w 3128973"/>
              <a:gd name="connsiteY35" fmla="*/ 314325 h 1752600"/>
              <a:gd name="connsiteX36" fmla="*/ 1981200 w 3128973"/>
              <a:gd name="connsiteY36" fmla="*/ 419100 h 1752600"/>
              <a:gd name="connsiteX37" fmla="*/ 1985962 w 3128973"/>
              <a:gd name="connsiteY37" fmla="*/ 433387 h 1752600"/>
              <a:gd name="connsiteX38" fmla="*/ 2000250 w 3128973"/>
              <a:gd name="connsiteY38" fmla="*/ 442912 h 1752600"/>
              <a:gd name="connsiteX39" fmla="*/ 2005012 w 3128973"/>
              <a:gd name="connsiteY39" fmla="*/ 457200 h 1752600"/>
              <a:gd name="connsiteX40" fmla="*/ 2005012 w 3128973"/>
              <a:gd name="connsiteY40" fmla="*/ 561975 h 1752600"/>
              <a:gd name="connsiteX41" fmla="*/ 2009775 w 3128973"/>
              <a:gd name="connsiteY41" fmla="*/ 576262 h 1752600"/>
              <a:gd name="connsiteX42" fmla="*/ 2024062 w 3128973"/>
              <a:gd name="connsiteY42" fmla="*/ 581025 h 1752600"/>
              <a:gd name="connsiteX43" fmla="*/ 2038350 w 3128973"/>
              <a:gd name="connsiteY43" fmla="*/ 595312 h 1752600"/>
              <a:gd name="connsiteX44" fmla="*/ 2052637 w 3128973"/>
              <a:gd name="connsiteY44" fmla="*/ 600075 h 1752600"/>
              <a:gd name="connsiteX45" fmla="*/ 2133600 w 3128973"/>
              <a:gd name="connsiteY45" fmla="*/ 590550 h 1752600"/>
              <a:gd name="connsiteX46" fmla="*/ 2147887 w 3128973"/>
              <a:gd name="connsiteY46" fmla="*/ 585787 h 1752600"/>
              <a:gd name="connsiteX47" fmla="*/ 2195512 w 3128973"/>
              <a:gd name="connsiteY47" fmla="*/ 600075 h 1752600"/>
              <a:gd name="connsiteX48" fmla="*/ 2205037 w 3128973"/>
              <a:gd name="connsiteY48" fmla="*/ 614362 h 1752600"/>
              <a:gd name="connsiteX49" fmla="*/ 2219325 w 3128973"/>
              <a:gd name="connsiteY49" fmla="*/ 628650 h 1752600"/>
              <a:gd name="connsiteX50" fmla="*/ 2224087 w 3128973"/>
              <a:gd name="connsiteY50" fmla="*/ 642937 h 1752600"/>
              <a:gd name="connsiteX51" fmla="*/ 2233612 w 3128973"/>
              <a:gd name="connsiteY51" fmla="*/ 657225 h 1752600"/>
              <a:gd name="connsiteX52" fmla="*/ 2247900 w 3128973"/>
              <a:gd name="connsiteY52" fmla="*/ 685800 h 1752600"/>
              <a:gd name="connsiteX53" fmla="*/ 2262187 w 3128973"/>
              <a:gd name="connsiteY53" fmla="*/ 733425 h 1752600"/>
              <a:gd name="connsiteX54" fmla="*/ 2305050 w 3128973"/>
              <a:gd name="connsiteY54" fmla="*/ 771525 h 1752600"/>
              <a:gd name="connsiteX55" fmla="*/ 2319337 w 3128973"/>
              <a:gd name="connsiteY55" fmla="*/ 804862 h 1752600"/>
              <a:gd name="connsiteX56" fmla="*/ 2333625 w 3128973"/>
              <a:gd name="connsiteY56" fmla="*/ 819150 h 1752600"/>
              <a:gd name="connsiteX57" fmla="*/ 2338387 w 3128973"/>
              <a:gd name="connsiteY57" fmla="*/ 833437 h 1752600"/>
              <a:gd name="connsiteX58" fmla="*/ 2352675 w 3128973"/>
              <a:gd name="connsiteY58" fmla="*/ 847725 h 1752600"/>
              <a:gd name="connsiteX59" fmla="*/ 2395537 w 3128973"/>
              <a:gd name="connsiteY59" fmla="*/ 871537 h 1752600"/>
              <a:gd name="connsiteX60" fmla="*/ 2409825 w 3128973"/>
              <a:gd name="connsiteY60" fmla="*/ 890587 h 1752600"/>
              <a:gd name="connsiteX61" fmla="*/ 2424112 w 3128973"/>
              <a:gd name="connsiteY61" fmla="*/ 895350 h 1752600"/>
              <a:gd name="connsiteX62" fmla="*/ 2433637 w 3128973"/>
              <a:gd name="connsiteY62" fmla="*/ 914400 h 1752600"/>
              <a:gd name="connsiteX63" fmla="*/ 2466975 w 3128973"/>
              <a:gd name="connsiteY63" fmla="*/ 942975 h 1752600"/>
              <a:gd name="connsiteX64" fmla="*/ 2474637 w 3128973"/>
              <a:gd name="connsiteY64" fmla="*/ 954728 h 1752600"/>
              <a:gd name="connsiteX65" fmla="*/ 2495550 w 3128973"/>
              <a:gd name="connsiteY65" fmla="*/ 971550 h 1752600"/>
              <a:gd name="connsiteX66" fmla="*/ 2508776 w 3128973"/>
              <a:gd name="connsiteY66" fmla="*/ 983894 h 1752600"/>
              <a:gd name="connsiteX67" fmla="*/ 2533650 w 3128973"/>
              <a:gd name="connsiteY67" fmla="*/ 1000125 h 1752600"/>
              <a:gd name="connsiteX68" fmla="*/ 2547937 w 3128973"/>
              <a:gd name="connsiteY68" fmla="*/ 1028700 h 1752600"/>
              <a:gd name="connsiteX69" fmla="*/ 2552700 w 3128973"/>
              <a:gd name="connsiteY69" fmla="*/ 1042987 h 1752600"/>
              <a:gd name="connsiteX70" fmla="*/ 2576512 w 3128973"/>
              <a:gd name="connsiteY70" fmla="*/ 1071562 h 1752600"/>
              <a:gd name="connsiteX71" fmla="*/ 2584921 w 3128973"/>
              <a:gd name="connsiteY71" fmla="*/ 1082873 h 1752600"/>
              <a:gd name="connsiteX72" fmla="*/ 2600325 w 3128973"/>
              <a:gd name="connsiteY72" fmla="*/ 1095375 h 1752600"/>
              <a:gd name="connsiteX73" fmla="*/ 2609850 w 3128973"/>
              <a:gd name="connsiteY73" fmla="*/ 1109662 h 1752600"/>
              <a:gd name="connsiteX74" fmla="*/ 2652712 w 3128973"/>
              <a:gd name="connsiteY74" fmla="*/ 1143000 h 1752600"/>
              <a:gd name="connsiteX75" fmla="*/ 2681287 w 3128973"/>
              <a:gd name="connsiteY75" fmla="*/ 1152525 h 1752600"/>
              <a:gd name="connsiteX76" fmla="*/ 2700337 w 3128973"/>
              <a:gd name="connsiteY76" fmla="*/ 1162050 h 1752600"/>
              <a:gd name="connsiteX77" fmla="*/ 2714625 w 3128973"/>
              <a:gd name="connsiteY77" fmla="*/ 1171575 h 1752600"/>
              <a:gd name="connsiteX78" fmla="*/ 2752725 w 3128973"/>
              <a:gd name="connsiteY78" fmla="*/ 1181100 h 1752600"/>
              <a:gd name="connsiteX79" fmla="*/ 2767012 w 3128973"/>
              <a:gd name="connsiteY79" fmla="*/ 1195387 h 1752600"/>
              <a:gd name="connsiteX80" fmla="*/ 2781300 w 3128973"/>
              <a:gd name="connsiteY80" fmla="*/ 1200150 h 1752600"/>
              <a:gd name="connsiteX81" fmla="*/ 2795587 w 3128973"/>
              <a:gd name="connsiteY81" fmla="*/ 1209675 h 1752600"/>
              <a:gd name="connsiteX82" fmla="*/ 2805112 w 3128973"/>
              <a:gd name="connsiteY82" fmla="*/ 1223962 h 1752600"/>
              <a:gd name="connsiteX83" fmla="*/ 2809875 w 3128973"/>
              <a:gd name="connsiteY83" fmla="*/ 1238250 h 1752600"/>
              <a:gd name="connsiteX84" fmla="*/ 2833687 w 3128973"/>
              <a:gd name="connsiteY84" fmla="*/ 1276350 h 1752600"/>
              <a:gd name="connsiteX85" fmla="*/ 2895600 w 3128973"/>
              <a:gd name="connsiteY85" fmla="*/ 1333500 h 1752600"/>
              <a:gd name="connsiteX86" fmla="*/ 2900362 w 3128973"/>
              <a:gd name="connsiteY86" fmla="*/ 1352550 h 1752600"/>
              <a:gd name="connsiteX87" fmla="*/ 2928937 w 3128973"/>
              <a:gd name="connsiteY87" fmla="*/ 1395412 h 1752600"/>
              <a:gd name="connsiteX88" fmla="*/ 2943225 w 3128973"/>
              <a:gd name="connsiteY88" fmla="*/ 1404937 h 1752600"/>
              <a:gd name="connsiteX89" fmla="*/ 2957512 w 3128973"/>
              <a:gd name="connsiteY89" fmla="*/ 1419225 h 1752600"/>
              <a:gd name="connsiteX90" fmla="*/ 2986087 w 3128973"/>
              <a:gd name="connsiteY90" fmla="*/ 1443037 h 1752600"/>
              <a:gd name="connsiteX91" fmla="*/ 3000375 w 3128973"/>
              <a:gd name="connsiteY91" fmla="*/ 1462087 h 1752600"/>
              <a:gd name="connsiteX92" fmla="*/ 3016395 w 3128973"/>
              <a:gd name="connsiteY92" fmla="*/ 1476222 h 1752600"/>
              <a:gd name="connsiteX93" fmla="*/ 3028950 w 3128973"/>
              <a:gd name="connsiteY93" fmla="*/ 1495425 h 1752600"/>
              <a:gd name="connsiteX94" fmla="*/ 3043237 w 3128973"/>
              <a:gd name="connsiteY94" fmla="*/ 1552575 h 1752600"/>
              <a:gd name="connsiteX95" fmla="*/ 3052762 w 3128973"/>
              <a:gd name="connsiteY95" fmla="*/ 1566862 h 1752600"/>
              <a:gd name="connsiteX96" fmla="*/ 3057525 w 3128973"/>
              <a:gd name="connsiteY96" fmla="*/ 1581150 h 1752600"/>
              <a:gd name="connsiteX97" fmla="*/ 3067050 w 3128973"/>
              <a:gd name="connsiteY97" fmla="*/ 1662112 h 1752600"/>
              <a:gd name="connsiteX98" fmla="*/ 3071812 w 3128973"/>
              <a:gd name="connsiteY98" fmla="*/ 1676400 h 1752600"/>
              <a:gd name="connsiteX99" fmla="*/ 3100387 w 3128973"/>
              <a:gd name="connsiteY99" fmla="*/ 1690687 h 1752600"/>
              <a:gd name="connsiteX100" fmla="*/ 3114675 w 3128973"/>
              <a:gd name="connsiteY100" fmla="*/ 1685925 h 1752600"/>
              <a:gd name="connsiteX101" fmla="*/ 3124200 w 3128973"/>
              <a:gd name="connsiteY101" fmla="*/ 1671637 h 1752600"/>
              <a:gd name="connsiteX102" fmla="*/ 3128973 w 3128973"/>
              <a:gd name="connsiteY102" fmla="*/ 1651467 h 1752600"/>
              <a:gd name="connsiteX103" fmla="*/ 3128021 w 3128973"/>
              <a:gd name="connsiteY103" fmla="*/ 1710279 h 1752600"/>
              <a:gd name="connsiteX104" fmla="*/ 3043237 w 3128973"/>
              <a:gd name="connsiteY104" fmla="*/ 1714500 h 1752600"/>
              <a:gd name="connsiteX105" fmla="*/ 3028950 w 3128973"/>
              <a:gd name="connsiteY105" fmla="*/ 1728787 h 1752600"/>
              <a:gd name="connsiteX106" fmla="*/ 2986087 w 3128973"/>
              <a:gd name="connsiteY106" fmla="*/ 1738312 h 1752600"/>
              <a:gd name="connsiteX107" fmla="*/ 2971800 w 3128973"/>
              <a:gd name="connsiteY107" fmla="*/ 1743075 h 1752600"/>
              <a:gd name="connsiteX108" fmla="*/ 2943225 w 3128973"/>
              <a:gd name="connsiteY108" fmla="*/ 1738312 h 1752600"/>
              <a:gd name="connsiteX109" fmla="*/ 2928937 w 3128973"/>
              <a:gd name="connsiteY109" fmla="*/ 1747837 h 1752600"/>
              <a:gd name="connsiteX110" fmla="*/ 2914650 w 3128973"/>
              <a:gd name="connsiteY110" fmla="*/ 1752600 h 1752600"/>
              <a:gd name="connsiteX111" fmla="*/ 2895600 w 3128973"/>
              <a:gd name="connsiteY111" fmla="*/ 1724025 h 1752600"/>
              <a:gd name="connsiteX112" fmla="*/ 2883310 w 3128973"/>
              <a:gd name="connsiteY112" fmla="*/ 1701201 h 1752600"/>
              <a:gd name="connsiteX113" fmla="*/ 2883805 w 3128973"/>
              <a:gd name="connsiteY113" fmla="*/ 1696138 h 1752600"/>
              <a:gd name="connsiteX114" fmla="*/ 2871787 w 3128973"/>
              <a:gd name="connsiteY114" fmla="*/ 1685925 h 1752600"/>
              <a:gd name="connsiteX115" fmla="*/ 2847975 w 3128973"/>
              <a:gd name="connsiteY115" fmla="*/ 1657350 h 1752600"/>
              <a:gd name="connsiteX116" fmla="*/ 2834034 w 3128973"/>
              <a:gd name="connsiteY116" fmla="*/ 1637762 h 1752600"/>
              <a:gd name="connsiteX117" fmla="*/ 2814637 w 3128973"/>
              <a:gd name="connsiteY117" fmla="*/ 1619250 h 1752600"/>
              <a:gd name="connsiteX118" fmla="*/ 2809875 w 3128973"/>
              <a:gd name="connsiteY118" fmla="*/ 1604962 h 1752600"/>
              <a:gd name="connsiteX119" fmla="*/ 2795587 w 3128973"/>
              <a:gd name="connsiteY119" fmla="*/ 1600200 h 1752600"/>
              <a:gd name="connsiteX120" fmla="*/ 2781300 w 3128973"/>
              <a:gd name="connsiteY120" fmla="*/ 1590675 h 1752600"/>
              <a:gd name="connsiteX121" fmla="*/ 2752725 w 3128973"/>
              <a:gd name="connsiteY121" fmla="*/ 1581150 h 1752600"/>
              <a:gd name="connsiteX122" fmla="*/ 2733675 w 3128973"/>
              <a:gd name="connsiteY122" fmla="*/ 1625600 h 1752600"/>
              <a:gd name="connsiteX123" fmla="*/ 2709862 w 3128973"/>
              <a:gd name="connsiteY123" fmla="*/ 1619250 h 1752600"/>
              <a:gd name="connsiteX124" fmla="*/ 2723566 w 3128973"/>
              <a:gd name="connsiteY124" fmla="*/ 1590361 h 1752600"/>
              <a:gd name="connsiteX125" fmla="*/ 2674937 w 3128973"/>
              <a:gd name="connsiteY125" fmla="*/ 1560512 h 1752600"/>
              <a:gd name="connsiteX126" fmla="*/ 2643187 w 3128973"/>
              <a:gd name="connsiteY126" fmla="*/ 1495425 h 1752600"/>
              <a:gd name="connsiteX127" fmla="*/ 2628900 w 3128973"/>
              <a:gd name="connsiteY127" fmla="*/ 1490662 h 1752600"/>
              <a:gd name="connsiteX128" fmla="*/ 2595562 w 3128973"/>
              <a:gd name="connsiteY128" fmla="*/ 1481137 h 1752600"/>
              <a:gd name="connsiteX129" fmla="*/ 2581275 w 3128973"/>
              <a:gd name="connsiteY129" fmla="*/ 1466850 h 1752600"/>
              <a:gd name="connsiteX130" fmla="*/ 2552700 w 3128973"/>
              <a:gd name="connsiteY130" fmla="*/ 1457325 h 1752600"/>
              <a:gd name="connsiteX131" fmla="*/ 2538412 w 3128973"/>
              <a:gd name="connsiteY131" fmla="*/ 1447800 h 1752600"/>
              <a:gd name="connsiteX132" fmla="*/ 2519362 w 3128973"/>
              <a:gd name="connsiteY132" fmla="*/ 1443037 h 1752600"/>
              <a:gd name="connsiteX133" fmla="*/ 2490787 w 3128973"/>
              <a:gd name="connsiteY133" fmla="*/ 1433512 h 1752600"/>
              <a:gd name="connsiteX134" fmla="*/ 2476500 w 3128973"/>
              <a:gd name="connsiteY134" fmla="*/ 1428750 h 1752600"/>
              <a:gd name="connsiteX135" fmla="*/ 2466975 w 3128973"/>
              <a:gd name="connsiteY135" fmla="*/ 1414462 h 1752600"/>
              <a:gd name="connsiteX136" fmla="*/ 2447925 w 3128973"/>
              <a:gd name="connsiteY136" fmla="*/ 1409700 h 1752600"/>
              <a:gd name="connsiteX137" fmla="*/ 2309812 w 3128973"/>
              <a:gd name="connsiteY137" fmla="*/ 1395412 h 1752600"/>
              <a:gd name="connsiteX138" fmla="*/ 2295525 w 3128973"/>
              <a:gd name="connsiteY138" fmla="*/ 1390650 h 1752600"/>
              <a:gd name="connsiteX139" fmla="*/ 2257425 w 3128973"/>
              <a:gd name="connsiteY139" fmla="*/ 1381125 h 1752600"/>
              <a:gd name="connsiteX140" fmla="*/ 2238375 w 3128973"/>
              <a:gd name="connsiteY140" fmla="*/ 1366837 h 1752600"/>
              <a:gd name="connsiteX141" fmla="*/ 2224087 w 3128973"/>
              <a:gd name="connsiteY141" fmla="*/ 1362075 h 1752600"/>
              <a:gd name="connsiteX142" fmla="*/ 2176462 w 3128973"/>
              <a:gd name="connsiteY142" fmla="*/ 1338262 h 1752600"/>
              <a:gd name="connsiteX143" fmla="*/ 2162175 w 3128973"/>
              <a:gd name="connsiteY143" fmla="*/ 1328737 h 1752600"/>
              <a:gd name="connsiteX144" fmla="*/ 2114550 w 3128973"/>
              <a:gd name="connsiteY144" fmla="*/ 1314450 h 1752600"/>
              <a:gd name="connsiteX145" fmla="*/ 2100262 w 3128973"/>
              <a:gd name="connsiteY145" fmla="*/ 1300162 h 1752600"/>
              <a:gd name="connsiteX146" fmla="*/ 2085975 w 3128973"/>
              <a:gd name="connsiteY146" fmla="*/ 1295400 h 1752600"/>
              <a:gd name="connsiteX147" fmla="*/ 2055019 w 3128973"/>
              <a:gd name="connsiteY147" fmla="*/ 1290637 h 1752600"/>
              <a:gd name="connsiteX148" fmla="*/ 2028824 w 3128973"/>
              <a:gd name="connsiteY148" fmla="*/ 1283494 h 1752600"/>
              <a:gd name="connsiteX149" fmla="*/ 2005012 w 3128973"/>
              <a:gd name="connsiteY149" fmla="*/ 1271587 h 1752600"/>
              <a:gd name="connsiteX150" fmla="*/ 1985962 w 3128973"/>
              <a:gd name="connsiteY150" fmla="*/ 1262062 h 1752600"/>
              <a:gd name="connsiteX151" fmla="*/ 1971675 w 3128973"/>
              <a:gd name="connsiteY151" fmla="*/ 1257300 h 1752600"/>
              <a:gd name="connsiteX152" fmla="*/ 1943100 w 3128973"/>
              <a:gd name="connsiteY152" fmla="*/ 1238250 h 1752600"/>
              <a:gd name="connsiteX153" fmla="*/ 1914525 w 3128973"/>
              <a:gd name="connsiteY153" fmla="*/ 1219200 h 1752600"/>
              <a:gd name="connsiteX154" fmla="*/ 1885950 w 3128973"/>
              <a:gd name="connsiteY154" fmla="*/ 1209675 h 1752600"/>
              <a:gd name="connsiteX155" fmla="*/ 1843087 w 3128973"/>
              <a:gd name="connsiteY155" fmla="*/ 1195387 h 1752600"/>
              <a:gd name="connsiteX156" fmla="*/ 1757362 w 3128973"/>
              <a:gd name="connsiteY156" fmla="*/ 1185862 h 1752600"/>
              <a:gd name="connsiteX157" fmla="*/ 1700212 w 3128973"/>
              <a:gd name="connsiteY157" fmla="*/ 1166812 h 1752600"/>
              <a:gd name="connsiteX158" fmla="*/ 1671637 w 3128973"/>
              <a:gd name="connsiteY158" fmla="*/ 1147762 h 1752600"/>
              <a:gd name="connsiteX159" fmla="*/ 1652587 w 3128973"/>
              <a:gd name="connsiteY159" fmla="*/ 1138237 h 1752600"/>
              <a:gd name="connsiteX160" fmla="*/ 1638300 w 3128973"/>
              <a:gd name="connsiteY160" fmla="*/ 1128712 h 1752600"/>
              <a:gd name="connsiteX161" fmla="*/ 1590675 w 3128973"/>
              <a:gd name="connsiteY161" fmla="*/ 1138238 h 1752600"/>
              <a:gd name="connsiteX162" fmla="*/ 1559719 w 3128973"/>
              <a:gd name="connsiteY162" fmla="*/ 1109662 h 1752600"/>
              <a:gd name="connsiteX163" fmla="*/ 1528762 w 3128973"/>
              <a:gd name="connsiteY163" fmla="*/ 1085850 h 1752600"/>
              <a:gd name="connsiteX164" fmla="*/ 1514475 w 3128973"/>
              <a:gd name="connsiteY164" fmla="*/ 1081087 h 1752600"/>
              <a:gd name="connsiteX165" fmla="*/ 1470025 w 3128973"/>
              <a:gd name="connsiteY165" fmla="*/ 1130300 h 1752600"/>
              <a:gd name="connsiteX166" fmla="*/ 1433512 w 3128973"/>
              <a:gd name="connsiteY166" fmla="*/ 1108075 h 1752600"/>
              <a:gd name="connsiteX167" fmla="*/ 1423987 w 3128973"/>
              <a:gd name="connsiteY167" fmla="*/ 1087437 h 1752600"/>
              <a:gd name="connsiteX168" fmla="*/ 1381125 w 3128973"/>
              <a:gd name="connsiteY168" fmla="*/ 1095375 h 1752600"/>
              <a:gd name="connsiteX169" fmla="*/ 1383506 w 3128973"/>
              <a:gd name="connsiteY169" fmla="*/ 1028700 h 1752600"/>
              <a:gd name="connsiteX170" fmla="*/ 1366838 w 3128973"/>
              <a:gd name="connsiteY170" fmla="*/ 1019175 h 1752600"/>
              <a:gd name="connsiteX171" fmla="*/ 1335881 w 3128973"/>
              <a:gd name="connsiteY171" fmla="*/ 1007268 h 1752600"/>
              <a:gd name="connsiteX172" fmla="*/ 1319213 w 3128973"/>
              <a:gd name="connsiteY172" fmla="*/ 1007268 h 1752600"/>
              <a:gd name="connsiteX173" fmla="*/ 1295400 w 3128973"/>
              <a:gd name="connsiteY173" fmla="*/ 976312 h 1752600"/>
              <a:gd name="connsiteX174" fmla="*/ 1281112 w 3128973"/>
              <a:gd name="connsiteY174" fmla="*/ 966787 h 1752600"/>
              <a:gd name="connsiteX175" fmla="*/ 1238250 w 3128973"/>
              <a:gd name="connsiteY175" fmla="*/ 947737 h 1752600"/>
              <a:gd name="connsiteX176" fmla="*/ 1212850 w 3128973"/>
              <a:gd name="connsiteY176" fmla="*/ 995362 h 1752600"/>
              <a:gd name="connsiteX177" fmla="*/ 1201737 w 3128973"/>
              <a:gd name="connsiteY177" fmla="*/ 987425 h 1752600"/>
              <a:gd name="connsiteX178" fmla="*/ 1163637 w 3128973"/>
              <a:gd name="connsiteY178" fmla="*/ 952277 h 1752600"/>
              <a:gd name="connsiteX179" fmla="*/ 1133475 w 3128973"/>
              <a:gd name="connsiteY179" fmla="*/ 925512 h 1752600"/>
              <a:gd name="connsiteX180" fmla="*/ 1085850 w 3128973"/>
              <a:gd name="connsiteY180" fmla="*/ 859631 h 1752600"/>
              <a:gd name="connsiteX181" fmla="*/ 1071562 w 3128973"/>
              <a:gd name="connsiteY181" fmla="*/ 842962 h 1752600"/>
              <a:gd name="connsiteX182" fmla="*/ 1047750 w 3128973"/>
              <a:gd name="connsiteY182" fmla="*/ 819150 h 1752600"/>
              <a:gd name="connsiteX183" fmla="*/ 1028700 w 3128973"/>
              <a:gd name="connsiteY183" fmla="*/ 804862 h 1752600"/>
              <a:gd name="connsiteX184" fmla="*/ 1018076 w 3128973"/>
              <a:gd name="connsiteY184" fmla="*/ 794816 h 1752600"/>
              <a:gd name="connsiteX185" fmla="*/ 1000125 w 3128973"/>
              <a:gd name="connsiteY185" fmla="*/ 785812 h 1752600"/>
              <a:gd name="connsiteX186" fmla="*/ 984342 w 3128973"/>
              <a:gd name="connsiteY186" fmla="*/ 773578 h 1752600"/>
              <a:gd name="connsiteX187" fmla="*/ 957262 w 3128973"/>
              <a:gd name="connsiteY187" fmla="*/ 766762 h 1752600"/>
              <a:gd name="connsiteX188" fmla="*/ 938212 w 3128973"/>
              <a:gd name="connsiteY188" fmla="*/ 757237 h 1752600"/>
              <a:gd name="connsiteX189" fmla="*/ 904875 w 3128973"/>
              <a:gd name="connsiteY189" fmla="*/ 747712 h 1752600"/>
              <a:gd name="connsiteX190" fmla="*/ 862012 w 3128973"/>
              <a:gd name="connsiteY190" fmla="*/ 723900 h 1752600"/>
              <a:gd name="connsiteX191" fmla="*/ 795337 w 3128973"/>
              <a:gd name="connsiteY191" fmla="*/ 685800 h 1752600"/>
              <a:gd name="connsiteX192" fmla="*/ 776287 w 3128973"/>
              <a:gd name="connsiteY192" fmla="*/ 666750 h 1752600"/>
              <a:gd name="connsiteX193" fmla="*/ 762000 w 3128973"/>
              <a:gd name="connsiteY193" fmla="*/ 661987 h 1752600"/>
              <a:gd name="connsiteX194" fmla="*/ 742950 w 3128973"/>
              <a:gd name="connsiteY194" fmla="*/ 647700 h 1752600"/>
              <a:gd name="connsiteX195" fmla="*/ 709612 w 3128973"/>
              <a:gd name="connsiteY195" fmla="*/ 638175 h 1752600"/>
              <a:gd name="connsiteX196" fmla="*/ 695325 w 3128973"/>
              <a:gd name="connsiteY196" fmla="*/ 628650 h 1752600"/>
              <a:gd name="connsiteX197" fmla="*/ 681037 w 3128973"/>
              <a:gd name="connsiteY197" fmla="*/ 623887 h 1752600"/>
              <a:gd name="connsiteX198" fmla="*/ 676275 w 3128973"/>
              <a:gd name="connsiteY198" fmla="*/ 604837 h 1752600"/>
              <a:gd name="connsiteX199" fmla="*/ 666750 w 3128973"/>
              <a:gd name="connsiteY199" fmla="*/ 576262 h 1752600"/>
              <a:gd name="connsiteX200" fmla="*/ 661987 w 3128973"/>
              <a:gd name="connsiteY200" fmla="*/ 561975 h 1752600"/>
              <a:gd name="connsiteX201" fmla="*/ 666750 w 3128973"/>
              <a:gd name="connsiteY201" fmla="*/ 538162 h 1752600"/>
              <a:gd name="connsiteX202" fmla="*/ 638175 w 3128973"/>
              <a:gd name="connsiteY202" fmla="*/ 514350 h 1752600"/>
              <a:gd name="connsiteX203" fmla="*/ 619125 w 3128973"/>
              <a:gd name="connsiteY203" fmla="*/ 500062 h 1752600"/>
              <a:gd name="connsiteX204" fmla="*/ 576262 w 3128973"/>
              <a:gd name="connsiteY204" fmla="*/ 490537 h 1752600"/>
              <a:gd name="connsiteX205" fmla="*/ 542925 w 3128973"/>
              <a:gd name="connsiteY205" fmla="*/ 452437 h 1752600"/>
              <a:gd name="connsiteX206" fmla="*/ 525462 w 3128973"/>
              <a:gd name="connsiteY206" fmla="*/ 485775 h 1752600"/>
              <a:gd name="connsiteX207" fmla="*/ 504825 w 3128973"/>
              <a:gd name="connsiteY207" fmla="*/ 466725 h 1752600"/>
              <a:gd name="connsiteX208" fmla="*/ 454025 w 3128973"/>
              <a:gd name="connsiteY208" fmla="*/ 466725 h 1752600"/>
              <a:gd name="connsiteX209" fmla="*/ 407987 w 3128973"/>
              <a:gd name="connsiteY209" fmla="*/ 473075 h 1752600"/>
              <a:gd name="connsiteX210" fmla="*/ 395287 w 3128973"/>
              <a:gd name="connsiteY210" fmla="*/ 409575 h 1752600"/>
              <a:gd name="connsiteX211" fmla="*/ 376237 w 3128973"/>
              <a:gd name="connsiteY211" fmla="*/ 404812 h 1752600"/>
              <a:gd name="connsiteX212" fmla="*/ 342900 w 3128973"/>
              <a:gd name="connsiteY212" fmla="*/ 400050 h 1752600"/>
              <a:gd name="connsiteX213" fmla="*/ 314325 w 3128973"/>
              <a:gd name="connsiteY213" fmla="*/ 390525 h 1752600"/>
              <a:gd name="connsiteX214" fmla="*/ 273844 w 3128973"/>
              <a:gd name="connsiteY214" fmla="*/ 383382 h 1752600"/>
              <a:gd name="connsiteX215" fmla="*/ 257175 w 3128973"/>
              <a:gd name="connsiteY215" fmla="*/ 371475 h 1752600"/>
              <a:gd name="connsiteX216" fmla="*/ 245269 w 3128973"/>
              <a:gd name="connsiteY216" fmla="*/ 364331 h 1752600"/>
              <a:gd name="connsiteX217" fmla="*/ 223837 w 3128973"/>
              <a:gd name="connsiteY217" fmla="*/ 347662 h 1752600"/>
              <a:gd name="connsiteX218" fmla="*/ 190500 w 3128973"/>
              <a:gd name="connsiteY218" fmla="*/ 338137 h 1752600"/>
              <a:gd name="connsiteX219" fmla="*/ 147637 w 3128973"/>
              <a:gd name="connsiteY219" fmla="*/ 333375 h 1752600"/>
              <a:gd name="connsiteX220" fmla="*/ 119062 w 3128973"/>
              <a:gd name="connsiteY220" fmla="*/ 323850 h 1752600"/>
              <a:gd name="connsiteX221" fmla="*/ 104775 w 3128973"/>
              <a:gd name="connsiteY221" fmla="*/ 319087 h 1752600"/>
              <a:gd name="connsiteX222" fmla="*/ 61912 w 3128973"/>
              <a:gd name="connsiteY222" fmla="*/ 300037 h 1752600"/>
              <a:gd name="connsiteX223" fmla="*/ 23812 w 3128973"/>
              <a:gd name="connsiteY223" fmla="*/ 290512 h 1752600"/>
              <a:gd name="connsiteX224" fmla="*/ 9525 w 3128973"/>
              <a:gd name="connsiteY224" fmla="*/ 261937 h 1752600"/>
              <a:gd name="connsiteX225" fmla="*/ 0 w 3128973"/>
              <a:gd name="connsiteY225" fmla="*/ 290512 h 1752600"/>
              <a:gd name="connsiteX226" fmla="*/ 4762 w 3128973"/>
              <a:gd name="connsiteY226" fmla="*/ 247650 h 1752600"/>
              <a:gd name="connsiteX227" fmla="*/ 19050 w 3128973"/>
              <a:gd name="connsiteY227" fmla="*/ 200025 h 1752600"/>
              <a:gd name="connsiteX228" fmla="*/ 23812 w 3128973"/>
              <a:gd name="connsiteY228" fmla="*/ 185737 h 1752600"/>
              <a:gd name="connsiteX229" fmla="*/ 71437 w 3128973"/>
              <a:gd name="connsiteY229" fmla="*/ 171450 h 1752600"/>
              <a:gd name="connsiteX230" fmla="*/ 85725 w 3128973"/>
              <a:gd name="connsiteY230" fmla="*/ 166687 h 1752600"/>
              <a:gd name="connsiteX231" fmla="*/ 100012 w 3128973"/>
              <a:gd name="connsiteY231" fmla="*/ 161925 h 1752600"/>
              <a:gd name="connsiteX232" fmla="*/ 114300 w 3128973"/>
              <a:gd name="connsiteY232" fmla="*/ 152400 h 1752600"/>
              <a:gd name="connsiteX233" fmla="*/ 133350 w 3128973"/>
              <a:gd name="connsiteY233" fmla="*/ 123825 h 1752600"/>
              <a:gd name="connsiteX234" fmla="*/ 138112 w 3128973"/>
              <a:gd name="connsiteY234" fmla="*/ 109537 h 1752600"/>
              <a:gd name="connsiteX235" fmla="*/ 135467 w 3128973"/>
              <a:gd name="connsiteY235" fmla="*/ 97059 h 1752600"/>
              <a:gd name="connsiteX236" fmla="*/ 142875 w 3128973"/>
              <a:gd name="connsiteY236" fmla="*/ 71437 h 1752600"/>
              <a:gd name="connsiteX237" fmla="*/ 157162 w 3128973"/>
              <a:gd name="connsiteY237" fmla="*/ 57150 h 1752600"/>
              <a:gd name="connsiteX238" fmla="*/ 200025 w 3128973"/>
              <a:gd name="connsiteY238" fmla="*/ 33337 h 1752600"/>
              <a:gd name="connsiteX239" fmla="*/ 309562 w 3128973"/>
              <a:gd name="connsiteY239" fmla="*/ 28575 h 1752600"/>
              <a:gd name="connsiteX240" fmla="*/ 400050 w 3128973"/>
              <a:gd name="connsiteY240" fmla="*/ 14287 h 1752600"/>
              <a:gd name="connsiteX241" fmla="*/ 414337 w 3128973"/>
              <a:gd name="connsiteY241" fmla="*/ 9525 h 1752600"/>
              <a:gd name="connsiteX242" fmla="*/ 481012 w 3128973"/>
              <a:gd name="connsiteY242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046801 w 3128973"/>
              <a:gd name="connsiteY31" fmla="*/ 262295 h 1752600"/>
              <a:gd name="connsiteX32" fmla="*/ 2033587 w 3128973"/>
              <a:gd name="connsiteY32" fmla="*/ 266700 h 1752600"/>
              <a:gd name="connsiteX33" fmla="*/ 2019300 w 3128973"/>
              <a:gd name="connsiteY33" fmla="*/ 280987 h 1752600"/>
              <a:gd name="connsiteX34" fmla="*/ 1990725 w 3128973"/>
              <a:gd name="connsiteY34" fmla="*/ 300037 h 1752600"/>
              <a:gd name="connsiteX35" fmla="*/ 1981200 w 3128973"/>
              <a:gd name="connsiteY35" fmla="*/ 314325 h 1752600"/>
              <a:gd name="connsiteX36" fmla="*/ 1981200 w 3128973"/>
              <a:gd name="connsiteY36" fmla="*/ 419100 h 1752600"/>
              <a:gd name="connsiteX37" fmla="*/ 1985962 w 3128973"/>
              <a:gd name="connsiteY37" fmla="*/ 433387 h 1752600"/>
              <a:gd name="connsiteX38" fmla="*/ 2000250 w 3128973"/>
              <a:gd name="connsiteY38" fmla="*/ 442912 h 1752600"/>
              <a:gd name="connsiteX39" fmla="*/ 2005012 w 3128973"/>
              <a:gd name="connsiteY39" fmla="*/ 457200 h 1752600"/>
              <a:gd name="connsiteX40" fmla="*/ 2005012 w 3128973"/>
              <a:gd name="connsiteY40" fmla="*/ 561975 h 1752600"/>
              <a:gd name="connsiteX41" fmla="*/ 2009775 w 3128973"/>
              <a:gd name="connsiteY41" fmla="*/ 576262 h 1752600"/>
              <a:gd name="connsiteX42" fmla="*/ 2024062 w 3128973"/>
              <a:gd name="connsiteY42" fmla="*/ 581025 h 1752600"/>
              <a:gd name="connsiteX43" fmla="*/ 2038350 w 3128973"/>
              <a:gd name="connsiteY43" fmla="*/ 595312 h 1752600"/>
              <a:gd name="connsiteX44" fmla="*/ 2052637 w 3128973"/>
              <a:gd name="connsiteY44" fmla="*/ 600075 h 1752600"/>
              <a:gd name="connsiteX45" fmla="*/ 2133600 w 3128973"/>
              <a:gd name="connsiteY45" fmla="*/ 590550 h 1752600"/>
              <a:gd name="connsiteX46" fmla="*/ 2147887 w 3128973"/>
              <a:gd name="connsiteY46" fmla="*/ 585787 h 1752600"/>
              <a:gd name="connsiteX47" fmla="*/ 2195512 w 3128973"/>
              <a:gd name="connsiteY47" fmla="*/ 600075 h 1752600"/>
              <a:gd name="connsiteX48" fmla="*/ 2205037 w 3128973"/>
              <a:gd name="connsiteY48" fmla="*/ 614362 h 1752600"/>
              <a:gd name="connsiteX49" fmla="*/ 2219325 w 3128973"/>
              <a:gd name="connsiteY49" fmla="*/ 628650 h 1752600"/>
              <a:gd name="connsiteX50" fmla="*/ 2224087 w 3128973"/>
              <a:gd name="connsiteY50" fmla="*/ 642937 h 1752600"/>
              <a:gd name="connsiteX51" fmla="*/ 2233612 w 3128973"/>
              <a:gd name="connsiteY51" fmla="*/ 657225 h 1752600"/>
              <a:gd name="connsiteX52" fmla="*/ 2247900 w 3128973"/>
              <a:gd name="connsiteY52" fmla="*/ 685800 h 1752600"/>
              <a:gd name="connsiteX53" fmla="*/ 2262187 w 3128973"/>
              <a:gd name="connsiteY53" fmla="*/ 733425 h 1752600"/>
              <a:gd name="connsiteX54" fmla="*/ 2305050 w 3128973"/>
              <a:gd name="connsiteY54" fmla="*/ 771525 h 1752600"/>
              <a:gd name="connsiteX55" fmla="*/ 2319337 w 3128973"/>
              <a:gd name="connsiteY55" fmla="*/ 804862 h 1752600"/>
              <a:gd name="connsiteX56" fmla="*/ 2333625 w 3128973"/>
              <a:gd name="connsiteY56" fmla="*/ 819150 h 1752600"/>
              <a:gd name="connsiteX57" fmla="*/ 2338387 w 3128973"/>
              <a:gd name="connsiteY57" fmla="*/ 833437 h 1752600"/>
              <a:gd name="connsiteX58" fmla="*/ 2352675 w 3128973"/>
              <a:gd name="connsiteY58" fmla="*/ 847725 h 1752600"/>
              <a:gd name="connsiteX59" fmla="*/ 2395537 w 3128973"/>
              <a:gd name="connsiteY59" fmla="*/ 871537 h 1752600"/>
              <a:gd name="connsiteX60" fmla="*/ 2409825 w 3128973"/>
              <a:gd name="connsiteY60" fmla="*/ 890587 h 1752600"/>
              <a:gd name="connsiteX61" fmla="*/ 2424112 w 3128973"/>
              <a:gd name="connsiteY61" fmla="*/ 895350 h 1752600"/>
              <a:gd name="connsiteX62" fmla="*/ 2433637 w 3128973"/>
              <a:gd name="connsiteY62" fmla="*/ 914400 h 1752600"/>
              <a:gd name="connsiteX63" fmla="*/ 2466975 w 3128973"/>
              <a:gd name="connsiteY63" fmla="*/ 942975 h 1752600"/>
              <a:gd name="connsiteX64" fmla="*/ 2474637 w 3128973"/>
              <a:gd name="connsiteY64" fmla="*/ 954728 h 1752600"/>
              <a:gd name="connsiteX65" fmla="*/ 2495550 w 3128973"/>
              <a:gd name="connsiteY65" fmla="*/ 971550 h 1752600"/>
              <a:gd name="connsiteX66" fmla="*/ 2508776 w 3128973"/>
              <a:gd name="connsiteY66" fmla="*/ 983894 h 1752600"/>
              <a:gd name="connsiteX67" fmla="*/ 2533650 w 3128973"/>
              <a:gd name="connsiteY67" fmla="*/ 1000125 h 1752600"/>
              <a:gd name="connsiteX68" fmla="*/ 2547937 w 3128973"/>
              <a:gd name="connsiteY68" fmla="*/ 1028700 h 1752600"/>
              <a:gd name="connsiteX69" fmla="*/ 2552700 w 3128973"/>
              <a:gd name="connsiteY69" fmla="*/ 1042987 h 1752600"/>
              <a:gd name="connsiteX70" fmla="*/ 2576512 w 3128973"/>
              <a:gd name="connsiteY70" fmla="*/ 1071562 h 1752600"/>
              <a:gd name="connsiteX71" fmla="*/ 2584921 w 3128973"/>
              <a:gd name="connsiteY71" fmla="*/ 1082873 h 1752600"/>
              <a:gd name="connsiteX72" fmla="*/ 2600325 w 3128973"/>
              <a:gd name="connsiteY72" fmla="*/ 1095375 h 1752600"/>
              <a:gd name="connsiteX73" fmla="*/ 2609850 w 3128973"/>
              <a:gd name="connsiteY73" fmla="*/ 1109662 h 1752600"/>
              <a:gd name="connsiteX74" fmla="*/ 2652712 w 3128973"/>
              <a:gd name="connsiteY74" fmla="*/ 1143000 h 1752600"/>
              <a:gd name="connsiteX75" fmla="*/ 2681287 w 3128973"/>
              <a:gd name="connsiteY75" fmla="*/ 1152525 h 1752600"/>
              <a:gd name="connsiteX76" fmla="*/ 2700337 w 3128973"/>
              <a:gd name="connsiteY76" fmla="*/ 1162050 h 1752600"/>
              <a:gd name="connsiteX77" fmla="*/ 2714625 w 3128973"/>
              <a:gd name="connsiteY77" fmla="*/ 1171575 h 1752600"/>
              <a:gd name="connsiteX78" fmla="*/ 2752725 w 3128973"/>
              <a:gd name="connsiteY78" fmla="*/ 1181100 h 1752600"/>
              <a:gd name="connsiteX79" fmla="*/ 2767012 w 3128973"/>
              <a:gd name="connsiteY79" fmla="*/ 1195387 h 1752600"/>
              <a:gd name="connsiteX80" fmla="*/ 2781300 w 3128973"/>
              <a:gd name="connsiteY80" fmla="*/ 1200150 h 1752600"/>
              <a:gd name="connsiteX81" fmla="*/ 2795587 w 3128973"/>
              <a:gd name="connsiteY81" fmla="*/ 1209675 h 1752600"/>
              <a:gd name="connsiteX82" fmla="*/ 2805112 w 3128973"/>
              <a:gd name="connsiteY82" fmla="*/ 1223962 h 1752600"/>
              <a:gd name="connsiteX83" fmla="*/ 2809875 w 3128973"/>
              <a:gd name="connsiteY83" fmla="*/ 1238250 h 1752600"/>
              <a:gd name="connsiteX84" fmla="*/ 2833687 w 3128973"/>
              <a:gd name="connsiteY84" fmla="*/ 1276350 h 1752600"/>
              <a:gd name="connsiteX85" fmla="*/ 2895600 w 3128973"/>
              <a:gd name="connsiteY85" fmla="*/ 1333500 h 1752600"/>
              <a:gd name="connsiteX86" fmla="*/ 2900362 w 3128973"/>
              <a:gd name="connsiteY86" fmla="*/ 1352550 h 1752600"/>
              <a:gd name="connsiteX87" fmla="*/ 2928937 w 3128973"/>
              <a:gd name="connsiteY87" fmla="*/ 1395412 h 1752600"/>
              <a:gd name="connsiteX88" fmla="*/ 2943225 w 3128973"/>
              <a:gd name="connsiteY88" fmla="*/ 1404937 h 1752600"/>
              <a:gd name="connsiteX89" fmla="*/ 2957512 w 3128973"/>
              <a:gd name="connsiteY89" fmla="*/ 1419225 h 1752600"/>
              <a:gd name="connsiteX90" fmla="*/ 2986087 w 3128973"/>
              <a:gd name="connsiteY90" fmla="*/ 1443037 h 1752600"/>
              <a:gd name="connsiteX91" fmla="*/ 3000375 w 3128973"/>
              <a:gd name="connsiteY91" fmla="*/ 1462087 h 1752600"/>
              <a:gd name="connsiteX92" fmla="*/ 3016395 w 3128973"/>
              <a:gd name="connsiteY92" fmla="*/ 1476222 h 1752600"/>
              <a:gd name="connsiteX93" fmla="*/ 3028950 w 3128973"/>
              <a:gd name="connsiteY93" fmla="*/ 1495425 h 1752600"/>
              <a:gd name="connsiteX94" fmla="*/ 3043237 w 3128973"/>
              <a:gd name="connsiteY94" fmla="*/ 1552575 h 1752600"/>
              <a:gd name="connsiteX95" fmla="*/ 3052762 w 3128973"/>
              <a:gd name="connsiteY95" fmla="*/ 1566862 h 1752600"/>
              <a:gd name="connsiteX96" fmla="*/ 3057525 w 3128973"/>
              <a:gd name="connsiteY96" fmla="*/ 1581150 h 1752600"/>
              <a:gd name="connsiteX97" fmla="*/ 3067050 w 3128973"/>
              <a:gd name="connsiteY97" fmla="*/ 1662112 h 1752600"/>
              <a:gd name="connsiteX98" fmla="*/ 3071812 w 3128973"/>
              <a:gd name="connsiteY98" fmla="*/ 1676400 h 1752600"/>
              <a:gd name="connsiteX99" fmla="*/ 3100387 w 3128973"/>
              <a:gd name="connsiteY99" fmla="*/ 1690687 h 1752600"/>
              <a:gd name="connsiteX100" fmla="*/ 3114675 w 3128973"/>
              <a:gd name="connsiteY100" fmla="*/ 1685925 h 1752600"/>
              <a:gd name="connsiteX101" fmla="*/ 3124200 w 3128973"/>
              <a:gd name="connsiteY101" fmla="*/ 1671637 h 1752600"/>
              <a:gd name="connsiteX102" fmla="*/ 3128973 w 3128973"/>
              <a:gd name="connsiteY102" fmla="*/ 1651467 h 1752600"/>
              <a:gd name="connsiteX103" fmla="*/ 3128021 w 3128973"/>
              <a:gd name="connsiteY103" fmla="*/ 1710279 h 1752600"/>
              <a:gd name="connsiteX104" fmla="*/ 3043237 w 3128973"/>
              <a:gd name="connsiteY104" fmla="*/ 1714500 h 1752600"/>
              <a:gd name="connsiteX105" fmla="*/ 3028950 w 3128973"/>
              <a:gd name="connsiteY105" fmla="*/ 1728787 h 1752600"/>
              <a:gd name="connsiteX106" fmla="*/ 2986087 w 3128973"/>
              <a:gd name="connsiteY106" fmla="*/ 1738312 h 1752600"/>
              <a:gd name="connsiteX107" fmla="*/ 2971800 w 3128973"/>
              <a:gd name="connsiteY107" fmla="*/ 1743075 h 1752600"/>
              <a:gd name="connsiteX108" fmla="*/ 2943225 w 3128973"/>
              <a:gd name="connsiteY108" fmla="*/ 1738312 h 1752600"/>
              <a:gd name="connsiteX109" fmla="*/ 2928937 w 3128973"/>
              <a:gd name="connsiteY109" fmla="*/ 1747837 h 1752600"/>
              <a:gd name="connsiteX110" fmla="*/ 2914650 w 3128973"/>
              <a:gd name="connsiteY110" fmla="*/ 1752600 h 1752600"/>
              <a:gd name="connsiteX111" fmla="*/ 2895600 w 3128973"/>
              <a:gd name="connsiteY111" fmla="*/ 1724025 h 1752600"/>
              <a:gd name="connsiteX112" fmla="*/ 2883310 w 3128973"/>
              <a:gd name="connsiteY112" fmla="*/ 1701201 h 1752600"/>
              <a:gd name="connsiteX113" fmla="*/ 2883805 w 3128973"/>
              <a:gd name="connsiteY113" fmla="*/ 1696138 h 1752600"/>
              <a:gd name="connsiteX114" fmla="*/ 2871787 w 3128973"/>
              <a:gd name="connsiteY114" fmla="*/ 1685925 h 1752600"/>
              <a:gd name="connsiteX115" fmla="*/ 2847975 w 3128973"/>
              <a:gd name="connsiteY115" fmla="*/ 1657350 h 1752600"/>
              <a:gd name="connsiteX116" fmla="*/ 2834034 w 3128973"/>
              <a:gd name="connsiteY116" fmla="*/ 1637762 h 1752600"/>
              <a:gd name="connsiteX117" fmla="*/ 2814637 w 3128973"/>
              <a:gd name="connsiteY117" fmla="*/ 1619250 h 1752600"/>
              <a:gd name="connsiteX118" fmla="*/ 2809875 w 3128973"/>
              <a:gd name="connsiteY118" fmla="*/ 1604962 h 1752600"/>
              <a:gd name="connsiteX119" fmla="*/ 2795587 w 3128973"/>
              <a:gd name="connsiteY119" fmla="*/ 1600200 h 1752600"/>
              <a:gd name="connsiteX120" fmla="*/ 2781300 w 3128973"/>
              <a:gd name="connsiteY120" fmla="*/ 1590675 h 1752600"/>
              <a:gd name="connsiteX121" fmla="*/ 2752725 w 3128973"/>
              <a:gd name="connsiteY121" fmla="*/ 1581150 h 1752600"/>
              <a:gd name="connsiteX122" fmla="*/ 2733675 w 3128973"/>
              <a:gd name="connsiteY122" fmla="*/ 1625600 h 1752600"/>
              <a:gd name="connsiteX123" fmla="*/ 2709862 w 3128973"/>
              <a:gd name="connsiteY123" fmla="*/ 1619250 h 1752600"/>
              <a:gd name="connsiteX124" fmla="*/ 2723566 w 3128973"/>
              <a:gd name="connsiteY124" fmla="*/ 1590361 h 1752600"/>
              <a:gd name="connsiteX125" fmla="*/ 2674937 w 3128973"/>
              <a:gd name="connsiteY125" fmla="*/ 1560512 h 1752600"/>
              <a:gd name="connsiteX126" fmla="*/ 2643187 w 3128973"/>
              <a:gd name="connsiteY126" fmla="*/ 1495425 h 1752600"/>
              <a:gd name="connsiteX127" fmla="*/ 2628900 w 3128973"/>
              <a:gd name="connsiteY127" fmla="*/ 1490662 h 1752600"/>
              <a:gd name="connsiteX128" fmla="*/ 2595562 w 3128973"/>
              <a:gd name="connsiteY128" fmla="*/ 1481137 h 1752600"/>
              <a:gd name="connsiteX129" fmla="*/ 2581275 w 3128973"/>
              <a:gd name="connsiteY129" fmla="*/ 1466850 h 1752600"/>
              <a:gd name="connsiteX130" fmla="*/ 2552700 w 3128973"/>
              <a:gd name="connsiteY130" fmla="*/ 1457325 h 1752600"/>
              <a:gd name="connsiteX131" fmla="*/ 2538412 w 3128973"/>
              <a:gd name="connsiteY131" fmla="*/ 1447800 h 1752600"/>
              <a:gd name="connsiteX132" fmla="*/ 2519362 w 3128973"/>
              <a:gd name="connsiteY132" fmla="*/ 1443037 h 1752600"/>
              <a:gd name="connsiteX133" fmla="*/ 2490787 w 3128973"/>
              <a:gd name="connsiteY133" fmla="*/ 1433512 h 1752600"/>
              <a:gd name="connsiteX134" fmla="*/ 2476500 w 3128973"/>
              <a:gd name="connsiteY134" fmla="*/ 1428750 h 1752600"/>
              <a:gd name="connsiteX135" fmla="*/ 2466975 w 3128973"/>
              <a:gd name="connsiteY135" fmla="*/ 1414462 h 1752600"/>
              <a:gd name="connsiteX136" fmla="*/ 2447925 w 3128973"/>
              <a:gd name="connsiteY136" fmla="*/ 1409700 h 1752600"/>
              <a:gd name="connsiteX137" fmla="*/ 2309812 w 3128973"/>
              <a:gd name="connsiteY137" fmla="*/ 1395412 h 1752600"/>
              <a:gd name="connsiteX138" fmla="*/ 2295525 w 3128973"/>
              <a:gd name="connsiteY138" fmla="*/ 1390650 h 1752600"/>
              <a:gd name="connsiteX139" fmla="*/ 2257425 w 3128973"/>
              <a:gd name="connsiteY139" fmla="*/ 1381125 h 1752600"/>
              <a:gd name="connsiteX140" fmla="*/ 2238375 w 3128973"/>
              <a:gd name="connsiteY140" fmla="*/ 1366837 h 1752600"/>
              <a:gd name="connsiteX141" fmla="*/ 2224087 w 3128973"/>
              <a:gd name="connsiteY141" fmla="*/ 1362075 h 1752600"/>
              <a:gd name="connsiteX142" fmla="*/ 2176462 w 3128973"/>
              <a:gd name="connsiteY142" fmla="*/ 1338262 h 1752600"/>
              <a:gd name="connsiteX143" fmla="*/ 2162175 w 3128973"/>
              <a:gd name="connsiteY143" fmla="*/ 1328737 h 1752600"/>
              <a:gd name="connsiteX144" fmla="*/ 2114550 w 3128973"/>
              <a:gd name="connsiteY144" fmla="*/ 1314450 h 1752600"/>
              <a:gd name="connsiteX145" fmla="*/ 2100262 w 3128973"/>
              <a:gd name="connsiteY145" fmla="*/ 1300162 h 1752600"/>
              <a:gd name="connsiteX146" fmla="*/ 2085975 w 3128973"/>
              <a:gd name="connsiteY146" fmla="*/ 1295400 h 1752600"/>
              <a:gd name="connsiteX147" fmla="*/ 2055019 w 3128973"/>
              <a:gd name="connsiteY147" fmla="*/ 1290637 h 1752600"/>
              <a:gd name="connsiteX148" fmla="*/ 2028824 w 3128973"/>
              <a:gd name="connsiteY148" fmla="*/ 1283494 h 1752600"/>
              <a:gd name="connsiteX149" fmla="*/ 2005012 w 3128973"/>
              <a:gd name="connsiteY149" fmla="*/ 1271587 h 1752600"/>
              <a:gd name="connsiteX150" fmla="*/ 1985962 w 3128973"/>
              <a:gd name="connsiteY150" fmla="*/ 1262062 h 1752600"/>
              <a:gd name="connsiteX151" fmla="*/ 1971675 w 3128973"/>
              <a:gd name="connsiteY151" fmla="*/ 1257300 h 1752600"/>
              <a:gd name="connsiteX152" fmla="*/ 1943100 w 3128973"/>
              <a:gd name="connsiteY152" fmla="*/ 1238250 h 1752600"/>
              <a:gd name="connsiteX153" fmla="*/ 1914525 w 3128973"/>
              <a:gd name="connsiteY153" fmla="*/ 1219200 h 1752600"/>
              <a:gd name="connsiteX154" fmla="*/ 1885950 w 3128973"/>
              <a:gd name="connsiteY154" fmla="*/ 1209675 h 1752600"/>
              <a:gd name="connsiteX155" fmla="*/ 1843087 w 3128973"/>
              <a:gd name="connsiteY155" fmla="*/ 1195387 h 1752600"/>
              <a:gd name="connsiteX156" fmla="*/ 1757362 w 3128973"/>
              <a:gd name="connsiteY156" fmla="*/ 1185862 h 1752600"/>
              <a:gd name="connsiteX157" fmla="*/ 1700212 w 3128973"/>
              <a:gd name="connsiteY157" fmla="*/ 1166812 h 1752600"/>
              <a:gd name="connsiteX158" fmla="*/ 1671637 w 3128973"/>
              <a:gd name="connsiteY158" fmla="*/ 1147762 h 1752600"/>
              <a:gd name="connsiteX159" fmla="*/ 1652587 w 3128973"/>
              <a:gd name="connsiteY159" fmla="*/ 1138237 h 1752600"/>
              <a:gd name="connsiteX160" fmla="*/ 1638300 w 3128973"/>
              <a:gd name="connsiteY160" fmla="*/ 1128712 h 1752600"/>
              <a:gd name="connsiteX161" fmla="*/ 1590675 w 3128973"/>
              <a:gd name="connsiteY161" fmla="*/ 1138238 h 1752600"/>
              <a:gd name="connsiteX162" fmla="*/ 1559719 w 3128973"/>
              <a:gd name="connsiteY162" fmla="*/ 1109662 h 1752600"/>
              <a:gd name="connsiteX163" fmla="*/ 1528762 w 3128973"/>
              <a:gd name="connsiteY163" fmla="*/ 1085850 h 1752600"/>
              <a:gd name="connsiteX164" fmla="*/ 1514475 w 3128973"/>
              <a:gd name="connsiteY164" fmla="*/ 1081087 h 1752600"/>
              <a:gd name="connsiteX165" fmla="*/ 1470025 w 3128973"/>
              <a:gd name="connsiteY165" fmla="*/ 1130300 h 1752600"/>
              <a:gd name="connsiteX166" fmla="*/ 1433512 w 3128973"/>
              <a:gd name="connsiteY166" fmla="*/ 1108075 h 1752600"/>
              <a:gd name="connsiteX167" fmla="*/ 1423987 w 3128973"/>
              <a:gd name="connsiteY167" fmla="*/ 1087437 h 1752600"/>
              <a:gd name="connsiteX168" fmla="*/ 1381125 w 3128973"/>
              <a:gd name="connsiteY168" fmla="*/ 1095375 h 1752600"/>
              <a:gd name="connsiteX169" fmla="*/ 1383506 w 3128973"/>
              <a:gd name="connsiteY169" fmla="*/ 1028700 h 1752600"/>
              <a:gd name="connsiteX170" fmla="*/ 1366838 w 3128973"/>
              <a:gd name="connsiteY170" fmla="*/ 1019175 h 1752600"/>
              <a:gd name="connsiteX171" fmla="*/ 1335881 w 3128973"/>
              <a:gd name="connsiteY171" fmla="*/ 1007268 h 1752600"/>
              <a:gd name="connsiteX172" fmla="*/ 1319213 w 3128973"/>
              <a:gd name="connsiteY172" fmla="*/ 1007268 h 1752600"/>
              <a:gd name="connsiteX173" fmla="*/ 1295400 w 3128973"/>
              <a:gd name="connsiteY173" fmla="*/ 976312 h 1752600"/>
              <a:gd name="connsiteX174" fmla="*/ 1281112 w 3128973"/>
              <a:gd name="connsiteY174" fmla="*/ 966787 h 1752600"/>
              <a:gd name="connsiteX175" fmla="*/ 1238250 w 3128973"/>
              <a:gd name="connsiteY175" fmla="*/ 947737 h 1752600"/>
              <a:gd name="connsiteX176" fmla="*/ 1212850 w 3128973"/>
              <a:gd name="connsiteY176" fmla="*/ 995362 h 1752600"/>
              <a:gd name="connsiteX177" fmla="*/ 1201737 w 3128973"/>
              <a:gd name="connsiteY177" fmla="*/ 987425 h 1752600"/>
              <a:gd name="connsiteX178" fmla="*/ 1163637 w 3128973"/>
              <a:gd name="connsiteY178" fmla="*/ 952277 h 1752600"/>
              <a:gd name="connsiteX179" fmla="*/ 1133475 w 3128973"/>
              <a:gd name="connsiteY179" fmla="*/ 925512 h 1752600"/>
              <a:gd name="connsiteX180" fmla="*/ 1085850 w 3128973"/>
              <a:gd name="connsiteY180" fmla="*/ 859631 h 1752600"/>
              <a:gd name="connsiteX181" fmla="*/ 1071562 w 3128973"/>
              <a:gd name="connsiteY181" fmla="*/ 842962 h 1752600"/>
              <a:gd name="connsiteX182" fmla="*/ 1047750 w 3128973"/>
              <a:gd name="connsiteY182" fmla="*/ 819150 h 1752600"/>
              <a:gd name="connsiteX183" fmla="*/ 1028700 w 3128973"/>
              <a:gd name="connsiteY183" fmla="*/ 804862 h 1752600"/>
              <a:gd name="connsiteX184" fmla="*/ 1018076 w 3128973"/>
              <a:gd name="connsiteY184" fmla="*/ 794816 h 1752600"/>
              <a:gd name="connsiteX185" fmla="*/ 1000125 w 3128973"/>
              <a:gd name="connsiteY185" fmla="*/ 785812 h 1752600"/>
              <a:gd name="connsiteX186" fmla="*/ 984342 w 3128973"/>
              <a:gd name="connsiteY186" fmla="*/ 773578 h 1752600"/>
              <a:gd name="connsiteX187" fmla="*/ 957262 w 3128973"/>
              <a:gd name="connsiteY187" fmla="*/ 766762 h 1752600"/>
              <a:gd name="connsiteX188" fmla="*/ 938212 w 3128973"/>
              <a:gd name="connsiteY188" fmla="*/ 757237 h 1752600"/>
              <a:gd name="connsiteX189" fmla="*/ 904875 w 3128973"/>
              <a:gd name="connsiteY189" fmla="*/ 747712 h 1752600"/>
              <a:gd name="connsiteX190" fmla="*/ 862012 w 3128973"/>
              <a:gd name="connsiteY190" fmla="*/ 723900 h 1752600"/>
              <a:gd name="connsiteX191" fmla="*/ 795337 w 3128973"/>
              <a:gd name="connsiteY191" fmla="*/ 685800 h 1752600"/>
              <a:gd name="connsiteX192" fmla="*/ 776287 w 3128973"/>
              <a:gd name="connsiteY192" fmla="*/ 666750 h 1752600"/>
              <a:gd name="connsiteX193" fmla="*/ 762000 w 3128973"/>
              <a:gd name="connsiteY193" fmla="*/ 661987 h 1752600"/>
              <a:gd name="connsiteX194" fmla="*/ 742950 w 3128973"/>
              <a:gd name="connsiteY194" fmla="*/ 647700 h 1752600"/>
              <a:gd name="connsiteX195" fmla="*/ 709612 w 3128973"/>
              <a:gd name="connsiteY195" fmla="*/ 638175 h 1752600"/>
              <a:gd name="connsiteX196" fmla="*/ 695325 w 3128973"/>
              <a:gd name="connsiteY196" fmla="*/ 628650 h 1752600"/>
              <a:gd name="connsiteX197" fmla="*/ 681037 w 3128973"/>
              <a:gd name="connsiteY197" fmla="*/ 623887 h 1752600"/>
              <a:gd name="connsiteX198" fmla="*/ 676275 w 3128973"/>
              <a:gd name="connsiteY198" fmla="*/ 604837 h 1752600"/>
              <a:gd name="connsiteX199" fmla="*/ 666750 w 3128973"/>
              <a:gd name="connsiteY199" fmla="*/ 576262 h 1752600"/>
              <a:gd name="connsiteX200" fmla="*/ 661987 w 3128973"/>
              <a:gd name="connsiteY200" fmla="*/ 561975 h 1752600"/>
              <a:gd name="connsiteX201" fmla="*/ 666750 w 3128973"/>
              <a:gd name="connsiteY201" fmla="*/ 538162 h 1752600"/>
              <a:gd name="connsiteX202" fmla="*/ 638175 w 3128973"/>
              <a:gd name="connsiteY202" fmla="*/ 514350 h 1752600"/>
              <a:gd name="connsiteX203" fmla="*/ 619125 w 3128973"/>
              <a:gd name="connsiteY203" fmla="*/ 500062 h 1752600"/>
              <a:gd name="connsiteX204" fmla="*/ 576262 w 3128973"/>
              <a:gd name="connsiteY204" fmla="*/ 490537 h 1752600"/>
              <a:gd name="connsiteX205" fmla="*/ 542925 w 3128973"/>
              <a:gd name="connsiteY205" fmla="*/ 452437 h 1752600"/>
              <a:gd name="connsiteX206" fmla="*/ 525462 w 3128973"/>
              <a:gd name="connsiteY206" fmla="*/ 485775 h 1752600"/>
              <a:gd name="connsiteX207" fmla="*/ 504825 w 3128973"/>
              <a:gd name="connsiteY207" fmla="*/ 466725 h 1752600"/>
              <a:gd name="connsiteX208" fmla="*/ 454025 w 3128973"/>
              <a:gd name="connsiteY208" fmla="*/ 466725 h 1752600"/>
              <a:gd name="connsiteX209" fmla="*/ 407987 w 3128973"/>
              <a:gd name="connsiteY209" fmla="*/ 473075 h 1752600"/>
              <a:gd name="connsiteX210" fmla="*/ 395287 w 3128973"/>
              <a:gd name="connsiteY210" fmla="*/ 409575 h 1752600"/>
              <a:gd name="connsiteX211" fmla="*/ 376237 w 3128973"/>
              <a:gd name="connsiteY211" fmla="*/ 404812 h 1752600"/>
              <a:gd name="connsiteX212" fmla="*/ 342900 w 3128973"/>
              <a:gd name="connsiteY212" fmla="*/ 400050 h 1752600"/>
              <a:gd name="connsiteX213" fmla="*/ 314325 w 3128973"/>
              <a:gd name="connsiteY213" fmla="*/ 390525 h 1752600"/>
              <a:gd name="connsiteX214" fmla="*/ 273844 w 3128973"/>
              <a:gd name="connsiteY214" fmla="*/ 383382 h 1752600"/>
              <a:gd name="connsiteX215" fmla="*/ 257175 w 3128973"/>
              <a:gd name="connsiteY215" fmla="*/ 371475 h 1752600"/>
              <a:gd name="connsiteX216" fmla="*/ 245269 w 3128973"/>
              <a:gd name="connsiteY216" fmla="*/ 364331 h 1752600"/>
              <a:gd name="connsiteX217" fmla="*/ 223837 w 3128973"/>
              <a:gd name="connsiteY217" fmla="*/ 347662 h 1752600"/>
              <a:gd name="connsiteX218" fmla="*/ 190500 w 3128973"/>
              <a:gd name="connsiteY218" fmla="*/ 338137 h 1752600"/>
              <a:gd name="connsiteX219" fmla="*/ 147637 w 3128973"/>
              <a:gd name="connsiteY219" fmla="*/ 333375 h 1752600"/>
              <a:gd name="connsiteX220" fmla="*/ 119062 w 3128973"/>
              <a:gd name="connsiteY220" fmla="*/ 323850 h 1752600"/>
              <a:gd name="connsiteX221" fmla="*/ 104775 w 3128973"/>
              <a:gd name="connsiteY221" fmla="*/ 319087 h 1752600"/>
              <a:gd name="connsiteX222" fmla="*/ 61912 w 3128973"/>
              <a:gd name="connsiteY222" fmla="*/ 300037 h 1752600"/>
              <a:gd name="connsiteX223" fmla="*/ 23812 w 3128973"/>
              <a:gd name="connsiteY223" fmla="*/ 290512 h 1752600"/>
              <a:gd name="connsiteX224" fmla="*/ 9525 w 3128973"/>
              <a:gd name="connsiteY224" fmla="*/ 261937 h 1752600"/>
              <a:gd name="connsiteX225" fmla="*/ 0 w 3128973"/>
              <a:gd name="connsiteY225" fmla="*/ 290512 h 1752600"/>
              <a:gd name="connsiteX226" fmla="*/ 4762 w 3128973"/>
              <a:gd name="connsiteY226" fmla="*/ 247650 h 1752600"/>
              <a:gd name="connsiteX227" fmla="*/ 19050 w 3128973"/>
              <a:gd name="connsiteY227" fmla="*/ 200025 h 1752600"/>
              <a:gd name="connsiteX228" fmla="*/ 23812 w 3128973"/>
              <a:gd name="connsiteY228" fmla="*/ 185737 h 1752600"/>
              <a:gd name="connsiteX229" fmla="*/ 71437 w 3128973"/>
              <a:gd name="connsiteY229" fmla="*/ 171450 h 1752600"/>
              <a:gd name="connsiteX230" fmla="*/ 85725 w 3128973"/>
              <a:gd name="connsiteY230" fmla="*/ 166687 h 1752600"/>
              <a:gd name="connsiteX231" fmla="*/ 100012 w 3128973"/>
              <a:gd name="connsiteY231" fmla="*/ 161925 h 1752600"/>
              <a:gd name="connsiteX232" fmla="*/ 114300 w 3128973"/>
              <a:gd name="connsiteY232" fmla="*/ 152400 h 1752600"/>
              <a:gd name="connsiteX233" fmla="*/ 133350 w 3128973"/>
              <a:gd name="connsiteY233" fmla="*/ 123825 h 1752600"/>
              <a:gd name="connsiteX234" fmla="*/ 138112 w 3128973"/>
              <a:gd name="connsiteY234" fmla="*/ 109537 h 1752600"/>
              <a:gd name="connsiteX235" fmla="*/ 135467 w 3128973"/>
              <a:gd name="connsiteY235" fmla="*/ 97059 h 1752600"/>
              <a:gd name="connsiteX236" fmla="*/ 142875 w 3128973"/>
              <a:gd name="connsiteY236" fmla="*/ 71437 h 1752600"/>
              <a:gd name="connsiteX237" fmla="*/ 157162 w 3128973"/>
              <a:gd name="connsiteY237" fmla="*/ 57150 h 1752600"/>
              <a:gd name="connsiteX238" fmla="*/ 200025 w 3128973"/>
              <a:gd name="connsiteY238" fmla="*/ 33337 h 1752600"/>
              <a:gd name="connsiteX239" fmla="*/ 309562 w 3128973"/>
              <a:gd name="connsiteY239" fmla="*/ 28575 h 1752600"/>
              <a:gd name="connsiteX240" fmla="*/ 400050 w 3128973"/>
              <a:gd name="connsiteY240" fmla="*/ 14287 h 1752600"/>
              <a:gd name="connsiteX241" fmla="*/ 414337 w 3128973"/>
              <a:gd name="connsiteY241" fmla="*/ 9525 h 1752600"/>
              <a:gd name="connsiteX242" fmla="*/ 481012 w 3128973"/>
              <a:gd name="connsiteY242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555081 w 3128973"/>
              <a:gd name="connsiteY31" fmla="*/ 204444 h 1752600"/>
              <a:gd name="connsiteX32" fmla="*/ 2046801 w 3128973"/>
              <a:gd name="connsiteY32" fmla="*/ 262295 h 1752600"/>
              <a:gd name="connsiteX33" fmla="*/ 2033587 w 3128973"/>
              <a:gd name="connsiteY33" fmla="*/ 266700 h 1752600"/>
              <a:gd name="connsiteX34" fmla="*/ 2019300 w 3128973"/>
              <a:gd name="connsiteY34" fmla="*/ 280987 h 1752600"/>
              <a:gd name="connsiteX35" fmla="*/ 1990725 w 3128973"/>
              <a:gd name="connsiteY35" fmla="*/ 300037 h 1752600"/>
              <a:gd name="connsiteX36" fmla="*/ 1981200 w 3128973"/>
              <a:gd name="connsiteY36" fmla="*/ 314325 h 1752600"/>
              <a:gd name="connsiteX37" fmla="*/ 1981200 w 3128973"/>
              <a:gd name="connsiteY37" fmla="*/ 419100 h 1752600"/>
              <a:gd name="connsiteX38" fmla="*/ 1985962 w 3128973"/>
              <a:gd name="connsiteY38" fmla="*/ 433387 h 1752600"/>
              <a:gd name="connsiteX39" fmla="*/ 2000250 w 3128973"/>
              <a:gd name="connsiteY39" fmla="*/ 442912 h 1752600"/>
              <a:gd name="connsiteX40" fmla="*/ 2005012 w 3128973"/>
              <a:gd name="connsiteY40" fmla="*/ 457200 h 1752600"/>
              <a:gd name="connsiteX41" fmla="*/ 2005012 w 3128973"/>
              <a:gd name="connsiteY41" fmla="*/ 561975 h 1752600"/>
              <a:gd name="connsiteX42" fmla="*/ 2009775 w 3128973"/>
              <a:gd name="connsiteY42" fmla="*/ 576262 h 1752600"/>
              <a:gd name="connsiteX43" fmla="*/ 2024062 w 3128973"/>
              <a:gd name="connsiteY43" fmla="*/ 581025 h 1752600"/>
              <a:gd name="connsiteX44" fmla="*/ 2038350 w 3128973"/>
              <a:gd name="connsiteY44" fmla="*/ 595312 h 1752600"/>
              <a:gd name="connsiteX45" fmla="*/ 2052637 w 3128973"/>
              <a:gd name="connsiteY45" fmla="*/ 600075 h 1752600"/>
              <a:gd name="connsiteX46" fmla="*/ 2133600 w 3128973"/>
              <a:gd name="connsiteY46" fmla="*/ 590550 h 1752600"/>
              <a:gd name="connsiteX47" fmla="*/ 2147887 w 3128973"/>
              <a:gd name="connsiteY47" fmla="*/ 585787 h 1752600"/>
              <a:gd name="connsiteX48" fmla="*/ 2195512 w 3128973"/>
              <a:gd name="connsiteY48" fmla="*/ 600075 h 1752600"/>
              <a:gd name="connsiteX49" fmla="*/ 2205037 w 3128973"/>
              <a:gd name="connsiteY49" fmla="*/ 614362 h 1752600"/>
              <a:gd name="connsiteX50" fmla="*/ 2219325 w 3128973"/>
              <a:gd name="connsiteY50" fmla="*/ 628650 h 1752600"/>
              <a:gd name="connsiteX51" fmla="*/ 2224087 w 3128973"/>
              <a:gd name="connsiteY51" fmla="*/ 642937 h 1752600"/>
              <a:gd name="connsiteX52" fmla="*/ 2233612 w 3128973"/>
              <a:gd name="connsiteY52" fmla="*/ 657225 h 1752600"/>
              <a:gd name="connsiteX53" fmla="*/ 2247900 w 3128973"/>
              <a:gd name="connsiteY53" fmla="*/ 685800 h 1752600"/>
              <a:gd name="connsiteX54" fmla="*/ 2262187 w 3128973"/>
              <a:gd name="connsiteY54" fmla="*/ 733425 h 1752600"/>
              <a:gd name="connsiteX55" fmla="*/ 2305050 w 3128973"/>
              <a:gd name="connsiteY55" fmla="*/ 771525 h 1752600"/>
              <a:gd name="connsiteX56" fmla="*/ 2319337 w 3128973"/>
              <a:gd name="connsiteY56" fmla="*/ 804862 h 1752600"/>
              <a:gd name="connsiteX57" fmla="*/ 2333625 w 3128973"/>
              <a:gd name="connsiteY57" fmla="*/ 819150 h 1752600"/>
              <a:gd name="connsiteX58" fmla="*/ 2338387 w 3128973"/>
              <a:gd name="connsiteY58" fmla="*/ 833437 h 1752600"/>
              <a:gd name="connsiteX59" fmla="*/ 2352675 w 3128973"/>
              <a:gd name="connsiteY59" fmla="*/ 847725 h 1752600"/>
              <a:gd name="connsiteX60" fmla="*/ 2395537 w 3128973"/>
              <a:gd name="connsiteY60" fmla="*/ 871537 h 1752600"/>
              <a:gd name="connsiteX61" fmla="*/ 2409825 w 3128973"/>
              <a:gd name="connsiteY61" fmla="*/ 890587 h 1752600"/>
              <a:gd name="connsiteX62" fmla="*/ 2424112 w 3128973"/>
              <a:gd name="connsiteY62" fmla="*/ 895350 h 1752600"/>
              <a:gd name="connsiteX63" fmla="*/ 2433637 w 3128973"/>
              <a:gd name="connsiteY63" fmla="*/ 914400 h 1752600"/>
              <a:gd name="connsiteX64" fmla="*/ 2466975 w 3128973"/>
              <a:gd name="connsiteY64" fmla="*/ 942975 h 1752600"/>
              <a:gd name="connsiteX65" fmla="*/ 2474637 w 3128973"/>
              <a:gd name="connsiteY65" fmla="*/ 954728 h 1752600"/>
              <a:gd name="connsiteX66" fmla="*/ 2495550 w 3128973"/>
              <a:gd name="connsiteY66" fmla="*/ 971550 h 1752600"/>
              <a:gd name="connsiteX67" fmla="*/ 2508776 w 3128973"/>
              <a:gd name="connsiteY67" fmla="*/ 983894 h 1752600"/>
              <a:gd name="connsiteX68" fmla="*/ 2533650 w 3128973"/>
              <a:gd name="connsiteY68" fmla="*/ 1000125 h 1752600"/>
              <a:gd name="connsiteX69" fmla="*/ 2547937 w 3128973"/>
              <a:gd name="connsiteY69" fmla="*/ 1028700 h 1752600"/>
              <a:gd name="connsiteX70" fmla="*/ 2552700 w 3128973"/>
              <a:gd name="connsiteY70" fmla="*/ 1042987 h 1752600"/>
              <a:gd name="connsiteX71" fmla="*/ 2576512 w 3128973"/>
              <a:gd name="connsiteY71" fmla="*/ 1071562 h 1752600"/>
              <a:gd name="connsiteX72" fmla="*/ 2584921 w 3128973"/>
              <a:gd name="connsiteY72" fmla="*/ 1082873 h 1752600"/>
              <a:gd name="connsiteX73" fmla="*/ 2600325 w 3128973"/>
              <a:gd name="connsiteY73" fmla="*/ 1095375 h 1752600"/>
              <a:gd name="connsiteX74" fmla="*/ 2609850 w 3128973"/>
              <a:gd name="connsiteY74" fmla="*/ 1109662 h 1752600"/>
              <a:gd name="connsiteX75" fmla="*/ 2652712 w 3128973"/>
              <a:gd name="connsiteY75" fmla="*/ 1143000 h 1752600"/>
              <a:gd name="connsiteX76" fmla="*/ 2681287 w 3128973"/>
              <a:gd name="connsiteY76" fmla="*/ 1152525 h 1752600"/>
              <a:gd name="connsiteX77" fmla="*/ 2700337 w 3128973"/>
              <a:gd name="connsiteY77" fmla="*/ 1162050 h 1752600"/>
              <a:gd name="connsiteX78" fmla="*/ 2714625 w 3128973"/>
              <a:gd name="connsiteY78" fmla="*/ 1171575 h 1752600"/>
              <a:gd name="connsiteX79" fmla="*/ 2752725 w 3128973"/>
              <a:gd name="connsiteY79" fmla="*/ 1181100 h 1752600"/>
              <a:gd name="connsiteX80" fmla="*/ 2767012 w 3128973"/>
              <a:gd name="connsiteY80" fmla="*/ 1195387 h 1752600"/>
              <a:gd name="connsiteX81" fmla="*/ 2781300 w 3128973"/>
              <a:gd name="connsiteY81" fmla="*/ 1200150 h 1752600"/>
              <a:gd name="connsiteX82" fmla="*/ 2795587 w 3128973"/>
              <a:gd name="connsiteY82" fmla="*/ 1209675 h 1752600"/>
              <a:gd name="connsiteX83" fmla="*/ 2805112 w 3128973"/>
              <a:gd name="connsiteY83" fmla="*/ 1223962 h 1752600"/>
              <a:gd name="connsiteX84" fmla="*/ 2809875 w 3128973"/>
              <a:gd name="connsiteY84" fmla="*/ 1238250 h 1752600"/>
              <a:gd name="connsiteX85" fmla="*/ 2833687 w 3128973"/>
              <a:gd name="connsiteY85" fmla="*/ 1276350 h 1752600"/>
              <a:gd name="connsiteX86" fmla="*/ 2895600 w 3128973"/>
              <a:gd name="connsiteY86" fmla="*/ 1333500 h 1752600"/>
              <a:gd name="connsiteX87" fmla="*/ 2900362 w 3128973"/>
              <a:gd name="connsiteY87" fmla="*/ 1352550 h 1752600"/>
              <a:gd name="connsiteX88" fmla="*/ 2928937 w 3128973"/>
              <a:gd name="connsiteY88" fmla="*/ 1395412 h 1752600"/>
              <a:gd name="connsiteX89" fmla="*/ 2943225 w 3128973"/>
              <a:gd name="connsiteY89" fmla="*/ 1404937 h 1752600"/>
              <a:gd name="connsiteX90" fmla="*/ 2957512 w 3128973"/>
              <a:gd name="connsiteY90" fmla="*/ 1419225 h 1752600"/>
              <a:gd name="connsiteX91" fmla="*/ 2986087 w 3128973"/>
              <a:gd name="connsiteY91" fmla="*/ 1443037 h 1752600"/>
              <a:gd name="connsiteX92" fmla="*/ 3000375 w 3128973"/>
              <a:gd name="connsiteY92" fmla="*/ 1462087 h 1752600"/>
              <a:gd name="connsiteX93" fmla="*/ 3016395 w 3128973"/>
              <a:gd name="connsiteY93" fmla="*/ 1476222 h 1752600"/>
              <a:gd name="connsiteX94" fmla="*/ 3028950 w 3128973"/>
              <a:gd name="connsiteY94" fmla="*/ 1495425 h 1752600"/>
              <a:gd name="connsiteX95" fmla="*/ 3043237 w 3128973"/>
              <a:gd name="connsiteY95" fmla="*/ 1552575 h 1752600"/>
              <a:gd name="connsiteX96" fmla="*/ 3052762 w 3128973"/>
              <a:gd name="connsiteY96" fmla="*/ 1566862 h 1752600"/>
              <a:gd name="connsiteX97" fmla="*/ 3057525 w 3128973"/>
              <a:gd name="connsiteY97" fmla="*/ 1581150 h 1752600"/>
              <a:gd name="connsiteX98" fmla="*/ 3067050 w 3128973"/>
              <a:gd name="connsiteY98" fmla="*/ 1662112 h 1752600"/>
              <a:gd name="connsiteX99" fmla="*/ 3071812 w 3128973"/>
              <a:gd name="connsiteY99" fmla="*/ 1676400 h 1752600"/>
              <a:gd name="connsiteX100" fmla="*/ 3100387 w 3128973"/>
              <a:gd name="connsiteY100" fmla="*/ 1690687 h 1752600"/>
              <a:gd name="connsiteX101" fmla="*/ 3114675 w 3128973"/>
              <a:gd name="connsiteY101" fmla="*/ 1685925 h 1752600"/>
              <a:gd name="connsiteX102" fmla="*/ 3124200 w 3128973"/>
              <a:gd name="connsiteY102" fmla="*/ 1671637 h 1752600"/>
              <a:gd name="connsiteX103" fmla="*/ 3128973 w 3128973"/>
              <a:gd name="connsiteY103" fmla="*/ 1651467 h 1752600"/>
              <a:gd name="connsiteX104" fmla="*/ 3128021 w 3128973"/>
              <a:gd name="connsiteY104" fmla="*/ 1710279 h 1752600"/>
              <a:gd name="connsiteX105" fmla="*/ 3043237 w 3128973"/>
              <a:gd name="connsiteY105" fmla="*/ 1714500 h 1752600"/>
              <a:gd name="connsiteX106" fmla="*/ 3028950 w 3128973"/>
              <a:gd name="connsiteY106" fmla="*/ 1728787 h 1752600"/>
              <a:gd name="connsiteX107" fmla="*/ 2986087 w 3128973"/>
              <a:gd name="connsiteY107" fmla="*/ 1738312 h 1752600"/>
              <a:gd name="connsiteX108" fmla="*/ 2971800 w 3128973"/>
              <a:gd name="connsiteY108" fmla="*/ 1743075 h 1752600"/>
              <a:gd name="connsiteX109" fmla="*/ 2943225 w 3128973"/>
              <a:gd name="connsiteY109" fmla="*/ 1738312 h 1752600"/>
              <a:gd name="connsiteX110" fmla="*/ 2928937 w 3128973"/>
              <a:gd name="connsiteY110" fmla="*/ 1747837 h 1752600"/>
              <a:gd name="connsiteX111" fmla="*/ 2914650 w 3128973"/>
              <a:gd name="connsiteY111" fmla="*/ 1752600 h 1752600"/>
              <a:gd name="connsiteX112" fmla="*/ 2895600 w 3128973"/>
              <a:gd name="connsiteY112" fmla="*/ 1724025 h 1752600"/>
              <a:gd name="connsiteX113" fmla="*/ 2883310 w 3128973"/>
              <a:gd name="connsiteY113" fmla="*/ 1701201 h 1752600"/>
              <a:gd name="connsiteX114" fmla="*/ 2883805 w 3128973"/>
              <a:gd name="connsiteY114" fmla="*/ 1696138 h 1752600"/>
              <a:gd name="connsiteX115" fmla="*/ 2871787 w 3128973"/>
              <a:gd name="connsiteY115" fmla="*/ 1685925 h 1752600"/>
              <a:gd name="connsiteX116" fmla="*/ 2847975 w 3128973"/>
              <a:gd name="connsiteY116" fmla="*/ 1657350 h 1752600"/>
              <a:gd name="connsiteX117" fmla="*/ 2834034 w 3128973"/>
              <a:gd name="connsiteY117" fmla="*/ 1637762 h 1752600"/>
              <a:gd name="connsiteX118" fmla="*/ 2814637 w 3128973"/>
              <a:gd name="connsiteY118" fmla="*/ 1619250 h 1752600"/>
              <a:gd name="connsiteX119" fmla="*/ 2809875 w 3128973"/>
              <a:gd name="connsiteY119" fmla="*/ 1604962 h 1752600"/>
              <a:gd name="connsiteX120" fmla="*/ 2795587 w 3128973"/>
              <a:gd name="connsiteY120" fmla="*/ 1600200 h 1752600"/>
              <a:gd name="connsiteX121" fmla="*/ 2781300 w 3128973"/>
              <a:gd name="connsiteY121" fmla="*/ 1590675 h 1752600"/>
              <a:gd name="connsiteX122" fmla="*/ 2752725 w 3128973"/>
              <a:gd name="connsiteY122" fmla="*/ 1581150 h 1752600"/>
              <a:gd name="connsiteX123" fmla="*/ 2733675 w 3128973"/>
              <a:gd name="connsiteY123" fmla="*/ 1625600 h 1752600"/>
              <a:gd name="connsiteX124" fmla="*/ 2709862 w 3128973"/>
              <a:gd name="connsiteY124" fmla="*/ 1619250 h 1752600"/>
              <a:gd name="connsiteX125" fmla="*/ 2723566 w 3128973"/>
              <a:gd name="connsiteY125" fmla="*/ 1590361 h 1752600"/>
              <a:gd name="connsiteX126" fmla="*/ 2674937 w 3128973"/>
              <a:gd name="connsiteY126" fmla="*/ 1560512 h 1752600"/>
              <a:gd name="connsiteX127" fmla="*/ 2643187 w 3128973"/>
              <a:gd name="connsiteY127" fmla="*/ 1495425 h 1752600"/>
              <a:gd name="connsiteX128" fmla="*/ 2628900 w 3128973"/>
              <a:gd name="connsiteY128" fmla="*/ 1490662 h 1752600"/>
              <a:gd name="connsiteX129" fmla="*/ 2595562 w 3128973"/>
              <a:gd name="connsiteY129" fmla="*/ 1481137 h 1752600"/>
              <a:gd name="connsiteX130" fmla="*/ 2581275 w 3128973"/>
              <a:gd name="connsiteY130" fmla="*/ 1466850 h 1752600"/>
              <a:gd name="connsiteX131" fmla="*/ 2552700 w 3128973"/>
              <a:gd name="connsiteY131" fmla="*/ 1457325 h 1752600"/>
              <a:gd name="connsiteX132" fmla="*/ 2538412 w 3128973"/>
              <a:gd name="connsiteY132" fmla="*/ 1447800 h 1752600"/>
              <a:gd name="connsiteX133" fmla="*/ 2519362 w 3128973"/>
              <a:gd name="connsiteY133" fmla="*/ 1443037 h 1752600"/>
              <a:gd name="connsiteX134" fmla="*/ 2490787 w 3128973"/>
              <a:gd name="connsiteY134" fmla="*/ 1433512 h 1752600"/>
              <a:gd name="connsiteX135" fmla="*/ 2476500 w 3128973"/>
              <a:gd name="connsiteY135" fmla="*/ 1428750 h 1752600"/>
              <a:gd name="connsiteX136" fmla="*/ 2466975 w 3128973"/>
              <a:gd name="connsiteY136" fmla="*/ 1414462 h 1752600"/>
              <a:gd name="connsiteX137" fmla="*/ 2447925 w 3128973"/>
              <a:gd name="connsiteY137" fmla="*/ 1409700 h 1752600"/>
              <a:gd name="connsiteX138" fmla="*/ 2309812 w 3128973"/>
              <a:gd name="connsiteY138" fmla="*/ 1395412 h 1752600"/>
              <a:gd name="connsiteX139" fmla="*/ 2295525 w 3128973"/>
              <a:gd name="connsiteY139" fmla="*/ 1390650 h 1752600"/>
              <a:gd name="connsiteX140" fmla="*/ 2257425 w 3128973"/>
              <a:gd name="connsiteY140" fmla="*/ 1381125 h 1752600"/>
              <a:gd name="connsiteX141" fmla="*/ 2238375 w 3128973"/>
              <a:gd name="connsiteY141" fmla="*/ 1366837 h 1752600"/>
              <a:gd name="connsiteX142" fmla="*/ 2224087 w 3128973"/>
              <a:gd name="connsiteY142" fmla="*/ 1362075 h 1752600"/>
              <a:gd name="connsiteX143" fmla="*/ 2176462 w 3128973"/>
              <a:gd name="connsiteY143" fmla="*/ 1338262 h 1752600"/>
              <a:gd name="connsiteX144" fmla="*/ 2162175 w 3128973"/>
              <a:gd name="connsiteY144" fmla="*/ 1328737 h 1752600"/>
              <a:gd name="connsiteX145" fmla="*/ 2114550 w 3128973"/>
              <a:gd name="connsiteY145" fmla="*/ 1314450 h 1752600"/>
              <a:gd name="connsiteX146" fmla="*/ 2100262 w 3128973"/>
              <a:gd name="connsiteY146" fmla="*/ 1300162 h 1752600"/>
              <a:gd name="connsiteX147" fmla="*/ 2085975 w 3128973"/>
              <a:gd name="connsiteY147" fmla="*/ 1295400 h 1752600"/>
              <a:gd name="connsiteX148" fmla="*/ 2055019 w 3128973"/>
              <a:gd name="connsiteY148" fmla="*/ 1290637 h 1752600"/>
              <a:gd name="connsiteX149" fmla="*/ 2028824 w 3128973"/>
              <a:gd name="connsiteY149" fmla="*/ 1283494 h 1752600"/>
              <a:gd name="connsiteX150" fmla="*/ 2005012 w 3128973"/>
              <a:gd name="connsiteY150" fmla="*/ 1271587 h 1752600"/>
              <a:gd name="connsiteX151" fmla="*/ 1985962 w 3128973"/>
              <a:gd name="connsiteY151" fmla="*/ 1262062 h 1752600"/>
              <a:gd name="connsiteX152" fmla="*/ 1971675 w 3128973"/>
              <a:gd name="connsiteY152" fmla="*/ 1257300 h 1752600"/>
              <a:gd name="connsiteX153" fmla="*/ 1943100 w 3128973"/>
              <a:gd name="connsiteY153" fmla="*/ 1238250 h 1752600"/>
              <a:gd name="connsiteX154" fmla="*/ 1914525 w 3128973"/>
              <a:gd name="connsiteY154" fmla="*/ 1219200 h 1752600"/>
              <a:gd name="connsiteX155" fmla="*/ 1885950 w 3128973"/>
              <a:gd name="connsiteY155" fmla="*/ 1209675 h 1752600"/>
              <a:gd name="connsiteX156" fmla="*/ 1843087 w 3128973"/>
              <a:gd name="connsiteY156" fmla="*/ 1195387 h 1752600"/>
              <a:gd name="connsiteX157" fmla="*/ 1757362 w 3128973"/>
              <a:gd name="connsiteY157" fmla="*/ 1185862 h 1752600"/>
              <a:gd name="connsiteX158" fmla="*/ 1700212 w 3128973"/>
              <a:gd name="connsiteY158" fmla="*/ 1166812 h 1752600"/>
              <a:gd name="connsiteX159" fmla="*/ 1671637 w 3128973"/>
              <a:gd name="connsiteY159" fmla="*/ 1147762 h 1752600"/>
              <a:gd name="connsiteX160" fmla="*/ 1652587 w 3128973"/>
              <a:gd name="connsiteY160" fmla="*/ 1138237 h 1752600"/>
              <a:gd name="connsiteX161" fmla="*/ 1638300 w 3128973"/>
              <a:gd name="connsiteY161" fmla="*/ 1128712 h 1752600"/>
              <a:gd name="connsiteX162" fmla="*/ 1590675 w 3128973"/>
              <a:gd name="connsiteY162" fmla="*/ 1138238 h 1752600"/>
              <a:gd name="connsiteX163" fmla="*/ 1559719 w 3128973"/>
              <a:gd name="connsiteY163" fmla="*/ 1109662 h 1752600"/>
              <a:gd name="connsiteX164" fmla="*/ 1528762 w 3128973"/>
              <a:gd name="connsiteY164" fmla="*/ 1085850 h 1752600"/>
              <a:gd name="connsiteX165" fmla="*/ 1514475 w 3128973"/>
              <a:gd name="connsiteY165" fmla="*/ 1081087 h 1752600"/>
              <a:gd name="connsiteX166" fmla="*/ 1470025 w 3128973"/>
              <a:gd name="connsiteY166" fmla="*/ 1130300 h 1752600"/>
              <a:gd name="connsiteX167" fmla="*/ 1433512 w 3128973"/>
              <a:gd name="connsiteY167" fmla="*/ 1108075 h 1752600"/>
              <a:gd name="connsiteX168" fmla="*/ 1423987 w 3128973"/>
              <a:gd name="connsiteY168" fmla="*/ 1087437 h 1752600"/>
              <a:gd name="connsiteX169" fmla="*/ 1381125 w 3128973"/>
              <a:gd name="connsiteY169" fmla="*/ 1095375 h 1752600"/>
              <a:gd name="connsiteX170" fmla="*/ 1383506 w 3128973"/>
              <a:gd name="connsiteY170" fmla="*/ 1028700 h 1752600"/>
              <a:gd name="connsiteX171" fmla="*/ 1366838 w 3128973"/>
              <a:gd name="connsiteY171" fmla="*/ 1019175 h 1752600"/>
              <a:gd name="connsiteX172" fmla="*/ 1335881 w 3128973"/>
              <a:gd name="connsiteY172" fmla="*/ 1007268 h 1752600"/>
              <a:gd name="connsiteX173" fmla="*/ 1319213 w 3128973"/>
              <a:gd name="connsiteY173" fmla="*/ 1007268 h 1752600"/>
              <a:gd name="connsiteX174" fmla="*/ 1295400 w 3128973"/>
              <a:gd name="connsiteY174" fmla="*/ 976312 h 1752600"/>
              <a:gd name="connsiteX175" fmla="*/ 1281112 w 3128973"/>
              <a:gd name="connsiteY175" fmla="*/ 966787 h 1752600"/>
              <a:gd name="connsiteX176" fmla="*/ 1238250 w 3128973"/>
              <a:gd name="connsiteY176" fmla="*/ 947737 h 1752600"/>
              <a:gd name="connsiteX177" fmla="*/ 1212850 w 3128973"/>
              <a:gd name="connsiteY177" fmla="*/ 995362 h 1752600"/>
              <a:gd name="connsiteX178" fmla="*/ 1201737 w 3128973"/>
              <a:gd name="connsiteY178" fmla="*/ 987425 h 1752600"/>
              <a:gd name="connsiteX179" fmla="*/ 1163637 w 3128973"/>
              <a:gd name="connsiteY179" fmla="*/ 952277 h 1752600"/>
              <a:gd name="connsiteX180" fmla="*/ 1133475 w 3128973"/>
              <a:gd name="connsiteY180" fmla="*/ 925512 h 1752600"/>
              <a:gd name="connsiteX181" fmla="*/ 1085850 w 3128973"/>
              <a:gd name="connsiteY181" fmla="*/ 859631 h 1752600"/>
              <a:gd name="connsiteX182" fmla="*/ 1071562 w 3128973"/>
              <a:gd name="connsiteY182" fmla="*/ 842962 h 1752600"/>
              <a:gd name="connsiteX183" fmla="*/ 1047750 w 3128973"/>
              <a:gd name="connsiteY183" fmla="*/ 819150 h 1752600"/>
              <a:gd name="connsiteX184" fmla="*/ 1028700 w 3128973"/>
              <a:gd name="connsiteY184" fmla="*/ 804862 h 1752600"/>
              <a:gd name="connsiteX185" fmla="*/ 1018076 w 3128973"/>
              <a:gd name="connsiteY185" fmla="*/ 794816 h 1752600"/>
              <a:gd name="connsiteX186" fmla="*/ 1000125 w 3128973"/>
              <a:gd name="connsiteY186" fmla="*/ 785812 h 1752600"/>
              <a:gd name="connsiteX187" fmla="*/ 984342 w 3128973"/>
              <a:gd name="connsiteY187" fmla="*/ 773578 h 1752600"/>
              <a:gd name="connsiteX188" fmla="*/ 957262 w 3128973"/>
              <a:gd name="connsiteY188" fmla="*/ 766762 h 1752600"/>
              <a:gd name="connsiteX189" fmla="*/ 938212 w 3128973"/>
              <a:gd name="connsiteY189" fmla="*/ 757237 h 1752600"/>
              <a:gd name="connsiteX190" fmla="*/ 904875 w 3128973"/>
              <a:gd name="connsiteY190" fmla="*/ 747712 h 1752600"/>
              <a:gd name="connsiteX191" fmla="*/ 862012 w 3128973"/>
              <a:gd name="connsiteY191" fmla="*/ 723900 h 1752600"/>
              <a:gd name="connsiteX192" fmla="*/ 795337 w 3128973"/>
              <a:gd name="connsiteY192" fmla="*/ 685800 h 1752600"/>
              <a:gd name="connsiteX193" fmla="*/ 776287 w 3128973"/>
              <a:gd name="connsiteY193" fmla="*/ 666750 h 1752600"/>
              <a:gd name="connsiteX194" fmla="*/ 762000 w 3128973"/>
              <a:gd name="connsiteY194" fmla="*/ 661987 h 1752600"/>
              <a:gd name="connsiteX195" fmla="*/ 742950 w 3128973"/>
              <a:gd name="connsiteY195" fmla="*/ 647700 h 1752600"/>
              <a:gd name="connsiteX196" fmla="*/ 709612 w 3128973"/>
              <a:gd name="connsiteY196" fmla="*/ 638175 h 1752600"/>
              <a:gd name="connsiteX197" fmla="*/ 695325 w 3128973"/>
              <a:gd name="connsiteY197" fmla="*/ 628650 h 1752600"/>
              <a:gd name="connsiteX198" fmla="*/ 681037 w 3128973"/>
              <a:gd name="connsiteY198" fmla="*/ 623887 h 1752600"/>
              <a:gd name="connsiteX199" fmla="*/ 676275 w 3128973"/>
              <a:gd name="connsiteY199" fmla="*/ 604837 h 1752600"/>
              <a:gd name="connsiteX200" fmla="*/ 666750 w 3128973"/>
              <a:gd name="connsiteY200" fmla="*/ 576262 h 1752600"/>
              <a:gd name="connsiteX201" fmla="*/ 661987 w 3128973"/>
              <a:gd name="connsiteY201" fmla="*/ 561975 h 1752600"/>
              <a:gd name="connsiteX202" fmla="*/ 666750 w 3128973"/>
              <a:gd name="connsiteY202" fmla="*/ 538162 h 1752600"/>
              <a:gd name="connsiteX203" fmla="*/ 638175 w 3128973"/>
              <a:gd name="connsiteY203" fmla="*/ 514350 h 1752600"/>
              <a:gd name="connsiteX204" fmla="*/ 619125 w 3128973"/>
              <a:gd name="connsiteY204" fmla="*/ 500062 h 1752600"/>
              <a:gd name="connsiteX205" fmla="*/ 576262 w 3128973"/>
              <a:gd name="connsiteY205" fmla="*/ 490537 h 1752600"/>
              <a:gd name="connsiteX206" fmla="*/ 542925 w 3128973"/>
              <a:gd name="connsiteY206" fmla="*/ 452437 h 1752600"/>
              <a:gd name="connsiteX207" fmla="*/ 525462 w 3128973"/>
              <a:gd name="connsiteY207" fmla="*/ 485775 h 1752600"/>
              <a:gd name="connsiteX208" fmla="*/ 504825 w 3128973"/>
              <a:gd name="connsiteY208" fmla="*/ 466725 h 1752600"/>
              <a:gd name="connsiteX209" fmla="*/ 454025 w 3128973"/>
              <a:gd name="connsiteY209" fmla="*/ 466725 h 1752600"/>
              <a:gd name="connsiteX210" fmla="*/ 407987 w 3128973"/>
              <a:gd name="connsiteY210" fmla="*/ 473075 h 1752600"/>
              <a:gd name="connsiteX211" fmla="*/ 395287 w 3128973"/>
              <a:gd name="connsiteY211" fmla="*/ 409575 h 1752600"/>
              <a:gd name="connsiteX212" fmla="*/ 376237 w 3128973"/>
              <a:gd name="connsiteY212" fmla="*/ 404812 h 1752600"/>
              <a:gd name="connsiteX213" fmla="*/ 342900 w 3128973"/>
              <a:gd name="connsiteY213" fmla="*/ 400050 h 1752600"/>
              <a:gd name="connsiteX214" fmla="*/ 314325 w 3128973"/>
              <a:gd name="connsiteY214" fmla="*/ 390525 h 1752600"/>
              <a:gd name="connsiteX215" fmla="*/ 273844 w 3128973"/>
              <a:gd name="connsiteY215" fmla="*/ 383382 h 1752600"/>
              <a:gd name="connsiteX216" fmla="*/ 257175 w 3128973"/>
              <a:gd name="connsiteY216" fmla="*/ 371475 h 1752600"/>
              <a:gd name="connsiteX217" fmla="*/ 245269 w 3128973"/>
              <a:gd name="connsiteY217" fmla="*/ 364331 h 1752600"/>
              <a:gd name="connsiteX218" fmla="*/ 223837 w 3128973"/>
              <a:gd name="connsiteY218" fmla="*/ 347662 h 1752600"/>
              <a:gd name="connsiteX219" fmla="*/ 190500 w 3128973"/>
              <a:gd name="connsiteY219" fmla="*/ 338137 h 1752600"/>
              <a:gd name="connsiteX220" fmla="*/ 147637 w 3128973"/>
              <a:gd name="connsiteY220" fmla="*/ 333375 h 1752600"/>
              <a:gd name="connsiteX221" fmla="*/ 119062 w 3128973"/>
              <a:gd name="connsiteY221" fmla="*/ 323850 h 1752600"/>
              <a:gd name="connsiteX222" fmla="*/ 104775 w 3128973"/>
              <a:gd name="connsiteY222" fmla="*/ 319087 h 1752600"/>
              <a:gd name="connsiteX223" fmla="*/ 61912 w 3128973"/>
              <a:gd name="connsiteY223" fmla="*/ 300037 h 1752600"/>
              <a:gd name="connsiteX224" fmla="*/ 23812 w 3128973"/>
              <a:gd name="connsiteY224" fmla="*/ 290512 h 1752600"/>
              <a:gd name="connsiteX225" fmla="*/ 9525 w 3128973"/>
              <a:gd name="connsiteY225" fmla="*/ 261937 h 1752600"/>
              <a:gd name="connsiteX226" fmla="*/ 0 w 3128973"/>
              <a:gd name="connsiteY226" fmla="*/ 290512 h 1752600"/>
              <a:gd name="connsiteX227" fmla="*/ 4762 w 3128973"/>
              <a:gd name="connsiteY227" fmla="*/ 247650 h 1752600"/>
              <a:gd name="connsiteX228" fmla="*/ 19050 w 3128973"/>
              <a:gd name="connsiteY228" fmla="*/ 200025 h 1752600"/>
              <a:gd name="connsiteX229" fmla="*/ 23812 w 3128973"/>
              <a:gd name="connsiteY229" fmla="*/ 185737 h 1752600"/>
              <a:gd name="connsiteX230" fmla="*/ 71437 w 3128973"/>
              <a:gd name="connsiteY230" fmla="*/ 171450 h 1752600"/>
              <a:gd name="connsiteX231" fmla="*/ 85725 w 3128973"/>
              <a:gd name="connsiteY231" fmla="*/ 166687 h 1752600"/>
              <a:gd name="connsiteX232" fmla="*/ 100012 w 3128973"/>
              <a:gd name="connsiteY232" fmla="*/ 161925 h 1752600"/>
              <a:gd name="connsiteX233" fmla="*/ 114300 w 3128973"/>
              <a:gd name="connsiteY233" fmla="*/ 152400 h 1752600"/>
              <a:gd name="connsiteX234" fmla="*/ 133350 w 3128973"/>
              <a:gd name="connsiteY234" fmla="*/ 123825 h 1752600"/>
              <a:gd name="connsiteX235" fmla="*/ 138112 w 3128973"/>
              <a:gd name="connsiteY235" fmla="*/ 109537 h 1752600"/>
              <a:gd name="connsiteX236" fmla="*/ 135467 w 3128973"/>
              <a:gd name="connsiteY236" fmla="*/ 97059 h 1752600"/>
              <a:gd name="connsiteX237" fmla="*/ 142875 w 3128973"/>
              <a:gd name="connsiteY237" fmla="*/ 71437 h 1752600"/>
              <a:gd name="connsiteX238" fmla="*/ 157162 w 3128973"/>
              <a:gd name="connsiteY238" fmla="*/ 57150 h 1752600"/>
              <a:gd name="connsiteX239" fmla="*/ 200025 w 3128973"/>
              <a:gd name="connsiteY239" fmla="*/ 33337 h 1752600"/>
              <a:gd name="connsiteX240" fmla="*/ 309562 w 3128973"/>
              <a:gd name="connsiteY240" fmla="*/ 28575 h 1752600"/>
              <a:gd name="connsiteX241" fmla="*/ 400050 w 3128973"/>
              <a:gd name="connsiteY241" fmla="*/ 14287 h 1752600"/>
              <a:gd name="connsiteX242" fmla="*/ 414337 w 3128973"/>
              <a:gd name="connsiteY242" fmla="*/ 9525 h 1752600"/>
              <a:gd name="connsiteX243" fmla="*/ 481012 w 3128973"/>
              <a:gd name="connsiteY24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681287 w 3128973"/>
              <a:gd name="connsiteY31" fmla="*/ 218614 h 1752600"/>
              <a:gd name="connsiteX32" fmla="*/ 2046801 w 3128973"/>
              <a:gd name="connsiteY32" fmla="*/ 262295 h 1752600"/>
              <a:gd name="connsiteX33" fmla="*/ 2033587 w 3128973"/>
              <a:gd name="connsiteY33" fmla="*/ 266700 h 1752600"/>
              <a:gd name="connsiteX34" fmla="*/ 2019300 w 3128973"/>
              <a:gd name="connsiteY34" fmla="*/ 280987 h 1752600"/>
              <a:gd name="connsiteX35" fmla="*/ 1990725 w 3128973"/>
              <a:gd name="connsiteY35" fmla="*/ 300037 h 1752600"/>
              <a:gd name="connsiteX36" fmla="*/ 1981200 w 3128973"/>
              <a:gd name="connsiteY36" fmla="*/ 314325 h 1752600"/>
              <a:gd name="connsiteX37" fmla="*/ 1981200 w 3128973"/>
              <a:gd name="connsiteY37" fmla="*/ 419100 h 1752600"/>
              <a:gd name="connsiteX38" fmla="*/ 1985962 w 3128973"/>
              <a:gd name="connsiteY38" fmla="*/ 433387 h 1752600"/>
              <a:gd name="connsiteX39" fmla="*/ 2000250 w 3128973"/>
              <a:gd name="connsiteY39" fmla="*/ 442912 h 1752600"/>
              <a:gd name="connsiteX40" fmla="*/ 2005012 w 3128973"/>
              <a:gd name="connsiteY40" fmla="*/ 457200 h 1752600"/>
              <a:gd name="connsiteX41" fmla="*/ 2005012 w 3128973"/>
              <a:gd name="connsiteY41" fmla="*/ 561975 h 1752600"/>
              <a:gd name="connsiteX42" fmla="*/ 2009775 w 3128973"/>
              <a:gd name="connsiteY42" fmla="*/ 576262 h 1752600"/>
              <a:gd name="connsiteX43" fmla="*/ 2024062 w 3128973"/>
              <a:gd name="connsiteY43" fmla="*/ 581025 h 1752600"/>
              <a:gd name="connsiteX44" fmla="*/ 2038350 w 3128973"/>
              <a:gd name="connsiteY44" fmla="*/ 595312 h 1752600"/>
              <a:gd name="connsiteX45" fmla="*/ 2052637 w 3128973"/>
              <a:gd name="connsiteY45" fmla="*/ 600075 h 1752600"/>
              <a:gd name="connsiteX46" fmla="*/ 2133600 w 3128973"/>
              <a:gd name="connsiteY46" fmla="*/ 590550 h 1752600"/>
              <a:gd name="connsiteX47" fmla="*/ 2147887 w 3128973"/>
              <a:gd name="connsiteY47" fmla="*/ 585787 h 1752600"/>
              <a:gd name="connsiteX48" fmla="*/ 2195512 w 3128973"/>
              <a:gd name="connsiteY48" fmla="*/ 600075 h 1752600"/>
              <a:gd name="connsiteX49" fmla="*/ 2205037 w 3128973"/>
              <a:gd name="connsiteY49" fmla="*/ 614362 h 1752600"/>
              <a:gd name="connsiteX50" fmla="*/ 2219325 w 3128973"/>
              <a:gd name="connsiteY50" fmla="*/ 628650 h 1752600"/>
              <a:gd name="connsiteX51" fmla="*/ 2224087 w 3128973"/>
              <a:gd name="connsiteY51" fmla="*/ 642937 h 1752600"/>
              <a:gd name="connsiteX52" fmla="*/ 2233612 w 3128973"/>
              <a:gd name="connsiteY52" fmla="*/ 657225 h 1752600"/>
              <a:gd name="connsiteX53" fmla="*/ 2247900 w 3128973"/>
              <a:gd name="connsiteY53" fmla="*/ 685800 h 1752600"/>
              <a:gd name="connsiteX54" fmla="*/ 2262187 w 3128973"/>
              <a:gd name="connsiteY54" fmla="*/ 733425 h 1752600"/>
              <a:gd name="connsiteX55" fmla="*/ 2305050 w 3128973"/>
              <a:gd name="connsiteY55" fmla="*/ 771525 h 1752600"/>
              <a:gd name="connsiteX56" fmla="*/ 2319337 w 3128973"/>
              <a:gd name="connsiteY56" fmla="*/ 804862 h 1752600"/>
              <a:gd name="connsiteX57" fmla="*/ 2333625 w 3128973"/>
              <a:gd name="connsiteY57" fmla="*/ 819150 h 1752600"/>
              <a:gd name="connsiteX58" fmla="*/ 2338387 w 3128973"/>
              <a:gd name="connsiteY58" fmla="*/ 833437 h 1752600"/>
              <a:gd name="connsiteX59" fmla="*/ 2352675 w 3128973"/>
              <a:gd name="connsiteY59" fmla="*/ 847725 h 1752600"/>
              <a:gd name="connsiteX60" fmla="*/ 2395537 w 3128973"/>
              <a:gd name="connsiteY60" fmla="*/ 871537 h 1752600"/>
              <a:gd name="connsiteX61" fmla="*/ 2409825 w 3128973"/>
              <a:gd name="connsiteY61" fmla="*/ 890587 h 1752600"/>
              <a:gd name="connsiteX62" fmla="*/ 2424112 w 3128973"/>
              <a:gd name="connsiteY62" fmla="*/ 895350 h 1752600"/>
              <a:gd name="connsiteX63" fmla="*/ 2433637 w 3128973"/>
              <a:gd name="connsiteY63" fmla="*/ 914400 h 1752600"/>
              <a:gd name="connsiteX64" fmla="*/ 2466975 w 3128973"/>
              <a:gd name="connsiteY64" fmla="*/ 942975 h 1752600"/>
              <a:gd name="connsiteX65" fmla="*/ 2474637 w 3128973"/>
              <a:gd name="connsiteY65" fmla="*/ 954728 h 1752600"/>
              <a:gd name="connsiteX66" fmla="*/ 2495550 w 3128973"/>
              <a:gd name="connsiteY66" fmla="*/ 971550 h 1752600"/>
              <a:gd name="connsiteX67" fmla="*/ 2508776 w 3128973"/>
              <a:gd name="connsiteY67" fmla="*/ 983894 h 1752600"/>
              <a:gd name="connsiteX68" fmla="*/ 2533650 w 3128973"/>
              <a:gd name="connsiteY68" fmla="*/ 1000125 h 1752600"/>
              <a:gd name="connsiteX69" fmla="*/ 2547937 w 3128973"/>
              <a:gd name="connsiteY69" fmla="*/ 1028700 h 1752600"/>
              <a:gd name="connsiteX70" fmla="*/ 2552700 w 3128973"/>
              <a:gd name="connsiteY70" fmla="*/ 1042987 h 1752600"/>
              <a:gd name="connsiteX71" fmla="*/ 2576512 w 3128973"/>
              <a:gd name="connsiteY71" fmla="*/ 1071562 h 1752600"/>
              <a:gd name="connsiteX72" fmla="*/ 2584921 w 3128973"/>
              <a:gd name="connsiteY72" fmla="*/ 1082873 h 1752600"/>
              <a:gd name="connsiteX73" fmla="*/ 2600325 w 3128973"/>
              <a:gd name="connsiteY73" fmla="*/ 1095375 h 1752600"/>
              <a:gd name="connsiteX74" fmla="*/ 2609850 w 3128973"/>
              <a:gd name="connsiteY74" fmla="*/ 1109662 h 1752600"/>
              <a:gd name="connsiteX75" fmla="*/ 2652712 w 3128973"/>
              <a:gd name="connsiteY75" fmla="*/ 1143000 h 1752600"/>
              <a:gd name="connsiteX76" fmla="*/ 2681287 w 3128973"/>
              <a:gd name="connsiteY76" fmla="*/ 1152525 h 1752600"/>
              <a:gd name="connsiteX77" fmla="*/ 2700337 w 3128973"/>
              <a:gd name="connsiteY77" fmla="*/ 1162050 h 1752600"/>
              <a:gd name="connsiteX78" fmla="*/ 2714625 w 3128973"/>
              <a:gd name="connsiteY78" fmla="*/ 1171575 h 1752600"/>
              <a:gd name="connsiteX79" fmla="*/ 2752725 w 3128973"/>
              <a:gd name="connsiteY79" fmla="*/ 1181100 h 1752600"/>
              <a:gd name="connsiteX80" fmla="*/ 2767012 w 3128973"/>
              <a:gd name="connsiteY80" fmla="*/ 1195387 h 1752600"/>
              <a:gd name="connsiteX81" fmla="*/ 2781300 w 3128973"/>
              <a:gd name="connsiteY81" fmla="*/ 1200150 h 1752600"/>
              <a:gd name="connsiteX82" fmla="*/ 2795587 w 3128973"/>
              <a:gd name="connsiteY82" fmla="*/ 1209675 h 1752600"/>
              <a:gd name="connsiteX83" fmla="*/ 2805112 w 3128973"/>
              <a:gd name="connsiteY83" fmla="*/ 1223962 h 1752600"/>
              <a:gd name="connsiteX84" fmla="*/ 2809875 w 3128973"/>
              <a:gd name="connsiteY84" fmla="*/ 1238250 h 1752600"/>
              <a:gd name="connsiteX85" fmla="*/ 2833687 w 3128973"/>
              <a:gd name="connsiteY85" fmla="*/ 1276350 h 1752600"/>
              <a:gd name="connsiteX86" fmla="*/ 2895600 w 3128973"/>
              <a:gd name="connsiteY86" fmla="*/ 1333500 h 1752600"/>
              <a:gd name="connsiteX87" fmla="*/ 2900362 w 3128973"/>
              <a:gd name="connsiteY87" fmla="*/ 1352550 h 1752600"/>
              <a:gd name="connsiteX88" fmla="*/ 2928937 w 3128973"/>
              <a:gd name="connsiteY88" fmla="*/ 1395412 h 1752600"/>
              <a:gd name="connsiteX89" fmla="*/ 2943225 w 3128973"/>
              <a:gd name="connsiteY89" fmla="*/ 1404937 h 1752600"/>
              <a:gd name="connsiteX90" fmla="*/ 2957512 w 3128973"/>
              <a:gd name="connsiteY90" fmla="*/ 1419225 h 1752600"/>
              <a:gd name="connsiteX91" fmla="*/ 2986087 w 3128973"/>
              <a:gd name="connsiteY91" fmla="*/ 1443037 h 1752600"/>
              <a:gd name="connsiteX92" fmla="*/ 3000375 w 3128973"/>
              <a:gd name="connsiteY92" fmla="*/ 1462087 h 1752600"/>
              <a:gd name="connsiteX93" fmla="*/ 3016395 w 3128973"/>
              <a:gd name="connsiteY93" fmla="*/ 1476222 h 1752600"/>
              <a:gd name="connsiteX94" fmla="*/ 3028950 w 3128973"/>
              <a:gd name="connsiteY94" fmla="*/ 1495425 h 1752600"/>
              <a:gd name="connsiteX95" fmla="*/ 3043237 w 3128973"/>
              <a:gd name="connsiteY95" fmla="*/ 1552575 h 1752600"/>
              <a:gd name="connsiteX96" fmla="*/ 3052762 w 3128973"/>
              <a:gd name="connsiteY96" fmla="*/ 1566862 h 1752600"/>
              <a:gd name="connsiteX97" fmla="*/ 3057525 w 3128973"/>
              <a:gd name="connsiteY97" fmla="*/ 1581150 h 1752600"/>
              <a:gd name="connsiteX98" fmla="*/ 3067050 w 3128973"/>
              <a:gd name="connsiteY98" fmla="*/ 1662112 h 1752600"/>
              <a:gd name="connsiteX99" fmla="*/ 3071812 w 3128973"/>
              <a:gd name="connsiteY99" fmla="*/ 1676400 h 1752600"/>
              <a:gd name="connsiteX100" fmla="*/ 3100387 w 3128973"/>
              <a:gd name="connsiteY100" fmla="*/ 1690687 h 1752600"/>
              <a:gd name="connsiteX101" fmla="*/ 3114675 w 3128973"/>
              <a:gd name="connsiteY101" fmla="*/ 1685925 h 1752600"/>
              <a:gd name="connsiteX102" fmla="*/ 3124200 w 3128973"/>
              <a:gd name="connsiteY102" fmla="*/ 1671637 h 1752600"/>
              <a:gd name="connsiteX103" fmla="*/ 3128973 w 3128973"/>
              <a:gd name="connsiteY103" fmla="*/ 1651467 h 1752600"/>
              <a:gd name="connsiteX104" fmla="*/ 3128021 w 3128973"/>
              <a:gd name="connsiteY104" fmla="*/ 1710279 h 1752600"/>
              <a:gd name="connsiteX105" fmla="*/ 3043237 w 3128973"/>
              <a:gd name="connsiteY105" fmla="*/ 1714500 h 1752600"/>
              <a:gd name="connsiteX106" fmla="*/ 3028950 w 3128973"/>
              <a:gd name="connsiteY106" fmla="*/ 1728787 h 1752600"/>
              <a:gd name="connsiteX107" fmla="*/ 2986087 w 3128973"/>
              <a:gd name="connsiteY107" fmla="*/ 1738312 h 1752600"/>
              <a:gd name="connsiteX108" fmla="*/ 2971800 w 3128973"/>
              <a:gd name="connsiteY108" fmla="*/ 1743075 h 1752600"/>
              <a:gd name="connsiteX109" fmla="*/ 2943225 w 3128973"/>
              <a:gd name="connsiteY109" fmla="*/ 1738312 h 1752600"/>
              <a:gd name="connsiteX110" fmla="*/ 2928937 w 3128973"/>
              <a:gd name="connsiteY110" fmla="*/ 1747837 h 1752600"/>
              <a:gd name="connsiteX111" fmla="*/ 2914650 w 3128973"/>
              <a:gd name="connsiteY111" fmla="*/ 1752600 h 1752600"/>
              <a:gd name="connsiteX112" fmla="*/ 2895600 w 3128973"/>
              <a:gd name="connsiteY112" fmla="*/ 1724025 h 1752600"/>
              <a:gd name="connsiteX113" fmla="*/ 2883310 w 3128973"/>
              <a:gd name="connsiteY113" fmla="*/ 1701201 h 1752600"/>
              <a:gd name="connsiteX114" fmla="*/ 2883805 w 3128973"/>
              <a:gd name="connsiteY114" fmla="*/ 1696138 h 1752600"/>
              <a:gd name="connsiteX115" fmla="*/ 2871787 w 3128973"/>
              <a:gd name="connsiteY115" fmla="*/ 1685925 h 1752600"/>
              <a:gd name="connsiteX116" fmla="*/ 2847975 w 3128973"/>
              <a:gd name="connsiteY116" fmla="*/ 1657350 h 1752600"/>
              <a:gd name="connsiteX117" fmla="*/ 2834034 w 3128973"/>
              <a:gd name="connsiteY117" fmla="*/ 1637762 h 1752600"/>
              <a:gd name="connsiteX118" fmla="*/ 2814637 w 3128973"/>
              <a:gd name="connsiteY118" fmla="*/ 1619250 h 1752600"/>
              <a:gd name="connsiteX119" fmla="*/ 2809875 w 3128973"/>
              <a:gd name="connsiteY119" fmla="*/ 1604962 h 1752600"/>
              <a:gd name="connsiteX120" fmla="*/ 2795587 w 3128973"/>
              <a:gd name="connsiteY120" fmla="*/ 1600200 h 1752600"/>
              <a:gd name="connsiteX121" fmla="*/ 2781300 w 3128973"/>
              <a:gd name="connsiteY121" fmla="*/ 1590675 h 1752600"/>
              <a:gd name="connsiteX122" fmla="*/ 2752725 w 3128973"/>
              <a:gd name="connsiteY122" fmla="*/ 1581150 h 1752600"/>
              <a:gd name="connsiteX123" fmla="*/ 2733675 w 3128973"/>
              <a:gd name="connsiteY123" fmla="*/ 1625600 h 1752600"/>
              <a:gd name="connsiteX124" fmla="*/ 2709862 w 3128973"/>
              <a:gd name="connsiteY124" fmla="*/ 1619250 h 1752600"/>
              <a:gd name="connsiteX125" fmla="*/ 2723566 w 3128973"/>
              <a:gd name="connsiteY125" fmla="*/ 1590361 h 1752600"/>
              <a:gd name="connsiteX126" fmla="*/ 2674937 w 3128973"/>
              <a:gd name="connsiteY126" fmla="*/ 1560512 h 1752600"/>
              <a:gd name="connsiteX127" fmla="*/ 2643187 w 3128973"/>
              <a:gd name="connsiteY127" fmla="*/ 1495425 h 1752600"/>
              <a:gd name="connsiteX128" fmla="*/ 2628900 w 3128973"/>
              <a:gd name="connsiteY128" fmla="*/ 1490662 h 1752600"/>
              <a:gd name="connsiteX129" fmla="*/ 2595562 w 3128973"/>
              <a:gd name="connsiteY129" fmla="*/ 1481137 h 1752600"/>
              <a:gd name="connsiteX130" fmla="*/ 2581275 w 3128973"/>
              <a:gd name="connsiteY130" fmla="*/ 1466850 h 1752600"/>
              <a:gd name="connsiteX131" fmla="*/ 2552700 w 3128973"/>
              <a:gd name="connsiteY131" fmla="*/ 1457325 h 1752600"/>
              <a:gd name="connsiteX132" fmla="*/ 2538412 w 3128973"/>
              <a:gd name="connsiteY132" fmla="*/ 1447800 h 1752600"/>
              <a:gd name="connsiteX133" fmla="*/ 2519362 w 3128973"/>
              <a:gd name="connsiteY133" fmla="*/ 1443037 h 1752600"/>
              <a:gd name="connsiteX134" fmla="*/ 2490787 w 3128973"/>
              <a:gd name="connsiteY134" fmla="*/ 1433512 h 1752600"/>
              <a:gd name="connsiteX135" fmla="*/ 2476500 w 3128973"/>
              <a:gd name="connsiteY135" fmla="*/ 1428750 h 1752600"/>
              <a:gd name="connsiteX136" fmla="*/ 2466975 w 3128973"/>
              <a:gd name="connsiteY136" fmla="*/ 1414462 h 1752600"/>
              <a:gd name="connsiteX137" fmla="*/ 2447925 w 3128973"/>
              <a:gd name="connsiteY137" fmla="*/ 1409700 h 1752600"/>
              <a:gd name="connsiteX138" fmla="*/ 2309812 w 3128973"/>
              <a:gd name="connsiteY138" fmla="*/ 1395412 h 1752600"/>
              <a:gd name="connsiteX139" fmla="*/ 2295525 w 3128973"/>
              <a:gd name="connsiteY139" fmla="*/ 1390650 h 1752600"/>
              <a:gd name="connsiteX140" fmla="*/ 2257425 w 3128973"/>
              <a:gd name="connsiteY140" fmla="*/ 1381125 h 1752600"/>
              <a:gd name="connsiteX141" fmla="*/ 2238375 w 3128973"/>
              <a:gd name="connsiteY141" fmla="*/ 1366837 h 1752600"/>
              <a:gd name="connsiteX142" fmla="*/ 2224087 w 3128973"/>
              <a:gd name="connsiteY142" fmla="*/ 1362075 h 1752600"/>
              <a:gd name="connsiteX143" fmla="*/ 2176462 w 3128973"/>
              <a:gd name="connsiteY143" fmla="*/ 1338262 h 1752600"/>
              <a:gd name="connsiteX144" fmla="*/ 2162175 w 3128973"/>
              <a:gd name="connsiteY144" fmla="*/ 1328737 h 1752600"/>
              <a:gd name="connsiteX145" fmla="*/ 2114550 w 3128973"/>
              <a:gd name="connsiteY145" fmla="*/ 1314450 h 1752600"/>
              <a:gd name="connsiteX146" fmla="*/ 2100262 w 3128973"/>
              <a:gd name="connsiteY146" fmla="*/ 1300162 h 1752600"/>
              <a:gd name="connsiteX147" fmla="*/ 2085975 w 3128973"/>
              <a:gd name="connsiteY147" fmla="*/ 1295400 h 1752600"/>
              <a:gd name="connsiteX148" fmla="*/ 2055019 w 3128973"/>
              <a:gd name="connsiteY148" fmla="*/ 1290637 h 1752600"/>
              <a:gd name="connsiteX149" fmla="*/ 2028824 w 3128973"/>
              <a:gd name="connsiteY149" fmla="*/ 1283494 h 1752600"/>
              <a:gd name="connsiteX150" fmla="*/ 2005012 w 3128973"/>
              <a:gd name="connsiteY150" fmla="*/ 1271587 h 1752600"/>
              <a:gd name="connsiteX151" fmla="*/ 1985962 w 3128973"/>
              <a:gd name="connsiteY151" fmla="*/ 1262062 h 1752600"/>
              <a:gd name="connsiteX152" fmla="*/ 1971675 w 3128973"/>
              <a:gd name="connsiteY152" fmla="*/ 1257300 h 1752600"/>
              <a:gd name="connsiteX153" fmla="*/ 1943100 w 3128973"/>
              <a:gd name="connsiteY153" fmla="*/ 1238250 h 1752600"/>
              <a:gd name="connsiteX154" fmla="*/ 1914525 w 3128973"/>
              <a:gd name="connsiteY154" fmla="*/ 1219200 h 1752600"/>
              <a:gd name="connsiteX155" fmla="*/ 1885950 w 3128973"/>
              <a:gd name="connsiteY155" fmla="*/ 1209675 h 1752600"/>
              <a:gd name="connsiteX156" fmla="*/ 1843087 w 3128973"/>
              <a:gd name="connsiteY156" fmla="*/ 1195387 h 1752600"/>
              <a:gd name="connsiteX157" fmla="*/ 1757362 w 3128973"/>
              <a:gd name="connsiteY157" fmla="*/ 1185862 h 1752600"/>
              <a:gd name="connsiteX158" fmla="*/ 1700212 w 3128973"/>
              <a:gd name="connsiteY158" fmla="*/ 1166812 h 1752600"/>
              <a:gd name="connsiteX159" fmla="*/ 1671637 w 3128973"/>
              <a:gd name="connsiteY159" fmla="*/ 1147762 h 1752600"/>
              <a:gd name="connsiteX160" fmla="*/ 1652587 w 3128973"/>
              <a:gd name="connsiteY160" fmla="*/ 1138237 h 1752600"/>
              <a:gd name="connsiteX161" fmla="*/ 1638300 w 3128973"/>
              <a:gd name="connsiteY161" fmla="*/ 1128712 h 1752600"/>
              <a:gd name="connsiteX162" fmla="*/ 1590675 w 3128973"/>
              <a:gd name="connsiteY162" fmla="*/ 1138238 h 1752600"/>
              <a:gd name="connsiteX163" fmla="*/ 1559719 w 3128973"/>
              <a:gd name="connsiteY163" fmla="*/ 1109662 h 1752600"/>
              <a:gd name="connsiteX164" fmla="*/ 1528762 w 3128973"/>
              <a:gd name="connsiteY164" fmla="*/ 1085850 h 1752600"/>
              <a:gd name="connsiteX165" fmla="*/ 1514475 w 3128973"/>
              <a:gd name="connsiteY165" fmla="*/ 1081087 h 1752600"/>
              <a:gd name="connsiteX166" fmla="*/ 1470025 w 3128973"/>
              <a:gd name="connsiteY166" fmla="*/ 1130300 h 1752600"/>
              <a:gd name="connsiteX167" fmla="*/ 1433512 w 3128973"/>
              <a:gd name="connsiteY167" fmla="*/ 1108075 h 1752600"/>
              <a:gd name="connsiteX168" fmla="*/ 1423987 w 3128973"/>
              <a:gd name="connsiteY168" fmla="*/ 1087437 h 1752600"/>
              <a:gd name="connsiteX169" fmla="*/ 1381125 w 3128973"/>
              <a:gd name="connsiteY169" fmla="*/ 1095375 h 1752600"/>
              <a:gd name="connsiteX170" fmla="*/ 1383506 w 3128973"/>
              <a:gd name="connsiteY170" fmla="*/ 1028700 h 1752600"/>
              <a:gd name="connsiteX171" fmla="*/ 1366838 w 3128973"/>
              <a:gd name="connsiteY171" fmla="*/ 1019175 h 1752600"/>
              <a:gd name="connsiteX172" fmla="*/ 1335881 w 3128973"/>
              <a:gd name="connsiteY172" fmla="*/ 1007268 h 1752600"/>
              <a:gd name="connsiteX173" fmla="*/ 1319213 w 3128973"/>
              <a:gd name="connsiteY173" fmla="*/ 1007268 h 1752600"/>
              <a:gd name="connsiteX174" fmla="*/ 1295400 w 3128973"/>
              <a:gd name="connsiteY174" fmla="*/ 976312 h 1752600"/>
              <a:gd name="connsiteX175" fmla="*/ 1281112 w 3128973"/>
              <a:gd name="connsiteY175" fmla="*/ 966787 h 1752600"/>
              <a:gd name="connsiteX176" fmla="*/ 1238250 w 3128973"/>
              <a:gd name="connsiteY176" fmla="*/ 947737 h 1752600"/>
              <a:gd name="connsiteX177" fmla="*/ 1212850 w 3128973"/>
              <a:gd name="connsiteY177" fmla="*/ 995362 h 1752600"/>
              <a:gd name="connsiteX178" fmla="*/ 1201737 w 3128973"/>
              <a:gd name="connsiteY178" fmla="*/ 987425 h 1752600"/>
              <a:gd name="connsiteX179" fmla="*/ 1163637 w 3128973"/>
              <a:gd name="connsiteY179" fmla="*/ 952277 h 1752600"/>
              <a:gd name="connsiteX180" fmla="*/ 1133475 w 3128973"/>
              <a:gd name="connsiteY180" fmla="*/ 925512 h 1752600"/>
              <a:gd name="connsiteX181" fmla="*/ 1085850 w 3128973"/>
              <a:gd name="connsiteY181" fmla="*/ 859631 h 1752600"/>
              <a:gd name="connsiteX182" fmla="*/ 1071562 w 3128973"/>
              <a:gd name="connsiteY182" fmla="*/ 842962 h 1752600"/>
              <a:gd name="connsiteX183" fmla="*/ 1047750 w 3128973"/>
              <a:gd name="connsiteY183" fmla="*/ 819150 h 1752600"/>
              <a:gd name="connsiteX184" fmla="*/ 1028700 w 3128973"/>
              <a:gd name="connsiteY184" fmla="*/ 804862 h 1752600"/>
              <a:gd name="connsiteX185" fmla="*/ 1018076 w 3128973"/>
              <a:gd name="connsiteY185" fmla="*/ 794816 h 1752600"/>
              <a:gd name="connsiteX186" fmla="*/ 1000125 w 3128973"/>
              <a:gd name="connsiteY186" fmla="*/ 785812 h 1752600"/>
              <a:gd name="connsiteX187" fmla="*/ 984342 w 3128973"/>
              <a:gd name="connsiteY187" fmla="*/ 773578 h 1752600"/>
              <a:gd name="connsiteX188" fmla="*/ 957262 w 3128973"/>
              <a:gd name="connsiteY188" fmla="*/ 766762 h 1752600"/>
              <a:gd name="connsiteX189" fmla="*/ 938212 w 3128973"/>
              <a:gd name="connsiteY189" fmla="*/ 757237 h 1752600"/>
              <a:gd name="connsiteX190" fmla="*/ 904875 w 3128973"/>
              <a:gd name="connsiteY190" fmla="*/ 747712 h 1752600"/>
              <a:gd name="connsiteX191" fmla="*/ 862012 w 3128973"/>
              <a:gd name="connsiteY191" fmla="*/ 723900 h 1752600"/>
              <a:gd name="connsiteX192" fmla="*/ 795337 w 3128973"/>
              <a:gd name="connsiteY192" fmla="*/ 685800 h 1752600"/>
              <a:gd name="connsiteX193" fmla="*/ 776287 w 3128973"/>
              <a:gd name="connsiteY193" fmla="*/ 666750 h 1752600"/>
              <a:gd name="connsiteX194" fmla="*/ 762000 w 3128973"/>
              <a:gd name="connsiteY194" fmla="*/ 661987 h 1752600"/>
              <a:gd name="connsiteX195" fmla="*/ 742950 w 3128973"/>
              <a:gd name="connsiteY195" fmla="*/ 647700 h 1752600"/>
              <a:gd name="connsiteX196" fmla="*/ 709612 w 3128973"/>
              <a:gd name="connsiteY196" fmla="*/ 638175 h 1752600"/>
              <a:gd name="connsiteX197" fmla="*/ 695325 w 3128973"/>
              <a:gd name="connsiteY197" fmla="*/ 628650 h 1752600"/>
              <a:gd name="connsiteX198" fmla="*/ 681037 w 3128973"/>
              <a:gd name="connsiteY198" fmla="*/ 623887 h 1752600"/>
              <a:gd name="connsiteX199" fmla="*/ 676275 w 3128973"/>
              <a:gd name="connsiteY199" fmla="*/ 604837 h 1752600"/>
              <a:gd name="connsiteX200" fmla="*/ 666750 w 3128973"/>
              <a:gd name="connsiteY200" fmla="*/ 576262 h 1752600"/>
              <a:gd name="connsiteX201" fmla="*/ 661987 w 3128973"/>
              <a:gd name="connsiteY201" fmla="*/ 561975 h 1752600"/>
              <a:gd name="connsiteX202" fmla="*/ 666750 w 3128973"/>
              <a:gd name="connsiteY202" fmla="*/ 538162 h 1752600"/>
              <a:gd name="connsiteX203" fmla="*/ 638175 w 3128973"/>
              <a:gd name="connsiteY203" fmla="*/ 514350 h 1752600"/>
              <a:gd name="connsiteX204" fmla="*/ 619125 w 3128973"/>
              <a:gd name="connsiteY204" fmla="*/ 500062 h 1752600"/>
              <a:gd name="connsiteX205" fmla="*/ 576262 w 3128973"/>
              <a:gd name="connsiteY205" fmla="*/ 490537 h 1752600"/>
              <a:gd name="connsiteX206" fmla="*/ 542925 w 3128973"/>
              <a:gd name="connsiteY206" fmla="*/ 452437 h 1752600"/>
              <a:gd name="connsiteX207" fmla="*/ 525462 w 3128973"/>
              <a:gd name="connsiteY207" fmla="*/ 485775 h 1752600"/>
              <a:gd name="connsiteX208" fmla="*/ 504825 w 3128973"/>
              <a:gd name="connsiteY208" fmla="*/ 466725 h 1752600"/>
              <a:gd name="connsiteX209" fmla="*/ 454025 w 3128973"/>
              <a:gd name="connsiteY209" fmla="*/ 466725 h 1752600"/>
              <a:gd name="connsiteX210" fmla="*/ 407987 w 3128973"/>
              <a:gd name="connsiteY210" fmla="*/ 473075 h 1752600"/>
              <a:gd name="connsiteX211" fmla="*/ 395287 w 3128973"/>
              <a:gd name="connsiteY211" fmla="*/ 409575 h 1752600"/>
              <a:gd name="connsiteX212" fmla="*/ 376237 w 3128973"/>
              <a:gd name="connsiteY212" fmla="*/ 404812 h 1752600"/>
              <a:gd name="connsiteX213" fmla="*/ 342900 w 3128973"/>
              <a:gd name="connsiteY213" fmla="*/ 400050 h 1752600"/>
              <a:gd name="connsiteX214" fmla="*/ 314325 w 3128973"/>
              <a:gd name="connsiteY214" fmla="*/ 390525 h 1752600"/>
              <a:gd name="connsiteX215" fmla="*/ 273844 w 3128973"/>
              <a:gd name="connsiteY215" fmla="*/ 383382 h 1752600"/>
              <a:gd name="connsiteX216" fmla="*/ 257175 w 3128973"/>
              <a:gd name="connsiteY216" fmla="*/ 371475 h 1752600"/>
              <a:gd name="connsiteX217" fmla="*/ 245269 w 3128973"/>
              <a:gd name="connsiteY217" fmla="*/ 364331 h 1752600"/>
              <a:gd name="connsiteX218" fmla="*/ 223837 w 3128973"/>
              <a:gd name="connsiteY218" fmla="*/ 347662 h 1752600"/>
              <a:gd name="connsiteX219" fmla="*/ 190500 w 3128973"/>
              <a:gd name="connsiteY219" fmla="*/ 338137 h 1752600"/>
              <a:gd name="connsiteX220" fmla="*/ 147637 w 3128973"/>
              <a:gd name="connsiteY220" fmla="*/ 333375 h 1752600"/>
              <a:gd name="connsiteX221" fmla="*/ 119062 w 3128973"/>
              <a:gd name="connsiteY221" fmla="*/ 323850 h 1752600"/>
              <a:gd name="connsiteX222" fmla="*/ 104775 w 3128973"/>
              <a:gd name="connsiteY222" fmla="*/ 319087 h 1752600"/>
              <a:gd name="connsiteX223" fmla="*/ 61912 w 3128973"/>
              <a:gd name="connsiteY223" fmla="*/ 300037 h 1752600"/>
              <a:gd name="connsiteX224" fmla="*/ 23812 w 3128973"/>
              <a:gd name="connsiteY224" fmla="*/ 290512 h 1752600"/>
              <a:gd name="connsiteX225" fmla="*/ 9525 w 3128973"/>
              <a:gd name="connsiteY225" fmla="*/ 261937 h 1752600"/>
              <a:gd name="connsiteX226" fmla="*/ 0 w 3128973"/>
              <a:gd name="connsiteY226" fmla="*/ 290512 h 1752600"/>
              <a:gd name="connsiteX227" fmla="*/ 4762 w 3128973"/>
              <a:gd name="connsiteY227" fmla="*/ 247650 h 1752600"/>
              <a:gd name="connsiteX228" fmla="*/ 19050 w 3128973"/>
              <a:gd name="connsiteY228" fmla="*/ 200025 h 1752600"/>
              <a:gd name="connsiteX229" fmla="*/ 23812 w 3128973"/>
              <a:gd name="connsiteY229" fmla="*/ 185737 h 1752600"/>
              <a:gd name="connsiteX230" fmla="*/ 71437 w 3128973"/>
              <a:gd name="connsiteY230" fmla="*/ 171450 h 1752600"/>
              <a:gd name="connsiteX231" fmla="*/ 85725 w 3128973"/>
              <a:gd name="connsiteY231" fmla="*/ 166687 h 1752600"/>
              <a:gd name="connsiteX232" fmla="*/ 100012 w 3128973"/>
              <a:gd name="connsiteY232" fmla="*/ 161925 h 1752600"/>
              <a:gd name="connsiteX233" fmla="*/ 114300 w 3128973"/>
              <a:gd name="connsiteY233" fmla="*/ 152400 h 1752600"/>
              <a:gd name="connsiteX234" fmla="*/ 133350 w 3128973"/>
              <a:gd name="connsiteY234" fmla="*/ 123825 h 1752600"/>
              <a:gd name="connsiteX235" fmla="*/ 138112 w 3128973"/>
              <a:gd name="connsiteY235" fmla="*/ 109537 h 1752600"/>
              <a:gd name="connsiteX236" fmla="*/ 135467 w 3128973"/>
              <a:gd name="connsiteY236" fmla="*/ 97059 h 1752600"/>
              <a:gd name="connsiteX237" fmla="*/ 142875 w 3128973"/>
              <a:gd name="connsiteY237" fmla="*/ 71437 h 1752600"/>
              <a:gd name="connsiteX238" fmla="*/ 157162 w 3128973"/>
              <a:gd name="connsiteY238" fmla="*/ 57150 h 1752600"/>
              <a:gd name="connsiteX239" fmla="*/ 200025 w 3128973"/>
              <a:gd name="connsiteY239" fmla="*/ 33337 h 1752600"/>
              <a:gd name="connsiteX240" fmla="*/ 309562 w 3128973"/>
              <a:gd name="connsiteY240" fmla="*/ 28575 h 1752600"/>
              <a:gd name="connsiteX241" fmla="*/ 400050 w 3128973"/>
              <a:gd name="connsiteY241" fmla="*/ 14287 h 1752600"/>
              <a:gd name="connsiteX242" fmla="*/ 414337 w 3128973"/>
              <a:gd name="connsiteY242" fmla="*/ 9525 h 1752600"/>
              <a:gd name="connsiteX243" fmla="*/ 481012 w 3128973"/>
              <a:gd name="connsiteY243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681287 w 3128973"/>
              <a:gd name="connsiteY31" fmla="*/ 218614 h 1752600"/>
              <a:gd name="connsiteX32" fmla="*/ 2624137 w 3128973"/>
              <a:gd name="connsiteY32" fmla="*/ 225698 h 1752600"/>
              <a:gd name="connsiteX33" fmla="*/ 2046801 w 3128973"/>
              <a:gd name="connsiteY33" fmla="*/ 262295 h 1752600"/>
              <a:gd name="connsiteX34" fmla="*/ 2033587 w 3128973"/>
              <a:gd name="connsiteY34" fmla="*/ 266700 h 1752600"/>
              <a:gd name="connsiteX35" fmla="*/ 2019300 w 3128973"/>
              <a:gd name="connsiteY35" fmla="*/ 280987 h 1752600"/>
              <a:gd name="connsiteX36" fmla="*/ 1990725 w 3128973"/>
              <a:gd name="connsiteY36" fmla="*/ 300037 h 1752600"/>
              <a:gd name="connsiteX37" fmla="*/ 1981200 w 3128973"/>
              <a:gd name="connsiteY37" fmla="*/ 314325 h 1752600"/>
              <a:gd name="connsiteX38" fmla="*/ 1981200 w 3128973"/>
              <a:gd name="connsiteY38" fmla="*/ 419100 h 1752600"/>
              <a:gd name="connsiteX39" fmla="*/ 1985962 w 3128973"/>
              <a:gd name="connsiteY39" fmla="*/ 433387 h 1752600"/>
              <a:gd name="connsiteX40" fmla="*/ 2000250 w 3128973"/>
              <a:gd name="connsiteY40" fmla="*/ 442912 h 1752600"/>
              <a:gd name="connsiteX41" fmla="*/ 2005012 w 3128973"/>
              <a:gd name="connsiteY41" fmla="*/ 457200 h 1752600"/>
              <a:gd name="connsiteX42" fmla="*/ 2005012 w 3128973"/>
              <a:gd name="connsiteY42" fmla="*/ 561975 h 1752600"/>
              <a:gd name="connsiteX43" fmla="*/ 2009775 w 3128973"/>
              <a:gd name="connsiteY43" fmla="*/ 576262 h 1752600"/>
              <a:gd name="connsiteX44" fmla="*/ 2024062 w 3128973"/>
              <a:gd name="connsiteY44" fmla="*/ 581025 h 1752600"/>
              <a:gd name="connsiteX45" fmla="*/ 2038350 w 3128973"/>
              <a:gd name="connsiteY45" fmla="*/ 595312 h 1752600"/>
              <a:gd name="connsiteX46" fmla="*/ 2052637 w 3128973"/>
              <a:gd name="connsiteY46" fmla="*/ 600075 h 1752600"/>
              <a:gd name="connsiteX47" fmla="*/ 2133600 w 3128973"/>
              <a:gd name="connsiteY47" fmla="*/ 590550 h 1752600"/>
              <a:gd name="connsiteX48" fmla="*/ 2147887 w 3128973"/>
              <a:gd name="connsiteY48" fmla="*/ 585787 h 1752600"/>
              <a:gd name="connsiteX49" fmla="*/ 2195512 w 3128973"/>
              <a:gd name="connsiteY49" fmla="*/ 600075 h 1752600"/>
              <a:gd name="connsiteX50" fmla="*/ 2205037 w 3128973"/>
              <a:gd name="connsiteY50" fmla="*/ 614362 h 1752600"/>
              <a:gd name="connsiteX51" fmla="*/ 2219325 w 3128973"/>
              <a:gd name="connsiteY51" fmla="*/ 628650 h 1752600"/>
              <a:gd name="connsiteX52" fmla="*/ 2224087 w 3128973"/>
              <a:gd name="connsiteY52" fmla="*/ 642937 h 1752600"/>
              <a:gd name="connsiteX53" fmla="*/ 2233612 w 3128973"/>
              <a:gd name="connsiteY53" fmla="*/ 657225 h 1752600"/>
              <a:gd name="connsiteX54" fmla="*/ 2247900 w 3128973"/>
              <a:gd name="connsiteY54" fmla="*/ 685800 h 1752600"/>
              <a:gd name="connsiteX55" fmla="*/ 2262187 w 3128973"/>
              <a:gd name="connsiteY55" fmla="*/ 733425 h 1752600"/>
              <a:gd name="connsiteX56" fmla="*/ 2305050 w 3128973"/>
              <a:gd name="connsiteY56" fmla="*/ 771525 h 1752600"/>
              <a:gd name="connsiteX57" fmla="*/ 2319337 w 3128973"/>
              <a:gd name="connsiteY57" fmla="*/ 804862 h 1752600"/>
              <a:gd name="connsiteX58" fmla="*/ 2333625 w 3128973"/>
              <a:gd name="connsiteY58" fmla="*/ 819150 h 1752600"/>
              <a:gd name="connsiteX59" fmla="*/ 2338387 w 3128973"/>
              <a:gd name="connsiteY59" fmla="*/ 833437 h 1752600"/>
              <a:gd name="connsiteX60" fmla="*/ 2352675 w 3128973"/>
              <a:gd name="connsiteY60" fmla="*/ 847725 h 1752600"/>
              <a:gd name="connsiteX61" fmla="*/ 2395537 w 3128973"/>
              <a:gd name="connsiteY61" fmla="*/ 871537 h 1752600"/>
              <a:gd name="connsiteX62" fmla="*/ 2409825 w 3128973"/>
              <a:gd name="connsiteY62" fmla="*/ 890587 h 1752600"/>
              <a:gd name="connsiteX63" fmla="*/ 2424112 w 3128973"/>
              <a:gd name="connsiteY63" fmla="*/ 895350 h 1752600"/>
              <a:gd name="connsiteX64" fmla="*/ 2433637 w 3128973"/>
              <a:gd name="connsiteY64" fmla="*/ 914400 h 1752600"/>
              <a:gd name="connsiteX65" fmla="*/ 2466975 w 3128973"/>
              <a:gd name="connsiteY65" fmla="*/ 942975 h 1752600"/>
              <a:gd name="connsiteX66" fmla="*/ 2474637 w 3128973"/>
              <a:gd name="connsiteY66" fmla="*/ 954728 h 1752600"/>
              <a:gd name="connsiteX67" fmla="*/ 2495550 w 3128973"/>
              <a:gd name="connsiteY67" fmla="*/ 971550 h 1752600"/>
              <a:gd name="connsiteX68" fmla="*/ 2508776 w 3128973"/>
              <a:gd name="connsiteY68" fmla="*/ 983894 h 1752600"/>
              <a:gd name="connsiteX69" fmla="*/ 2533650 w 3128973"/>
              <a:gd name="connsiteY69" fmla="*/ 1000125 h 1752600"/>
              <a:gd name="connsiteX70" fmla="*/ 2547937 w 3128973"/>
              <a:gd name="connsiteY70" fmla="*/ 1028700 h 1752600"/>
              <a:gd name="connsiteX71" fmla="*/ 2552700 w 3128973"/>
              <a:gd name="connsiteY71" fmla="*/ 1042987 h 1752600"/>
              <a:gd name="connsiteX72" fmla="*/ 2576512 w 3128973"/>
              <a:gd name="connsiteY72" fmla="*/ 1071562 h 1752600"/>
              <a:gd name="connsiteX73" fmla="*/ 2584921 w 3128973"/>
              <a:gd name="connsiteY73" fmla="*/ 1082873 h 1752600"/>
              <a:gd name="connsiteX74" fmla="*/ 2600325 w 3128973"/>
              <a:gd name="connsiteY74" fmla="*/ 1095375 h 1752600"/>
              <a:gd name="connsiteX75" fmla="*/ 2609850 w 3128973"/>
              <a:gd name="connsiteY75" fmla="*/ 1109662 h 1752600"/>
              <a:gd name="connsiteX76" fmla="*/ 2652712 w 3128973"/>
              <a:gd name="connsiteY76" fmla="*/ 1143000 h 1752600"/>
              <a:gd name="connsiteX77" fmla="*/ 2681287 w 3128973"/>
              <a:gd name="connsiteY77" fmla="*/ 1152525 h 1752600"/>
              <a:gd name="connsiteX78" fmla="*/ 2700337 w 3128973"/>
              <a:gd name="connsiteY78" fmla="*/ 1162050 h 1752600"/>
              <a:gd name="connsiteX79" fmla="*/ 2714625 w 3128973"/>
              <a:gd name="connsiteY79" fmla="*/ 1171575 h 1752600"/>
              <a:gd name="connsiteX80" fmla="*/ 2752725 w 3128973"/>
              <a:gd name="connsiteY80" fmla="*/ 1181100 h 1752600"/>
              <a:gd name="connsiteX81" fmla="*/ 2767012 w 3128973"/>
              <a:gd name="connsiteY81" fmla="*/ 1195387 h 1752600"/>
              <a:gd name="connsiteX82" fmla="*/ 2781300 w 3128973"/>
              <a:gd name="connsiteY82" fmla="*/ 1200150 h 1752600"/>
              <a:gd name="connsiteX83" fmla="*/ 2795587 w 3128973"/>
              <a:gd name="connsiteY83" fmla="*/ 1209675 h 1752600"/>
              <a:gd name="connsiteX84" fmla="*/ 2805112 w 3128973"/>
              <a:gd name="connsiteY84" fmla="*/ 1223962 h 1752600"/>
              <a:gd name="connsiteX85" fmla="*/ 2809875 w 3128973"/>
              <a:gd name="connsiteY85" fmla="*/ 1238250 h 1752600"/>
              <a:gd name="connsiteX86" fmla="*/ 2833687 w 3128973"/>
              <a:gd name="connsiteY86" fmla="*/ 1276350 h 1752600"/>
              <a:gd name="connsiteX87" fmla="*/ 2895600 w 3128973"/>
              <a:gd name="connsiteY87" fmla="*/ 1333500 h 1752600"/>
              <a:gd name="connsiteX88" fmla="*/ 2900362 w 3128973"/>
              <a:gd name="connsiteY88" fmla="*/ 1352550 h 1752600"/>
              <a:gd name="connsiteX89" fmla="*/ 2928937 w 3128973"/>
              <a:gd name="connsiteY89" fmla="*/ 1395412 h 1752600"/>
              <a:gd name="connsiteX90" fmla="*/ 2943225 w 3128973"/>
              <a:gd name="connsiteY90" fmla="*/ 1404937 h 1752600"/>
              <a:gd name="connsiteX91" fmla="*/ 2957512 w 3128973"/>
              <a:gd name="connsiteY91" fmla="*/ 1419225 h 1752600"/>
              <a:gd name="connsiteX92" fmla="*/ 2986087 w 3128973"/>
              <a:gd name="connsiteY92" fmla="*/ 1443037 h 1752600"/>
              <a:gd name="connsiteX93" fmla="*/ 3000375 w 3128973"/>
              <a:gd name="connsiteY93" fmla="*/ 1462087 h 1752600"/>
              <a:gd name="connsiteX94" fmla="*/ 3016395 w 3128973"/>
              <a:gd name="connsiteY94" fmla="*/ 1476222 h 1752600"/>
              <a:gd name="connsiteX95" fmla="*/ 3028950 w 3128973"/>
              <a:gd name="connsiteY95" fmla="*/ 1495425 h 1752600"/>
              <a:gd name="connsiteX96" fmla="*/ 3043237 w 3128973"/>
              <a:gd name="connsiteY96" fmla="*/ 1552575 h 1752600"/>
              <a:gd name="connsiteX97" fmla="*/ 3052762 w 3128973"/>
              <a:gd name="connsiteY97" fmla="*/ 1566862 h 1752600"/>
              <a:gd name="connsiteX98" fmla="*/ 3057525 w 3128973"/>
              <a:gd name="connsiteY98" fmla="*/ 1581150 h 1752600"/>
              <a:gd name="connsiteX99" fmla="*/ 3067050 w 3128973"/>
              <a:gd name="connsiteY99" fmla="*/ 1662112 h 1752600"/>
              <a:gd name="connsiteX100" fmla="*/ 3071812 w 3128973"/>
              <a:gd name="connsiteY100" fmla="*/ 1676400 h 1752600"/>
              <a:gd name="connsiteX101" fmla="*/ 3100387 w 3128973"/>
              <a:gd name="connsiteY101" fmla="*/ 1690687 h 1752600"/>
              <a:gd name="connsiteX102" fmla="*/ 3114675 w 3128973"/>
              <a:gd name="connsiteY102" fmla="*/ 1685925 h 1752600"/>
              <a:gd name="connsiteX103" fmla="*/ 3124200 w 3128973"/>
              <a:gd name="connsiteY103" fmla="*/ 1671637 h 1752600"/>
              <a:gd name="connsiteX104" fmla="*/ 3128973 w 3128973"/>
              <a:gd name="connsiteY104" fmla="*/ 1651467 h 1752600"/>
              <a:gd name="connsiteX105" fmla="*/ 3128021 w 3128973"/>
              <a:gd name="connsiteY105" fmla="*/ 1710279 h 1752600"/>
              <a:gd name="connsiteX106" fmla="*/ 3043237 w 3128973"/>
              <a:gd name="connsiteY106" fmla="*/ 1714500 h 1752600"/>
              <a:gd name="connsiteX107" fmla="*/ 3028950 w 3128973"/>
              <a:gd name="connsiteY107" fmla="*/ 1728787 h 1752600"/>
              <a:gd name="connsiteX108" fmla="*/ 2986087 w 3128973"/>
              <a:gd name="connsiteY108" fmla="*/ 1738312 h 1752600"/>
              <a:gd name="connsiteX109" fmla="*/ 2971800 w 3128973"/>
              <a:gd name="connsiteY109" fmla="*/ 1743075 h 1752600"/>
              <a:gd name="connsiteX110" fmla="*/ 2943225 w 3128973"/>
              <a:gd name="connsiteY110" fmla="*/ 1738312 h 1752600"/>
              <a:gd name="connsiteX111" fmla="*/ 2928937 w 3128973"/>
              <a:gd name="connsiteY111" fmla="*/ 1747837 h 1752600"/>
              <a:gd name="connsiteX112" fmla="*/ 2914650 w 3128973"/>
              <a:gd name="connsiteY112" fmla="*/ 1752600 h 1752600"/>
              <a:gd name="connsiteX113" fmla="*/ 2895600 w 3128973"/>
              <a:gd name="connsiteY113" fmla="*/ 1724025 h 1752600"/>
              <a:gd name="connsiteX114" fmla="*/ 2883310 w 3128973"/>
              <a:gd name="connsiteY114" fmla="*/ 1701201 h 1752600"/>
              <a:gd name="connsiteX115" fmla="*/ 2883805 w 3128973"/>
              <a:gd name="connsiteY115" fmla="*/ 1696138 h 1752600"/>
              <a:gd name="connsiteX116" fmla="*/ 2871787 w 3128973"/>
              <a:gd name="connsiteY116" fmla="*/ 1685925 h 1752600"/>
              <a:gd name="connsiteX117" fmla="*/ 2847975 w 3128973"/>
              <a:gd name="connsiteY117" fmla="*/ 1657350 h 1752600"/>
              <a:gd name="connsiteX118" fmla="*/ 2834034 w 3128973"/>
              <a:gd name="connsiteY118" fmla="*/ 1637762 h 1752600"/>
              <a:gd name="connsiteX119" fmla="*/ 2814637 w 3128973"/>
              <a:gd name="connsiteY119" fmla="*/ 1619250 h 1752600"/>
              <a:gd name="connsiteX120" fmla="*/ 2809875 w 3128973"/>
              <a:gd name="connsiteY120" fmla="*/ 1604962 h 1752600"/>
              <a:gd name="connsiteX121" fmla="*/ 2795587 w 3128973"/>
              <a:gd name="connsiteY121" fmla="*/ 1600200 h 1752600"/>
              <a:gd name="connsiteX122" fmla="*/ 2781300 w 3128973"/>
              <a:gd name="connsiteY122" fmla="*/ 1590675 h 1752600"/>
              <a:gd name="connsiteX123" fmla="*/ 2752725 w 3128973"/>
              <a:gd name="connsiteY123" fmla="*/ 1581150 h 1752600"/>
              <a:gd name="connsiteX124" fmla="*/ 2733675 w 3128973"/>
              <a:gd name="connsiteY124" fmla="*/ 1625600 h 1752600"/>
              <a:gd name="connsiteX125" fmla="*/ 2709862 w 3128973"/>
              <a:gd name="connsiteY125" fmla="*/ 1619250 h 1752600"/>
              <a:gd name="connsiteX126" fmla="*/ 2723566 w 3128973"/>
              <a:gd name="connsiteY126" fmla="*/ 1590361 h 1752600"/>
              <a:gd name="connsiteX127" fmla="*/ 2674937 w 3128973"/>
              <a:gd name="connsiteY127" fmla="*/ 1560512 h 1752600"/>
              <a:gd name="connsiteX128" fmla="*/ 2643187 w 3128973"/>
              <a:gd name="connsiteY128" fmla="*/ 1495425 h 1752600"/>
              <a:gd name="connsiteX129" fmla="*/ 2628900 w 3128973"/>
              <a:gd name="connsiteY129" fmla="*/ 1490662 h 1752600"/>
              <a:gd name="connsiteX130" fmla="*/ 2595562 w 3128973"/>
              <a:gd name="connsiteY130" fmla="*/ 1481137 h 1752600"/>
              <a:gd name="connsiteX131" fmla="*/ 2581275 w 3128973"/>
              <a:gd name="connsiteY131" fmla="*/ 1466850 h 1752600"/>
              <a:gd name="connsiteX132" fmla="*/ 2552700 w 3128973"/>
              <a:gd name="connsiteY132" fmla="*/ 1457325 h 1752600"/>
              <a:gd name="connsiteX133" fmla="*/ 2538412 w 3128973"/>
              <a:gd name="connsiteY133" fmla="*/ 1447800 h 1752600"/>
              <a:gd name="connsiteX134" fmla="*/ 2519362 w 3128973"/>
              <a:gd name="connsiteY134" fmla="*/ 1443037 h 1752600"/>
              <a:gd name="connsiteX135" fmla="*/ 2490787 w 3128973"/>
              <a:gd name="connsiteY135" fmla="*/ 1433512 h 1752600"/>
              <a:gd name="connsiteX136" fmla="*/ 2476500 w 3128973"/>
              <a:gd name="connsiteY136" fmla="*/ 1428750 h 1752600"/>
              <a:gd name="connsiteX137" fmla="*/ 2466975 w 3128973"/>
              <a:gd name="connsiteY137" fmla="*/ 1414462 h 1752600"/>
              <a:gd name="connsiteX138" fmla="*/ 2447925 w 3128973"/>
              <a:gd name="connsiteY138" fmla="*/ 1409700 h 1752600"/>
              <a:gd name="connsiteX139" fmla="*/ 2309812 w 3128973"/>
              <a:gd name="connsiteY139" fmla="*/ 1395412 h 1752600"/>
              <a:gd name="connsiteX140" fmla="*/ 2295525 w 3128973"/>
              <a:gd name="connsiteY140" fmla="*/ 1390650 h 1752600"/>
              <a:gd name="connsiteX141" fmla="*/ 2257425 w 3128973"/>
              <a:gd name="connsiteY141" fmla="*/ 1381125 h 1752600"/>
              <a:gd name="connsiteX142" fmla="*/ 2238375 w 3128973"/>
              <a:gd name="connsiteY142" fmla="*/ 1366837 h 1752600"/>
              <a:gd name="connsiteX143" fmla="*/ 2224087 w 3128973"/>
              <a:gd name="connsiteY143" fmla="*/ 1362075 h 1752600"/>
              <a:gd name="connsiteX144" fmla="*/ 2176462 w 3128973"/>
              <a:gd name="connsiteY144" fmla="*/ 1338262 h 1752600"/>
              <a:gd name="connsiteX145" fmla="*/ 2162175 w 3128973"/>
              <a:gd name="connsiteY145" fmla="*/ 1328737 h 1752600"/>
              <a:gd name="connsiteX146" fmla="*/ 2114550 w 3128973"/>
              <a:gd name="connsiteY146" fmla="*/ 1314450 h 1752600"/>
              <a:gd name="connsiteX147" fmla="*/ 2100262 w 3128973"/>
              <a:gd name="connsiteY147" fmla="*/ 1300162 h 1752600"/>
              <a:gd name="connsiteX148" fmla="*/ 2085975 w 3128973"/>
              <a:gd name="connsiteY148" fmla="*/ 1295400 h 1752600"/>
              <a:gd name="connsiteX149" fmla="*/ 2055019 w 3128973"/>
              <a:gd name="connsiteY149" fmla="*/ 1290637 h 1752600"/>
              <a:gd name="connsiteX150" fmla="*/ 2028824 w 3128973"/>
              <a:gd name="connsiteY150" fmla="*/ 1283494 h 1752600"/>
              <a:gd name="connsiteX151" fmla="*/ 2005012 w 3128973"/>
              <a:gd name="connsiteY151" fmla="*/ 1271587 h 1752600"/>
              <a:gd name="connsiteX152" fmla="*/ 1985962 w 3128973"/>
              <a:gd name="connsiteY152" fmla="*/ 1262062 h 1752600"/>
              <a:gd name="connsiteX153" fmla="*/ 1971675 w 3128973"/>
              <a:gd name="connsiteY153" fmla="*/ 1257300 h 1752600"/>
              <a:gd name="connsiteX154" fmla="*/ 1943100 w 3128973"/>
              <a:gd name="connsiteY154" fmla="*/ 1238250 h 1752600"/>
              <a:gd name="connsiteX155" fmla="*/ 1914525 w 3128973"/>
              <a:gd name="connsiteY155" fmla="*/ 1219200 h 1752600"/>
              <a:gd name="connsiteX156" fmla="*/ 1885950 w 3128973"/>
              <a:gd name="connsiteY156" fmla="*/ 1209675 h 1752600"/>
              <a:gd name="connsiteX157" fmla="*/ 1843087 w 3128973"/>
              <a:gd name="connsiteY157" fmla="*/ 1195387 h 1752600"/>
              <a:gd name="connsiteX158" fmla="*/ 1757362 w 3128973"/>
              <a:gd name="connsiteY158" fmla="*/ 1185862 h 1752600"/>
              <a:gd name="connsiteX159" fmla="*/ 1700212 w 3128973"/>
              <a:gd name="connsiteY159" fmla="*/ 1166812 h 1752600"/>
              <a:gd name="connsiteX160" fmla="*/ 1671637 w 3128973"/>
              <a:gd name="connsiteY160" fmla="*/ 1147762 h 1752600"/>
              <a:gd name="connsiteX161" fmla="*/ 1652587 w 3128973"/>
              <a:gd name="connsiteY161" fmla="*/ 1138237 h 1752600"/>
              <a:gd name="connsiteX162" fmla="*/ 1638300 w 3128973"/>
              <a:gd name="connsiteY162" fmla="*/ 1128712 h 1752600"/>
              <a:gd name="connsiteX163" fmla="*/ 1590675 w 3128973"/>
              <a:gd name="connsiteY163" fmla="*/ 1138238 h 1752600"/>
              <a:gd name="connsiteX164" fmla="*/ 1559719 w 3128973"/>
              <a:gd name="connsiteY164" fmla="*/ 1109662 h 1752600"/>
              <a:gd name="connsiteX165" fmla="*/ 1528762 w 3128973"/>
              <a:gd name="connsiteY165" fmla="*/ 1085850 h 1752600"/>
              <a:gd name="connsiteX166" fmla="*/ 1514475 w 3128973"/>
              <a:gd name="connsiteY166" fmla="*/ 1081087 h 1752600"/>
              <a:gd name="connsiteX167" fmla="*/ 1470025 w 3128973"/>
              <a:gd name="connsiteY167" fmla="*/ 1130300 h 1752600"/>
              <a:gd name="connsiteX168" fmla="*/ 1433512 w 3128973"/>
              <a:gd name="connsiteY168" fmla="*/ 1108075 h 1752600"/>
              <a:gd name="connsiteX169" fmla="*/ 1423987 w 3128973"/>
              <a:gd name="connsiteY169" fmla="*/ 1087437 h 1752600"/>
              <a:gd name="connsiteX170" fmla="*/ 1381125 w 3128973"/>
              <a:gd name="connsiteY170" fmla="*/ 1095375 h 1752600"/>
              <a:gd name="connsiteX171" fmla="*/ 1383506 w 3128973"/>
              <a:gd name="connsiteY171" fmla="*/ 1028700 h 1752600"/>
              <a:gd name="connsiteX172" fmla="*/ 1366838 w 3128973"/>
              <a:gd name="connsiteY172" fmla="*/ 1019175 h 1752600"/>
              <a:gd name="connsiteX173" fmla="*/ 1335881 w 3128973"/>
              <a:gd name="connsiteY173" fmla="*/ 1007268 h 1752600"/>
              <a:gd name="connsiteX174" fmla="*/ 1319213 w 3128973"/>
              <a:gd name="connsiteY174" fmla="*/ 1007268 h 1752600"/>
              <a:gd name="connsiteX175" fmla="*/ 1295400 w 3128973"/>
              <a:gd name="connsiteY175" fmla="*/ 976312 h 1752600"/>
              <a:gd name="connsiteX176" fmla="*/ 1281112 w 3128973"/>
              <a:gd name="connsiteY176" fmla="*/ 966787 h 1752600"/>
              <a:gd name="connsiteX177" fmla="*/ 1238250 w 3128973"/>
              <a:gd name="connsiteY177" fmla="*/ 947737 h 1752600"/>
              <a:gd name="connsiteX178" fmla="*/ 1212850 w 3128973"/>
              <a:gd name="connsiteY178" fmla="*/ 995362 h 1752600"/>
              <a:gd name="connsiteX179" fmla="*/ 1201737 w 3128973"/>
              <a:gd name="connsiteY179" fmla="*/ 987425 h 1752600"/>
              <a:gd name="connsiteX180" fmla="*/ 1163637 w 3128973"/>
              <a:gd name="connsiteY180" fmla="*/ 952277 h 1752600"/>
              <a:gd name="connsiteX181" fmla="*/ 1133475 w 3128973"/>
              <a:gd name="connsiteY181" fmla="*/ 925512 h 1752600"/>
              <a:gd name="connsiteX182" fmla="*/ 1085850 w 3128973"/>
              <a:gd name="connsiteY182" fmla="*/ 859631 h 1752600"/>
              <a:gd name="connsiteX183" fmla="*/ 1071562 w 3128973"/>
              <a:gd name="connsiteY183" fmla="*/ 842962 h 1752600"/>
              <a:gd name="connsiteX184" fmla="*/ 1047750 w 3128973"/>
              <a:gd name="connsiteY184" fmla="*/ 819150 h 1752600"/>
              <a:gd name="connsiteX185" fmla="*/ 1028700 w 3128973"/>
              <a:gd name="connsiteY185" fmla="*/ 804862 h 1752600"/>
              <a:gd name="connsiteX186" fmla="*/ 1018076 w 3128973"/>
              <a:gd name="connsiteY186" fmla="*/ 794816 h 1752600"/>
              <a:gd name="connsiteX187" fmla="*/ 1000125 w 3128973"/>
              <a:gd name="connsiteY187" fmla="*/ 785812 h 1752600"/>
              <a:gd name="connsiteX188" fmla="*/ 984342 w 3128973"/>
              <a:gd name="connsiteY188" fmla="*/ 773578 h 1752600"/>
              <a:gd name="connsiteX189" fmla="*/ 957262 w 3128973"/>
              <a:gd name="connsiteY189" fmla="*/ 766762 h 1752600"/>
              <a:gd name="connsiteX190" fmla="*/ 938212 w 3128973"/>
              <a:gd name="connsiteY190" fmla="*/ 757237 h 1752600"/>
              <a:gd name="connsiteX191" fmla="*/ 904875 w 3128973"/>
              <a:gd name="connsiteY191" fmla="*/ 747712 h 1752600"/>
              <a:gd name="connsiteX192" fmla="*/ 862012 w 3128973"/>
              <a:gd name="connsiteY192" fmla="*/ 723900 h 1752600"/>
              <a:gd name="connsiteX193" fmla="*/ 795337 w 3128973"/>
              <a:gd name="connsiteY193" fmla="*/ 685800 h 1752600"/>
              <a:gd name="connsiteX194" fmla="*/ 776287 w 3128973"/>
              <a:gd name="connsiteY194" fmla="*/ 666750 h 1752600"/>
              <a:gd name="connsiteX195" fmla="*/ 762000 w 3128973"/>
              <a:gd name="connsiteY195" fmla="*/ 661987 h 1752600"/>
              <a:gd name="connsiteX196" fmla="*/ 742950 w 3128973"/>
              <a:gd name="connsiteY196" fmla="*/ 647700 h 1752600"/>
              <a:gd name="connsiteX197" fmla="*/ 709612 w 3128973"/>
              <a:gd name="connsiteY197" fmla="*/ 638175 h 1752600"/>
              <a:gd name="connsiteX198" fmla="*/ 695325 w 3128973"/>
              <a:gd name="connsiteY198" fmla="*/ 628650 h 1752600"/>
              <a:gd name="connsiteX199" fmla="*/ 681037 w 3128973"/>
              <a:gd name="connsiteY199" fmla="*/ 623887 h 1752600"/>
              <a:gd name="connsiteX200" fmla="*/ 676275 w 3128973"/>
              <a:gd name="connsiteY200" fmla="*/ 604837 h 1752600"/>
              <a:gd name="connsiteX201" fmla="*/ 666750 w 3128973"/>
              <a:gd name="connsiteY201" fmla="*/ 576262 h 1752600"/>
              <a:gd name="connsiteX202" fmla="*/ 661987 w 3128973"/>
              <a:gd name="connsiteY202" fmla="*/ 561975 h 1752600"/>
              <a:gd name="connsiteX203" fmla="*/ 666750 w 3128973"/>
              <a:gd name="connsiteY203" fmla="*/ 538162 h 1752600"/>
              <a:gd name="connsiteX204" fmla="*/ 638175 w 3128973"/>
              <a:gd name="connsiteY204" fmla="*/ 514350 h 1752600"/>
              <a:gd name="connsiteX205" fmla="*/ 619125 w 3128973"/>
              <a:gd name="connsiteY205" fmla="*/ 500062 h 1752600"/>
              <a:gd name="connsiteX206" fmla="*/ 576262 w 3128973"/>
              <a:gd name="connsiteY206" fmla="*/ 490537 h 1752600"/>
              <a:gd name="connsiteX207" fmla="*/ 542925 w 3128973"/>
              <a:gd name="connsiteY207" fmla="*/ 452437 h 1752600"/>
              <a:gd name="connsiteX208" fmla="*/ 525462 w 3128973"/>
              <a:gd name="connsiteY208" fmla="*/ 485775 h 1752600"/>
              <a:gd name="connsiteX209" fmla="*/ 504825 w 3128973"/>
              <a:gd name="connsiteY209" fmla="*/ 466725 h 1752600"/>
              <a:gd name="connsiteX210" fmla="*/ 454025 w 3128973"/>
              <a:gd name="connsiteY210" fmla="*/ 466725 h 1752600"/>
              <a:gd name="connsiteX211" fmla="*/ 407987 w 3128973"/>
              <a:gd name="connsiteY211" fmla="*/ 473075 h 1752600"/>
              <a:gd name="connsiteX212" fmla="*/ 395287 w 3128973"/>
              <a:gd name="connsiteY212" fmla="*/ 409575 h 1752600"/>
              <a:gd name="connsiteX213" fmla="*/ 376237 w 3128973"/>
              <a:gd name="connsiteY213" fmla="*/ 404812 h 1752600"/>
              <a:gd name="connsiteX214" fmla="*/ 342900 w 3128973"/>
              <a:gd name="connsiteY214" fmla="*/ 400050 h 1752600"/>
              <a:gd name="connsiteX215" fmla="*/ 314325 w 3128973"/>
              <a:gd name="connsiteY215" fmla="*/ 390525 h 1752600"/>
              <a:gd name="connsiteX216" fmla="*/ 273844 w 3128973"/>
              <a:gd name="connsiteY216" fmla="*/ 383382 h 1752600"/>
              <a:gd name="connsiteX217" fmla="*/ 257175 w 3128973"/>
              <a:gd name="connsiteY217" fmla="*/ 371475 h 1752600"/>
              <a:gd name="connsiteX218" fmla="*/ 245269 w 3128973"/>
              <a:gd name="connsiteY218" fmla="*/ 364331 h 1752600"/>
              <a:gd name="connsiteX219" fmla="*/ 223837 w 3128973"/>
              <a:gd name="connsiteY219" fmla="*/ 347662 h 1752600"/>
              <a:gd name="connsiteX220" fmla="*/ 190500 w 3128973"/>
              <a:gd name="connsiteY220" fmla="*/ 338137 h 1752600"/>
              <a:gd name="connsiteX221" fmla="*/ 147637 w 3128973"/>
              <a:gd name="connsiteY221" fmla="*/ 333375 h 1752600"/>
              <a:gd name="connsiteX222" fmla="*/ 119062 w 3128973"/>
              <a:gd name="connsiteY222" fmla="*/ 323850 h 1752600"/>
              <a:gd name="connsiteX223" fmla="*/ 104775 w 3128973"/>
              <a:gd name="connsiteY223" fmla="*/ 319087 h 1752600"/>
              <a:gd name="connsiteX224" fmla="*/ 61912 w 3128973"/>
              <a:gd name="connsiteY224" fmla="*/ 300037 h 1752600"/>
              <a:gd name="connsiteX225" fmla="*/ 23812 w 3128973"/>
              <a:gd name="connsiteY225" fmla="*/ 290512 h 1752600"/>
              <a:gd name="connsiteX226" fmla="*/ 9525 w 3128973"/>
              <a:gd name="connsiteY226" fmla="*/ 261937 h 1752600"/>
              <a:gd name="connsiteX227" fmla="*/ 0 w 3128973"/>
              <a:gd name="connsiteY227" fmla="*/ 290512 h 1752600"/>
              <a:gd name="connsiteX228" fmla="*/ 4762 w 3128973"/>
              <a:gd name="connsiteY228" fmla="*/ 247650 h 1752600"/>
              <a:gd name="connsiteX229" fmla="*/ 19050 w 3128973"/>
              <a:gd name="connsiteY229" fmla="*/ 200025 h 1752600"/>
              <a:gd name="connsiteX230" fmla="*/ 23812 w 3128973"/>
              <a:gd name="connsiteY230" fmla="*/ 185737 h 1752600"/>
              <a:gd name="connsiteX231" fmla="*/ 71437 w 3128973"/>
              <a:gd name="connsiteY231" fmla="*/ 171450 h 1752600"/>
              <a:gd name="connsiteX232" fmla="*/ 85725 w 3128973"/>
              <a:gd name="connsiteY232" fmla="*/ 166687 h 1752600"/>
              <a:gd name="connsiteX233" fmla="*/ 100012 w 3128973"/>
              <a:gd name="connsiteY233" fmla="*/ 161925 h 1752600"/>
              <a:gd name="connsiteX234" fmla="*/ 114300 w 3128973"/>
              <a:gd name="connsiteY234" fmla="*/ 152400 h 1752600"/>
              <a:gd name="connsiteX235" fmla="*/ 133350 w 3128973"/>
              <a:gd name="connsiteY235" fmla="*/ 123825 h 1752600"/>
              <a:gd name="connsiteX236" fmla="*/ 138112 w 3128973"/>
              <a:gd name="connsiteY236" fmla="*/ 109537 h 1752600"/>
              <a:gd name="connsiteX237" fmla="*/ 135467 w 3128973"/>
              <a:gd name="connsiteY237" fmla="*/ 97059 h 1752600"/>
              <a:gd name="connsiteX238" fmla="*/ 142875 w 3128973"/>
              <a:gd name="connsiteY238" fmla="*/ 71437 h 1752600"/>
              <a:gd name="connsiteX239" fmla="*/ 157162 w 3128973"/>
              <a:gd name="connsiteY239" fmla="*/ 57150 h 1752600"/>
              <a:gd name="connsiteX240" fmla="*/ 200025 w 3128973"/>
              <a:gd name="connsiteY240" fmla="*/ 33337 h 1752600"/>
              <a:gd name="connsiteX241" fmla="*/ 309562 w 3128973"/>
              <a:gd name="connsiteY241" fmla="*/ 28575 h 1752600"/>
              <a:gd name="connsiteX242" fmla="*/ 400050 w 3128973"/>
              <a:gd name="connsiteY242" fmla="*/ 14287 h 1752600"/>
              <a:gd name="connsiteX243" fmla="*/ 414337 w 3128973"/>
              <a:gd name="connsiteY243" fmla="*/ 9525 h 1752600"/>
              <a:gd name="connsiteX244" fmla="*/ 481012 w 3128973"/>
              <a:gd name="connsiteY244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681287 w 3128973"/>
              <a:gd name="connsiteY31" fmla="*/ 218614 h 1752600"/>
              <a:gd name="connsiteX32" fmla="*/ 2678905 w 3128973"/>
              <a:gd name="connsiteY32" fmla="*/ 232782 h 1752600"/>
              <a:gd name="connsiteX33" fmla="*/ 2046801 w 3128973"/>
              <a:gd name="connsiteY33" fmla="*/ 262295 h 1752600"/>
              <a:gd name="connsiteX34" fmla="*/ 2033587 w 3128973"/>
              <a:gd name="connsiteY34" fmla="*/ 266700 h 1752600"/>
              <a:gd name="connsiteX35" fmla="*/ 2019300 w 3128973"/>
              <a:gd name="connsiteY35" fmla="*/ 280987 h 1752600"/>
              <a:gd name="connsiteX36" fmla="*/ 1990725 w 3128973"/>
              <a:gd name="connsiteY36" fmla="*/ 300037 h 1752600"/>
              <a:gd name="connsiteX37" fmla="*/ 1981200 w 3128973"/>
              <a:gd name="connsiteY37" fmla="*/ 314325 h 1752600"/>
              <a:gd name="connsiteX38" fmla="*/ 1981200 w 3128973"/>
              <a:gd name="connsiteY38" fmla="*/ 419100 h 1752600"/>
              <a:gd name="connsiteX39" fmla="*/ 1985962 w 3128973"/>
              <a:gd name="connsiteY39" fmla="*/ 433387 h 1752600"/>
              <a:gd name="connsiteX40" fmla="*/ 2000250 w 3128973"/>
              <a:gd name="connsiteY40" fmla="*/ 442912 h 1752600"/>
              <a:gd name="connsiteX41" fmla="*/ 2005012 w 3128973"/>
              <a:gd name="connsiteY41" fmla="*/ 457200 h 1752600"/>
              <a:gd name="connsiteX42" fmla="*/ 2005012 w 3128973"/>
              <a:gd name="connsiteY42" fmla="*/ 561975 h 1752600"/>
              <a:gd name="connsiteX43" fmla="*/ 2009775 w 3128973"/>
              <a:gd name="connsiteY43" fmla="*/ 576262 h 1752600"/>
              <a:gd name="connsiteX44" fmla="*/ 2024062 w 3128973"/>
              <a:gd name="connsiteY44" fmla="*/ 581025 h 1752600"/>
              <a:gd name="connsiteX45" fmla="*/ 2038350 w 3128973"/>
              <a:gd name="connsiteY45" fmla="*/ 595312 h 1752600"/>
              <a:gd name="connsiteX46" fmla="*/ 2052637 w 3128973"/>
              <a:gd name="connsiteY46" fmla="*/ 600075 h 1752600"/>
              <a:gd name="connsiteX47" fmla="*/ 2133600 w 3128973"/>
              <a:gd name="connsiteY47" fmla="*/ 590550 h 1752600"/>
              <a:gd name="connsiteX48" fmla="*/ 2147887 w 3128973"/>
              <a:gd name="connsiteY48" fmla="*/ 585787 h 1752600"/>
              <a:gd name="connsiteX49" fmla="*/ 2195512 w 3128973"/>
              <a:gd name="connsiteY49" fmla="*/ 600075 h 1752600"/>
              <a:gd name="connsiteX50" fmla="*/ 2205037 w 3128973"/>
              <a:gd name="connsiteY50" fmla="*/ 614362 h 1752600"/>
              <a:gd name="connsiteX51" fmla="*/ 2219325 w 3128973"/>
              <a:gd name="connsiteY51" fmla="*/ 628650 h 1752600"/>
              <a:gd name="connsiteX52" fmla="*/ 2224087 w 3128973"/>
              <a:gd name="connsiteY52" fmla="*/ 642937 h 1752600"/>
              <a:gd name="connsiteX53" fmla="*/ 2233612 w 3128973"/>
              <a:gd name="connsiteY53" fmla="*/ 657225 h 1752600"/>
              <a:gd name="connsiteX54" fmla="*/ 2247900 w 3128973"/>
              <a:gd name="connsiteY54" fmla="*/ 685800 h 1752600"/>
              <a:gd name="connsiteX55" fmla="*/ 2262187 w 3128973"/>
              <a:gd name="connsiteY55" fmla="*/ 733425 h 1752600"/>
              <a:gd name="connsiteX56" fmla="*/ 2305050 w 3128973"/>
              <a:gd name="connsiteY56" fmla="*/ 771525 h 1752600"/>
              <a:gd name="connsiteX57" fmla="*/ 2319337 w 3128973"/>
              <a:gd name="connsiteY57" fmla="*/ 804862 h 1752600"/>
              <a:gd name="connsiteX58" fmla="*/ 2333625 w 3128973"/>
              <a:gd name="connsiteY58" fmla="*/ 819150 h 1752600"/>
              <a:gd name="connsiteX59" fmla="*/ 2338387 w 3128973"/>
              <a:gd name="connsiteY59" fmla="*/ 833437 h 1752600"/>
              <a:gd name="connsiteX60" fmla="*/ 2352675 w 3128973"/>
              <a:gd name="connsiteY60" fmla="*/ 847725 h 1752600"/>
              <a:gd name="connsiteX61" fmla="*/ 2395537 w 3128973"/>
              <a:gd name="connsiteY61" fmla="*/ 871537 h 1752600"/>
              <a:gd name="connsiteX62" fmla="*/ 2409825 w 3128973"/>
              <a:gd name="connsiteY62" fmla="*/ 890587 h 1752600"/>
              <a:gd name="connsiteX63" fmla="*/ 2424112 w 3128973"/>
              <a:gd name="connsiteY63" fmla="*/ 895350 h 1752600"/>
              <a:gd name="connsiteX64" fmla="*/ 2433637 w 3128973"/>
              <a:gd name="connsiteY64" fmla="*/ 914400 h 1752600"/>
              <a:gd name="connsiteX65" fmla="*/ 2466975 w 3128973"/>
              <a:gd name="connsiteY65" fmla="*/ 942975 h 1752600"/>
              <a:gd name="connsiteX66" fmla="*/ 2474637 w 3128973"/>
              <a:gd name="connsiteY66" fmla="*/ 954728 h 1752600"/>
              <a:gd name="connsiteX67" fmla="*/ 2495550 w 3128973"/>
              <a:gd name="connsiteY67" fmla="*/ 971550 h 1752600"/>
              <a:gd name="connsiteX68" fmla="*/ 2508776 w 3128973"/>
              <a:gd name="connsiteY68" fmla="*/ 983894 h 1752600"/>
              <a:gd name="connsiteX69" fmla="*/ 2533650 w 3128973"/>
              <a:gd name="connsiteY69" fmla="*/ 1000125 h 1752600"/>
              <a:gd name="connsiteX70" fmla="*/ 2547937 w 3128973"/>
              <a:gd name="connsiteY70" fmla="*/ 1028700 h 1752600"/>
              <a:gd name="connsiteX71" fmla="*/ 2552700 w 3128973"/>
              <a:gd name="connsiteY71" fmla="*/ 1042987 h 1752600"/>
              <a:gd name="connsiteX72" fmla="*/ 2576512 w 3128973"/>
              <a:gd name="connsiteY72" fmla="*/ 1071562 h 1752600"/>
              <a:gd name="connsiteX73" fmla="*/ 2584921 w 3128973"/>
              <a:gd name="connsiteY73" fmla="*/ 1082873 h 1752600"/>
              <a:gd name="connsiteX74" fmla="*/ 2600325 w 3128973"/>
              <a:gd name="connsiteY74" fmla="*/ 1095375 h 1752600"/>
              <a:gd name="connsiteX75" fmla="*/ 2609850 w 3128973"/>
              <a:gd name="connsiteY75" fmla="*/ 1109662 h 1752600"/>
              <a:gd name="connsiteX76" fmla="*/ 2652712 w 3128973"/>
              <a:gd name="connsiteY76" fmla="*/ 1143000 h 1752600"/>
              <a:gd name="connsiteX77" fmla="*/ 2681287 w 3128973"/>
              <a:gd name="connsiteY77" fmla="*/ 1152525 h 1752600"/>
              <a:gd name="connsiteX78" fmla="*/ 2700337 w 3128973"/>
              <a:gd name="connsiteY78" fmla="*/ 1162050 h 1752600"/>
              <a:gd name="connsiteX79" fmla="*/ 2714625 w 3128973"/>
              <a:gd name="connsiteY79" fmla="*/ 1171575 h 1752600"/>
              <a:gd name="connsiteX80" fmla="*/ 2752725 w 3128973"/>
              <a:gd name="connsiteY80" fmla="*/ 1181100 h 1752600"/>
              <a:gd name="connsiteX81" fmla="*/ 2767012 w 3128973"/>
              <a:gd name="connsiteY81" fmla="*/ 1195387 h 1752600"/>
              <a:gd name="connsiteX82" fmla="*/ 2781300 w 3128973"/>
              <a:gd name="connsiteY82" fmla="*/ 1200150 h 1752600"/>
              <a:gd name="connsiteX83" fmla="*/ 2795587 w 3128973"/>
              <a:gd name="connsiteY83" fmla="*/ 1209675 h 1752600"/>
              <a:gd name="connsiteX84" fmla="*/ 2805112 w 3128973"/>
              <a:gd name="connsiteY84" fmla="*/ 1223962 h 1752600"/>
              <a:gd name="connsiteX85" fmla="*/ 2809875 w 3128973"/>
              <a:gd name="connsiteY85" fmla="*/ 1238250 h 1752600"/>
              <a:gd name="connsiteX86" fmla="*/ 2833687 w 3128973"/>
              <a:gd name="connsiteY86" fmla="*/ 1276350 h 1752600"/>
              <a:gd name="connsiteX87" fmla="*/ 2895600 w 3128973"/>
              <a:gd name="connsiteY87" fmla="*/ 1333500 h 1752600"/>
              <a:gd name="connsiteX88" fmla="*/ 2900362 w 3128973"/>
              <a:gd name="connsiteY88" fmla="*/ 1352550 h 1752600"/>
              <a:gd name="connsiteX89" fmla="*/ 2928937 w 3128973"/>
              <a:gd name="connsiteY89" fmla="*/ 1395412 h 1752600"/>
              <a:gd name="connsiteX90" fmla="*/ 2943225 w 3128973"/>
              <a:gd name="connsiteY90" fmla="*/ 1404937 h 1752600"/>
              <a:gd name="connsiteX91" fmla="*/ 2957512 w 3128973"/>
              <a:gd name="connsiteY91" fmla="*/ 1419225 h 1752600"/>
              <a:gd name="connsiteX92" fmla="*/ 2986087 w 3128973"/>
              <a:gd name="connsiteY92" fmla="*/ 1443037 h 1752600"/>
              <a:gd name="connsiteX93" fmla="*/ 3000375 w 3128973"/>
              <a:gd name="connsiteY93" fmla="*/ 1462087 h 1752600"/>
              <a:gd name="connsiteX94" fmla="*/ 3016395 w 3128973"/>
              <a:gd name="connsiteY94" fmla="*/ 1476222 h 1752600"/>
              <a:gd name="connsiteX95" fmla="*/ 3028950 w 3128973"/>
              <a:gd name="connsiteY95" fmla="*/ 1495425 h 1752600"/>
              <a:gd name="connsiteX96" fmla="*/ 3043237 w 3128973"/>
              <a:gd name="connsiteY96" fmla="*/ 1552575 h 1752600"/>
              <a:gd name="connsiteX97" fmla="*/ 3052762 w 3128973"/>
              <a:gd name="connsiteY97" fmla="*/ 1566862 h 1752600"/>
              <a:gd name="connsiteX98" fmla="*/ 3057525 w 3128973"/>
              <a:gd name="connsiteY98" fmla="*/ 1581150 h 1752600"/>
              <a:gd name="connsiteX99" fmla="*/ 3067050 w 3128973"/>
              <a:gd name="connsiteY99" fmla="*/ 1662112 h 1752600"/>
              <a:gd name="connsiteX100" fmla="*/ 3071812 w 3128973"/>
              <a:gd name="connsiteY100" fmla="*/ 1676400 h 1752600"/>
              <a:gd name="connsiteX101" fmla="*/ 3100387 w 3128973"/>
              <a:gd name="connsiteY101" fmla="*/ 1690687 h 1752600"/>
              <a:gd name="connsiteX102" fmla="*/ 3114675 w 3128973"/>
              <a:gd name="connsiteY102" fmla="*/ 1685925 h 1752600"/>
              <a:gd name="connsiteX103" fmla="*/ 3124200 w 3128973"/>
              <a:gd name="connsiteY103" fmla="*/ 1671637 h 1752600"/>
              <a:gd name="connsiteX104" fmla="*/ 3128973 w 3128973"/>
              <a:gd name="connsiteY104" fmla="*/ 1651467 h 1752600"/>
              <a:gd name="connsiteX105" fmla="*/ 3128021 w 3128973"/>
              <a:gd name="connsiteY105" fmla="*/ 1710279 h 1752600"/>
              <a:gd name="connsiteX106" fmla="*/ 3043237 w 3128973"/>
              <a:gd name="connsiteY106" fmla="*/ 1714500 h 1752600"/>
              <a:gd name="connsiteX107" fmla="*/ 3028950 w 3128973"/>
              <a:gd name="connsiteY107" fmla="*/ 1728787 h 1752600"/>
              <a:gd name="connsiteX108" fmla="*/ 2986087 w 3128973"/>
              <a:gd name="connsiteY108" fmla="*/ 1738312 h 1752600"/>
              <a:gd name="connsiteX109" fmla="*/ 2971800 w 3128973"/>
              <a:gd name="connsiteY109" fmla="*/ 1743075 h 1752600"/>
              <a:gd name="connsiteX110" fmla="*/ 2943225 w 3128973"/>
              <a:gd name="connsiteY110" fmla="*/ 1738312 h 1752600"/>
              <a:gd name="connsiteX111" fmla="*/ 2928937 w 3128973"/>
              <a:gd name="connsiteY111" fmla="*/ 1747837 h 1752600"/>
              <a:gd name="connsiteX112" fmla="*/ 2914650 w 3128973"/>
              <a:gd name="connsiteY112" fmla="*/ 1752600 h 1752600"/>
              <a:gd name="connsiteX113" fmla="*/ 2895600 w 3128973"/>
              <a:gd name="connsiteY113" fmla="*/ 1724025 h 1752600"/>
              <a:gd name="connsiteX114" fmla="*/ 2883310 w 3128973"/>
              <a:gd name="connsiteY114" fmla="*/ 1701201 h 1752600"/>
              <a:gd name="connsiteX115" fmla="*/ 2883805 w 3128973"/>
              <a:gd name="connsiteY115" fmla="*/ 1696138 h 1752600"/>
              <a:gd name="connsiteX116" fmla="*/ 2871787 w 3128973"/>
              <a:gd name="connsiteY116" fmla="*/ 1685925 h 1752600"/>
              <a:gd name="connsiteX117" fmla="*/ 2847975 w 3128973"/>
              <a:gd name="connsiteY117" fmla="*/ 1657350 h 1752600"/>
              <a:gd name="connsiteX118" fmla="*/ 2834034 w 3128973"/>
              <a:gd name="connsiteY118" fmla="*/ 1637762 h 1752600"/>
              <a:gd name="connsiteX119" fmla="*/ 2814637 w 3128973"/>
              <a:gd name="connsiteY119" fmla="*/ 1619250 h 1752600"/>
              <a:gd name="connsiteX120" fmla="*/ 2809875 w 3128973"/>
              <a:gd name="connsiteY120" fmla="*/ 1604962 h 1752600"/>
              <a:gd name="connsiteX121" fmla="*/ 2795587 w 3128973"/>
              <a:gd name="connsiteY121" fmla="*/ 1600200 h 1752600"/>
              <a:gd name="connsiteX122" fmla="*/ 2781300 w 3128973"/>
              <a:gd name="connsiteY122" fmla="*/ 1590675 h 1752600"/>
              <a:gd name="connsiteX123" fmla="*/ 2752725 w 3128973"/>
              <a:gd name="connsiteY123" fmla="*/ 1581150 h 1752600"/>
              <a:gd name="connsiteX124" fmla="*/ 2733675 w 3128973"/>
              <a:gd name="connsiteY124" fmla="*/ 1625600 h 1752600"/>
              <a:gd name="connsiteX125" fmla="*/ 2709862 w 3128973"/>
              <a:gd name="connsiteY125" fmla="*/ 1619250 h 1752600"/>
              <a:gd name="connsiteX126" fmla="*/ 2723566 w 3128973"/>
              <a:gd name="connsiteY126" fmla="*/ 1590361 h 1752600"/>
              <a:gd name="connsiteX127" fmla="*/ 2674937 w 3128973"/>
              <a:gd name="connsiteY127" fmla="*/ 1560512 h 1752600"/>
              <a:gd name="connsiteX128" fmla="*/ 2643187 w 3128973"/>
              <a:gd name="connsiteY128" fmla="*/ 1495425 h 1752600"/>
              <a:gd name="connsiteX129" fmla="*/ 2628900 w 3128973"/>
              <a:gd name="connsiteY129" fmla="*/ 1490662 h 1752600"/>
              <a:gd name="connsiteX130" fmla="*/ 2595562 w 3128973"/>
              <a:gd name="connsiteY130" fmla="*/ 1481137 h 1752600"/>
              <a:gd name="connsiteX131" fmla="*/ 2581275 w 3128973"/>
              <a:gd name="connsiteY131" fmla="*/ 1466850 h 1752600"/>
              <a:gd name="connsiteX132" fmla="*/ 2552700 w 3128973"/>
              <a:gd name="connsiteY132" fmla="*/ 1457325 h 1752600"/>
              <a:gd name="connsiteX133" fmla="*/ 2538412 w 3128973"/>
              <a:gd name="connsiteY133" fmla="*/ 1447800 h 1752600"/>
              <a:gd name="connsiteX134" fmla="*/ 2519362 w 3128973"/>
              <a:gd name="connsiteY134" fmla="*/ 1443037 h 1752600"/>
              <a:gd name="connsiteX135" fmla="*/ 2490787 w 3128973"/>
              <a:gd name="connsiteY135" fmla="*/ 1433512 h 1752600"/>
              <a:gd name="connsiteX136" fmla="*/ 2476500 w 3128973"/>
              <a:gd name="connsiteY136" fmla="*/ 1428750 h 1752600"/>
              <a:gd name="connsiteX137" fmla="*/ 2466975 w 3128973"/>
              <a:gd name="connsiteY137" fmla="*/ 1414462 h 1752600"/>
              <a:gd name="connsiteX138" fmla="*/ 2447925 w 3128973"/>
              <a:gd name="connsiteY138" fmla="*/ 1409700 h 1752600"/>
              <a:gd name="connsiteX139" fmla="*/ 2309812 w 3128973"/>
              <a:gd name="connsiteY139" fmla="*/ 1395412 h 1752600"/>
              <a:gd name="connsiteX140" fmla="*/ 2295525 w 3128973"/>
              <a:gd name="connsiteY140" fmla="*/ 1390650 h 1752600"/>
              <a:gd name="connsiteX141" fmla="*/ 2257425 w 3128973"/>
              <a:gd name="connsiteY141" fmla="*/ 1381125 h 1752600"/>
              <a:gd name="connsiteX142" fmla="*/ 2238375 w 3128973"/>
              <a:gd name="connsiteY142" fmla="*/ 1366837 h 1752600"/>
              <a:gd name="connsiteX143" fmla="*/ 2224087 w 3128973"/>
              <a:gd name="connsiteY143" fmla="*/ 1362075 h 1752600"/>
              <a:gd name="connsiteX144" fmla="*/ 2176462 w 3128973"/>
              <a:gd name="connsiteY144" fmla="*/ 1338262 h 1752600"/>
              <a:gd name="connsiteX145" fmla="*/ 2162175 w 3128973"/>
              <a:gd name="connsiteY145" fmla="*/ 1328737 h 1752600"/>
              <a:gd name="connsiteX146" fmla="*/ 2114550 w 3128973"/>
              <a:gd name="connsiteY146" fmla="*/ 1314450 h 1752600"/>
              <a:gd name="connsiteX147" fmla="*/ 2100262 w 3128973"/>
              <a:gd name="connsiteY147" fmla="*/ 1300162 h 1752600"/>
              <a:gd name="connsiteX148" fmla="*/ 2085975 w 3128973"/>
              <a:gd name="connsiteY148" fmla="*/ 1295400 h 1752600"/>
              <a:gd name="connsiteX149" fmla="*/ 2055019 w 3128973"/>
              <a:gd name="connsiteY149" fmla="*/ 1290637 h 1752600"/>
              <a:gd name="connsiteX150" fmla="*/ 2028824 w 3128973"/>
              <a:gd name="connsiteY150" fmla="*/ 1283494 h 1752600"/>
              <a:gd name="connsiteX151" fmla="*/ 2005012 w 3128973"/>
              <a:gd name="connsiteY151" fmla="*/ 1271587 h 1752600"/>
              <a:gd name="connsiteX152" fmla="*/ 1985962 w 3128973"/>
              <a:gd name="connsiteY152" fmla="*/ 1262062 h 1752600"/>
              <a:gd name="connsiteX153" fmla="*/ 1971675 w 3128973"/>
              <a:gd name="connsiteY153" fmla="*/ 1257300 h 1752600"/>
              <a:gd name="connsiteX154" fmla="*/ 1943100 w 3128973"/>
              <a:gd name="connsiteY154" fmla="*/ 1238250 h 1752600"/>
              <a:gd name="connsiteX155" fmla="*/ 1914525 w 3128973"/>
              <a:gd name="connsiteY155" fmla="*/ 1219200 h 1752600"/>
              <a:gd name="connsiteX156" fmla="*/ 1885950 w 3128973"/>
              <a:gd name="connsiteY156" fmla="*/ 1209675 h 1752600"/>
              <a:gd name="connsiteX157" fmla="*/ 1843087 w 3128973"/>
              <a:gd name="connsiteY157" fmla="*/ 1195387 h 1752600"/>
              <a:gd name="connsiteX158" fmla="*/ 1757362 w 3128973"/>
              <a:gd name="connsiteY158" fmla="*/ 1185862 h 1752600"/>
              <a:gd name="connsiteX159" fmla="*/ 1700212 w 3128973"/>
              <a:gd name="connsiteY159" fmla="*/ 1166812 h 1752600"/>
              <a:gd name="connsiteX160" fmla="*/ 1671637 w 3128973"/>
              <a:gd name="connsiteY160" fmla="*/ 1147762 h 1752600"/>
              <a:gd name="connsiteX161" fmla="*/ 1652587 w 3128973"/>
              <a:gd name="connsiteY161" fmla="*/ 1138237 h 1752600"/>
              <a:gd name="connsiteX162" fmla="*/ 1638300 w 3128973"/>
              <a:gd name="connsiteY162" fmla="*/ 1128712 h 1752600"/>
              <a:gd name="connsiteX163" fmla="*/ 1590675 w 3128973"/>
              <a:gd name="connsiteY163" fmla="*/ 1138238 h 1752600"/>
              <a:gd name="connsiteX164" fmla="*/ 1559719 w 3128973"/>
              <a:gd name="connsiteY164" fmla="*/ 1109662 h 1752600"/>
              <a:gd name="connsiteX165" fmla="*/ 1528762 w 3128973"/>
              <a:gd name="connsiteY165" fmla="*/ 1085850 h 1752600"/>
              <a:gd name="connsiteX166" fmla="*/ 1514475 w 3128973"/>
              <a:gd name="connsiteY166" fmla="*/ 1081087 h 1752600"/>
              <a:gd name="connsiteX167" fmla="*/ 1470025 w 3128973"/>
              <a:gd name="connsiteY167" fmla="*/ 1130300 h 1752600"/>
              <a:gd name="connsiteX168" fmla="*/ 1433512 w 3128973"/>
              <a:gd name="connsiteY168" fmla="*/ 1108075 h 1752600"/>
              <a:gd name="connsiteX169" fmla="*/ 1423987 w 3128973"/>
              <a:gd name="connsiteY169" fmla="*/ 1087437 h 1752600"/>
              <a:gd name="connsiteX170" fmla="*/ 1381125 w 3128973"/>
              <a:gd name="connsiteY170" fmla="*/ 1095375 h 1752600"/>
              <a:gd name="connsiteX171" fmla="*/ 1383506 w 3128973"/>
              <a:gd name="connsiteY171" fmla="*/ 1028700 h 1752600"/>
              <a:gd name="connsiteX172" fmla="*/ 1366838 w 3128973"/>
              <a:gd name="connsiteY172" fmla="*/ 1019175 h 1752600"/>
              <a:gd name="connsiteX173" fmla="*/ 1335881 w 3128973"/>
              <a:gd name="connsiteY173" fmla="*/ 1007268 h 1752600"/>
              <a:gd name="connsiteX174" fmla="*/ 1319213 w 3128973"/>
              <a:gd name="connsiteY174" fmla="*/ 1007268 h 1752600"/>
              <a:gd name="connsiteX175" fmla="*/ 1295400 w 3128973"/>
              <a:gd name="connsiteY175" fmla="*/ 976312 h 1752600"/>
              <a:gd name="connsiteX176" fmla="*/ 1281112 w 3128973"/>
              <a:gd name="connsiteY176" fmla="*/ 966787 h 1752600"/>
              <a:gd name="connsiteX177" fmla="*/ 1238250 w 3128973"/>
              <a:gd name="connsiteY177" fmla="*/ 947737 h 1752600"/>
              <a:gd name="connsiteX178" fmla="*/ 1212850 w 3128973"/>
              <a:gd name="connsiteY178" fmla="*/ 995362 h 1752600"/>
              <a:gd name="connsiteX179" fmla="*/ 1201737 w 3128973"/>
              <a:gd name="connsiteY179" fmla="*/ 987425 h 1752600"/>
              <a:gd name="connsiteX180" fmla="*/ 1163637 w 3128973"/>
              <a:gd name="connsiteY180" fmla="*/ 952277 h 1752600"/>
              <a:gd name="connsiteX181" fmla="*/ 1133475 w 3128973"/>
              <a:gd name="connsiteY181" fmla="*/ 925512 h 1752600"/>
              <a:gd name="connsiteX182" fmla="*/ 1085850 w 3128973"/>
              <a:gd name="connsiteY182" fmla="*/ 859631 h 1752600"/>
              <a:gd name="connsiteX183" fmla="*/ 1071562 w 3128973"/>
              <a:gd name="connsiteY183" fmla="*/ 842962 h 1752600"/>
              <a:gd name="connsiteX184" fmla="*/ 1047750 w 3128973"/>
              <a:gd name="connsiteY184" fmla="*/ 819150 h 1752600"/>
              <a:gd name="connsiteX185" fmla="*/ 1028700 w 3128973"/>
              <a:gd name="connsiteY185" fmla="*/ 804862 h 1752600"/>
              <a:gd name="connsiteX186" fmla="*/ 1018076 w 3128973"/>
              <a:gd name="connsiteY186" fmla="*/ 794816 h 1752600"/>
              <a:gd name="connsiteX187" fmla="*/ 1000125 w 3128973"/>
              <a:gd name="connsiteY187" fmla="*/ 785812 h 1752600"/>
              <a:gd name="connsiteX188" fmla="*/ 984342 w 3128973"/>
              <a:gd name="connsiteY188" fmla="*/ 773578 h 1752600"/>
              <a:gd name="connsiteX189" fmla="*/ 957262 w 3128973"/>
              <a:gd name="connsiteY189" fmla="*/ 766762 h 1752600"/>
              <a:gd name="connsiteX190" fmla="*/ 938212 w 3128973"/>
              <a:gd name="connsiteY190" fmla="*/ 757237 h 1752600"/>
              <a:gd name="connsiteX191" fmla="*/ 904875 w 3128973"/>
              <a:gd name="connsiteY191" fmla="*/ 747712 h 1752600"/>
              <a:gd name="connsiteX192" fmla="*/ 862012 w 3128973"/>
              <a:gd name="connsiteY192" fmla="*/ 723900 h 1752600"/>
              <a:gd name="connsiteX193" fmla="*/ 795337 w 3128973"/>
              <a:gd name="connsiteY193" fmla="*/ 685800 h 1752600"/>
              <a:gd name="connsiteX194" fmla="*/ 776287 w 3128973"/>
              <a:gd name="connsiteY194" fmla="*/ 666750 h 1752600"/>
              <a:gd name="connsiteX195" fmla="*/ 762000 w 3128973"/>
              <a:gd name="connsiteY195" fmla="*/ 661987 h 1752600"/>
              <a:gd name="connsiteX196" fmla="*/ 742950 w 3128973"/>
              <a:gd name="connsiteY196" fmla="*/ 647700 h 1752600"/>
              <a:gd name="connsiteX197" fmla="*/ 709612 w 3128973"/>
              <a:gd name="connsiteY197" fmla="*/ 638175 h 1752600"/>
              <a:gd name="connsiteX198" fmla="*/ 695325 w 3128973"/>
              <a:gd name="connsiteY198" fmla="*/ 628650 h 1752600"/>
              <a:gd name="connsiteX199" fmla="*/ 681037 w 3128973"/>
              <a:gd name="connsiteY199" fmla="*/ 623887 h 1752600"/>
              <a:gd name="connsiteX200" fmla="*/ 676275 w 3128973"/>
              <a:gd name="connsiteY200" fmla="*/ 604837 h 1752600"/>
              <a:gd name="connsiteX201" fmla="*/ 666750 w 3128973"/>
              <a:gd name="connsiteY201" fmla="*/ 576262 h 1752600"/>
              <a:gd name="connsiteX202" fmla="*/ 661987 w 3128973"/>
              <a:gd name="connsiteY202" fmla="*/ 561975 h 1752600"/>
              <a:gd name="connsiteX203" fmla="*/ 666750 w 3128973"/>
              <a:gd name="connsiteY203" fmla="*/ 538162 h 1752600"/>
              <a:gd name="connsiteX204" fmla="*/ 638175 w 3128973"/>
              <a:gd name="connsiteY204" fmla="*/ 514350 h 1752600"/>
              <a:gd name="connsiteX205" fmla="*/ 619125 w 3128973"/>
              <a:gd name="connsiteY205" fmla="*/ 500062 h 1752600"/>
              <a:gd name="connsiteX206" fmla="*/ 576262 w 3128973"/>
              <a:gd name="connsiteY206" fmla="*/ 490537 h 1752600"/>
              <a:gd name="connsiteX207" fmla="*/ 542925 w 3128973"/>
              <a:gd name="connsiteY207" fmla="*/ 452437 h 1752600"/>
              <a:gd name="connsiteX208" fmla="*/ 525462 w 3128973"/>
              <a:gd name="connsiteY208" fmla="*/ 485775 h 1752600"/>
              <a:gd name="connsiteX209" fmla="*/ 504825 w 3128973"/>
              <a:gd name="connsiteY209" fmla="*/ 466725 h 1752600"/>
              <a:gd name="connsiteX210" fmla="*/ 454025 w 3128973"/>
              <a:gd name="connsiteY210" fmla="*/ 466725 h 1752600"/>
              <a:gd name="connsiteX211" fmla="*/ 407987 w 3128973"/>
              <a:gd name="connsiteY211" fmla="*/ 473075 h 1752600"/>
              <a:gd name="connsiteX212" fmla="*/ 395287 w 3128973"/>
              <a:gd name="connsiteY212" fmla="*/ 409575 h 1752600"/>
              <a:gd name="connsiteX213" fmla="*/ 376237 w 3128973"/>
              <a:gd name="connsiteY213" fmla="*/ 404812 h 1752600"/>
              <a:gd name="connsiteX214" fmla="*/ 342900 w 3128973"/>
              <a:gd name="connsiteY214" fmla="*/ 400050 h 1752600"/>
              <a:gd name="connsiteX215" fmla="*/ 314325 w 3128973"/>
              <a:gd name="connsiteY215" fmla="*/ 390525 h 1752600"/>
              <a:gd name="connsiteX216" fmla="*/ 273844 w 3128973"/>
              <a:gd name="connsiteY216" fmla="*/ 383382 h 1752600"/>
              <a:gd name="connsiteX217" fmla="*/ 257175 w 3128973"/>
              <a:gd name="connsiteY217" fmla="*/ 371475 h 1752600"/>
              <a:gd name="connsiteX218" fmla="*/ 245269 w 3128973"/>
              <a:gd name="connsiteY218" fmla="*/ 364331 h 1752600"/>
              <a:gd name="connsiteX219" fmla="*/ 223837 w 3128973"/>
              <a:gd name="connsiteY219" fmla="*/ 347662 h 1752600"/>
              <a:gd name="connsiteX220" fmla="*/ 190500 w 3128973"/>
              <a:gd name="connsiteY220" fmla="*/ 338137 h 1752600"/>
              <a:gd name="connsiteX221" fmla="*/ 147637 w 3128973"/>
              <a:gd name="connsiteY221" fmla="*/ 333375 h 1752600"/>
              <a:gd name="connsiteX222" fmla="*/ 119062 w 3128973"/>
              <a:gd name="connsiteY222" fmla="*/ 323850 h 1752600"/>
              <a:gd name="connsiteX223" fmla="*/ 104775 w 3128973"/>
              <a:gd name="connsiteY223" fmla="*/ 319087 h 1752600"/>
              <a:gd name="connsiteX224" fmla="*/ 61912 w 3128973"/>
              <a:gd name="connsiteY224" fmla="*/ 300037 h 1752600"/>
              <a:gd name="connsiteX225" fmla="*/ 23812 w 3128973"/>
              <a:gd name="connsiteY225" fmla="*/ 290512 h 1752600"/>
              <a:gd name="connsiteX226" fmla="*/ 9525 w 3128973"/>
              <a:gd name="connsiteY226" fmla="*/ 261937 h 1752600"/>
              <a:gd name="connsiteX227" fmla="*/ 0 w 3128973"/>
              <a:gd name="connsiteY227" fmla="*/ 290512 h 1752600"/>
              <a:gd name="connsiteX228" fmla="*/ 4762 w 3128973"/>
              <a:gd name="connsiteY228" fmla="*/ 247650 h 1752600"/>
              <a:gd name="connsiteX229" fmla="*/ 19050 w 3128973"/>
              <a:gd name="connsiteY229" fmla="*/ 200025 h 1752600"/>
              <a:gd name="connsiteX230" fmla="*/ 23812 w 3128973"/>
              <a:gd name="connsiteY230" fmla="*/ 185737 h 1752600"/>
              <a:gd name="connsiteX231" fmla="*/ 71437 w 3128973"/>
              <a:gd name="connsiteY231" fmla="*/ 171450 h 1752600"/>
              <a:gd name="connsiteX232" fmla="*/ 85725 w 3128973"/>
              <a:gd name="connsiteY232" fmla="*/ 166687 h 1752600"/>
              <a:gd name="connsiteX233" fmla="*/ 100012 w 3128973"/>
              <a:gd name="connsiteY233" fmla="*/ 161925 h 1752600"/>
              <a:gd name="connsiteX234" fmla="*/ 114300 w 3128973"/>
              <a:gd name="connsiteY234" fmla="*/ 152400 h 1752600"/>
              <a:gd name="connsiteX235" fmla="*/ 133350 w 3128973"/>
              <a:gd name="connsiteY235" fmla="*/ 123825 h 1752600"/>
              <a:gd name="connsiteX236" fmla="*/ 138112 w 3128973"/>
              <a:gd name="connsiteY236" fmla="*/ 109537 h 1752600"/>
              <a:gd name="connsiteX237" fmla="*/ 135467 w 3128973"/>
              <a:gd name="connsiteY237" fmla="*/ 97059 h 1752600"/>
              <a:gd name="connsiteX238" fmla="*/ 142875 w 3128973"/>
              <a:gd name="connsiteY238" fmla="*/ 71437 h 1752600"/>
              <a:gd name="connsiteX239" fmla="*/ 157162 w 3128973"/>
              <a:gd name="connsiteY239" fmla="*/ 57150 h 1752600"/>
              <a:gd name="connsiteX240" fmla="*/ 200025 w 3128973"/>
              <a:gd name="connsiteY240" fmla="*/ 33337 h 1752600"/>
              <a:gd name="connsiteX241" fmla="*/ 309562 w 3128973"/>
              <a:gd name="connsiteY241" fmla="*/ 28575 h 1752600"/>
              <a:gd name="connsiteX242" fmla="*/ 400050 w 3128973"/>
              <a:gd name="connsiteY242" fmla="*/ 14287 h 1752600"/>
              <a:gd name="connsiteX243" fmla="*/ 414337 w 3128973"/>
              <a:gd name="connsiteY243" fmla="*/ 9525 h 1752600"/>
              <a:gd name="connsiteX244" fmla="*/ 481012 w 3128973"/>
              <a:gd name="connsiteY244" fmla="*/ 0 h 1752600"/>
              <a:gd name="connsiteX0" fmla="*/ 481012 w 3128973"/>
              <a:gd name="connsiteY0" fmla="*/ 0 h 1752600"/>
              <a:gd name="connsiteX1" fmla="*/ 509587 w 3128973"/>
              <a:gd name="connsiteY1" fmla="*/ 4762 h 1752600"/>
              <a:gd name="connsiteX2" fmla="*/ 519112 w 3128973"/>
              <a:gd name="connsiteY2" fmla="*/ 19050 h 1752600"/>
              <a:gd name="connsiteX3" fmla="*/ 519112 w 3128973"/>
              <a:gd name="connsiteY3" fmla="*/ 80962 h 1752600"/>
              <a:gd name="connsiteX4" fmla="*/ 576262 w 3128973"/>
              <a:gd name="connsiteY4" fmla="*/ 95250 h 1752600"/>
              <a:gd name="connsiteX5" fmla="*/ 590550 w 3128973"/>
              <a:gd name="connsiteY5" fmla="*/ 128587 h 1752600"/>
              <a:gd name="connsiteX6" fmla="*/ 657225 w 3128973"/>
              <a:gd name="connsiteY6" fmla="*/ 161925 h 1752600"/>
              <a:gd name="connsiteX7" fmla="*/ 690562 w 3128973"/>
              <a:gd name="connsiteY7" fmla="*/ 247650 h 1752600"/>
              <a:gd name="connsiteX8" fmla="*/ 747712 w 3128973"/>
              <a:gd name="connsiteY8" fmla="*/ 280987 h 1752600"/>
              <a:gd name="connsiteX9" fmla="*/ 828675 w 3128973"/>
              <a:gd name="connsiteY9" fmla="*/ 300037 h 1752600"/>
              <a:gd name="connsiteX10" fmla="*/ 981075 w 3128973"/>
              <a:gd name="connsiteY10" fmla="*/ 276225 h 1752600"/>
              <a:gd name="connsiteX11" fmla="*/ 1081087 w 3128973"/>
              <a:gd name="connsiteY11" fmla="*/ 252412 h 1752600"/>
              <a:gd name="connsiteX12" fmla="*/ 1171575 w 3128973"/>
              <a:gd name="connsiteY12" fmla="*/ 257175 h 1752600"/>
              <a:gd name="connsiteX13" fmla="*/ 1271587 w 3128973"/>
              <a:gd name="connsiteY13" fmla="*/ 257175 h 1752600"/>
              <a:gd name="connsiteX14" fmla="*/ 1376362 w 3128973"/>
              <a:gd name="connsiteY14" fmla="*/ 266700 h 1752600"/>
              <a:gd name="connsiteX15" fmla="*/ 1404937 w 3128973"/>
              <a:gd name="connsiteY15" fmla="*/ 261937 h 1752600"/>
              <a:gd name="connsiteX16" fmla="*/ 1323975 w 3128973"/>
              <a:gd name="connsiteY16" fmla="*/ 176212 h 1752600"/>
              <a:gd name="connsiteX17" fmla="*/ 1328737 w 3128973"/>
              <a:gd name="connsiteY17" fmla="*/ 80962 h 1752600"/>
              <a:gd name="connsiteX18" fmla="*/ 1852612 w 3128973"/>
              <a:gd name="connsiteY18" fmla="*/ 85725 h 1752600"/>
              <a:gd name="connsiteX19" fmla="*/ 1847850 w 3128973"/>
              <a:gd name="connsiteY19" fmla="*/ 261937 h 1752600"/>
              <a:gd name="connsiteX20" fmla="*/ 1895475 w 3128973"/>
              <a:gd name="connsiteY20" fmla="*/ 228600 h 1752600"/>
              <a:gd name="connsiteX21" fmla="*/ 2046801 w 3128973"/>
              <a:gd name="connsiteY21" fmla="*/ 228600 h 1752600"/>
              <a:gd name="connsiteX22" fmla="*/ 2126456 w 3128973"/>
              <a:gd name="connsiteY22" fmla="*/ 225698 h 1752600"/>
              <a:gd name="connsiteX23" fmla="*/ 2131219 w 3128973"/>
              <a:gd name="connsiteY23" fmla="*/ 119430 h 1752600"/>
              <a:gd name="connsiteX24" fmla="*/ 2266949 w 3128973"/>
              <a:gd name="connsiteY24" fmla="*/ 60392 h 1752600"/>
              <a:gd name="connsiteX25" fmla="*/ 2309812 w 3128973"/>
              <a:gd name="connsiteY25" fmla="*/ 48585 h 1752600"/>
              <a:gd name="connsiteX26" fmla="*/ 2359818 w 3128973"/>
              <a:gd name="connsiteY26" fmla="*/ 53307 h 1752600"/>
              <a:gd name="connsiteX27" fmla="*/ 2416968 w 3128973"/>
              <a:gd name="connsiteY27" fmla="*/ 88731 h 1752600"/>
              <a:gd name="connsiteX28" fmla="*/ 2486025 w 3128973"/>
              <a:gd name="connsiteY28" fmla="*/ 112345 h 1752600"/>
              <a:gd name="connsiteX29" fmla="*/ 2566987 w 3128973"/>
              <a:gd name="connsiteY29" fmla="*/ 152491 h 1752600"/>
              <a:gd name="connsiteX30" fmla="*/ 2650330 w 3128973"/>
              <a:gd name="connsiteY30" fmla="*/ 194998 h 1752600"/>
              <a:gd name="connsiteX31" fmla="*/ 2681287 w 3128973"/>
              <a:gd name="connsiteY31" fmla="*/ 218614 h 1752600"/>
              <a:gd name="connsiteX32" fmla="*/ 2678905 w 3128973"/>
              <a:gd name="connsiteY32" fmla="*/ 232782 h 1752600"/>
              <a:gd name="connsiteX33" fmla="*/ 2077757 w 3128973"/>
              <a:gd name="connsiteY33" fmla="*/ 243403 h 1752600"/>
              <a:gd name="connsiteX34" fmla="*/ 2033587 w 3128973"/>
              <a:gd name="connsiteY34" fmla="*/ 266700 h 1752600"/>
              <a:gd name="connsiteX35" fmla="*/ 2019300 w 3128973"/>
              <a:gd name="connsiteY35" fmla="*/ 280987 h 1752600"/>
              <a:gd name="connsiteX36" fmla="*/ 1990725 w 3128973"/>
              <a:gd name="connsiteY36" fmla="*/ 300037 h 1752600"/>
              <a:gd name="connsiteX37" fmla="*/ 1981200 w 3128973"/>
              <a:gd name="connsiteY37" fmla="*/ 314325 h 1752600"/>
              <a:gd name="connsiteX38" fmla="*/ 1981200 w 3128973"/>
              <a:gd name="connsiteY38" fmla="*/ 419100 h 1752600"/>
              <a:gd name="connsiteX39" fmla="*/ 1985962 w 3128973"/>
              <a:gd name="connsiteY39" fmla="*/ 433387 h 1752600"/>
              <a:gd name="connsiteX40" fmla="*/ 2000250 w 3128973"/>
              <a:gd name="connsiteY40" fmla="*/ 442912 h 1752600"/>
              <a:gd name="connsiteX41" fmla="*/ 2005012 w 3128973"/>
              <a:gd name="connsiteY41" fmla="*/ 457200 h 1752600"/>
              <a:gd name="connsiteX42" fmla="*/ 2005012 w 3128973"/>
              <a:gd name="connsiteY42" fmla="*/ 561975 h 1752600"/>
              <a:gd name="connsiteX43" fmla="*/ 2009775 w 3128973"/>
              <a:gd name="connsiteY43" fmla="*/ 576262 h 1752600"/>
              <a:gd name="connsiteX44" fmla="*/ 2024062 w 3128973"/>
              <a:gd name="connsiteY44" fmla="*/ 581025 h 1752600"/>
              <a:gd name="connsiteX45" fmla="*/ 2038350 w 3128973"/>
              <a:gd name="connsiteY45" fmla="*/ 595312 h 1752600"/>
              <a:gd name="connsiteX46" fmla="*/ 2052637 w 3128973"/>
              <a:gd name="connsiteY46" fmla="*/ 600075 h 1752600"/>
              <a:gd name="connsiteX47" fmla="*/ 2133600 w 3128973"/>
              <a:gd name="connsiteY47" fmla="*/ 590550 h 1752600"/>
              <a:gd name="connsiteX48" fmla="*/ 2147887 w 3128973"/>
              <a:gd name="connsiteY48" fmla="*/ 585787 h 1752600"/>
              <a:gd name="connsiteX49" fmla="*/ 2195512 w 3128973"/>
              <a:gd name="connsiteY49" fmla="*/ 600075 h 1752600"/>
              <a:gd name="connsiteX50" fmla="*/ 2205037 w 3128973"/>
              <a:gd name="connsiteY50" fmla="*/ 614362 h 1752600"/>
              <a:gd name="connsiteX51" fmla="*/ 2219325 w 3128973"/>
              <a:gd name="connsiteY51" fmla="*/ 628650 h 1752600"/>
              <a:gd name="connsiteX52" fmla="*/ 2224087 w 3128973"/>
              <a:gd name="connsiteY52" fmla="*/ 642937 h 1752600"/>
              <a:gd name="connsiteX53" fmla="*/ 2233612 w 3128973"/>
              <a:gd name="connsiteY53" fmla="*/ 657225 h 1752600"/>
              <a:gd name="connsiteX54" fmla="*/ 2247900 w 3128973"/>
              <a:gd name="connsiteY54" fmla="*/ 685800 h 1752600"/>
              <a:gd name="connsiteX55" fmla="*/ 2262187 w 3128973"/>
              <a:gd name="connsiteY55" fmla="*/ 733425 h 1752600"/>
              <a:gd name="connsiteX56" fmla="*/ 2305050 w 3128973"/>
              <a:gd name="connsiteY56" fmla="*/ 771525 h 1752600"/>
              <a:gd name="connsiteX57" fmla="*/ 2319337 w 3128973"/>
              <a:gd name="connsiteY57" fmla="*/ 804862 h 1752600"/>
              <a:gd name="connsiteX58" fmla="*/ 2333625 w 3128973"/>
              <a:gd name="connsiteY58" fmla="*/ 819150 h 1752600"/>
              <a:gd name="connsiteX59" fmla="*/ 2338387 w 3128973"/>
              <a:gd name="connsiteY59" fmla="*/ 833437 h 1752600"/>
              <a:gd name="connsiteX60" fmla="*/ 2352675 w 3128973"/>
              <a:gd name="connsiteY60" fmla="*/ 847725 h 1752600"/>
              <a:gd name="connsiteX61" fmla="*/ 2395537 w 3128973"/>
              <a:gd name="connsiteY61" fmla="*/ 871537 h 1752600"/>
              <a:gd name="connsiteX62" fmla="*/ 2409825 w 3128973"/>
              <a:gd name="connsiteY62" fmla="*/ 890587 h 1752600"/>
              <a:gd name="connsiteX63" fmla="*/ 2424112 w 3128973"/>
              <a:gd name="connsiteY63" fmla="*/ 895350 h 1752600"/>
              <a:gd name="connsiteX64" fmla="*/ 2433637 w 3128973"/>
              <a:gd name="connsiteY64" fmla="*/ 914400 h 1752600"/>
              <a:gd name="connsiteX65" fmla="*/ 2466975 w 3128973"/>
              <a:gd name="connsiteY65" fmla="*/ 942975 h 1752600"/>
              <a:gd name="connsiteX66" fmla="*/ 2474637 w 3128973"/>
              <a:gd name="connsiteY66" fmla="*/ 954728 h 1752600"/>
              <a:gd name="connsiteX67" fmla="*/ 2495550 w 3128973"/>
              <a:gd name="connsiteY67" fmla="*/ 971550 h 1752600"/>
              <a:gd name="connsiteX68" fmla="*/ 2508776 w 3128973"/>
              <a:gd name="connsiteY68" fmla="*/ 983894 h 1752600"/>
              <a:gd name="connsiteX69" fmla="*/ 2533650 w 3128973"/>
              <a:gd name="connsiteY69" fmla="*/ 1000125 h 1752600"/>
              <a:gd name="connsiteX70" fmla="*/ 2547937 w 3128973"/>
              <a:gd name="connsiteY70" fmla="*/ 1028700 h 1752600"/>
              <a:gd name="connsiteX71" fmla="*/ 2552700 w 3128973"/>
              <a:gd name="connsiteY71" fmla="*/ 1042987 h 1752600"/>
              <a:gd name="connsiteX72" fmla="*/ 2576512 w 3128973"/>
              <a:gd name="connsiteY72" fmla="*/ 1071562 h 1752600"/>
              <a:gd name="connsiteX73" fmla="*/ 2584921 w 3128973"/>
              <a:gd name="connsiteY73" fmla="*/ 1082873 h 1752600"/>
              <a:gd name="connsiteX74" fmla="*/ 2600325 w 3128973"/>
              <a:gd name="connsiteY74" fmla="*/ 1095375 h 1752600"/>
              <a:gd name="connsiteX75" fmla="*/ 2609850 w 3128973"/>
              <a:gd name="connsiteY75" fmla="*/ 1109662 h 1752600"/>
              <a:gd name="connsiteX76" fmla="*/ 2652712 w 3128973"/>
              <a:gd name="connsiteY76" fmla="*/ 1143000 h 1752600"/>
              <a:gd name="connsiteX77" fmla="*/ 2681287 w 3128973"/>
              <a:gd name="connsiteY77" fmla="*/ 1152525 h 1752600"/>
              <a:gd name="connsiteX78" fmla="*/ 2700337 w 3128973"/>
              <a:gd name="connsiteY78" fmla="*/ 1162050 h 1752600"/>
              <a:gd name="connsiteX79" fmla="*/ 2714625 w 3128973"/>
              <a:gd name="connsiteY79" fmla="*/ 1171575 h 1752600"/>
              <a:gd name="connsiteX80" fmla="*/ 2752725 w 3128973"/>
              <a:gd name="connsiteY80" fmla="*/ 1181100 h 1752600"/>
              <a:gd name="connsiteX81" fmla="*/ 2767012 w 3128973"/>
              <a:gd name="connsiteY81" fmla="*/ 1195387 h 1752600"/>
              <a:gd name="connsiteX82" fmla="*/ 2781300 w 3128973"/>
              <a:gd name="connsiteY82" fmla="*/ 1200150 h 1752600"/>
              <a:gd name="connsiteX83" fmla="*/ 2795587 w 3128973"/>
              <a:gd name="connsiteY83" fmla="*/ 1209675 h 1752600"/>
              <a:gd name="connsiteX84" fmla="*/ 2805112 w 3128973"/>
              <a:gd name="connsiteY84" fmla="*/ 1223962 h 1752600"/>
              <a:gd name="connsiteX85" fmla="*/ 2809875 w 3128973"/>
              <a:gd name="connsiteY85" fmla="*/ 1238250 h 1752600"/>
              <a:gd name="connsiteX86" fmla="*/ 2833687 w 3128973"/>
              <a:gd name="connsiteY86" fmla="*/ 1276350 h 1752600"/>
              <a:gd name="connsiteX87" fmla="*/ 2895600 w 3128973"/>
              <a:gd name="connsiteY87" fmla="*/ 1333500 h 1752600"/>
              <a:gd name="connsiteX88" fmla="*/ 2900362 w 3128973"/>
              <a:gd name="connsiteY88" fmla="*/ 1352550 h 1752600"/>
              <a:gd name="connsiteX89" fmla="*/ 2928937 w 3128973"/>
              <a:gd name="connsiteY89" fmla="*/ 1395412 h 1752600"/>
              <a:gd name="connsiteX90" fmla="*/ 2943225 w 3128973"/>
              <a:gd name="connsiteY90" fmla="*/ 1404937 h 1752600"/>
              <a:gd name="connsiteX91" fmla="*/ 2957512 w 3128973"/>
              <a:gd name="connsiteY91" fmla="*/ 1419225 h 1752600"/>
              <a:gd name="connsiteX92" fmla="*/ 2986087 w 3128973"/>
              <a:gd name="connsiteY92" fmla="*/ 1443037 h 1752600"/>
              <a:gd name="connsiteX93" fmla="*/ 3000375 w 3128973"/>
              <a:gd name="connsiteY93" fmla="*/ 1462087 h 1752600"/>
              <a:gd name="connsiteX94" fmla="*/ 3016395 w 3128973"/>
              <a:gd name="connsiteY94" fmla="*/ 1476222 h 1752600"/>
              <a:gd name="connsiteX95" fmla="*/ 3028950 w 3128973"/>
              <a:gd name="connsiteY95" fmla="*/ 1495425 h 1752600"/>
              <a:gd name="connsiteX96" fmla="*/ 3043237 w 3128973"/>
              <a:gd name="connsiteY96" fmla="*/ 1552575 h 1752600"/>
              <a:gd name="connsiteX97" fmla="*/ 3052762 w 3128973"/>
              <a:gd name="connsiteY97" fmla="*/ 1566862 h 1752600"/>
              <a:gd name="connsiteX98" fmla="*/ 3057525 w 3128973"/>
              <a:gd name="connsiteY98" fmla="*/ 1581150 h 1752600"/>
              <a:gd name="connsiteX99" fmla="*/ 3067050 w 3128973"/>
              <a:gd name="connsiteY99" fmla="*/ 1662112 h 1752600"/>
              <a:gd name="connsiteX100" fmla="*/ 3071812 w 3128973"/>
              <a:gd name="connsiteY100" fmla="*/ 1676400 h 1752600"/>
              <a:gd name="connsiteX101" fmla="*/ 3100387 w 3128973"/>
              <a:gd name="connsiteY101" fmla="*/ 1690687 h 1752600"/>
              <a:gd name="connsiteX102" fmla="*/ 3114675 w 3128973"/>
              <a:gd name="connsiteY102" fmla="*/ 1685925 h 1752600"/>
              <a:gd name="connsiteX103" fmla="*/ 3124200 w 3128973"/>
              <a:gd name="connsiteY103" fmla="*/ 1671637 h 1752600"/>
              <a:gd name="connsiteX104" fmla="*/ 3128973 w 3128973"/>
              <a:gd name="connsiteY104" fmla="*/ 1651467 h 1752600"/>
              <a:gd name="connsiteX105" fmla="*/ 3128021 w 3128973"/>
              <a:gd name="connsiteY105" fmla="*/ 1710279 h 1752600"/>
              <a:gd name="connsiteX106" fmla="*/ 3043237 w 3128973"/>
              <a:gd name="connsiteY106" fmla="*/ 1714500 h 1752600"/>
              <a:gd name="connsiteX107" fmla="*/ 3028950 w 3128973"/>
              <a:gd name="connsiteY107" fmla="*/ 1728787 h 1752600"/>
              <a:gd name="connsiteX108" fmla="*/ 2986087 w 3128973"/>
              <a:gd name="connsiteY108" fmla="*/ 1738312 h 1752600"/>
              <a:gd name="connsiteX109" fmla="*/ 2971800 w 3128973"/>
              <a:gd name="connsiteY109" fmla="*/ 1743075 h 1752600"/>
              <a:gd name="connsiteX110" fmla="*/ 2943225 w 3128973"/>
              <a:gd name="connsiteY110" fmla="*/ 1738312 h 1752600"/>
              <a:gd name="connsiteX111" fmla="*/ 2928937 w 3128973"/>
              <a:gd name="connsiteY111" fmla="*/ 1747837 h 1752600"/>
              <a:gd name="connsiteX112" fmla="*/ 2914650 w 3128973"/>
              <a:gd name="connsiteY112" fmla="*/ 1752600 h 1752600"/>
              <a:gd name="connsiteX113" fmla="*/ 2895600 w 3128973"/>
              <a:gd name="connsiteY113" fmla="*/ 1724025 h 1752600"/>
              <a:gd name="connsiteX114" fmla="*/ 2883310 w 3128973"/>
              <a:gd name="connsiteY114" fmla="*/ 1701201 h 1752600"/>
              <a:gd name="connsiteX115" fmla="*/ 2883805 w 3128973"/>
              <a:gd name="connsiteY115" fmla="*/ 1696138 h 1752600"/>
              <a:gd name="connsiteX116" fmla="*/ 2871787 w 3128973"/>
              <a:gd name="connsiteY116" fmla="*/ 1685925 h 1752600"/>
              <a:gd name="connsiteX117" fmla="*/ 2847975 w 3128973"/>
              <a:gd name="connsiteY117" fmla="*/ 1657350 h 1752600"/>
              <a:gd name="connsiteX118" fmla="*/ 2834034 w 3128973"/>
              <a:gd name="connsiteY118" fmla="*/ 1637762 h 1752600"/>
              <a:gd name="connsiteX119" fmla="*/ 2814637 w 3128973"/>
              <a:gd name="connsiteY119" fmla="*/ 1619250 h 1752600"/>
              <a:gd name="connsiteX120" fmla="*/ 2809875 w 3128973"/>
              <a:gd name="connsiteY120" fmla="*/ 1604962 h 1752600"/>
              <a:gd name="connsiteX121" fmla="*/ 2795587 w 3128973"/>
              <a:gd name="connsiteY121" fmla="*/ 1600200 h 1752600"/>
              <a:gd name="connsiteX122" fmla="*/ 2781300 w 3128973"/>
              <a:gd name="connsiteY122" fmla="*/ 1590675 h 1752600"/>
              <a:gd name="connsiteX123" fmla="*/ 2752725 w 3128973"/>
              <a:gd name="connsiteY123" fmla="*/ 1581150 h 1752600"/>
              <a:gd name="connsiteX124" fmla="*/ 2733675 w 3128973"/>
              <a:gd name="connsiteY124" fmla="*/ 1625600 h 1752600"/>
              <a:gd name="connsiteX125" fmla="*/ 2709862 w 3128973"/>
              <a:gd name="connsiteY125" fmla="*/ 1619250 h 1752600"/>
              <a:gd name="connsiteX126" fmla="*/ 2723566 w 3128973"/>
              <a:gd name="connsiteY126" fmla="*/ 1590361 h 1752600"/>
              <a:gd name="connsiteX127" fmla="*/ 2674937 w 3128973"/>
              <a:gd name="connsiteY127" fmla="*/ 1560512 h 1752600"/>
              <a:gd name="connsiteX128" fmla="*/ 2643187 w 3128973"/>
              <a:gd name="connsiteY128" fmla="*/ 1495425 h 1752600"/>
              <a:gd name="connsiteX129" fmla="*/ 2628900 w 3128973"/>
              <a:gd name="connsiteY129" fmla="*/ 1490662 h 1752600"/>
              <a:gd name="connsiteX130" fmla="*/ 2595562 w 3128973"/>
              <a:gd name="connsiteY130" fmla="*/ 1481137 h 1752600"/>
              <a:gd name="connsiteX131" fmla="*/ 2581275 w 3128973"/>
              <a:gd name="connsiteY131" fmla="*/ 1466850 h 1752600"/>
              <a:gd name="connsiteX132" fmla="*/ 2552700 w 3128973"/>
              <a:gd name="connsiteY132" fmla="*/ 1457325 h 1752600"/>
              <a:gd name="connsiteX133" fmla="*/ 2538412 w 3128973"/>
              <a:gd name="connsiteY133" fmla="*/ 1447800 h 1752600"/>
              <a:gd name="connsiteX134" fmla="*/ 2519362 w 3128973"/>
              <a:gd name="connsiteY134" fmla="*/ 1443037 h 1752600"/>
              <a:gd name="connsiteX135" fmla="*/ 2490787 w 3128973"/>
              <a:gd name="connsiteY135" fmla="*/ 1433512 h 1752600"/>
              <a:gd name="connsiteX136" fmla="*/ 2476500 w 3128973"/>
              <a:gd name="connsiteY136" fmla="*/ 1428750 h 1752600"/>
              <a:gd name="connsiteX137" fmla="*/ 2466975 w 3128973"/>
              <a:gd name="connsiteY137" fmla="*/ 1414462 h 1752600"/>
              <a:gd name="connsiteX138" fmla="*/ 2447925 w 3128973"/>
              <a:gd name="connsiteY138" fmla="*/ 1409700 h 1752600"/>
              <a:gd name="connsiteX139" fmla="*/ 2309812 w 3128973"/>
              <a:gd name="connsiteY139" fmla="*/ 1395412 h 1752600"/>
              <a:gd name="connsiteX140" fmla="*/ 2295525 w 3128973"/>
              <a:gd name="connsiteY140" fmla="*/ 1390650 h 1752600"/>
              <a:gd name="connsiteX141" fmla="*/ 2257425 w 3128973"/>
              <a:gd name="connsiteY141" fmla="*/ 1381125 h 1752600"/>
              <a:gd name="connsiteX142" fmla="*/ 2238375 w 3128973"/>
              <a:gd name="connsiteY142" fmla="*/ 1366837 h 1752600"/>
              <a:gd name="connsiteX143" fmla="*/ 2224087 w 3128973"/>
              <a:gd name="connsiteY143" fmla="*/ 1362075 h 1752600"/>
              <a:gd name="connsiteX144" fmla="*/ 2176462 w 3128973"/>
              <a:gd name="connsiteY144" fmla="*/ 1338262 h 1752600"/>
              <a:gd name="connsiteX145" fmla="*/ 2162175 w 3128973"/>
              <a:gd name="connsiteY145" fmla="*/ 1328737 h 1752600"/>
              <a:gd name="connsiteX146" fmla="*/ 2114550 w 3128973"/>
              <a:gd name="connsiteY146" fmla="*/ 1314450 h 1752600"/>
              <a:gd name="connsiteX147" fmla="*/ 2100262 w 3128973"/>
              <a:gd name="connsiteY147" fmla="*/ 1300162 h 1752600"/>
              <a:gd name="connsiteX148" fmla="*/ 2085975 w 3128973"/>
              <a:gd name="connsiteY148" fmla="*/ 1295400 h 1752600"/>
              <a:gd name="connsiteX149" fmla="*/ 2055019 w 3128973"/>
              <a:gd name="connsiteY149" fmla="*/ 1290637 h 1752600"/>
              <a:gd name="connsiteX150" fmla="*/ 2028824 w 3128973"/>
              <a:gd name="connsiteY150" fmla="*/ 1283494 h 1752600"/>
              <a:gd name="connsiteX151" fmla="*/ 2005012 w 3128973"/>
              <a:gd name="connsiteY151" fmla="*/ 1271587 h 1752600"/>
              <a:gd name="connsiteX152" fmla="*/ 1985962 w 3128973"/>
              <a:gd name="connsiteY152" fmla="*/ 1262062 h 1752600"/>
              <a:gd name="connsiteX153" fmla="*/ 1971675 w 3128973"/>
              <a:gd name="connsiteY153" fmla="*/ 1257300 h 1752600"/>
              <a:gd name="connsiteX154" fmla="*/ 1943100 w 3128973"/>
              <a:gd name="connsiteY154" fmla="*/ 1238250 h 1752600"/>
              <a:gd name="connsiteX155" fmla="*/ 1914525 w 3128973"/>
              <a:gd name="connsiteY155" fmla="*/ 1219200 h 1752600"/>
              <a:gd name="connsiteX156" fmla="*/ 1885950 w 3128973"/>
              <a:gd name="connsiteY156" fmla="*/ 1209675 h 1752600"/>
              <a:gd name="connsiteX157" fmla="*/ 1843087 w 3128973"/>
              <a:gd name="connsiteY157" fmla="*/ 1195387 h 1752600"/>
              <a:gd name="connsiteX158" fmla="*/ 1757362 w 3128973"/>
              <a:gd name="connsiteY158" fmla="*/ 1185862 h 1752600"/>
              <a:gd name="connsiteX159" fmla="*/ 1700212 w 3128973"/>
              <a:gd name="connsiteY159" fmla="*/ 1166812 h 1752600"/>
              <a:gd name="connsiteX160" fmla="*/ 1671637 w 3128973"/>
              <a:gd name="connsiteY160" fmla="*/ 1147762 h 1752600"/>
              <a:gd name="connsiteX161" fmla="*/ 1652587 w 3128973"/>
              <a:gd name="connsiteY161" fmla="*/ 1138237 h 1752600"/>
              <a:gd name="connsiteX162" fmla="*/ 1638300 w 3128973"/>
              <a:gd name="connsiteY162" fmla="*/ 1128712 h 1752600"/>
              <a:gd name="connsiteX163" fmla="*/ 1590675 w 3128973"/>
              <a:gd name="connsiteY163" fmla="*/ 1138238 h 1752600"/>
              <a:gd name="connsiteX164" fmla="*/ 1559719 w 3128973"/>
              <a:gd name="connsiteY164" fmla="*/ 1109662 h 1752600"/>
              <a:gd name="connsiteX165" fmla="*/ 1528762 w 3128973"/>
              <a:gd name="connsiteY165" fmla="*/ 1085850 h 1752600"/>
              <a:gd name="connsiteX166" fmla="*/ 1514475 w 3128973"/>
              <a:gd name="connsiteY166" fmla="*/ 1081087 h 1752600"/>
              <a:gd name="connsiteX167" fmla="*/ 1470025 w 3128973"/>
              <a:gd name="connsiteY167" fmla="*/ 1130300 h 1752600"/>
              <a:gd name="connsiteX168" fmla="*/ 1433512 w 3128973"/>
              <a:gd name="connsiteY168" fmla="*/ 1108075 h 1752600"/>
              <a:gd name="connsiteX169" fmla="*/ 1423987 w 3128973"/>
              <a:gd name="connsiteY169" fmla="*/ 1087437 h 1752600"/>
              <a:gd name="connsiteX170" fmla="*/ 1381125 w 3128973"/>
              <a:gd name="connsiteY170" fmla="*/ 1095375 h 1752600"/>
              <a:gd name="connsiteX171" fmla="*/ 1383506 w 3128973"/>
              <a:gd name="connsiteY171" fmla="*/ 1028700 h 1752600"/>
              <a:gd name="connsiteX172" fmla="*/ 1366838 w 3128973"/>
              <a:gd name="connsiteY172" fmla="*/ 1019175 h 1752600"/>
              <a:gd name="connsiteX173" fmla="*/ 1335881 w 3128973"/>
              <a:gd name="connsiteY173" fmla="*/ 1007268 h 1752600"/>
              <a:gd name="connsiteX174" fmla="*/ 1319213 w 3128973"/>
              <a:gd name="connsiteY174" fmla="*/ 1007268 h 1752600"/>
              <a:gd name="connsiteX175" fmla="*/ 1295400 w 3128973"/>
              <a:gd name="connsiteY175" fmla="*/ 976312 h 1752600"/>
              <a:gd name="connsiteX176" fmla="*/ 1281112 w 3128973"/>
              <a:gd name="connsiteY176" fmla="*/ 966787 h 1752600"/>
              <a:gd name="connsiteX177" fmla="*/ 1238250 w 3128973"/>
              <a:gd name="connsiteY177" fmla="*/ 947737 h 1752600"/>
              <a:gd name="connsiteX178" fmla="*/ 1212850 w 3128973"/>
              <a:gd name="connsiteY178" fmla="*/ 995362 h 1752600"/>
              <a:gd name="connsiteX179" fmla="*/ 1201737 w 3128973"/>
              <a:gd name="connsiteY179" fmla="*/ 987425 h 1752600"/>
              <a:gd name="connsiteX180" fmla="*/ 1163637 w 3128973"/>
              <a:gd name="connsiteY180" fmla="*/ 952277 h 1752600"/>
              <a:gd name="connsiteX181" fmla="*/ 1133475 w 3128973"/>
              <a:gd name="connsiteY181" fmla="*/ 925512 h 1752600"/>
              <a:gd name="connsiteX182" fmla="*/ 1085850 w 3128973"/>
              <a:gd name="connsiteY182" fmla="*/ 859631 h 1752600"/>
              <a:gd name="connsiteX183" fmla="*/ 1071562 w 3128973"/>
              <a:gd name="connsiteY183" fmla="*/ 842962 h 1752600"/>
              <a:gd name="connsiteX184" fmla="*/ 1047750 w 3128973"/>
              <a:gd name="connsiteY184" fmla="*/ 819150 h 1752600"/>
              <a:gd name="connsiteX185" fmla="*/ 1028700 w 3128973"/>
              <a:gd name="connsiteY185" fmla="*/ 804862 h 1752600"/>
              <a:gd name="connsiteX186" fmla="*/ 1018076 w 3128973"/>
              <a:gd name="connsiteY186" fmla="*/ 794816 h 1752600"/>
              <a:gd name="connsiteX187" fmla="*/ 1000125 w 3128973"/>
              <a:gd name="connsiteY187" fmla="*/ 785812 h 1752600"/>
              <a:gd name="connsiteX188" fmla="*/ 984342 w 3128973"/>
              <a:gd name="connsiteY188" fmla="*/ 773578 h 1752600"/>
              <a:gd name="connsiteX189" fmla="*/ 957262 w 3128973"/>
              <a:gd name="connsiteY189" fmla="*/ 766762 h 1752600"/>
              <a:gd name="connsiteX190" fmla="*/ 938212 w 3128973"/>
              <a:gd name="connsiteY190" fmla="*/ 757237 h 1752600"/>
              <a:gd name="connsiteX191" fmla="*/ 904875 w 3128973"/>
              <a:gd name="connsiteY191" fmla="*/ 747712 h 1752600"/>
              <a:gd name="connsiteX192" fmla="*/ 862012 w 3128973"/>
              <a:gd name="connsiteY192" fmla="*/ 723900 h 1752600"/>
              <a:gd name="connsiteX193" fmla="*/ 795337 w 3128973"/>
              <a:gd name="connsiteY193" fmla="*/ 685800 h 1752600"/>
              <a:gd name="connsiteX194" fmla="*/ 776287 w 3128973"/>
              <a:gd name="connsiteY194" fmla="*/ 666750 h 1752600"/>
              <a:gd name="connsiteX195" fmla="*/ 762000 w 3128973"/>
              <a:gd name="connsiteY195" fmla="*/ 661987 h 1752600"/>
              <a:gd name="connsiteX196" fmla="*/ 742950 w 3128973"/>
              <a:gd name="connsiteY196" fmla="*/ 647700 h 1752600"/>
              <a:gd name="connsiteX197" fmla="*/ 709612 w 3128973"/>
              <a:gd name="connsiteY197" fmla="*/ 638175 h 1752600"/>
              <a:gd name="connsiteX198" fmla="*/ 695325 w 3128973"/>
              <a:gd name="connsiteY198" fmla="*/ 628650 h 1752600"/>
              <a:gd name="connsiteX199" fmla="*/ 681037 w 3128973"/>
              <a:gd name="connsiteY199" fmla="*/ 623887 h 1752600"/>
              <a:gd name="connsiteX200" fmla="*/ 676275 w 3128973"/>
              <a:gd name="connsiteY200" fmla="*/ 604837 h 1752600"/>
              <a:gd name="connsiteX201" fmla="*/ 666750 w 3128973"/>
              <a:gd name="connsiteY201" fmla="*/ 576262 h 1752600"/>
              <a:gd name="connsiteX202" fmla="*/ 661987 w 3128973"/>
              <a:gd name="connsiteY202" fmla="*/ 561975 h 1752600"/>
              <a:gd name="connsiteX203" fmla="*/ 666750 w 3128973"/>
              <a:gd name="connsiteY203" fmla="*/ 538162 h 1752600"/>
              <a:gd name="connsiteX204" fmla="*/ 638175 w 3128973"/>
              <a:gd name="connsiteY204" fmla="*/ 514350 h 1752600"/>
              <a:gd name="connsiteX205" fmla="*/ 619125 w 3128973"/>
              <a:gd name="connsiteY205" fmla="*/ 500062 h 1752600"/>
              <a:gd name="connsiteX206" fmla="*/ 576262 w 3128973"/>
              <a:gd name="connsiteY206" fmla="*/ 490537 h 1752600"/>
              <a:gd name="connsiteX207" fmla="*/ 542925 w 3128973"/>
              <a:gd name="connsiteY207" fmla="*/ 452437 h 1752600"/>
              <a:gd name="connsiteX208" fmla="*/ 525462 w 3128973"/>
              <a:gd name="connsiteY208" fmla="*/ 485775 h 1752600"/>
              <a:gd name="connsiteX209" fmla="*/ 504825 w 3128973"/>
              <a:gd name="connsiteY209" fmla="*/ 466725 h 1752600"/>
              <a:gd name="connsiteX210" fmla="*/ 454025 w 3128973"/>
              <a:gd name="connsiteY210" fmla="*/ 466725 h 1752600"/>
              <a:gd name="connsiteX211" fmla="*/ 407987 w 3128973"/>
              <a:gd name="connsiteY211" fmla="*/ 473075 h 1752600"/>
              <a:gd name="connsiteX212" fmla="*/ 395287 w 3128973"/>
              <a:gd name="connsiteY212" fmla="*/ 409575 h 1752600"/>
              <a:gd name="connsiteX213" fmla="*/ 376237 w 3128973"/>
              <a:gd name="connsiteY213" fmla="*/ 404812 h 1752600"/>
              <a:gd name="connsiteX214" fmla="*/ 342900 w 3128973"/>
              <a:gd name="connsiteY214" fmla="*/ 400050 h 1752600"/>
              <a:gd name="connsiteX215" fmla="*/ 314325 w 3128973"/>
              <a:gd name="connsiteY215" fmla="*/ 390525 h 1752600"/>
              <a:gd name="connsiteX216" fmla="*/ 273844 w 3128973"/>
              <a:gd name="connsiteY216" fmla="*/ 383382 h 1752600"/>
              <a:gd name="connsiteX217" fmla="*/ 257175 w 3128973"/>
              <a:gd name="connsiteY217" fmla="*/ 371475 h 1752600"/>
              <a:gd name="connsiteX218" fmla="*/ 245269 w 3128973"/>
              <a:gd name="connsiteY218" fmla="*/ 364331 h 1752600"/>
              <a:gd name="connsiteX219" fmla="*/ 223837 w 3128973"/>
              <a:gd name="connsiteY219" fmla="*/ 347662 h 1752600"/>
              <a:gd name="connsiteX220" fmla="*/ 190500 w 3128973"/>
              <a:gd name="connsiteY220" fmla="*/ 338137 h 1752600"/>
              <a:gd name="connsiteX221" fmla="*/ 147637 w 3128973"/>
              <a:gd name="connsiteY221" fmla="*/ 333375 h 1752600"/>
              <a:gd name="connsiteX222" fmla="*/ 119062 w 3128973"/>
              <a:gd name="connsiteY222" fmla="*/ 323850 h 1752600"/>
              <a:gd name="connsiteX223" fmla="*/ 104775 w 3128973"/>
              <a:gd name="connsiteY223" fmla="*/ 319087 h 1752600"/>
              <a:gd name="connsiteX224" fmla="*/ 61912 w 3128973"/>
              <a:gd name="connsiteY224" fmla="*/ 300037 h 1752600"/>
              <a:gd name="connsiteX225" fmla="*/ 23812 w 3128973"/>
              <a:gd name="connsiteY225" fmla="*/ 290512 h 1752600"/>
              <a:gd name="connsiteX226" fmla="*/ 9525 w 3128973"/>
              <a:gd name="connsiteY226" fmla="*/ 261937 h 1752600"/>
              <a:gd name="connsiteX227" fmla="*/ 0 w 3128973"/>
              <a:gd name="connsiteY227" fmla="*/ 290512 h 1752600"/>
              <a:gd name="connsiteX228" fmla="*/ 4762 w 3128973"/>
              <a:gd name="connsiteY228" fmla="*/ 247650 h 1752600"/>
              <a:gd name="connsiteX229" fmla="*/ 19050 w 3128973"/>
              <a:gd name="connsiteY229" fmla="*/ 200025 h 1752600"/>
              <a:gd name="connsiteX230" fmla="*/ 23812 w 3128973"/>
              <a:gd name="connsiteY230" fmla="*/ 185737 h 1752600"/>
              <a:gd name="connsiteX231" fmla="*/ 71437 w 3128973"/>
              <a:gd name="connsiteY231" fmla="*/ 171450 h 1752600"/>
              <a:gd name="connsiteX232" fmla="*/ 85725 w 3128973"/>
              <a:gd name="connsiteY232" fmla="*/ 166687 h 1752600"/>
              <a:gd name="connsiteX233" fmla="*/ 100012 w 3128973"/>
              <a:gd name="connsiteY233" fmla="*/ 161925 h 1752600"/>
              <a:gd name="connsiteX234" fmla="*/ 114300 w 3128973"/>
              <a:gd name="connsiteY234" fmla="*/ 152400 h 1752600"/>
              <a:gd name="connsiteX235" fmla="*/ 133350 w 3128973"/>
              <a:gd name="connsiteY235" fmla="*/ 123825 h 1752600"/>
              <a:gd name="connsiteX236" fmla="*/ 138112 w 3128973"/>
              <a:gd name="connsiteY236" fmla="*/ 109537 h 1752600"/>
              <a:gd name="connsiteX237" fmla="*/ 135467 w 3128973"/>
              <a:gd name="connsiteY237" fmla="*/ 97059 h 1752600"/>
              <a:gd name="connsiteX238" fmla="*/ 142875 w 3128973"/>
              <a:gd name="connsiteY238" fmla="*/ 71437 h 1752600"/>
              <a:gd name="connsiteX239" fmla="*/ 157162 w 3128973"/>
              <a:gd name="connsiteY239" fmla="*/ 57150 h 1752600"/>
              <a:gd name="connsiteX240" fmla="*/ 200025 w 3128973"/>
              <a:gd name="connsiteY240" fmla="*/ 33337 h 1752600"/>
              <a:gd name="connsiteX241" fmla="*/ 309562 w 3128973"/>
              <a:gd name="connsiteY241" fmla="*/ 28575 h 1752600"/>
              <a:gd name="connsiteX242" fmla="*/ 400050 w 3128973"/>
              <a:gd name="connsiteY242" fmla="*/ 14287 h 1752600"/>
              <a:gd name="connsiteX243" fmla="*/ 414337 w 3128973"/>
              <a:gd name="connsiteY243" fmla="*/ 9525 h 1752600"/>
              <a:gd name="connsiteX244" fmla="*/ 481012 w 3128973"/>
              <a:gd name="connsiteY244" fmla="*/ 0 h 175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</a:cxnLst>
            <a:rect l="l" t="t" r="r" b="b"/>
            <a:pathLst>
              <a:path w="3128973" h="1752600">
                <a:moveTo>
                  <a:pt x="481012" y="0"/>
                </a:moveTo>
                <a:cubicBezTo>
                  <a:pt x="490537" y="1587"/>
                  <a:pt x="500950" y="444"/>
                  <a:pt x="509587" y="4762"/>
                </a:cubicBezTo>
                <a:cubicBezTo>
                  <a:pt x="514707" y="7322"/>
                  <a:pt x="519112" y="19050"/>
                  <a:pt x="519112" y="19050"/>
                </a:cubicBezTo>
                <a:lnTo>
                  <a:pt x="519112" y="80962"/>
                </a:lnTo>
                <a:lnTo>
                  <a:pt x="576262" y="95250"/>
                </a:lnTo>
                <a:lnTo>
                  <a:pt x="590550" y="128587"/>
                </a:lnTo>
                <a:lnTo>
                  <a:pt x="657225" y="161925"/>
                </a:lnTo>
                <a:lnTo>
                  <a:pt x="690562" y="247650"/>
                </a:lnTo>
                <a:lnTo>
                  <a:pt x="747712" y="280987"/>
                </a:lnTo>
                <a:lnTo>
                  <a:pt x="828675" y="300037"/>
                </a:lnTo>
                <a:lnTo>
                  <a:pt x="981075" y="276225"/>
                </a:lnTo>
                <a:lnTo>
                  <a:pt x="1081087" y="252412"/>
                </a:lnTo>
                <a:lnTo>
                  <a:pt x="1171575" y="257175"/>
                </a:lnTo>
                <a:lnTo>
                  <a:pt x="1271587" y="257175"/>
                </a:lnTo>
                <a:lnTo>
                  <a:pt x="1376362" y="266700"/>
                </a:lnTo>
                <a:lnTo>
                  <a:pt x="1404937" y="261937"/>
                </a:lnTo>
                <a:lnTo>
                  <a:pt x="1323975" y="176212"/>
                </a:lnTo>
                <a:lnTo>
                  <a:pt x="1328737" y="80962"/>
                </a:lnTo>
                <a:lnTo>
                  <a:pt x="1852612" y="85725"/>
                </a:lnTo>
                <a:lnTo>
                  <a:pt x="1847850" y="261937"/>
                </a:lnTo>
                <a:lnTo>
                  <a:pt x="1895475" y="228600"/>
                </a:lnTo>
                <a:lnTo>
                  <a:pt x="2046801" y="228600"/>
                </a:lnTo>
                <a:lnTo>
                  <a:pt x="2126456" y="225698"/>
                </a:lnTo>
                <a:lnTo>
                  <a:pt x="2131219" y="119430"/>
                </a:lnTo>
                <a:lnTo>
                  <a:pt x="2266949" y="60392"/>
                </a:lnTo>
                <a:lnTo>
                  <a:pt x="2309812" y="48585"/>
                </a:lnTo>
                <a:lnTo>
                  <a:pt x="2359818" y="53307"/>
                </a:lnTo>
                <a:lnTo>
                  <a:pt x="2416968" y="88731"/>
                </a:lnTo>
                <a:lnTo>
                  <a:pt x="2486025" y="112345"/>
                </a:lnTo>
                <a:lnTo>
                  <a:pt x="2566987" y="152491"/>
                </a:lnTo>
                <a:lnTo>
                  <a:pt x="2650330" y="194998"/>
                </a:lnTo>
                <a:lnTo>
                  <a:pt x="2681287" y="218614"/>
                </a:lnTo>
                <a:lnTo>
                  <a:pt x="2678905" y="232782"/>
                </a:lnTo>
                <a:lnTo>
                  <a:pt x="2077757" y="243403"/>
                </a:lnTo>
                <a:cubicBezTo>
                  <a:pt x="2073505" y="245267"/>
                  <a:pt x="2043330" y="260436"/>
                  <a:pt x="2033587" y="266700"/>
                </a:cubicBezTo>
                <a:cubicBezTo>
                  <a:pt x="2023844" y="272964"/>
                  <a:pt x="2024616" y="276852"/>
                  <a:pt x="2019300" y="280987"/>
                </a:cubicBezTo>
                <a:cubicBezTo>
                  <a:pt x="2010264" y="288015"/>
                  <a:pt x="1990725" y="300037"/>
                  <a:pt x="1990725" y="300037"/>
                </a:cubicBezTo>
                <a:cubicBezTo>
                  <a:pt x="1987550" y="304800"/>
                  <a:pt x="1983760" y="309205"/>
                  <a:pt x="1981200" y="314325"/>
                </a:cubicBezTo>
                <a:cubicBezTo>
                  <a:pt x="1966298" y="344129"/>
                  <a:pt x="1979704" y="402642"/>
                  <a:pt x="1981200" y="419100"/>
                </a:cubicBezTo>
                <a:cubicBezTo>
                  <a:pt x="1981654" y="424099"/>
                  <a:pt x="1982826" y="429467"/>
                  <a:pt x="1985962" y="433387"/>
                </a:cubicBezTo>
                <a:cubicBezTo>
                  <a:pt x="1989538" y="437857"/>
                  <a:pt x="1995487" y="439737"/>
                  <a:pt x="2000250" y="442912"/>
                </a:cubicBezTo>
                <a:cubicBezTo>
                  <a:pt x="2001837" y="447675"/>
                  <a:pt x="2005012" y="452180"/>
                  <a:pt x="2005012" y="457200"/>
                </a:cubicBezTo>
                <a:cubicBezTo>
                  <a:pt x="2005012" y="550958"/>
                  <a:pt x="1990941" y="456440"/>
                  <a:pt x="2005012" y="561975"/>
                </a:cubicBezTo>
                <a:cubicBezTo>
                  <a:pt x="2005675" y="566951"/>
                  <a:pt x="2006225" y="572712"/>
                  <a:pt x="2009775" y="576262"/>
                </a:cubicBezTo>
                <a:cubicBezTo>
                  <a:pt x="2013325" y="579812"/>
                  <a:pt x="2019300" y="579437"/>
                  <a:pt x="2024062" y="581025"/>
                </a:cubicBezTo>
                <a:cubicBezTo>
                  <a:pt x="2028825" y="585787"/>
                  <a:pt x="2032746" y="591576"/>
                  <a:pt x="2038350" y="595312"/>
                </a:cubicBezTo>
                <a:cubicBezTo>
                  <a:pt x="2042527" y="598097"/>
                  <a:pt x="2047617" y="600075"/>
                  <a:pt x="2052637" y="600075"/>
                </a:cubicBezTo>
                <a:cubicBezTo>
                  <a:pt x="2080814" y="600075"/>
                  <a:pt x="2106358" y="595090"/>
                  <a:pt x="2133600" y="590550"/>
                </a:cubicBezTo>
                <a:cubicBezTo>
                  <a:pt x="2138362" y="588962"/>
                  <a:pt x="2142867" y="585787"/>
                  <a:pt x="2147887" y="585787"/>
                </a:cubicBezTo>
                <a:cubicBezTo>
                  <a:pt x="2178533" y="585787"/>
                  <a:pt x="2176147" y="587164"/>
                  <a:pt x="2195512" y="600075"/>
                </a:cubicBezTo>
                <a:cubicBezTo>
                  <a:pt x="2198687" y="604837"/>
                  <a:pt x="2201373" y="609965"/>
                  <a:pt x="2205037" y="614362"/>
                </a:cubicBezTo>
                <a:cubicBezTo>
                  <a:pt x="2209349" y="619536"/>
                  <a:pt x="2215589" y="623046"/>
                  <a:pt x="2219325" y="628650"/>
                </a:cubicBezTo>
                <a:cubicBezTo>
                  <a:pt x="2222110" y="632827"/>
                  <a:pt x="2221842" y="638447"/>
                  <a:pt x="2224087" y="642937"/>
                </a:cubicBezTo>
                <a:cubicBezTo>
                  <a:pt x="2226647" y="648057"/>
                  <a:pt x="2231052" y="652105"/>
                  <a:pt x="2233612" y="657225"/>
                </a:cubicBezTo>
                <a:cubicBezTo>
                  <a:pt x="2253331" y="696661"/>
                  <a:pt x="2220602" y="644851"/>
                  <a:pt x="2247900" y="685800"/>
                </a:cubicBezTo>
                <a:cubicBezTo>
                  <a:pt x="2255097" y="714591"/>
                  <a:pt x="2250592" y="698640"/>
                  <a:pt x="2262187" y="733425"/>
                </a:cubicBezTo>
                <a:cubicBezTo>
                  <a:pt x="2266848" y="747407"/>
                  <a:pt x="2291436" y="762449"/>
                  <a:pt x="2305050" y="771525"/>
                </a:cubicBezTo>
                <a:cubicBezTo>
                  <a:pt x="2308936" y="783185"/>
                  <a:pt x="2311980" y="794563"/>
                  <a:pt x="2319337" y="804862"/>
                </a:cubicBezTo>
                <a:cubicBezTo>
                  <a:pt x="2323252" y="810343"/>
                  <a:pt x="2328862" y="814387"/>
                  <a:pt x="2333625" y="819150"/>
                </a:cubicBezTo>
                <a:cubicBezTo>
                  <a:pt x="2335212" y="823912"/>
                  <a:pt x="2335602" y="829260"/>
                  <a:pt x="2338387" y="833437"/>
                </a:cubicBezTo>
                <a:cubicBezTo>
                  <a:pt x="2342123" y="839041"/>
                  <a:pt x="2347358" y="843590"/>
                  <a:pt x="2352675" y="847725"/>
                </a:cubicBezTo>
                <a:cubicBezTo>
                  <a:pt x="2377239" y="866831"/>
                  <a:pt x="2373980" y="864352"/>
                  <a:pt x="2395537" y="871537"/>
                </a:cubicBezTo>
                <a:cubicBezTo>
                  <a:pt x="2400300" y="877887"/>
                  <a:pt x="2403727" y="885505"/>
                  <a:pt x="2409825" y="890587"/>
                </a:cubicBezTo>
                <a:cubicBezTo>
                  <a:pt x="2413681" y="893801"/>
                  <a:pt x="2420562" y="891800"/>
                  <a:pt x="2424112" y="895350"/>
                </a:cubicBezTo>
                <a:cubicBezTo>
                  <a:pt x="2429132" y="900370"/>
                  <a:pt x="2429874" y="908380"/>
                  <a:pt x="2433637" y="914400"/>
                </a:cubicBezTo>
                <a:cubicBezTo>
                  <a:pt x="2447688" y="936881"/>
                  <a:pt x="2444847" y="931911"/>
                  <a:pt x="2466975" y="942975"/>
                </a:cubicBezTo>
                <a:lnTo>
                  <a:pt x="2474637" y="954728"/>
                </a:lnTo>
                <a:cubicBezTo>
                  <a:pt x="2478571" y="960763"/>
                  <a:pt x="2474875" y="953828"/>
                  <a:pt x="2495550" y="971550"/>
                </a:cubicBezTo>
                <a:lnTo>
                  <a:pt x="2508776" y="983894"/>
                </a:lnTo>
                <a:cubicBezTo>
                  <a:pt x="2511524" y="987217"/>
                  <a:pt x="2516590" y="989889"/>
                  <a:pt x="2533650" y="1000125"/>
                </a:cubicBezTo>
                <a:cubicBezTo>
                  <a:pt x="2545617" y="1036028"/>
                  <a:pt x="2529476" y="991779"/>
                  <a:pt x="2547937" y="1028700"/>
                </a:cubicBezTo>
                <a:cubicBezTo>
                  <a:pt x="2550182" y="1033190"/>
                  <a:pt x="2550455" y="1038497"/>
                  <a:pt x="2552700" y="1042987"/>
                </a:cubicBezTo>
                <a:cubicBezTo>
                  <a:pt x="2561570" y="1060727"/>
                  <a:pt x="2563343" y="1055759"/>
                  <a:pt x="2576512" y="1071562"/>
                </a:cubicBezTo>
                <a:lnTo>
                  <a:pt x="2584921" y="1082873"/>
                </a:lnTo>
                <a:cubicBezTo>
                  <a:pt x="2587489" y="1087190"/>
                  <a:pt x="2590502" y="1088827"/>
                  <a:pt x="2600325" y="1095375"/>
                </a:cubicBezTo>
                <a:cubicBezTo>
                  <a:pt x="2603500" y="1100137"/>
                  <a:pt x="2606186" y="1105265"/>
                  <a:pt x="2609850" y="1109662"/>
                </a:cubicBezTo>
                <a:cubicBezTo>
                  <a:pt x="2619334" y="1121043"/>
                  <a:pt x="2640455" y="1138914"/>
                  <a:pt x="2652712" y="1143000"/>
                </a:cubicBezTo>
                <a:cubicBezTo>
                  <a:pt x="2662237" y="1146175"/>
                  <a:pt x="2672307" y="1148035"/>
                  <a:pt x="2681287" y="1152525"/>
                </a:cubicBezTo>
                <a:cubicBezTo>
                  <a:pt x="2687637" y="1155700"/>
                  <a:pt x="2694173" y="1158528"/>
                  <a:pt x="2700337" y="1162050"/>
                </a:cubicBezTo>
                <a:cubicBezTo>
                  <a:pt x="2705307" y="1164890"/>
                  <a:pt x="2709505" y="1169015"/>
                  <a:pt x="2714625" y="1171575"/>
                </a:cubicBezTo>
                <a:cubicBezTo>
                  <a:pt x="2724386" y="1176455"/>
                  <a:pt x="2743672" y="1179289"/>
                  <a:pt x="2752725" y="1181100"/>
                </a:cubicBezTo>
                <a:cubicBezTo>
                  <a:pt x="2757487" y="1185862"/>
                  <a:pt x="2761408" y="1191651"/>
                  <a:pt x="2767012" y="1195387"/>
                </a:cubicBezTo>
                <a:cubicBezTo>
                  <a:pt x="2771189" y="1198172"/>
                  <a:pt x="2776810" y="1197905"/>
                  <a:pt x="2781300" y="1200150"/>
                </a:cubicBezTo>
                <a:cubicBezTo>
                  <a:pt x="2786419" y="1202710"/>
                  <a:pt x="2790825" y="1206500"/>
                  <a:pt x="2795587" y="1209675"/>
                </a:cubicBezTo>
                <a:cubicBezTo>
                  <a:pt x="2798762" y="1214437"/>
                  <a:pt x="2802552" y="1218843"/>
                  <a:pt x="2805112" y="1223962"/>
                </a:cubicBezTo>
                <a:cubicBezTo>
                  <a:pt x="2807357" y="1228452"/>
                  <a:pt x="2807897" y="1233636"/>
                  <a:pt x="2809875" y="1238250"/>
                </a:cubicBezTo>
                <a:cubicBezTo>
                  <a:pt x="2815067" y="1250364"/>
                  <a:pt x="2823953" y="1267312"/>
                  <a:pt x="2833687" y="1276350"/>
                </a:cubicBezTo>
                <a:cubicBezTo>
                  <a:pt x="2901481" y="1339301"/>
                  <a:pt x="2870775" y="1296262"/>
                  <a:pt x="2895600" y="1333500"/>
                </a:cubicBezTo>
                <a:cubicBezTo>
                  <a:pt x="2897187" y="1339850"/>
                  <a:pt x="2897435" y="1346696"/>
                  <a:pt x="2900362" y="1352550"/>
                </a:cubicBezTo>
                <a:cubicBezTo>
                  <a:pt x="2900397" y="1352604"/>
                  <a:pt x="2924176" y="1388271"/>
                  <a:pt x="2928937" y="1395412"/>
                </a:cubicBezTo>
                <a:cubicBezTo>
                  <a:pt x="2932112" y="1400175"/>
                  <a:pt x="2938828" y="1401273"/>
                  <a:pt x="2943225" y="1404937"/>
                </a:cubicBezTo>
                <a:cubicBezTo>
                  <a:pt x="2948399" y="1409249"/>
                  <a:pt x="2953129" y="1414111"/>
                  <a:pt x="2957512" y="1419225"/>
                </a:cubicBezTo>
                <a:cubicBezTo>
                  <a:pt x="2978271" y="1443444"/>
                  <a:pt x="2962082" y="1435036"/>
                  <a:pt x="2986087" y="1443037"/>
                </a:cubicBezTo>
                <a:cubicBezTo>
                  <a:pt x="2990850" y="1449387"/>
                  <a:pt x="2994762" y="1456474"/>
                  <a:pt x="3000375" y="1462087"/>
                </a:cubicBezTo>
                <a:lnTo>
                  <a:pt x="3016395" y="1476222"/>
                </a:lnTo>
                <a:cubicBezTo>
                  <a:pt x="3026530" y="1483317"/>
                  <a:pt x="3021940" y="1474395"/>
                  <a:pt x="3028950" y="1495425"/>
                </a:cubicBezTo>
                <a:cubicBezTo>
                  <a:pt x="3035362" y="1533904"/>
                  <a:pt x="3030658" y="1514839"/>
                  <a:pt x="3043237" y="1552575"/>
                </a:cubicBezTo>
                <a:cubicBezTo>
                  <a:pt x="3045047" y="1558005"/>
                  <a:pt x="3050202" y="1561743"/>
                  <a:pt x="3052762" y="1566862"/>
                </a:cubicBezTo>
                <a:cubicBezTo>
                  <a:pt x="3055007" y="1571352"/>
                  <a:pt x="3055937" y="1576387"/>
                  <a:pt x="3057525" y="1581150"/>
                </a:cubicBezTo>
                <a:cubicBezTo>
                  <a:pt x="3059959" y="1607929"/>
                  <a:pt x="3061167" y="1635640"/>
                  <a:pt x="3067050" y="1662112"/>
                </a:cubicBezTo>
                <a:cubicBezTo>
                  <a:pt x="3068139" y="1667013"/>
                  <a:pt x="3068676" y="1672480"/>
                  <a:pt x="3071812" y="1676400"/>
                </a:cubicBezTo>
                <a:cubicBezTo>
                  <a:pt x="3078526" y="1684793"/>
                  <a:pt x="3090975" y="1687550"/>
                  <a:pt x="3100387" y="1690687"/>
                </a:cubicBezTo>
                <a:cubicBezTo>
                  <a:pt x="3105150" y="1689100"/>
                  <a:pt x="3110755" y="1689061"/>
                  <a:pt x="3114675" y="1685925"/>
                </a:cubicBezTo>
                <a:cubicBezTo>
                  <a:pt x="3119145" y="1682349"/>
                  <a:pt x="3121875" y="1676868"/>
                  <a:pt x="3124200" y="1671637"/>
                </a:cubicBezTo>
                <a:cubicBezTo>
                  <a:pt x="3126740" y="1665923"/>
                  <a:pt x="3126116" y="1657473"/>
                  <a:pt x="3128973" y="1651467"/>
                </a:cubicBezTo>
                <a:cubicBezTo>
                  <a:pt x="3128656" y="1671071"/>
                  <a:pt x="3128338" y="1690675"/>
                  <a:pt x="3128021" y="1710279"/>
                </a:cubicBezTo>
                <a:cubicBezTo>
                  <a:pt x="3099654" y="1710575"/>
                  <a:pt x="3071278" y="1710632"/>
                  <a:pt x="3043237" y="1714500"/>
                </a:cubicBezTo>
                <a:cubicBezTo>
                  <a:pt x="3036565" y="1715420"/>
                  <a:pt x="3034554" y="1725051"/>
                  <a:pt x="3028950" y="1728787"/>
                </a:cubicBezTo>
                <a:cubicBezTo>
                  <a:pt x="3021132" y="1733999"/>
                  <a:pt x="2989549" y="1737735"/>
                  <a:pt x="2986087" y="1738312"/>
                </a:cubicBezTo>
                <a:cubicBezTo>
                  <a:pt x="2981325" y="1739900"/>
                  <a:pt x="2976820" y="1743075"/>
                  <a:pt x="2971800" y="1743075"/>
                </a:cubicBezTo>
                <a:cubicBezTo>
                  <a:pt x="2962144" y="1743075"/>
                  <a:pt x="2952822" y="1737246"/>
                  <a:pt x="2943225" y="1738312"/>
                </a:cubicBezTo>
                <a:cubicBezTo>
                  <a:pt x="2937536" y="1738944"/>
                  <a:pt x="2934057" y="1745277"/>
                  <a:pt x="2928937" y="1747837"/>
                </a:cubicBezTo>
                <a:cubicBezTo>
                  <a:pt x="2924447" y="1750082"/>
                  <a:pt x="2919412" y="1751012"/>
                  <a:pt x="2914650" y="1752600"/>
                </a:cubicBezTo>
                <a:lnTo>
                  <a:pt x="2895600" y="1724025"/>
                </a:lnTo>
                <a:lnTo>
                  <a:pt x="2883310" y="1701201"/>
                </a:lnTo>
                <a:lnTo>
                  <a:pt x="2883805" y="1696138"/>
                </a:lnTo>
                <a:cubicBezTo>
                  <a:pt x="2886149" y="1694163"/>
                  <a:pt x="2891066" y="1698777"/>
                  <a:pt x="2871787" y="1685925"/>
                </a:cubicBezTo>
                <a:cubicBezTo>
                  <a:pt x="2837754" y="1634874"/>
                  <a:pt x="2890750" y="1712347"/>
                  <a:pt x="2847975" y="1657350"/>
                </a:cubicBezTo>
                <a:lnTo>
                  <a:pt x="2834034" y="1637762"/>
                </a:lnTo>
                <a:cubicBezTo>
                  <a:pt x="2826933" y="1625959"/>
                  <a:pt x="2835382" y="1633079"/>
                  <a:pt x="2814637" y="1619250"/>
                </a:cubicBezTo>
                <a:cubicBezTo>
                  <a:pt x="2813050" y="1614487"/>
                  <a:pt x="2813425" y="1608512"/>
                  <a:pt x="2809875" y="1604962"/>
                </a:cubicBezTo>
                <a:cubicBezTo>
                  <a:pt x="2806325" y="1601412"/>
                  <a:pt x="2800077" y="1602445"/>
                  <a:pt x="2795587" y="1600200"/>
                </a:cubicBezTo>
                <a:cubicBezTo>
                  <a:pt x="2790468" y="1597640"/>
                  <a:pt x="2786530" y="1593000"/>
                  <a:pt x="2781300" y="1590675"/>
                </a:cubicBezTo>
                <a:cubicBezTo>
                  <a:pt x="2772125" y="1586597"/>
                  <a:pt x="2760662" y="1575329"/>
                  <a:pt x="2752725" y="1581150"/>
                </a:cubicBezTo>
                <a:cubicBezTo>
                  <a:pt x="2744788" y="1586971"/>
                  <a:pt x="2740819" y="1619250"/>
                  <a:pt x="2733675" y="1625600"/>
                </a:cubicBezTo>
                <a:cubicBezTo>
                  <a:pt x="2726531" y="1631950"/>
                  <a:pt x="2714625" y="1622425"/>
                  <a:pt x="2709862" y="1619250"/>
                </a:cubicBezTo>
                <a:lnTo>
                  <a:pt x="2723566" y="1590361"/>
                </a:lnTo>
                <a:cubicBezTo>
                  <a:pt x="2718581" y="1583489"/>
                  <a:pt x="2688333" y="1576335"/>
                  <a:pt x="2674937" y="1560512"/>
                </a:cubicBezTo>
                <a:cubicBezTo>
                  <a:pt x="2661541" y="1544689"/>
                  <a:pt x="2650860" y="1507067"/>
                  <a:pt x="2643187" y="1495425"/>
                </a:cubicBezTo>
                <a:cubicBezTo>
                  <a:pt x="2635514" y="1483783"/>
                  <a:pt x="2633727" y="1492041"/>
                  <a:pt x="2628900" y="1490662"/>
                </a:cubicBezTo>
                <a:cubicBezTo>
                  <a:pt x="2587031" y="1478699"/>
                  <a:pt x="2629826" y="1492559"/>
                  <a:pt x="2595562" y="1481137"/>
                </a:cubicBezTo>
                <a:cubicBezTo>
                  <a:pt x="2590800" y="1476375"/>
                  <a:pt x="2587162" y="1470121"/>
                  <a:pt x="2581275" y="1466850"/>
                </a:cubicBezTo>
                <a:cubicBezTo>
                  <a:pt x="2572498" y="1461974"/>
                  <a:pt x="2552700" y="1457325"/>
                  <a:pt x="2552700" y="1457325"/>
                </a:cubicBezTo>
                <a:cubicBezTo>
                  <a:pt x="2547937" y="1454150"/>
                  <a:pt x="2543673" y="1450055"/>
                  <a:pt x="2538412" y="1447800"/>
                </a:cubicBezTo>
                <a:cubicBezTo>
                  <a:pt x="2532396" y="1445222"/>
                  <a:pt x="2525631" y="1444918"/>
                  <a:pt x="2519362" y="1443037"/>
                </a:cubicBezTo>
                <a:cubicBezTo>
                  <a:pt x="2509745" y="1440152"/>
                  <a:pt x="2500312" y="1436687"/>
                  <a:pt x="2490787" y="1433512"/>
                </a:cubicBezTo>
                <a:lnTo>
                  <a:pt x="2476500" y="1428750"/>
                </a:lnTo>
                <a:cubicBezTo>
                  <a:pt x="2473325" y="1423987"/>
                  <a:pt x="2471738" y="1417637"/>
                  <a:pt x="2466975" y="1414462"/>
                </a:cubicBezTo>
                <a:cubicBezTo>
                  <a:pt x="2461529" y="1410831"/>
                  <a:pt x="2454194" y="1411581"/>
                  <a:pt x="2447925" y="1409700"/>
                </a:cubicBezTo>
                <a:cubicBezTo>
                  <a:pt x="2376457" y="1388260"/>
                  <a:pt x="2459308" y="1401912"/>
                  <a:pt x="2309812" y="1395412"/>
                </a:cubicBezTo>
                <a:cubicBezTo>
                  <a:pt x="2305050" y="1393825"/>
                  <a:pt x="2300368" y="1391971"/>
                  <a:pt x="2295525" y="1390650"/>
                </a:cubicBezTo>
                <a:cubicBezTo>
                  <a:pt x="2282895" y="1387206"/>
                  <a:pt x="2257425" y="1381125"/>
                  <a:pt x="2257425" y="1381125"/>
                </a:cubicBezTo>
                <a:cubicBezTo>
                  <a:pt x="2251075" y="1376362"/>
                  <a:pt x="2245267" y="1370775"/>
                  <a:pt x="2238375" y="1366837"/>
                </a:cubicBezTo>
                <a:cubicBezTo>
                  <a:pt x="2234016" y="1364346"/>
                  <a:pt x="2228446" y="1364566"/>
                  <a:pt x="2224087" y="1362075"/>
                </a:cubicBezTo>
                <a:cubicBezTo>
                  <a:pt x="2176689" y="1334991"/>
                  <a:pt x="2238265" y="1358863"/>
                  <a:pt x="2176462" y="1338262"/>
                </a:cubicBezTo>
                <a:cubicBezTo>
                  <a:pt x="2171032" y="1336452"/>
                  <a:pt x="2167405" y="1331062"/>
                  <a:pt x="2162175" y="1328737"/>
                </a:cubicBezTo>
                <a:cubicBezTo>
                  <a:pt x="2147265" y="1322110"/>
                  <a:pt x="2130384" y="1318408"/>
                  <a:pt x="2114550" y="1314450"/>
                </a:cubicBezTo>
                <a:cubicBezTo>
                  <a:pt x="2109787" y="1309687"/>
                  <a:pt x="2105866" y="1303898"/>
                  <a:pt x="2100262" y="1300162"/>
                </a:cubicBezTo>
                <a:cubicBezTo>
                  <a:pt x="2096085" y="1297377"/>
                  <a:pt x="2093516" y="1296988"/>
                  <a:pt x="2085975" y="1295400"/>
                </a:cubicBezTo>
                <a:cubicBezTo>
                  <a:pt x="2078434" y="1293812"/>
                  <a:pt x="2064544" y="1292621"/>
                  <a:pt x="2055019" y="1290637"/>
                </a:cubicBezTo>
                <a:cubicBezTo>
                  <a:pt x="2045494" y="1288653"/>
                  <a:pt x="2037158" y="1286669"/>
                  <a:pt x="2028824" y="1283494"/>
                </a:cubicBezTo>
                <a:cubicBezTo>
                  <a:pt x="2020490" y="1280319"/>
                  <a:pt x="2024062" y="1273175"/>
                  <a:pt x="2005012" y="1271587"/>
                </a:cubicBezTo>
                <a:cubicBezTo>
                  <a:pt x="1998662" y="1268412"/>
                  <a:pt x="1992488" y="1264859"/>
                  <a:pt x="1985962" y="1262062"/>
                </a:cubicBezTo>
                <a:cubicBezTo>
                  <a:pt x="1981348" y="1260085"/>
                  <a:pt x="1976063" y="1259738"/>
                  <a:pt x="1971675" y="1257300"/>
                </a:cubicBezTo>
                <a:cubicBezTo>
                  <a:pt x="1961668" y="1251741"/>
                  <a:pt x="1952625" y="1244600"/>
                  <a:pt x="1943100" y="1238250"/>
                </a:cubicBezTo>
                <a:lnTo>
                  <a:pt x="1914525" y="1219200"/>
                </a:lnTo>
                <a:cubicBezTo>
                  <a:pt x="1906171" y="1213631"/>
                  <a:pt x="1895475" y="1212850"/>
                  <a:pt x="1885950" y="1209675"/>
                </a:cubicBezTo>
                <a:lnTo>
                  <a:pt x="1843087" y="1195387"/>
                </a:lnTo>
                <a:cubicBezTo>
                  <a:pt x="1837314" y="1193463"/>
                  <a:pt x="1757691" y="1185895"/>
                  <a:pt x="1757362" y="1185862"/>
                </a:cubicBezTo>
                <a:lnTo>
                  <a:pt x="1700212" y="1166812"/>
                </a:lnTo>
                <a:cubicBezTo>
                  <a:pt x="1689352" y="1163192"/>
                  <a:pt x="1681162" y="1154112"/>
                  <a:pt x="1671637" y="1147762"/>
                </a:cubicBezTo>
                <a:cubicBezTo>
                  <a:pt x="1665730" y="1143824"/>
                  <a:pt x="1658751" y="1141759"/>
                  <a:pt x="1652587" y="1138237"/>
                </a:cubicBezTo>
                <a:cubicBezTo>
                  <a:pt x="1647617" y="1135397"/>
                  <a:pt x="1648619" y="1128712"/>
                  <a:pt x="1638300" y="1128712"/>
                </a:cubicBezTo>
                <a:cubicBezTo>
                  <a:pt x="1627981" y="1128712"/>
                  <a:pt x="1603772" y="1141413"/>
                  <a:pt x="1590675" y="1138238"/>
                </a:cubicBezTo>
                <a:cubicBezTo>
                  <a:pt x="1577578" y="1135063"/>
                  <a:pt x="1564482" y="1111250"/>
                  <a:pt x="1559719" y="1109662"/>
                </a:cubicBezTo>
                <a:cubicBezTo>
                  <a:pt x="1532636" y="1089350"/>
                  <a:pt x="1564868" y="1097886"/>
                  <a:pt x="1528762" y="1085850"/>
                </a:cubicBezTo>
                <a:lnTo>
                  <a:pt x="1514475" y="1081087"/>
                </a:lnTo>
                <a:cubicBezTo>
                  <a:pt x="1504686" y="1088495"/>
                  <a:pt x="1483519" y="1125802"/>
                  <a:pt x="1470025" y="1130300"/>
                </a:cubicBezTo>
                <a:cubicBezTo>
                  <a:pt x="1456531" y="1134798"/>
                  <a:pt x="1441185" y="1115219"/>
                  <a:pt x="1433512" y="1108075"/>
                </a:cubicBezTo>
                <a:cubicBezTo>
                  <a:pt x="1425839" y="1100931"/>
                  <a:pt x="1432718" y="1089554"/>
                  <a:pt x="1423987" y="1087437"/>
                </a:cubicBezTo>
                <a:cubicBezTo>
                  <a:pt x="1415256" y="1085320"/>
                  <a:pt x="1385887" y="1096962"/>
                  <a:pt x="1381125" y="1095375"/>
                </a:cubicBezTo>
                <a:cubicBezTo>
                  <a:pt x="1376362" y="1092200"/>
                  <a:pt x="1385887" y="1041400"/>
                  <a:pt x="1383506" y="1028700"/>
                </a:cubicBezTo>
                <a:cubicBezTo>
                  <a:pt x="1381125" y="1016000"/>
                  <a:pt x="1374775" y="1022747"/>
                  <a:pt x="1366838" y="1019175"/>
                </a:cubicBezTo>
                <a:cubicBezTo>
                  <a:pt x="1358901" y="1015603"/>
                  <a:pt x="1343819" y="1009253"/>
                  <a:pt x="1335881" y="1007268"/>
                </a:cubicBezTo>
                <a:cubicBezTo>
                  <a:pt x="1327944" y="1005284"/>
                  <a:pt x="1325960" y="1012427"/>
                  <a:pt x="1319213" y="1007268"/>
                </a:cubicBezTo>
                <a:cubicBezTo>
                  <a:pt x="1312466" y="1002109"/>
                  <a:pt x="1301750" y="983059"/>
                  <a:pt x="1295400" y="976312"/>
                </a:cubicBezTo>
                <a:cubicBezTo>
                  <a:pt x="1289050" y="969565"/>
                  <a:pt x="1286343" y="969112"/>
                  <a:pt x="1281112" y="966787"/>
                </a:cubicBezTo>
                <a:cubicBezTo>
                  <a:pt x="1230108" y="944119"/>
                  <a:pt x="1270582" y="969292"/>
                  <a:pt x="1238250" y="947737"/>
                </a:cubicBezTo>
                <a:cubicBezTo>
                  <a:pt x="1234485" y="921382"/>
                  <a:pt x="1218935" y="988747"/>
                  <a:pt x="1212850" y="995362"/>
                </a:cubicBezTo>
                <a:cubicBezTo>
                  <a:pt x="1206765" y="1001977"/>
                  <a:pt x="1206500" y="989012"/>
                  <a:pt x="1201737" y="987425"/>
                </a:cubicBezTo>
                <a:cubicBezTo>
                  <a:pt x="1194593" y="982361"/>
                  <a:pt x="1175014" y="962596"/>
                  <a:pt x="1163637" y="952277"/>
                </a:cubicBezTo>
                <a:cubicBezTo>
                  <a:pt x="1152260" y="941958"/>
                  <a:pt x="1146439" y="940953"/>
                  <a:pt x="1133475" y="925512"/>
                </a:cubicBezTo>
                <a:cubicBezTo>
                  <a:pt x="1120511" y="910071"/>
                  <a:pt x="1096169" y="873389"/>
                  <a:pt x="1085850" y="859631"/>
                </a:cubicBezTo>
                <a:cubicBezTo>
                  <a:pt x="1075531" y="845873"/>
                  <a:pt x="1079500" y="844550"/>
                  <a:pt x="1071562" y="842962"/>
                </a:cubicBezTo>
                <a:cubicBezTo>
                  <a:pt x="1033463" y="817562"/>
                  <a:pt x="1079499" y="850899"/>
                  <a:pt x="1047750" y="819150"/>
                </a:cubicBezTo>
                <a:cubicBezTo>
                  <a:pt x="1042137" y="813537"/>
                  <a:pt x="1034727" y="810028"/>
                  <a:pt x="1028700" y="804862"/>
                </a:cubicBezTo>
                <a:lnTo>
                  <a:pt x="1018076" y="794816"/>
                </a:lnTo>
                <a:cubicBezTo>
                  <a:pt x="1012542" y="788621"/>
                  <a:pt x="1018351" y="791889"/>
                  <a:pt x="1000125" y="785812"/>
                </a:cubicBezTo>
                <a:lnTo>
                  <a:pt x="984342" y="773578"/>
                </a:lnTo>
                <a:cubicBezTo>
                  <a:pt x="977078" y="767741"/>
                  <a:pt x="988542" y="777189"/>
                  <a:pt x="957262" y="766762"/>
                </a:cubicBezTo>
                <a:cubicBezTo>
                  <a:pt x="950527" y="764517"/>
                  <a:pt x="944738" y="760034"/>
                  <a:pt x="938212" y="757237"/>
                </a:cubicBezTo>
                <a:cubicBezTo>
                  <a:pt x="928651" y="753139"/>
                  <a:pt x="914536" y="750128"/>
                  <a:pt x="904875" y="747712"/>
                </a:cubicBezTo>
                <a:cubicBezTo>
                  <a:pt x="872123" y="725877"/>
                  <a:pt x="887160" y="732282"/>
                  <a:pt x="862012" y="723900"/>
                </a:cubicBezTo>
                <a:cubicBezTo>
                  <a:pt x="821623" y="696974"/>
                  <a:pt x="843676" y="709970"/>
                  <a:pt x="795337" y="685800"/>
                </a:cubicBezTo>
                <a:cubicBezTo>
                  <a:pt x="787305" y="681784"/>
                  <a:pt x="783594" y="671970"/>
                  <a:pt x="776287" y="666750"/>
                </a:cubicBezTo>
                <a:cubicBezTo>
                  <a:pt x="772202" y="663832"/>
                  <a:pt x="766762" y="663575"/>
                  <a:pt x="762000" y="661987"/>
                </a:cubicBezTo>
                <a:cubicBezTo>
                  <a:pt x="755650" y="657225"/>
                  <a:pt x="749842" y="651638"/>
                  <a:pt x="742950" y="647700"/>
                </a:cubicBezTo>
                <a:cubicBezTo>
                  <a:pt x="737633" y="644662"/>
                  <a:pt x="713741" y="639207"/>
                  <a:pt x="709612" y="638175"/>
                </a:cubicBezTo>
                <a:cubicBezTo>
                  <a:pt x="704850" y="635000"/>
                  <a:pt x="700444" y="631210"/>
                  <a:pt x="695325" y="628650"/>
                </a:cubicBezTo>
                <a:cubicBezTo>
                  <a:pt x="690835" y="626405"/>
                  <a:pt x="684173" y="627807"/>
                  <a:pt x="681037" y="623887"/>
                </a:cubicBezTo>
                <a:cubicBezTo>
                  <a:pt x="676948" y="618776"/>
                  <a:pt x="678156" y="611106"/>
                  <a:pt x="676275" y="604837"/>
                </a:cubicBezTo>
                <a:cubicBezTo>
                  <a:pt x="673390" y="595220"/>
                  <a:pt x="669925" y="585787"/>
                  <a:pt x="666750" y="576262"/>
                </a:cubicBezTo>
                <a:lnTo>
                  <a:pt x="661987" y="561975"/>
                </a:lnTo>
                <a:cubicBezTo>
                  <a:pt x="663575" y="554037"/>
                  <a:pt x="668506" y="546064"/>
                  <a:pt x="666750" y="538162"/>
                </a:cubicBezTo>
                <a:cubicBezTo>
                  <a:pt x="662598" y="519479"/>
                  <a:pt x="651677" y="518850"/>
                  <a:pt x="638175" y="514350"/>
                </a:cubicBezTo>
                <a:cubicBezTo>
                  <a:pt x="631825" y="509587"/>
                  <a:pt x="626017" y="504000"/>
                  <a:pt x="619125" y="500062"/>
                </a:cubicBezTo>
                <a:cubicBezTo>
                  <a:pt x="609473" y="494546"/>
                  <a:pt x="583251" y="491702"/>
                  <a:pt x="576262" y="490537"/>
                </a:cubicBezTo>
                <a:cubicBezTo>
                  <a:pt x="552450" y="474662"/>
                  <a:pt x="551392" y="453231"/>
                  <a:pt x="542925" y="452437"/>
                </a:cubicBezTo>
                <a:cubicBezTo>
                  <a:pt x="534458" y="451643"/>
                  <a:pt x="533400" y="487362"/>
                  <a:pt x="525462" y="485775"/>
                </a:cubicBezTo>
                <a:cubicBezTo>
                  <a:pt x="520700" y="482600"/>
                  <a:pt x="516731" y="469900"/>
                  <a:pt x="504825" y="466725"/>
                </a:cubicBezTo>
                <a:cubicBezTo>
                  <a:pt x="492919" y="463550"/>
                  <a:pt x="470165" y="465667"/>
                  <a:pt x="454025" y="466725"/>
                </a:cubicBezTo>
                <a:cubicBezTo>
                  <a:pt x="437885" y="467783"/>
                  <a:pt x="417777" y="482600"/>
                  <a:pt x="407987" y="473075"/>
                </a:cubicBezTo>
                <a:cubicBezTo>
                  <a:pt x="398197" y="463550"/>
                  <a:pt x="399290" y="410075"/>
                  <a:pt x="395287" y="409575"/>
                </a:cubicBezTo>
                <a:cubicBezTo>
                  <a:pt x="388937" y="407987"/>
                  <a:pt x="382677" y="405983"/>
                  <a:pt x="376237" y="404812"/>
                </a:cubicBezTo>
                <a:cubicBezTo>
                  <a:pt x="365193" y="402804"/>
                  <a:pt x="353838" y="402574"/>
                  <a:pt x="342900" y="400050"/>
                </a:cubicBezTo>
                <a:cubicBezTo>
                  <a:pt x="333117" y="397792"/>
                  <a:pt x="325834" y="393303"/>
                  <a:pt x="314325" y="390525"/>
                </a:cubicBezTo>
                <a:cubicBezTo>
                  <a:pt x="302816" y="387747"/>
                  <a:pt x="283369" y="386557"/>
                  <a:pt x="273844" y="383382"/>
                </a:cubicBezTo>
                <a:cubicBezTo>
                  <a:pt x="264319" y="380207"/>
                  <a:pt x="261938" y="374650"/>
                  <a:pt x="257175" y="371475"/>
                </a:cubicBezTo>
                <a:cubicBezTo>
                  <a:pt x="252413" y="368300"/>
                  <a:pt x="250825" y="368300"/>
                  <a:pt x="245269" y="364331"/>
                </a:cubicBezTo>
                <a:cubicBezTo>
                  <a:pt x="239713" y="360362"/>
                  <a:pt x="232965" y="352028"/>
                  <a:pt x="223837" y="347662"/>
                </a:cubicBezTo>
                <a:cubicBezTo>
                  <a:pt x="214709" y="343296"/>
                  <a:pt x="206619" y="340617"/>
                  <a:pt x="190500" y="338137"/>
                </a:cubicBezTo>
                <a:cubicBezTo>
                  <a:pt x="176292" y="335951"/>
                  <a:pt x="161925" y="334962"/>
                  <a:pt x="147637" y="333375"/>
                </a:cubicBezTo>
                <a:lnTo>
                  <a:pt x="119062" y="323850"/>
                </a:lnTo>
                <a:cubicBezTo>
                  <a:pt x="114300" y="322262"/>
                  <a:pt x="108952" y="321872"/>
                  <a:pt x="104775" y="319087"/>
                </a:cubicBezTo>
                <a:cubicBezTo>
                  <a:pt x="82133" y="303993"/>
                  <a:pt x="95917" y="311372"/>
                  <a:pt x="61912" y="300037"/>
                </a:cubicBezTo>
                <a:cubicBezTo>
                  <a:pt x="49493" y="295897"/>
                  <a:pt x="23812" y="290512"/>
                  <a:pt x="23812" y="290512"/>
                </a:cubicBezTo>
                <a:cubicBezTo>
                  <a:pt x="16497" y="279540"/>
                  <a:pt x="11716" y="275084"/>
                  <a:pt x="9525" y="261937"/>
                </a:cubicBezTo>
                <a:cubicBezTo>
                  <a:pt x="5513" y="270010"/>
                  <a:pt x="1190" y="286941"/>
                  <a:pt x="0" y="290512"/>
                </a:cubicBezTo>
                <a:cubicBezTo>
                  <a:pt x="1587" y="276225"/>
                  <a:pt x="2576" y="261858"/>
                  <a:pt x="4762" y="247650"/>
                </a:cubicBezTo>
                <a:cubicBezTo>
                  <a:pt x="6818" y="234287"/>
                  <a:pt x="15343" y="211146"/>
                  <a:pt x="19050" y="200025"/>
                </a:cubicBezTo>
                <a:cubicBezTo>
                  <a:pt x="20637" y="195262"/>
                  <a:pt x="18942" y="186954"/>
                  <a:pt x="23812" y="185737"/>
                </a:cubicBezTo>
                <a:cubicBezTo>
                  <a:pt x="52600" y="178541"/>
                  <a:pt x="36656" y="183044"/>
                  <a:pt x="71437" y="171450"/>
                </a:cubicBezTo>
                <a:lnTo>
                  <a:pt x="85725" y="166687"/>
                </a:lnTo>
                <a:lnTo>
                  <a:pt x="100012" y="161925"/>
                </a:lnTo>
                <a:cubicBezTo>
                  <a:pt x="104775" y="158750"/>
                  <a:pt x="110531" y="156708"/>
                  <a:pt x="114300" y="152400"/>
                </a:cubicBezTo>
                <a:cubicBezTo>
                  <a:pt x="121838" y="143785"/>
                  <a:pt x="133350" y="123825"/>
                  <a:pt x="133350" y="123825"/>
                </a:cubicBezTo>
                <a:cubicBezTo>
                  <a:pt x="134937" y="119062"/>
                  <a:pt x="138112" y="114557"/>
                  <a:pt x="138112" y="109537"/>
                </a:cubicBezTo>
                <a:lnTo>
                  <a:pt x="135467" y="97059"/>
                </a:lnTo>
                <a:cubicBezTo>
                  <a:pt x="131157" y="91399"/>
                  <a:pt x="124798" y="100362"/>
                  <a:pt x="142875" y="71437"/>
                </a:cubicBezTo>
                <a:cubicBezTo>
                  <a:pt x="146444" y="65726"/>
                  <a:pt x="151846" y="61285"/>
                  <a:pt x="157162" y="57150"/>
                </a:cubicBezTo>
                <a:cubicBezTo>
                  <a:pt x="163740" y="52034"/>
                  <a:pt x="186355" y="34389"/>
                  <a:pt x="200025" y="33337"/>
                </a:cubicBezTo>
                <a:cubicBezTo>
                  <a:pt x="236464" y="30534"/>
                  <a:pt x="273050" y="30162"/>
                  <a:pt x="309562" y="28575"/>
                </a:cubicBezTo>
                <a:cubicBezTo>
                  <a:pt x="357773" y="12505"/>
                  <a:pt x="328126" y="19820"/>
                  <a:pt x="400050" y="14287"/>
                </a:cubicBezTo>
                <a:cubicBezTo>
                  <a:pt x="404812" y="12700"/>
                  <a:pt x="409393" y="10397"/>
                  <a:pt x="414337" y="9525"/>
                </a:cubicBezTo>
                <a:cubicBezTo>
                  <a:pt x="436446" y="5624"/>
                  <a:pt x="481012" y="0"/>
                  <a:pt x="481012" y="0"/>
                </a:cubicBez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08" name="Rectangle 7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4249728" y="3036016"/>
            <a:ext cx="276638" cy="25152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500" b="1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z="2000" dirty="0"/>
              <a:t>2</a:t>
            </a:r>
          </a:p>
        </p:txBody>
      </p:sp>
      <p:sp>
        <p:nvSpPr>
          <p:cNvPr id="110" name="Freeform 109"/>
          <p:cNvSpPr/>
          <p:nvPr>
            <p:custDataLst>
              <p:tags r:id="rId8"/>
            </p:custDataLst>
          </p:nvPr>
        </p:nvSpPr>
        <p:spPr>
          <a:xfrm>
            <a:off x="3895840" y="3462613"/>
            <a:ext cx="1797145" cy="469305"/>
          </a:xfrm>
          <a:custGeom>
            <a:avLst/>
            <a:gdLst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61962 w 3228975"/>
              <a:gd name="connsiteY82" fmla="*/ 138113 h 843211"/>
              <a:gd name="connsiteX83" fmla="*/ 447675 w 3228975"/>
              <a:gd name="connsiteY83" fmla="*/ 133350 h 843211"/>
              <a:gd name="connsiteX84" fmla="*/ 433387 w 3228975"/>
              <a:gd name="connsiteY84" fmla="*/ 123825 h 843211"/>
              <a:gd name="connsiteX85" fmla="*/ 390525 w 3228975"/>
              <a:gd name="connsiteY85" fmla="*/ 10477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19200 w 3228975"/>
              <a:gd name="connsiteY156" fmla="*/ 442913 h 843211"/>
              <a:gd name="connsiteX157" fmla="*/ 1276350 w 3228975"/>
              <a:gd name="connsiteY157" fmla="*/ 457200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61962 w 3228975"/>
              <a:gd name="connsiteY82" fmla="*/ 138113 h 843211"/>
              <a:gd name="connsiteX83" fmla="*/ 447675 w 3228975"/>
              <a:gd name="connsiteY83" fmla="*/ 133350 h 843211"/>
              <a:gd name="connsiteX84" fmla="*/ 433387 w 3228975"/>
              <a:gd name="connsiteY84" fmla="*/ 123825 h 843211"/>
              <a:gd name="connsiteX85" fmla="*/ 390525 w 3228975"/>
              <a:gd name="connsiteY85" fmla="*/ 10477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19200 w 3228975"/>
              <a:gd name="connsiteY156" fmla="*/ 442913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61962 w 3228975"/>
              <a:gd name="connsiteY82" fmla="*/ 138113 h 843211"/>
              <a:gd name="connsiteX83" fmla="*/ 447675 w 3228975"/>
              <a:gd name="connsiteY83" fmla="*/ 133350 h 843211"/>
              <a:gd name="connsiteX84" fmla="*/ 433387 w 3228975"/>
              <a:gd name="connsiteY84" fmla="*/ 123825 h 843211"/>
              <a:gd name="connsiteX85" fmla="*/ 390525 w 3228975"/>
              <a:gd name="connsiteY85" fmla="*/ 10477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61962 w 3228975"/>
              <a:gd name="connsiteY82" fmla="*/ 138113 h 843211"/>
              <a:gd name="connsiteX83" fmla="*/ 447675 w 3228975"/>
              <a:gd name="connsiteY83" fmla="*/ 133350 h 843211"/>
              <a:gd name="connsiteX84" fmla="*/ 433387 w 3228975"/>
              <a:gd name="connsiteY84" fmla="*/ 123825 h 843211"/>
              <a:gd name="connsiteX85" fmla="*/ 407194 w 3228975"/>
              <a:gd name="connsiteY85" fmla="*/ 8572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61962 w 3228975"/>
              <a:gd name="connsiteY82" fmla="*/ 138113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71487 w 3228975"/>
              <a:gd name="connsiteY82" fmla="*/ 128588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1000 w 3228975"/>
              <a:gd name="connsiteY86" fmla="*/ 90488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71487 w 3228975"/>
              <a:gd name="connsiteY82" fmla="*/ 128588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52425 w 3228975"/>
              <a:gd name="connsiteY87" fmla="*/ 71438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28750 w 3228975"/>
              <a:gd name="connsiteY54" fmla="*/ 39528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71487 w 3228975"/>
              <a:gd name="connsiteY82" fmla="*/ 128588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57325 w 3228975"/>
              <a:gd name="connsiteY53" fmla="*/ 409575 h 843211"/>
              <a:gd name="connsiteX54" fmla="*/ 1440656 w 3228975"/>
              <a:gd name="connsiteY54" fmla="*/ 37623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71487 w 3228975"/>
              <a:gd name="connsiteY82" fmla="*/ 128588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76375 w 3228975"/>
              <a:gd name="connsiteY52" fmla="*/ 414338 h 843211"/>
              <a:gd name="connsiteX53" fmla="*/ 1473994 w 3228975"/>
              <a:gd name="connsiteY53" fmla="*/ 395287 h 843211"/>
              <a:gd name="connsiteX54" fmla="*/ 1440656 w 3228975"/>
              <a:gd name="connsiteY54" fmla="*/ 376238 h 843211"/>
              <a:gd name="connsiteX55" fmla="*/ 1400175 w 3228975"/>
              <a:gd name="connsiteY55" fmla="*/ 376238 h 843211"/>
              <a:gd name="connsiteX56" fmla="*/ 1385887 w 3228975"/>
              <a:gd name="connsiteY56" fmla="*/ 366713 h 843211"/>
              <a:gd name="connsiteX57" fmla="*/ 1357312 w 3228975"/>
              <a:gd name="connsiteY57" fmla="*/ 357188 h 843211"/>
              <a:gd name="connsiteX58" fmla="*/ 1338262 w 3228975"/>
              <a:gd name="connsiteY58" fmla="*/ 347663 h 843211"/>
              <a:gd name="connsiteX59" fmla="*/ 1300162 w 3228975"/>
              <a:gd name="connsiteY59" fmla="*/ 342900 h 843211"/>
              <a:gd name="connsiteX60" fmla="*/ 1223962 w 3228975"/>
              <a:gd name="connsiteY60" fmla="*/ 333375 h 843211"/>
              <a:gd name="connsiteX61" fmla="*/ 1114425 w 3228975"/>
              <a:gd name="connsiteY61" fmla="*/ 328613 h 843211"/>
              <a:gd name="connsiteX62" fmla="*/ 1057275 w 3228975"/>
              <a:gd name="connsiteY62" fmla="*/ 323850 h 843211"/>
              <a:gd name="connsiteX63" fmla="*/ 1014412 w 3228975"/>
              <a:gd name="connsiteY63" fmla="*/ 323850 h 843211"/>
              <a:gd name="connsiteX64" fmla="*/ 985837 w 3228975"/>
              <a:gd name="connsiteY64" fmla="*/ 333375 h 843211"/>
              <a:gd name="connsiteX65" fmla="*/ 957262 w 3228975"/>
              <a:gd name="connsiteY65" fmla="*/ 328613 h 843211"/>
              <a:gd name="connsiteX66" fmla="*/ 928687 w 3228975"/>
              <a:gd name="connsiteY66" fmla="*/ 319088 h 843211"/>
              <a:gd name="connsiteX67" fmla="*/ 885825 w 3228975"/>
              <a:gd name="connsiteY67" fmla="*/ 304800 h 843211"/>
              <a:gd name="connsiteX68" fmla="*/ 871537 w 3228975"/>
              <a:gd name="connsiteY68" fmla="*/ 295275 h 843211"/>
              <a:gd name="connsiteX69" fmla="*/ 842962 w 3228975"/>
              <a:gd name="connsiteY69" fmla="*/ 285750 h 843211"/>
              <a:gd name="connsiteX70" fmla="*/ 828675 w 3228975"/>
              <a:gd name="connsiteY70" fmla="*/ 280988 h 843211"/>
              <a:gd name="connsiteX71" fmla="*/ 814387 w 3228975"/>
              <a:gd name="connsiteY71" fmla="*/ 271463 h 843211"/>
              <a:gd name="connsiteX72" fmla="*/ 709612 w 3228975"/>
              <a:gd name="connsiteY72" fmla="*/ 257175 h 843211"/>
              <a:gd name="connsiteX73" fmla="*/ 681037 w 3228975"/>
              <a:gd name="connsiteY73" fmla="*/ 247650 h 843211"/>
              <a:gd name="connsiteX74" fmla="*/ 666750 w 3228975"/>
              <a:gd name="connsiteY74" fmla="*/ 238125 h 843211"/>
              <a:gd name="connsiteX75" fmla="*/ 638175 w 3228975"/>
              <a:gd name="connsiteY75" fmla="*/ 233363 h 843211"/>
              <a:gd name="connsiteX76" fmla="*/ 595312 w 3228975"/>
              <a:gd name="connsiteY76" fmla="*/ 209550 h 843211"/>
              <a:gd name="connsiteX77" fmla="*/ 581025 w 3228975"/>
              <a:gd name="connsiteY77" fmla="*/ 200025 h 843211"/>
              <a:gd name="connsiteX78" fmla="*/ 566737 w 3228975"/>
              <a:gd name="connsiteY78" fmla="*/ 195263 h 843211"/>
              <a:gd name="connsiteX79" fmla="*/ 528637 w 3228975"/>
              <a:gd name="connsiteY79" fmla="*/ 180975 h 843211"/>
              <a:gd name="connsiteX80" fmla="*/ 500062 w 3228975"/>
              <a:gd name="connsiteY80" fmla="*/ 161925 h 843211"/>
              <a:gd name="connsiteX81" fmla="*/ 490537 w 3228975"/>
              <a:gd name="connsiteY81" fmla="*/ 147638 h 843211"/>
              <a:gd name="connsiteX82" fmla="*/ 471487 w 3228975"/>
              <a:gd name="connsiteY82" fmla="*/ 128588 h 843211"/>
              <a:gd name="connsiteX83" fmla="*/ 447675 w 3228975"/>
              <a:gd name="connsiteY83" fmla="*/ 133350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71650 w 3228975"/>
              <a:gd name="connsiteY183" fmla="*/ 800100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28925 w 3228975"/>
              <a:gd name="connsiteY220" fmla="*/ 719138 h 843211"/>
              <a:gd name="connsiteX221" fmla="*/ 2843212 w 3228975"/>
              <a:gd name="connsiteY221" fmla="*/ 728663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490662 w 3228975"/>
              <a:gd name="connsiteY51" fmla="*/ 423863 h 843211"/>
              <a:gd name="connsiteX52" fmla="*/ 1497806 w 3228975"/>
              <a:gd name="connsiteY52" fmla="*/ 411956 h 843211"/>
              <a:gd name="connsiteX53" fmla="*/ 1476375 w 3228975"/>
              <a:gd name="connsiteY53" fmla="*/ 414338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19237 w 3228975"/>
              <a:gd name="connsiteY50" fmla="*/ 438150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76375 w 3228975"/>
              <a:gd name="connsiteY53" fmla="*/ 414338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76375 w 3228975"/>
              <a:gd name="connsiteY53" fmla="*/ 414338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62162 w 3228975"/>
              <a:gd name="connsiteY31" fmla="*/ 676275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5487 w 3228975"/>
              <a:gd name="connsiteY32" fmla="*/ 666750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66912 w 3228975"/>
              <a:gd name="connsiteY33" fmla="*/ 661988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47912 w 3228975"/>
              <a:gd name="connsiteY24" fmla="*/ 671513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71650 w 3228975"/>
              <a:gd name="connsiteY184" fmla="*/ 800100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3212 w 3228975"/>
              <a:gd name="connsiteY222" fmla="*/ 728663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28925 w 3228975"/>
              <a:gd name="connsiteY221" fmla="*/ 719138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42962 w 3228975"/>
              <a:gd name="connsiteY70" fmla="*/ 285750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28675 w 3228975"/>
              <a:gd name="connsiteY71" fmla="*/ 280988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14387 w 3228975"/>
              <a:gd name="connsiteY72" fmla="*/ 271463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47675 w 3228975"/>
              <a:gd name="connsiteY84" fmla="*/ 133350 h 843211"/>
              <a:gd name="connsiteX85" fmla="*/ 450055 w 3228975"/>
              <a:gd name="connsiteY85" fmla="*/ 111918 h 843211"/>
              <a:gd name="connsiteX86" fmla="*/ 407194 w 3228975"/>
              <a:gd name="connsiteY86" fmla="*/ 85725 h 843211"/>
              <a:gd name="connsiteX87" fmla="*/ 383381 w 3228975"/>
              <a:gd name="connsiteY87" fmla="*/ 66675 h 843211"/>
              <a:gd name="connsiteX88" fmla="*/ 366712 w 3228975"/>
              <a:gd name="connsiteY88" fmla="*/ 54769 h 843211"/>
              <a:gd name="connsiteX89" fmla="*/ 342900 w 3228975"/>
              <a:gd name="connsiteY89" fmla="*/ 57150 h 843211"/>
              <a:gd name="connsiteX90" fmla="*/ 314325 w 3228975"/>
              <a:gd name="connsiteY90" fmla="*/ 47625 h 843211"/>
              <a:gd name="connsiteX91" fmla="*/ 300037 w 3228975"/>
              <a:gd name="connsiteY91" fmla="*/ 42863 h 843211"/>
              <a:gd name="connsiteX92" fmla="*/ 266700 w 3228975"/>
              <a:gd name="connsiteY92" fmla="*/ 33338 h 843211"/>
              <a:gd name="connsiteX93" fmla="*/ 219075 w 3228975"/>
              <a:gd name="connsiteY93" fmla="*/ 19050 h 843211"/>
              <a:gd name="connsiteX94" fmla="*/ 166687 w 3228975"/>
              <a:gd name="connsiteY94" fmla="*/ 14288 h 843211"/>
              <a:gd name="connsiteX95" fmla="*/ 80962 w 3228975"/>
              <a:gd name="connsiteY95" fmla="*/ 9525 h 843211"/>
              <a:gd name="connsiteX96" fmla="*/ 61912 w 3228975"/>
              <a:gd name="connsiteY96" fmla="*/ 4763 h 843211"/>
              <a:gd name="connsiteX97" fmla="*/ 47625 w 3228975"/>
              <a:gd name="connsiteY97" fmla="*/ 0 h 843211"/>
              <a:gd name="connsiteX98" fmla="*/ 4762 w 3228975"/>
              <a:gd name="connsiteY98" fmla="*/ 4763 h 843211"/>
              <a:gd name="connsiteX99" fmla="*/ 0 w 3228975"/>
              <a:gd name="connsiteY99" fmla="*/ 19050 h 843211"/>
              <a:gd name="connsiteX100" fmla="*/ 14287 w 3228975"/>
              <a:gd name="connsiteY100" fmla="*/ 47625 h 843211"/>
              <a:gd name="connsiteX101" fmla="*/ 57150 w 3228975"/>
              <a:gd name="connsiteY101" fmla="*/ 71438 h 843211"/>
              <a:gd name="connsiteX102" fmla="*/ 104775 w 3228975"/>
              <a:gd name="connsiteY102" fmla="*/ 76200 h 843211"/>
              <a:gd name="connsiteX103" fmla="*/ 114300 w 3228975"/>
              <a:gd name="connsiteY103" fmla="*/ 90488 h 843211"/>
              <a:gd name="connsiteX104" fmla="*/ 142875 w 3228975"/>
              <a:gd name="connsiteY104" fmla="*/ 104775 h 843211"/>
              <a:gd name="connsiteX105" fmla="*/ 161925 w 3228975"/>
              <a:gd name="connsiteY105" fmla="*/ 109538 h 843211"/>
              <a:gd name="connsiteX106" fmla="*/ 190500 w 3228975"/>
              <a:gd name="connsiteY106" fmla="*/ 128588 h 843211"/>
              <a:gd name="connsiteX107" fmla="*/ 214312 w 3228975"/>
              <a:gd name="connsiteY107" fmla="*/ 147638 h 843211"/>
              <a:gd name="connsiteX108" fmla="*/ 223837 w 3228975"/>
              <a:gd name="connsiteY108" fmla="*/ 176213 h 843211"/>
              <a:gd name="connsiteX109" fmla="*/ 228600 w 3228975"/>
              <a:gd name="connsiteY109" fmla="*/ 190500 h 843211"/>
              <a:gd name="connsiteX110" fmla="*/ 223837 w 3228975"/>
              <a:gd name="connsiteY110" fmla="*/ 214313 h 843211"/>
              <a:gd name="connsiteX111" fmla="*/ 219075 w 3228975"/>
              <a:gd name="connsiteY111" fmla="*/ 228600 h 843211"/>
              <a:gd name="connsiteX112" fmla="*/ 223837 w 3228975"/>
              <a:gd name="connsiteY112" fmla="*/ 257175 h 843211"/>
              <a:gd name="connsiteX113" fmla="*/ 233362 w 3228975"/>
              <a:gd name="connsiteY113" fmla="*/ 271463 h 843211"/>
              <a:gd name="connsiteX114" fmla="*/ 247650 w 3228975"/>
              <a:gd name="connsiteY114" fmla="*/ 276225 h 843211"/>
              <a:gd name="connsiteX115" fmla="*/ 257175 w 3228975"/>
              <a:gd name="connsiteY115" fmla="*/ 290513 h 843211"/>
              <a:gd name="connsiteX116" fmla="*/ 261937 w 3228975"/>
              <a:gd name="connsiteY116" fmla="*/ 304800 h 843211"/>
              <a:gd name="connsiteX117" fmla="*/ 290512 w 3228975"/>
              <a:gd name="connsiteY117" fmla="*/ 314325 h 843211"/>
              <a:gd name="connsiteX118" fmla="*/ 304800 w 3228975"/>
              <a:gd name="connsiteY118" fmla="*/ 323850 h 843211"/>
              <a:gd name="connsiteX119" fmla="*/ 319087 w 3228975"/>
              <a:gd name="connsiteY119" fmla="*/ 32861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9075 w 3228975"/>
              <a:gd name="connsiteY92" fmla="*/ 19050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54981 w 3228975"/>
              <a:gd name="connsiteY183" fmla="*/ 790575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14638 w 3228975"/>
              <a:gd name="connsiteY220" fmla="*/ 723901 h 843211"/>
              <a:gd name="connsiteX221" fmla="*/ 2847975 w 3228975"/>
              <a:gd name="connsiteY221" fmla="*/ 740569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42900 w 3228975"/>
              <a:gd name="connsiteY119" fmla="*/ 366713 h 843211"/>
              <a:gd name="connsiteX120" fmla="*/ 352425 w 3228975"/>
              <a:gd name="connsiteY120" fmla="*/ 381000 h 843211"/>
              <a:gd name="connsiteX121" fmla="*/ 366712 w 3228975"/>
              <a:gd name="connsiteY121" fmla="*/ 385763 h 843211"/>
              <a:gd name="connsiteX122" fmla="*/ 385762 w 3228975"/>
              <a:gd name="connsiteY122" fmla="*/ 395288 h 843211"/>
              <a:gd name="connsiteX123" fmla="*/ 414337 w 3228975"/>
              <a:gd name="connsiteY123" fmla="*/ 404813 h 843211"/>
              <a:gd name="connsiteX124" fmla="*/ 447675 w 3228975"/>
              <a:gd name="connsiteY124" fmla="*/ 419100 h 843211"/>
              <a:gd name="connsiteX125" fmla="*/ 452437 w 3228975"/>
              <a:gd name="connsiteY125" fmla="*/ 466725 h 843211"/>
              <a:gd name="connsiteX126" fmla="*/ 466725 w 3228975"/>
              <a:gd name="connsiteY126" fmla="*/ 476250 h 843211"/>
              <a:gd name="connsiteX127" fmla="*/ 476250 w 3228975"/>
              <a:gd name="connsiteY127" fmla="*/ 490538 h 843211"/>
              <a:gd name="connsiteX128" fmla="*/ 495300 w 3228975"/>
              <a:gd name="connsiteY128" fmla="*/ 495300 h 843211"/>
              <a:gd name="connsiteX129" fmla="*/ 509587 w 3228975"/>
              <a:gd name="connsiteY129" fmla="*/ 500063 h 843211"/>
              <a:gd name="connsiteX130" fmla="*/ 561975 w 3228975"/>
              <a:gd name="connsiteY130" fmla="*/ 495300 h 843211"/>
              <a:gd name="connsiteX131" fmla="*/ 576262 w 3228975"/>
              <a:gd name="connsiteY131" fmla="*/ 500063 h 843211"/>
              <a:gd name="connsiteX132" fmla="*/ 614362 w 3228975"/>
              <a:gd name="connsiteY132" fmla="*/ 547688 h 843211"/>
              <a:gd name="connsiteX133" fmla="*/ 642937 w 3228975"/>
              <a:gd name="connsiteY133" fmla="*/ 557213 h 843211"/>
              <a:gd name="connsiteX134" fmla="*/ 657225 w 3228975"/>
              <a:gd name="connsiteY134" fmla="*/ 561975 h 843211"/>
              <a:gd name="connsiteX135" fmla="*/ 690562 w 3228975"/>
              <a:gd name="connsiteY135" fmla="*/ 557213 h 843211"/>
              <a:gd name="connsiteX136" fmla="*/ 709612 w 3228975"/>
              <a:gd name="connsiteY136" fmla="*/ 581025 h 843211"/>
              <a:gd name="connsiteX137" fmla="*/ 719137 w 3228975"/>
              <a:gd name="connsiteY137" fmla="*/ 595313 h 843211"/>
              <a:gd name="connsiteX138" fmla="*/ 747712 w 3228975"/>
              <a:gd name="connsiteY138" fmla="*/ 590550 h 843211"/>
              <a:gd name="connsiteX139" fmla="*/ 776287 w 3228975"/>
              <a:gd name="connsiteY139" fmla="*/ 571500 h 843211"/>
              <a:gd name="connsiteX140" fmla="*/ 790575 w 3228975"/>
              <a:gd name="connsiteY140" fmla="*/ 566738 h 843211"/>
              <a:gd name="connsiteX141" fmla="*/ 842962 w 3228975"/>
              <a:gd name="connsiteY141" fmla="*/ 547688 h 843211"/>
              <a:gd name="connsiteX142" fmla="*/ 847725 w 3228975"/>
              <a:gd name="connsiteY142" fmla="*/ 533400 h 843211"/>
              <a:gd name="connsiteX143" fmla="*/ 862012 w 3228975"/>
              <a:gd name="connsiteY143" fmla="*/ 528638 h 843211"/>
              <a:gd name="connsiteX144" fmla="*/ 871537 w 3228975"/>
              <a:gd name="connsiteY144" fmla="*/ 514350 h 843211"/>
              <a:gd name="connsiteX145" fmla="*/ 928687 w 3228975"/>
              <a:gd name="connsiteY145" fmla="*/ 514350 h 843211"/>
              <a:gd name="connsiteX146" fmla="*/ 957262 w 3228975"/>
              <a:gd name="connsiteY146" fmla="*/ 528638 h 843211"/>
              <a:gd name="connsiteX147" fmla="*/ 971550 w 3228975"/>
              <a:gd name="connsiteY147" fmla="*/ 533400 h 843211"/>
              <a:gd name="connsiteX148" fmla="*/ 1057275 w 3228975"/>
              <a:gd name="connsiteY148" fmla="*/ 533400 h 843211"/>
              <a:gd name="connsiteX149" fmla="*/ 1076325 w 3228975"/>
              <a:gd name="connsiteY149" fmla="*/ 561975 h 843211"/>
              <a:gd name="connsiteX150" fmla="*/ 1114425 w 3228975"/>
              <a:gd name="connsiteY150" fmla="*/ 557213 h 843211"/>
              <a:gd name="connsiteX151" fmla="*/ 1138237 w 3228975"/>
              <a:gd name="connsiteY151" fmla="*/ 533400 h 843211"/>
              <a:gd name="connsiteX152" fmla="*/ 1152525 w 3228975"/>
              <a:gd name="connsiteY152" fmla="*/ 528638 h 843211"/>
              <a:gd name="connsiteX153" fmla="*/ 1166812 w 3228975"/>
              <a:gd name="connsiteY153" fmla="*/ 519113 h 843211"/>
              <a:gd name="connsiteX154" fmla="*/ 1185862 w 3228975"/>
              <a:gd name="connsiteY154" fmla="*/ 495300 h 843211"/>
              <a:gd name="connsiteX155" fmla="*/ 1204912 w 3228975"/>
              <a:gd name="connsiteY155" fmla="*/ 452438 h 843211"/>
              <a:gd name="connsiteX156" fmla="*/ 1226344 w 3228975"/>
              <a:gd name="connsiteY156" fmla="*/ 454819 h 843211"/>
              <a:gd name="connsiteX157" fmla="*/ 1259681 w 3228975"/>
              <a:gd name="connsiteY157" fmla="*/ 469106 h 843211"/>
              <a:gd name="connsiteX158" fmla="*/ 1290637 w 3228975"/>
              <a:gd name="connsiteY158" fmla="*/ 461963 h 843211"/>
              <a:gd name="connsiteX159" fmla="*/ 1304925 w 3228975"/>
              <a:gd name="connsiteY159" fmla="*/ 466725 h 843211"/>
              <a:gd name="connsiteX160" fmla="*/ 1319212 w 3228975"/>
              <a:gd name="connsiteY160" fmla="*/ 476250 h 843211"/>
              <a:gd name="connsiteX161" fmla="*/ 1338262 w 3228975"/>
              <a:gd name="connsiteY161" fmla="*/ 500063 h 843211"/>
              <a:gd name="connsiteX162" fmla="*/ 1343025 w 3228975"/>
              <a:gd name="connsiteY162" fmla="*/ 514350 h 843211"/>
              <a:gd name="connsiteX163" fmla="*/ 1347787 w 3228975"/>
              <a:gd name="connsiteY163" fmla="*/ 542925 h 843211"/>
              <a:gd name="connsiteX164" fmla="*/ 1362075 w 3228975"/>
              <a:gd name="connsiteY164" fmla="*/ 552450 h 843211"/>
              <a:gd name="connsiteX165" fmla="*/ 1376362 w 3228975"/>
              <a:gd name="connsiteY165" fmla="*/ 557213 h 843211"/>
              <a:gd name="connsiteX166" fmla="*/ 1390650 w 3228975"/>
              <a:gd name="connsiteY166" fmla="*/ 566738 h 843211"/>
              <a:gd name="connsiteX167" fmla="*/ 1419225 w 3228975"/>
              <a:gd name="connsiteY167" fmla="*/ 576263 h 843211"/>
              <a:gd name="connsiteX168" fmla="*/ 1428750 w 3228975"/>
              <a:gd name="connsiteY168" fmla="*/ 590550 h 843211"/>
              <a:gd name="connsiteX169" fmla="*/ 1433512 w 3228975"/>
              <a:gd name="connsiteY169" fmla="*/ 604838 h 843211"/>
              <a:gd name="connsiteX170" fmla="*/ 1447800 w 3228975"/>
              <a:gd name="connsiteY170" fmla="*/ 609600 h 843211"/>
              <a:gd name="connsiteX171" fmla="*/ 1476375 w 3228975"/>
              <a:gd name="connsiteY171" fmla="*/ 628650 h 843211"/>
              <a:gd name="connsiteX172" fmla="*/ 1490662 w 3228975"/>
              <a:gd name="connsiteY172" fmla="*/ 638175 h 843211"/>
              <a:gd name="connsiteX173" fmla="*/ 1514475 w 3228975"/>
              <a:gd name="connsiteY173" fmla="*/ 661988 h 843211"/>
              <a:gd name="connsiteX174" fmla="*/ 1547812 w 3228975"/>
              <a:gd name="connsiteY174" fmla="*/ 700088 h 843211"/>
              <a:gd name="connsiteX175" fmla="*/ 1595437 w 3228975"/>
              <a:gd name="connsiteY175" fmla="*/ 704850 h 843211"/>
              <a:gd name="connsiteX176" fmla="*/ 1638300 w 3228975"/>
              <a:gd name="connsiteY176" fmla="*/ 714375 h 843211"/>
              <a:gd name="connsiteX177" fmla="*/ 1652587 w 3228975"/>
              <a:gd name="connsiteY177" fmla="*/ 719138 h 843211"/>
              <a:gd name="connsiteX178" fmla="*/ 1695450 w 3228975"/>
              <a:gd name="connsiteY178" fmla="*/ 723900 h 843211"/>
              <a:gd name="connsiteX179" fmla="*/ 1681162 w 3228975"/>
              <a:gd name="connsiteY179" fmla="*/ 733425 h 843211"/>
              <a:gd name="connsiteX180" fmla="*/ 1690687 w 3228975"/>
              <a:gd name="connsiteY180" fmla="*/ 766763 h 843211"/>
              <a:gd name="connsiteX181" fmla="*/ 1700212 w 3228975"/>
              <a:gd name="connsiteY181" fmla="*/ 809625 h 843211"/>
              <a:gd name="connsiteX182" fmla="*/ 1714500 w 3228975"/>
              <a:gd name="connsiteY182" fmla="*/ 804863 h 843211"/>
              <a:gd name="connsiteX183" fmla="*/ 1754981 w 3228975"/>
              <a:gd name="connsiteY183" fmla="*/ 790575 h 843211"/>
              <a:gd name="connsiteX184" fmla="*/ 1781175 w 3228975"/>
              <a:gd name="connsiteY184" fmla="*/ 785813 h 843211"/>
              <a:gd name="connsiteX185" fmla="*/ 1804987 w 3228975"/>
              <a:gd name="connsiteY185" fmla="*/ 819150 h 843211"/>
              <a:gd name="connsiteX186" fmla="*/ 1824037 w 3228975"/>
              <a:gd name="connsiteY186" fmla="*/ 842963 h 843211"/>
              <a:gd name="connsiteX187" fmla="*/ 1838325 w 3228975"/>
              <a:gd name="connsiteY187" fmla="*/ 814388 h 843211"/>
              <a:gd name="connsiteX188" fmla="*/ 1857375 w 3228975"/>
              <a:gd name="connsiteY188" fmla="*/ 785813 h 843211"/>
              <a:gd name="connsiteX189" fmla="*/ 1866900 w 3228975"/>
              <a:gd name="connsiteY189" fmla="*/ 771525 h 843211"/>
              <a:gd name="connsiteX190" fmla="*/ 1914525 w 3228975"/>
              <a:gd name="connsiteY190" fmla="*/ 766763 h 843211"/>
              <a:gd name="connsiteX191" fmla="*/ 1962150 w 3228975"/>
              <a:gd name="connsiteY191" fmla="*/ 742950 h 843211"/>
              <a:gd name="connsiteX192" fmla="*/ 2028825 w 3228975"/>
              <a:gd name="connsiteY192" fmla="*/ 747713 h 843211"/>
              <a:gd name="connsiteX193" fmla="*/ 2038350 w 3228975"/>
              <a:gd name="connsiteY193" fmla="*/ 762000 h 843211"/>
              <a:gd name="connsiteX194" fmla="*/ 2052637 w 3228975"/>
              <a:gd name="connsiteY194" fmla="*/ 771525 h 843211"/>
              <a:gd name="connsiteX195" fmla="*/ 2095500 w 3228975"/>
              <a:gd name="connsiteY195" fmla="*/ 776288 h 843211"/>
              <a:gd name="connsiteX196" fmla="*/ 2152650 w 3228975"/>
              <a:gd name="connsiteY196" fmla="*/ 781050 h 843211"/>
              <a:gd name="connsiteX197" fmla="*/ 2166937 w 3228975"/>
              <a:gd name="connsiteY197" fmla="*/ 771525 h 843211"/>
              <a:gd name="connsiteX198" fmla="*/ 2190750 w 3228975"/>
              <a:gd name="connsiteY198" fmla="*/ 766763 h 843211"/>
              <a:gd name="connsiteX199" fmla="*/ 2219325 w 3228975"/>
              <a:gd name="connsiteY199" fmla="*/ 757238 h 843211"/>
              <a:gd name="connsiteX200" fmla="*/ 2257425 w 3228975"/>
              <a:gd name="connsiteY200" fmla="*/ 752475 h 843211"/>
              <a:gd name="connsiteX201" fmla="*/ 2286000 w 3228975"/>
              <a:gd name="connsiteY201" fmla="*/ 771525 h 843211"/>
              <a:gd name="connsiteX202" fmla="*/ 2290762 w 3228975"/>
              <a:gd name="connsiteY202" fmla="*/ 785813 h 843211"/>
              <a:gd name="connsiteX203" fmla="*/ 2305050 w 3228975"/>
              <a:gd name="connsiteY203" fmla="*/ 795338 h 843211"/>
              <a:gd name="connsiteX204" fmla="*/ 2314575 w 3228975"/>
              <a:gd name="connsiteY204" fmla="*/ 823913 h 843211"/>
              <a:gd name="connsiteX205" fmla="*/ 2343150 w 3228975"/>
              <a:gd name="connsiteY205" fmla="*/ 819150 h 843211"/>
              <a:gd name="connsiteX206" fmla="*/ 2357437 w 3228975"/>
              <a:gd name="connsiteY206" fmla="*/ 814388 h 843211"/>
              <a:gd name="connsiteX207" fmla="*/ 2362200 w 3228975"/>
              <a:gd name="connsiteY207" fmla="*/ 828675 h 843211"/>
              <a:gd name="connsiteX208" fmla="*/ 2376487 w 3228975"/>
              <a:gd name="connsiteY208" fmla="*/ 833438 h 843211"/>
              <a:gd name="connsiteX209" fmla="*/ 2409825 w 3228975"/>
              <a:gd name="connsiteY209" fmla="*/ 828675 h 843211"/>
              <a:gd name="connsiteX210" fmla="*/ 2424112 w 3228975"/>
              <a:gd name="connsiteY210" fmla="*/ 785813 h 843211"/>
              <a:gd name="connsiteX211" fmla="*/ 2438400 w 3228975"/>
              <a:gd name="connsiteY211" fmla="*/ 781050 h 843211"/>
              <a:gd name="connsiteX212" fmla="*/ 2476500 w 3228975"/>
              <a:gd name="connsiteY212" fmla="*/ 771525 h 843211"/>
              <a:gd name="connsiteX213" fmla="*/ 2505075 w 3228975"/>
              <a:gd name="connsiteY213" fmla="*/ 762000 h 843211"/>
              <a:gd name="connsiteX214" fmla="*/ 2547937 w 3228975"/>
              <a:gd name="connsiteY214" fmla="*/ 757238 h 843211"/>
              <a:gd name="connsiteX215" fmla="*/ 2667000 w 3228975"/>
              <a:gd name="connsiteY215" fmla="*/ 747713 h 843211"/>
              <a:gd name="connsiteX216" fmla="*/ 2695575 w 3228975"/>
              <a:gd name="connsiteY216" fmla="*/ 733425 h 843211"/>
              <a:gd name="connsiteX217" fmla="*/ 2719387 w 3228975"/>
              <a:gd name="connsiteY217" fmla="*/ 728663 h 843211"/>
              <a:gd name="connsiteX218" fmla="*/ 2752725 w 3228975"/>
              <a:gd name="connsiteY218" fmla="*/ 719138 h 843211"/>
              <a:gd name="connsiteX219" fmla="*/ 2776537 w 3228975"/>
              <a:gd name="connsiteY219" fmla="*/ 714375 h 843211"/>
              <a:gd name="connsiteX220" fmla="*/ 2814638 w 3228975"/>
              <a:gd name="connsiteY220" fmla="*/ 723901 h 843211"/>
              <a:gd name="connsiteX221" fmla="*/ 2847975 w 3228975"/>
              <a:gd name="connsiteY221" fmla="*/ 740569 h 843211"/>
              <a:gd name="connsiteX222" fmla="*/ 2900362 w 3228975"/>
              <a:gd name="connsiteY222" fmla="*/ 738188 h 843211"/>
              <a:gd name="connsiteX223" fmla="*/ 2914650 w 3228975"/>
              <a:gd name="connsiteY223" fmla="*/ 742950 h 843211"/>
              <a:gd name="connsiteX224" fmla="*/ 2928937 w 3228975"/>
              <a:gd name="connsiteY224" fmla="*/ 752475 h 843211"/>
              <a:gd name="connsiteX225" fmla="*/ 3028950 w 3228975"/>
              <a:gd name="connsiteY225" fmla="*/ 742950 h 843211"/>
              <a:gd name="connsiteX226" fmla="*/ 3033712 w 3228975"/>
              <a:gd name="connsiteY226" fmla="*/ 728663 h 843211"/>
              <a:gd name="connsiteX227" fmla="*/ 3048000 w 3228975"/>
              <a:gd name="connsiteY227" fmla="*/ 723900 h 843211"/>
              <a:gd name="connsiteX228" fmla="*/ 3062287 w 3228975"/>
              <a:gd name="connsiteY228" fmla="*/ 714375 h 843211"/>
              <a:gd name="connsiteX229" fmla="*/ 3071812 w 3228975"/>
              <a:gd name="connsiteY229" fmla="*/ 700088 h 843211"/>
              <a:gd name="connsiteX230" fmla="*/ 3086100 w 3228975"/>
              <a:gd name="connsiteY230" fmla="*/ 690563 h 843211"/>
              <a:gd name="connsiteX231" fmla="*/ 3105150 w 3228975"/>
              <a:gd name="connsiteY231" fmla="*/ 661988 h 843211"/>
              <a:gd name="connsiteX232" fmla="*/ 3133725 w 3228975"/>
              <a:gd name="connsiteY232" fmla="*/ 647700 h 843211"/>
              <a:gd name="connsiteX233" fmla="*/ 3171825 w 3228975"/>
              <a:gd name="connsiteY233" fmla="*/ 614363 h 843211"/>
              <a:gd name="connsiteX234" fmla="*/ 3186112 w 3228975"/>
              <a:gd name="connsiteY234" fmla="*/ 600075 h 843211"/>
              <a:gd name="connsiteX235" fmla="*/ 3228975 w 3228975"/>
              <a:gd name="connsiteY235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33375 w 3228975"/>
              <a:gd name="connsiteY119" fmla="*/ 347663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57262 w 3228975"/>
              <a:gd name="connsiteY66" fmla="*/ 328613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16707 w 3228975"/>
              <a:gd name="connsiteY119" fmla="*/ 352426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62024 w 3228975"/>
              <a:gd name="connsiteY66" fmla="*/ 316707 h 843211"/>
              <a:gd name="connsiteX67" fmla="*/ 928687 w 3228975"/>
              <a:gd name="connsiteY67" fmla="*/ 319088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16707 w 3228975"/>
              <a:gd name="connsiteY119" fmla="*/ 352426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62024 w 3228975"/>
              <a:gd name="connsiteY66" fmla="*/ 316707 h 843211"/>
              <a:gd name="connsiteX67" fmla="*/ 931069 w 3228975"/>
              <a:gd name="connsiteY67" fmla="*/ 309563 h 843211"/>
              <a:gd name="connsiteX68" fmla="*/ 885825 w 3228975"/>
              <a:gd name="connsiteY68" fmla="*/ 304800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16707 w 3228975"/>
              <a:gd name="connsiteY119" fmla="*/ 352426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  <a:gd name="connsiteX0" fmla="*/ 3228975 w 3228975"/>
              <a:gd name="connsiteY0" fmla="*/ 590550 h 843211"/>
              <a:gd name="connsiteX1" fmla="*/ 3228975 w 3228975"/>
              <a:gd name="connsiteY1" fmla="*/ 590550 h 843211"/>
              <a:gd name="connsiteX2" fmla="*/ 3186112 w 3228975"/>
              <a:gd name="connsiteY2" fmla="*/ 581025 h 843211"/>
              <a:gd name="connsiteX3" fmla="*/ 3143250 w 3228975"/>
              <a:gd name="connsiteY3" fmla="*/ 585788 h 843211"/>
              <a:gd name="connsiteX4" fmla="*/ 3062287 w 3228975"/>
              <a:gd name="connsiteY4" fmla="*/ 590550 h 843211"/>
              <a:gd name="connsiteX5" fmla="*/ 3048000 w 3228975"/>
              <a:gd name="connsiteY5" fmla="*/ 585788 h 843211"/>
              <a:gd name="connsiteX6" fmla="*/ 2990850 w 3228975"/>
              <a:gd name="connsiteY6" fmla="*/ 595313 h 843211"/>
              <a:gd name="connsiteX7" fmla="*/ 2976562 w 3228975"/>
              <a:gd name="connsiteY7" fmla="*/ 604838 h 843211"/>
              <a:gd name="connsiteX8" fmla="*/ 2971800 w 3228975"/>
              <a:gd name="connsiteY8" fmla="*/ 623888 h 843211"/>
              <a:gd name="connsiteX9" fmla="*/ 2957512 w 3228975"/>
              <a:gd name="connsiteY9" fmla="*/ 628650 h 843211"/>
              <a:gd name="connsiteX10" fmla="*/ 2890837 w 3228975"/>
              <a:gd name="connsiteY10" fmla="*/ 623888 h 843211"/>
              <a:gd name="connsiteX11" fmla="*/ 2847975 w 3228975"/>
              <a:gd name="connsiteY11" fmla="*/ 604838 h 843211"/>
              <a:gd name="connsiteX12" fmla="*/ 2819400 w 3228975"/>
              <a:gd name="connsiteY12" fmla="*/ 595313 h 843211"/>
              <a:gd name="connsiteX13" fmla="*/ 2738437 w 3228975"/>
              <a:gd name="connsiteY13" fmla="*/ 590550 h 843211"/>
              <a:gd name="connsiteX14" fmla="*/ 2690812 w 3228975"/>
              <a:gd name="connsiteY14" fmla="*/ 576263 h 843211"/>
              <a:gd name="connsiteX15" fmla="*/ 2657475 w 3228975"/>
              <a:gd name="connsiteY15" fmla="*/ 566738 h 843211"/>
              <a:gd name="connsiteX16" fmla="*/ 2566987 w 3228975"/>
              <a:gd name="connsiteY16" fmla="*/ 571500 h 843211"/>
              <a:gd name="connsiteX17" fmla="*/ 2552700 w 3228975"/>
              <a:gd name="connsiteY17" fmla="*/ 576263 h 843211"/>
              <a:gd name="connsiteX18" fmla="*/ 2528887 w 3228975"/>
              <a:gd name="connsiteY18" fmla="*/ 581025 h 843211"/>
              <a:gd name="connsiteX19" fmla="*/ 2500312 w 3228975"/>
              <a:gd name="connsiteY19" fmla="*/ 590550 h 843211"/>
              <a:gd name="connsiteX20" fmla="*/ 2457450 w 3228975"/>
              <a:gd name="connsiteY20" fmla="*/ 619125 h 843211"/>
              <a:gd name="connsiteX21" fmla="*/ 2443162 w 3228975"/>
              <a:gd name="connsiteY21" fmla="*/ 623888 h 843211"/>
              <a:gd name="connsiteX22" fmla="*/ 2414587 w 3228975"/>
              <a:gd name="connsiteY22" fmla="*/ 647700 h 843211"/>
              <a:gd name="connsiteX23" fmla="*/ 2386012 w 3228975"/>
              <a:gd name="connsiteY23" fmla="*/ 657225 h 843211"/>
              <a:gd name="connsiteX24" fmla="*/ 2355056 w 3228975"/>
              <a:gd name="connsiteY24" fmla="*/ 681038 h 843211"/>
              <a:gd name="connsiteX25" fmla="*/ 2319337 w 3228975"/>
              <a:gd name="connsiteY25" fmla="*/ 681038 h 843211"/>
              <a:gd name="connsiteX26" fmla="*/ 2305050 w 3228975"/>
              <a:gd name="connsiteY26" fmla="*/ 690563 h 843211"/>
              <a:gd name="connsiteX27" fmla="*/ 2243137 w 3228975"/>
              <a:gd name="connsiteY27" fmla="*/ 695325 h 843211"/>
              <a:gd name="connsiteX28" fmla="*/ 2133600 w 3228975"/>
              <a:gd name="connsiteY28" fmla="*/ 690563 h 843211"/>
              <a:gd name="connsiteX29" fmla="*/ 2114550 w 3228975"/>
              <a:gd name="connsiteY29" fmla="*/ 685800 h 843211"/>
              <a:gd name="connsiteX30" fmla="*/ 2085975 w 3228975"/>
              <a:gd name="connsiteY30" fmla="*/ 681038 h 843211"/>
              <a:gd name="connsiteX31" fmla="*/ 2050256 w 3228975"/>
              <a:gd name="connsiteY31" fmla="*/ 690563 h 843211"/>
              <a:gd name="connsiteX32" fmla="*/ 1990725 w 3228975"/>
              <a:gd name="connsiteY32" fmla="*/ 678656 h 843211"/>
              <a:gd name="connsiteX33" fmla="*/ 1957387 w 3228975"/>
              <a:gd name="connsiteY33" fmla="*/ 664369 h 843211"/>
              <a:gd name="connsiteX34" fmla="*/ 1928812 w 3228975"/>
              <a:gd name="connsiteY34" fmla="*/ 652463 h 843211"/>
              <a:gd name="connsiteX35" fmla="*/ 1895475 w 3228975"/>
              <a:gd name="connsiteY35" fmla="*/ 642938 h 843211"/>
              <a:gd name="connsiteX36" fmla="*/ 1862137 w 3228975"/>
              <a:gd name="connsiteY36" fmla="*/ 619125 h 843211"/>
              <a:gd name="connsiteX37" fmla="*/ 1833562 w 3228975"/>
              <a:gd name="connsiteY37" fmla="*/ 600075 h 843211"/>
              <a:gd name="connsiteX38" fmla="*/ 1814512 w 3228975"/>
              <a:gd name="connsiteY38" fmla="*/ 595313 h 843211"/>
              <a:gd name="connsiteX39" fmla="*/ 1800225 w 3228975"/>
              <a:gd name="connsiteY39" fmla="*/ 585788 h 843211"/>
              <a:gd name="connsiteX40" fmla="*/ 1771650 w 3228975"/>
              <a:gd name="connsiteY40" fmla="*/ 576263 h 843211"/>
              <a:gd name="connsiteX41" fmla="*/ 1743075 w 3228975"/>
              <a:gd name="connsiteY41" fmla="*/ 557213 h 843211"/>
              <a:gd name="connsiteX42" fmla="*/ 1714500 w 3228975"/>
              <a:gd name="connsiteY42" fmla="*/ 547688 h 843211"/>
              <a:gd name="connsiteX43" fmla="*/ 1704975 w 3228975"/>
              <a:gd name="connsiteY43" fmla="*/ 533400 h 843211"/>
              <a:gd name="connsiteX44" fmla="*/ 1676400 w 3228975"/>
              <a:gd name="connsiteY44" fmla="*/ 519113 h 843211"/>
              <a:gd name="connsiteX45" fmla="*/ 1633537 w 3228975"/>
              <a:gd name="connsiteY45" fmla="*/ 490538 h 843211"/>
              <a:gd name="connsiteX46" fmla="*/ 1619250 w 3228975"/>
              <a:gd name="connsiteY46" fmla="*/ 485775 h 843211"/>
              <a:gd name="connsiteX47" fmla="*/ 1604962 w 3228975"/>
              <a:gd name="connsiteY47" fmla="*/ 476250 h 843211"/>
              <a:gd name="connsiteX48" fmla="*/ 1576387 w 3228975"/>
              <a:gd name="connsiteY48" fmla="*/ 466725 h 843211"/>
              <a:gd name="connsiteX49" fmla="*/ 1552575 w 3228975"/>
              <a:gd name="connsiteY49" fmla="*/ 447675 h 843211"/>
              <a:gd name="connsiteX50" fmla="*/ 1538287 w 3228975"/>
              <a:gd name="connsiteY50" fmla="*/ 433388 h 843211"/>
              <a:gd name="connsiteX51" fmla="*/ 1512094 w 3228975"/>
              <a:gd name="connsiteY51" fmla="*/ 416719 h 843211"/>
              <a:gd name="connsiteX52" fmla="*/ 1497806 w 3228975"/>
              <a:gd name="connsiteY52" fmla="*/ 411956 h 843211"/>
              <a:gd name="connsiteX53" fmla="*/ 1497806 w 3228975"/>
              <a:gd name="connsiteY53" fmla="*/ 400051 h 843211"/>
              <a:gd name="connsiteX54" fmla="*/ 1473994 w 3228975"/>
              <a:gd name="connsiteY54" fmla="*/ 395287 h 843211"/>
              <a:gd name="connsiteX55" fmla="*/ 1440656 w 3228975"/>
              <a:gd name="connsiteY55" fmla="*/ 376238 h 843211"/>
              <a:gd name="connsiteX56" fmla="*/ 1400175 w 3228975"/>
              <a:gd name="connsiteY56" fmla="*/ 376238 h 843211"/>
              <a:gd name="connsiteX57" fmla="*/ 1385887 w 3228975"/>
              <a:gd name="connsiteY57" fmla="*/ 366713 h 843211"/>
              <a:gd name="connsiteX58" fmla="*/ 1357312 w 3228975"/>
              <a:gd name="connsiteY58" fmla="*/ 357188 h 843211"/>
              <a:gd name="connsiteX59" fmla="*/ 1338262 w 3228975"/>
              <a:gd name="connsiteY59" fmla="*/ 347663 h 843211"/>
              <a:gd name="connsiteX60" fmla="*/ 1300162 w 3228975"/>
              <a:gd name="connsiteY60" fmla="*/ 342900 h 843211"/>
              <a:gd name="connsiteX61" fmla="*/ 1223962 w 3228975"/>
              <a:gd name="connsiteY61" fmla="*/ 333375 h 843211"/>
              <a:gd name="connsiteX62" fmla="*/ 1114425 w 3228975"/>
              <a:gd name="connsiteY62" fmla="*/ 328613 h 843211"/>
              <a:gd name="connsiteX63" fmla="*/ 1057275 w 3228975"/>
              <a:gd name="connsiteY63" fmla="*/ 323850 h 843211"/>
              <a:gd name="connsiteX64" fmla="*/ 1014412 w 3228975"/>
              <a:gd name="connsiteY64" fmla="*/ 323850 h 843211"/>
              <a:gd name="connsiteX65" fmla="*/ 985837 w 3228975"/>
              <a:gd name="connsiteY65" fmla="*/ 333375 h 843211"/>
              <a:gd name="connsiteX66" fmla="*/ 962024 w 3228975"/>
              <a:gd name="connsiteY66" fmla="*/ 316707 h 843211"/>
              <a:gd name="connsiteX67" fmla="*/ 931069 w 3228975"/>
              <a:gd name="connsiteY67" fmla="*/ 309563 h 843211"/>
              <a:gd name="connsiteX68" fmla="*/ 892969 w 3228975"/>
              <a:gd name="connsiteY68" fmla="*/ 295275 h 843211"/>
              <a:gd name="connsiteX69" fmla="*/ 871537 w 3228975"/>
              <a:gd name="connsiteY69" fmla="*/ 295275 h 843211"/>
              <a:gd name="connsiteX70" fmla="*/ 852487 w 3228975"/>
              <a:gd name="connsiteY70" fmla="*/ 271463 h 843211"/>
              <a:gd name="connsiteX71" fmla="*/ 831056 w 3228975"/>
              <a:gd name="connsiteY71" fmla="*/ 266700 h 843211"/>
              <a:gd name="connsiteX72" fmla="*/ 809624 w 3228975"/>
              <a:gd name="connsiteY72" fmla="*/ 261938 h 843211"/>
              <a:gd name="connsiteX73" fmla="*/ 709612 w 3228975"/>
              <a:gd name="connsiteY73" fmla="*/ 257175 h 843211"/>
              <a:gd name="connsiteX74" fmla="*/ 681037 w 3228975"/>
              <a:gd name="connsiteY74" fmla="*/ 247650 h 843211"/>
              <a:gd name="connsiteX75" fmla="*/ 666750 w 3228975"/>
              <a:gd name="connsiteY75" fmla="*/ 238125 h 843211"/>
              <a:gd name="connsiteX76" fmla="*/ 638175 w 3228975"/>
              <a:gd name="connsiteY76" fmla="*/ 233363 h 843211"/>
              <a:gd name="connsiteX77" fmla="*/ 595312 w 3228975"/>
              <a:gd name="connsiteY77" fmla="*/ 209550 h 843211"/>
              <a:gd name="connsiteX78" fmla="*/ 581025 w 3228975"/>
              <a:gd name="connsiteY78" fmla="*/ 200025 h 843211"/>
              <a:gd name="connsiteX79" fmla="*/ 566737 w 3228975"/>
              <a:gd name="connsiteY79" fmla="*/ 195263 h 843211"/>
              <a:gd name="connsiteX80" fmla="*/ 528637 w 3228975"/>
              <a:gd name="connsiteY80" fmla="*/ 180975 h 843211"/>
              <a:gd name="connsiteX81" fmla="*/ 500062 w 3228975"/>
              <a:gd name="connsiteY81" fmla="*/ 161925 h 843211"/>
              <a:gd name="connsiteX82" fmla="*/ 490537 w 3228975"/>
              <a:gd name="connsiteY82" fmla="*/ 147638 h 843211"/>
              <a:gd name="connsiteX83" fmla="*/ 471487 w 3228975"/>
              <a:gd name="connsiteY83" fmla="*/ 128588 h 843211"/>
              <a:gd name="connsiteX84" fmla="*/ 450055 w 3228975"/>
              <a:gd name="connsiteY84" fmla="*/ 111918 h 843211"/>
              <a:gd name="connsiteX85" fmla="*/ 407194 w 3228975"/>
              <a:gd name="connsiteY85" fmla="*/ 85725 h 843211"/>
              <a:gd name="connsiteX86" fmla="*/ 383381 w 3228975"/>
              <a:gd name="connsiteY86" fmla="*/ 66675 h 843211"/>
              <a:gd name="connsiteX87" fmla="*/ 366712 w 3228975"/>
              <a:gd name="connsiteY87" fmla="*/ 54769 h 843211"/>
              <a:gd name="connsiteX88" fmla="*/ 342900 w 3228975"/>
              <a:gd name="connsiteY88" fmla="*/ 57150 h 843211"/>
              <a:gd name="connsiteX89" fmla="*/ 314325 w 3228975"/>
              <a:gd name="connsiteY89" fmla="*/ 47625 h 843211"/>
              <a:gd name="connsiteX90" fmla="*/ 300037 w 3228975"/>
              <a:gd name="connsiteY90" fmla="*/ 42863 h 843211"/>
              <a:gd name="connsiteX91" fmla="*/ 266700 w 3228975"/>
              <a:gd name="connsiteY91" fmla="*/ 33338 h 843211"/>
              <a:gd name="connsiteX92" fmla="*/ 216694 w 3228975"/>
              <a:gd name="connsiteY92" fmla="*/ 28575 h 843211"/>
              <a:gd name="connsiteX93" fmla="*/ 166687 w 3228975"/>
              <a:gd name="connsiteY93" fmla="*/ 14288 h 843211"/>
              <a:gd name="connsiteX94" fmla="*/ 80962 w 3228975"/>
              <a:gd name="connsiteY94" fmla="*/ 9525 h 843211"/>
              <a:gd name="connsiteX95" fmla="*/ 61912 w 3228975"/>
              <a:gd name="connsiteY95" fmla="*/ 4763 h 843211"/>
              <a:gd name="connsiteX96" fmla="*/ 47625 w 3228975"/>
              <a:gd name="connsiteY96" fmla="*/ 0 h 843211"/>
              <a:gd name="connsiteX97" fmla="*/ 4762 w 3228975"/>
              <a:gd name="connsiteY97" fmla="*/ 4763 h 843211"/>
              <a:gd name="connsiteX98" fmla="*/ 0 w 3228975"/>
              <a:gd name="connsiteY98" fmla="*/ 19050 h 843211"/>
              <a:gd name="connsiteX99" fmla="*/ 14287 w 3228975"/>
              <a:gd name="connsiteY99" fmla="*/ 47625 h 843211"/>
              <a:gd name="connsiteX100" fmla="*/ 57150 w 3228975"/>
              <a:gd name="connsiteY100" fmla="*/ 71438 h 843211"/>
              <a:gd name="connsiteX101" fmla="*/ 104775 w 3228975"/>
              <a:gd name="connsiteY101" fmla="*/ 76200 h 843211"/>
              <a:gd name="connsiteX102" fmla="*/ 114300 w 3228975"/>
              <a:gd name="connsiteY102" fmla="*/ 90488 h 843211"/>
              <a:gd name="connsiteX103" fmla="*/ 142875 w 3228975"/>
              <a:gd name="connsiteY103" fmla="*/ 104775 h 843211"/>
              <a:gd name="connsiteX104" fmla="*/ 161925 w 3228975"/>
              <a:gd name="connsiteY104" fmla="*/ 109538 h 843211"/>
              <a:gd name="connsiteX105" fmla="*/ 190500 w 3228975"/>
              <a:gd name="connsiteY105" fmla="*/ 128588 h 843211"/>
              <a:gd name="connsiteX106" fmla="*/ 214312 w 3228975"/>
              <a:gd name="connsiteY106" fmla="*/ 147638 h 843211"/>
              <a:gd name="connsiteX107" fmla="*/ 223837 w 3228975"/>
              <a:gd name="connsiteY107" fmla="*/ 176213 h 843211"/>
              <a:gd name="connsiteX108" fmla="*/ 228600 w 3228975"/>
              <a:gd name="connsiteY108" fmla="*/ 190500 h 843211"/>
              <a:gd name="connsiteX109" fmla="*/ 223837 w 3228975"/>
              <a:gd name="connsiteY109" fmla="*/ 214313 h 843211"/>
              <a:gd name="connsiteX110" fmla="*/ 219075 w 3228975"/>
              <a:gd name="connsiteY110" fmla="*/ 228600 h 843211"/>
              <a:gd name="connsiteX111" fmla="*/ 223837 w 3228975"/>
              <a:gd name="connsiteY111" fmla="*/ 257175 h 843211"/>
              <a:gd name="connsiteX112" fmla="*/ 233362 w 3228975"/>
              <a:gd name="connsiteY112" fmla="*/ 271463 h 843211"/>
              <a:gd name="connsiteX113" fmla="*/ 247650 w 3228975"/>
              <a:gd name="connsiteY113" fmla="*/ 276225 h 843211"/>
              <a:gd name="connsiteX114" fmla="*/ 257175 w 3228975"/>
              <a:gd name="connsiteY114" fmla="*/ 290513 h 843211"/>
              <a:gd name="connsiteX115" fmla="*/ 261937 w 3228975"/>
              <a:gd name="connsiteY115" fmla="*/ 304800 h 843211"/>
              <a:gd name="connsiteX116" fmla="*/ 290512 w 3228975"/>
              <a:gd name="connsiteY116" fmla="*/ 314325 h 843211"/>
              <a:gd name="connsiteX117" fmla="*/ 304800 w 3228975"/>
              <a:gd name="connsiteY117" fmla="*/ 323850 h 843211"/>
              <a:gd name="connsiteX118" fmla="*/ 319087 w 3228975"/>
              <a:gd name="connsiteY118" fmla="*/ 328613 h 843211"/>
              <a:gd name="connsiteX119" fmla="*/ 316707 w 3228975"/>
              <a:gd name="connsiteY119" fmla="*/ 352426 h 843211"/>
              <a:gd name="connsiteX120" fmla="*/ 342900 w 3228975"/>
              <a:gd name="connsiteY120" fmla="*/ 366713 h 843211"/>
              <a:gd name="connsiteX121" fmla="*/ 352425 w 3228975"/>
              <a:gd name="connsiteY121" fmla="*/ 381000 h 843211"/>
              <a:gd name="connsiteX122" fmla="*/ 366712 w 3228975"/>
              <a:gd name="connsiteY122" fmla="*/ 385763 h 843211"/>
              <a:gd name="connsiteX123" fmla="*/ 385762 w 3228975"/>
              <a:gd name="connsiteY123" fmla="*/ 395288 h 843211"/>
              <a:gd name="connsiteX124" fmla="*/ 414337 w 3228975"/>
              <a:gd name="connsiteY124" fmla="*/ 404813 h 843211"/>
              <a:gd name="connsiteX125" fmla="*/ 447675 w 3228975"/>
              <a:gd name="connsiteY125" fmla="*/ 419100 h 843211"/>
              <a:gd name="connsiteX126" fmla="*/ 452437 w 3228975"/>
              <a:gd name="connsiteY126" fmla="*/ 466725 h 843211"/>
              <a:gd name="connsiteX127" fmla="*/ 466725 w 3228975"/>
              <a:gd name="connsiteY127" fmla="*/ 476250 h 843211"/>
              <a:gd name="connsiteX128" fmla="*/ 476250 w 3228975"/>
              <a:gd name="connsiteY128" fmla="*/ 490538 h 843211"/>
              <a:gd name="connsiteX129" fmla="*/ 495300 w 3228975"/>
              <a:gd name="connsiteY129" fmla="*/ 495300 h 843211"/>
              <a:gd name="connsiteX130" fmla="*/ 509587 w 3228975"/>
              <a:gd name="connsiteY130" fmla="*/ 500063 h 843211"/>
              <a:gd name="connsiteX131" fmla="*/ 561975 w 3228975"/>
              <a:gd name="connsiteY131" fmla="*/ 495300 h 843211"/>
              <a:gd name="connsiteX132" fmla="*/ 576262 w 3228975"/>
              <a:gd name="connsiteY132" fmla="*/ 500063 h 843211"/>
              <a:gd name="connsiteX133" fmla="*/ 614362 w 3228975"/>
              <a:gd name="connsiteY133" fmla="*/ 547688 h 843211"/>
              <a:gd name="connsiteX134" fmla="*/ 642937 w 3228975"/>
              <a:gd name="connsiteY134" fmla="*/ 557213 h 843211"/>
              <a:gd name="connsiteX135" fmla="*/ 657225 w 3228975"/>
              <a:gd name="connsiteY135" fmla="*/ 561975 h 843211"/>
              <a:gd name="connsiteX136" fmla="*/ 690562 w 3228975"/>
              <a:gd name="connsiteY136" fmla="*/ 557213 h 843211"/>
              <a:gd name="connsiteX137" fmla="*/ 709612 w 3228975"/>
              <a:gd name="connsiteY137" fmla="*/ 581025 h 843211"/>
              <a:gd name="connsiteX138" fmla="*/ 719137 w 3228975"/>
              <a:gd name="connsiteY138" fmla="*/ 595313 h 843211"/>
              <a:gd name="connsiteX139" fmla="*/ 747712 w 3228975"/>
              <a:gd name="connsiteY139" fmla="*/ 590550 h 843211"/>
              <a:gd name="connsiteX140" fmla="*/ 776287 w 3228975"/>
              <a:gd name="connsiteY140" fmla="*/ 571500 h 843211"/>
              <a:gd name="connsiteX141" fmla="*/ 790575 w 3228975"/>
              <a:gd name="connsiteY141" fmla="*/ 566738 h 843211"/>
              <a:gd name="connsiteX142" fmla="*/ 842962 w 3228975"/>
              <a:gd name="connsiteY142" fmla="*/ 547688 h 843211"/>
              <a:gd name="connsiteX143" fmla="*/ 847725 w 3228975"/>
              <a:gd name="connsiteY143" fmla="*/ 533400 h 843211"/>
              <a:gd name="connsiteX144" fmla="*/ 862012 w 3228975"/>
              <a:gd name="connsiteY144" fmla="*/ 528638 h 843211"/>
              <a:gd name="connsiteX145" fmla="*/ 871537 w 3228975"/>
              <a:gd name="connsiteY145" fmla="*/ 514350 h 843211"/>
              <a:gd name="connsiteX146" fmla="*/ 928687 w 3228975"/>
              <a:gd name="connsiteY146" fmla="*/ 514350 h 843211"/>
              <a:gd name="connsiteX147" fmla="*/ 957262 w 3228975"/>
              <a:gd name="connsiteY147" fmla="*/ 528638 h 843211"/>
              <a:gd name="connsiteX148" fmla="*/ 971550 w 3228975"/>
              <a:gd name="connsiteY148" fmla="*/ 533400 h 843211"/>
              <a:gd name="connsiteX149" fmla="*/ 1057275 w 3228975"/>
              <a:gd name="connsiteY149" fmla="*/ 533400 h 843211"/>
              <a:gd name="connsiteX150" fmla="*/ 1076325 w 3228975"/>
              <a:gd name="connsiteY150" fmla="*/ 561975 h 843211"/>
              <a:gd name="connsiteX151" fmla="*/ 1114425 w 3228975"/>
              <a:gd name="connsiteY151" fmla="*/ 557213 h 843211"/>
              <a:gd name="connsiteX152" fmla="*/ 1138237 w 3228975"/>
              <a:gd name="connsiteY152" fmla="*/ 533400 h 843211"/>
              <a:gd name="connsiteX153" fmla="*/ 1152525 w 3228975"/>
              <a:gd name="connsiteY153" fmla="*/ 528638 h 843211"/>
              <a:gd name="connsiteX154" fmla="*/ 1166812 w 3228975"/>
              <a:gd name="connsiteY154" fmla="*/ 519113 h 843211"/>
              <a:gd name="connsiteX155" fmla="*/ 1185862 w 3228975"/>
              <a:gd name="connsiteY155" fmla="*/ 495300 h 843211"/>
              <a:gd name="connsiteX156" fmla="*/ 1204912 w 3228975"/>
              <a:gd name="connsiteY156" fmla="*/ 452438 h 843211"/>
              <a:gd name="connsiteX157" fmla="*/ 1226344 w 3228975"/>
              <a:gd name="connsiteY157" fmla="*/ 454819 h 843211"/>
              <a:gd name="connsiteX158" fmla="*/ 1259681 w 3228975"/>
              <a:gd name="connsiteY158" fmla="*/ 469106 h 843211"/>
              <a:gd name="connsiteX159" fmla="*/ 1290637 w 3228975"/>
              <a:gd name="connsiteY159" fmla="*/ 461963 h 843211"/>
              <a:gd name="connsiteX160" fmla="*/ 1304925 w 3228975"/>
              <a:gd name="connsiteY160" fmla="*/ 466725 h 843211"/>
              <a:gd name="connsiteX161" fmla="*/ 1319212 w 3228975"/>
              <a:gd name="connsiteY161" fmla="*/ 476250 h 843211"/>
              <a:gd name="connsiteX162" fmla="*/ 1338262 w 3228975"/>
              <a:gd name="connsiteY162" fmla="*/ 500063 h 843211"/>
              <a:gd name="connsiteX163" fmla="*/ 1343025 w 3228975"/>
              <a:gd name="connsiteY163" fmla="*/ 514350 h 843211"/>
              <a:gd name="connsiteX164" fmla="*/ 1347787 w 3228975"/>
              <a:gd name="connsiteY164" fmla="*/ 542925 h 843211"/>
              <a:gd name="connsiteX165" fmla="*/ 1362075 w 3228975"/>
              <a:gd name="connsiteY165" fmla="*/ 552450 h 843211"/>
              <a:gd name="connsiteX166" fmla="*/ 1376362 w 3228975"/>
              <a:gd name="connsiteY166" fmla="*/ 557213 h 843211"/>
              <a:gd name="connsiteX167" fmla="*/ 1390650 w 3228975"/>
              <a:gd name="connsiteY167" fmla="*/ 566738 h 843211"/>
              <a:gd name="connsiteX168" fmla="*/ 1419225 w 3228975"/>
              <a:gd name="connsiteY168" fmla="*/ 576263 h 843211"/>
              <a:gd name="connsiteX169" fmla="*/ 1428750 w 3228975"/>
              <a:gd name="connsiteY169" fmla="*/ 590550 h 843211"/>
              <a:gd name="connsiteX170" fmla="*/ 1433512 w 3228975"/>
              <a:gd name="connsiteY170" fmla="*/ 604838 h 843211"/>
              <a:gd name="connsiteX171" fmla="*/ 1447800 w 3228975"/>
              <a:gd name="connsiteY171" fmla="*/ 609600 h 843211"/>
              <a:gd name="connsiteX172" fmla="*/ 1476375 w 3228975"/>
              <a:gd name="connsiteY172" fmla="*/ 628650 h 843211"/>
              <a:gd name="connsiteX173" fmla="*/ 1490662 w 3228975"/>
              <a:gd name="connsiteY173" fmla="*/ 638175 h 843211"/>
              <a:gd name="connsiteX174" fmla="*/ 1514475 w 3228975"/>
              <a:gd name="connsiteY174" fmla="*/ 661988 h 843211"/>
              <a:gd name="connsiteX175" fmla="*/ 1547812 w 3228975"/>
              <a:gd name="connsiteY175" fmla="*/ 700088 h 843211"/>
              <a:gd name="connsiteX176" fmla="*/ 1595437 w 3228975"/>
              <a:gd name="connsiteY176" fmla="*/ 704850 h 843211"/>
              <a:gd name="connsiteX177" fmla="*/ 1638300 w 3228975"/>
              <a:gd name="connsiteY177" fmla="*/ 714375 h 843211"/>
              <a:gd name="connsiteX178" fmla="*/ 1652587 w 3228975"/>
              <a:gd name="connsiteY178" fmla="*/ 719138 h 843211"/>
              <a:gd name="connsiteX179" fmla="*/ 1695450 w 3228975"/>
              <a:gd name="connsiteY179" fmla="*/ 723900 h 843211"/>
              <a:gd name="connsiteX180" fmla="*/ 1681162 w 3228975"/>
              <a:gd name="connsiteY180" fmla="*/ 733425 h 843211"/>
              <a:gd name="connsiteX181" fmla="*/ 1690687 w 3228975"/>
              <a:gd name="connsiteY181" fmla="*/ 766763 h 843211"/>
              <a:gd name="connsiteX182" fmla="*/ 1700212 w 3228975"/>
              <a:gd name="connsiteY182" fmla="*/ 809625 h 843211"/>
              <a:gd name="connsiteX183" fmla="*/ 1714500 w 3228975"/>
              <a:gd name="connsiteY183" fmla="*/ 804863 h 843211"/>
              <a:gd name="connsiteX184" fmla="*/ 1754981 w 3228975"/>
              <a:gd name="connsiteY184" fmla="*/ 790575 h 843211"/>
              <a:gd name="connsiteX185" fmla="*/ 1781175 w 3228975"/>
              <a:gd name="connsiteY185" fmla="*/ 785813 h 843211"/>
              <a:gd name="connsiteX186" fmla="*/ 1804987 w 3228975"/>
              <a:gd name="connsiteY186" fmla="*/ 819150 h 843211"/>
              <a:gd name="connsiteX187" fmla="*/ 1824037 w 3228975"/>
              <a:gd name="connsiteY187" fmla="*/ 842963 h 843211"/>
              <a:gd name="connsiteX188" fmla="*/ 1838325 w 3228975"/>
              <a:gd name="connsiteY188" fmla="*/ 814388 h 843211"/>
              <a:gd name="connsiteX189" fmla="*/ 1857375 w 3228975"/>
              <a:gd name="connsiteY189" fmla="*/ 785813 h 843211"/>
              <a:gd name="connsiteX190" fmla="*/ 1866900 w 3228975"/>
              <a:gd name="connsiteY190" fmla="*/ 771525 h 843211"/>
              <a:gd name="connsiteX191" fmla="*/ 1914525 w 3228975"/>
              <a:gd name="connsiteY191" fmla="*/ 766763 h 843211"/>
              <a:gd name="connsiteX192" fmla="*/ 1962150 w 3228975"/>
              <a:gd name="connsiteY192" fmla="*/ 742950 h 843211"/>
              <a:gd name="connsiteX193" fmla="*/ 2028825 w 3228975"/>
              <a:gd name="connsiteY193" fmla="*/ 747713 h 843211"/>
              <a:gd name="connsiteX194" fmla="*/ 2038350 w 3228975"/>
              <a:gd name="connsiteY194" fmla="*/ 762000 h 843211"/>
              <a:gd name="connsiteX195" fmla="*/ 2052637 w 3228975"/>
              <a:gd name="connsiteY195" fmla="*/ 771525 h 843211"/>
              <a:gd name="connsiteX196" fmla="*/ 2095500 w 3228975"/>
              <a:gd name="connsiteY196" fmla="*/ 776288 h 843211"/>
              <a:gd name="connsiteX197" fmla="*/ 2152650 w 3228975"/>
              <a:gd name="connsiteY197" fmla="*/ 781050 h 843211"/>
              <a:gd name="connsiteX198" fmla="*/ 2166937 w 3228975"/>
              <a:gd name="connsiteY198" fmla="*/ 771525 h 843211"/>
              <a:gd name="connsiteX199" fmla="*/ 2190750 w 3228975"/>
              <a:gd name="connsiteY199" fmla="*/ 766763 h 843211"/>
              <a:gd name="connsiteX200" fmla="*/ 2219325 w 3228975"/>
              <a:gd name="connsiteY200" fmla="*/ 757238 h 843211"/>
              <a:gd name="connsiteX201" fmla="*/ 2257425 w 3228975"/>
              <a:gd name="connsiteY201" fmla="*/ 752475 h 843211"/>
              <a:gd name="connsiteX202" fmla="*/ 2286000 w 3228975"/>
              <a:gd name="connsiteY202" fmla="*/ 771525 h 843211"/>
              <a:gd name="connsiteX203" fmla="*/ 2290762 w 3228975"/>
              <a:gd name="connsiteY203" fmla="*/ 785813 h 843211"/>
              <a:gd name="connsiteX204" fmla="*/ 2305050 w 3228975"/>
              <a:gd name="connsiteY204" fmla="*/ 795338 h 843211"/>
              <a:gd name="connsiteX205" fmla="*/ 2314575 w 3228975"/>
              <a:gd name="connsiteY205" fmla="*/ 823913 h 843211"/>
              <a:gd name="connsiteX206" fmla="*/ 2343150 w 3228975"/>
              <a:gd name="connsiteY206" fmla="*/ 819150 h 843211"/>
              <a:gd name="connsiteX207" fmla="*/ 2357437 w 3228975"/>
              <a:gd name="connsiteY207" fmla="*/ 814388 h 843211"/>
              <a:gd name="connsiteX208" fmla="*/ 2362200 w 3228975"/>
              <a:gd name="connsiteY208" fmla="*/ 828675 h 843211"/>
              <a:gd name="connsiteX209" fmla="*/ 2376487 w 3228975"/>
              <a:gd name="connsiteY209" fmla="*/ 833438 h 843211"/>
              <a:gd name="connsiteX210" fmla="*/ 2409825 w 3228975"/>
              <a:gd name="connsiteY210" fmla="*/ 828675 h 843211"/>
              <a:gd name="connsiteX211" fmla="*/ 2424112 w 3228975"/>
              <a:gd name="connsiteY211" fmla="*/ 785813 h 843211"/>
              <a:gd name="connsiteX212" fmla="*/ 2438400 w 3228975"/>
              <a:gd name="connsiteY212" fmla="*/ 781050 h 843211"/>
              <a:gd name="connsiteX213" fmla="*/ 2476500 w 3228975"/>
              <a:gd name="connsiteY213" fmla="*/ 771525 h 843211"/>
              <a:gd name="connsiteX214" fmla="*/ 2505075 w 3228975"/>
              <a:gd name="connsiteY214" fmla="*/ 762000 h 843211"/>
              <a:gd name="connsiteX215" fmla="*/ 2547937 w 3228975"/>
              <a:gd name="connsiteY215" fmla="*/ 757238 h 843211"/>
              <a:gd name="connsiteX216" fmla="*/ 2667000 w 3228975"/>
              <a:gd name="connsiteY216" fmla="*/ 747713 h 843211"/>
              <a:gd name="connsiteX217" fmla="*/ 2695575 w 3228975"/>
              <a:gd name="connsiteY217" fmla="*/ 733425 h 843211"/>
              <a:gd name="connsiteX218" fmla="*/ 2719387 w 3228975"/>
              <a:gd name="connsiteY218" fmla="*/ 728663 h 843211"/>
              <a:gd name="connsiteX219" fmla="*/ 2752725 w 3228975"/>
              <a:gd name="connsiteY219" fmla="*/ 719138 h 843211"/>
              <a:gd name="connsiteX220" fmla="*/ 2776537 w 3228975"/>
              <a:gd name="connsiteY220" fmla="*/ 714375 h 843211"/>
              <a:gd name="connsiteX221" fmla="*/ 2814638 w 3228975"/>
              <a:gd name="connsiteY221" fmla="*/ 723901 h 843211"/>
              <a:gd name="connsiteX222" fmla="*/ 2847975 w 3228975"/>
              <a:gd name="connsiteY222" fmla="*/ 740569 h 843211"/>
              <a:gd name="connsiteX223" fmla="*/ 2900362 w 3228975"/>
              <a:gd name="connsiteY223" fmla="*/ 738188 h 843211"/>
              <a:gd name="connsiteX224" fmla="*/ 2914650 w 3228975"/>
              <a:gd name="connsiteY224" fmla="*/ 742950 h 843211"/>
              <a:gd name="connsiteX225" fmla="*/ 2928937 w 3228975"/>
              <a:gd name="connsiteY225" fmla="*/ 752475 h 843211"/>
              <a:gd name="connsiteX226" fmla="*/ 3028950 w 3228975"/>
              <a:gd name="connsiteY226" fmla="*/ 742950 h 843211"/>
              <a:gd name="connsiteX227" fmla="*/ 3033712 w 3228975"/>
              <a:gd name="connsiteY227" fmla="*/ 728663 h 843211"/>
              <a:gd name="connsiteX228" fmla="*/ 3048000 w 3228975"/>
              <a:gd name="connsiteY228" fmla="*/ 723900 h 843211"/>
              <a:gd name="connsiteX229" fmla="*/ 3062287 w 3228975"/>
              <a:gd name="connsiteY229" fmla="*/ 714375 h 843211"/>
              <a:gd name="connsiteX230" fmla="*/ 3071812 w 3228975"/>
              <a:gd name="connsiteY230" fmla="*/ 700088 h 843211"/>
              <a:gd name="connsiteX231" fmla="*/ 3086100 w 3228975"/>
              <a:gd name="connsiteY231" fmla="*/ 690563 h 843211"/>
              <a:gd name="connsiteX232" fmla="*/ 3105150 w 3228975"/>
              <a:gd name="connsiteY232" fmla="*/ 661988 h 843211"/>
              <a:gd name="connsiteX233" fmla="*/ 3133725 w 3228975"/>
              <a:gd name="connsiteY233" fmla="*/ 647700 h 843211"/>
              <a:gd name="connsiteX234" fmla="*/ 3171825 w 3228975"/>
              <a:gd name="connsiteY234" fmla="*/ 614363 h 843211"/>
              <a:gd name="connsiteX235" fmla="*/ 3186112 w 3228975"/>
              <a:gd name="connsiteY235" fmla="*/ 600075 h 843211"/>
              <a:gd name="connsiteX236" fmla="*/ 3228975 w 3228975"/>
              <a:gd name="connsiteY236" fmla="*/ 590550 h 843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</a:cxnLst>
            <a:rect l="l" t="t" r="r" b="b"/>
            <a:pathLst>
              <a:path w="3228975" h="843211">
                <a:moveTo>
                  <a:pt x="3228975" y="590550"/>
                </a:moveTo>
                <a:lnTo>
                  <a:pt x="3228975" y="590550"/>
                </a:lnTo>
                <a:cubicBezTo>
                  <a:pt x="3214687" y="587375"/>
                  <a:pt x="3200726" y="581837"/>
                  <a:pt x="3186112" y="581025"/>
                </a:cubicBezTo>
                <a:cubicBezTo>
                  <a:pt x="3171759" y="580228"/>
                  <a:pt x="3157583" y="584685"/>
                  <a:pt x="3143250" y="585788"/>
                </a:cubicBezTo>
                <a:cubicBezTo>
                  <a:pt x="3116295" y="587861"/>
                  <a:pt x="3089275" y="588963"/>
                  <a:pt x="3062287" y="590550"/>
                </a:cubicBezTo>
                <a:cubicBezTo>
                  <a:pt x="3057525" y="588963"/>
                  <a:pt x="3053020" y="585788"/>
                  <a:pt x="3048000" y="585788"/>
                </a:cubicBezTo>
                <a:cubicBezTo>
                  <a:pt x="3037430" y="585788"/>
                  <a:pt x="3005756" y="587860"/>
                  <a:pt x="2990850" y="595313"/>
                </a:cubicBezTo>
                <a:cubicBezTo>
                  <a:pt x="2985730" y="597873"/>
                  <a:pt x="2981325" y="601663"/>
                  <a:pt x="2976562" y="604838"/>
                </a:cubicBezTo>
                <a:cubicBezTo>
                  <a:pt x="2974975" y="611188"/>
                  <a:pt x="2975889" y="618777"/>
                  <a:pt x="2971800" y="623888"/>
                </a:cubicBezTo>
                <a:cubicBezTo>
                  <a:pt x="2968664" y="627808"/>
                  <a:pt x="2962532" y="628650"/>
                  <a:pt x="2957512" y="628650"/>
                </a:cubicBezTo>
                <a:cubicBezTo>
                  <a:pt x="2935230" y="628650"/>
                  <a:pt x="2913062" y="625475"/>
                  <a:pt x="2890837" y="623888"/>
                </a:cubicBezTo>
                <a:cubicBezTo>
                  <a:pt x="2868196" y="608793"/>
                  <a:pt x="2881981" y="616174"/>
                  <a:pt x="2847975" y="604838"/>
                </a:cubicBezTo>
                <a:cubicBezTo>
                  <a:pt x="2847973" y="604837"/>
                  <a:pt x="2819403" y="595313"/>
                  <a:pt x="2819400" y="595313"/>
                </a:cubicBezTo>
                <a:lnTo>
                  <a:pt x="2738437" y="590550"/>
                </a:lnTo>
                <a:cubicBezTo>
                  <a:pt x="2670499" y="567904"/>
                  <a:pt x="2741216" y="590664"/>
                  <a:pt x="2690812" y="576263"/>
                </a:cubicBezTo>
                <a:cubicBezTo>
                  <a:pt x="2642986" y="562598"/>
                  <a:pt x="2717029" y="581625"/>
                  <a:pt x="2657475" y="566738"/>
                </a:cubicBezTo>
                <a:cubicBezTo>
                  <a:pt x="2627312" y="568325"/>
                  <a:pt x="2597067" y="568765"/>
                  <a:pt x="2566987" y="571500"/>
                </a:cubicBezTo>
                <a:cubicBezTo>
                  <a:pt x="2561988" y="571954"/>
                  <a:pt x="2557570" y="575045"/>
                  <a:pt x="2552700" y="576263"/>
                </a:cubicBezTo>
                <a:cubicBezTo>
                  <a:pt x="2544847" y="578226"/>
                  <a:pt x="2536697" y="578895"/>
                  <a:pt x="2528887" y="581025"/>
                </a:cubicBezTo>
                <a:cubicBezTo>
                  <a:pt x="2519201" y="583667"/>
                  <a:pt x="2500312" y="590550"/>
                  <a:pt x="2500312" y="590550"/>
                </a:cubicBezTo>
                <a:lnTo>
                  <a:pt x="2457450" y="619125"/>
                </a:lnTo>
                <a:cubicBezTo>
                  <a:pt x="2453273" y="621910"/>
                  <a:pt x="2447925" y="622300"/>
                  <a:pt x="2443162" y="623888"/>
                </a:cubicBezTo>
                <a:cubicBezTo>
                  <a:pt x="2434189" y="632861"/>
                  <a:pt x="2426523" y="642395"/>
                  <a:pt x="2414587" y="647700"/>
                </a:cubicBezTo>
                <a:cubicBezTo>
                  <a:pt x="2405412" y="651778"/>
                  <a:pt x="2395934" y="651669"/>
                  <a:pt x="2386012" y="657225"/>
                </a:cubicBezTo>
                <a:cubicBezTo>
                  <a:pt x="2376090" y="662781"/>
                  <a:pt x="2387476" y="671312"/>
                  <a:pt x="2355056" y="681038"/>
                </a:cubicBezTo>
                <a:cubicBezTo>
                  <a:pt x="2345439" y="683923"/>
                  <a:pt x="2327671" y="679451"/>
                  <a:pt x="2319337" y="681038"/>
                </a:cubicBezTo>
                <a:cubicBezTo>
                  <a:pt x="2311003" y="682625"/>
                  <a:pt x="2310676" y="689508"/>
                  <a:pt x="2305050" y="690563"/>
                </a:cubicBezTo>
                <a:cubicBezTo>
                  <a:pt x="2284706" y="694377"/>
                  <a:pt x="2263775" y="693738"/>
                  <a:pt x="2243137" y="695325"/>
                </a:cubicBezTo>
                <a:cubicBezTo>
                  <a:pt x="2206625" y="693738"/>
                  <a:pt x="2170047" y="693263"/>
                  <a:pt x="2133600" y="690563"/>
                </a:cubicBezTo>
                <a:cubicBezTo>
                  <a:pt x="2127072" y="690079"/>
                  <a:pt x="2120968" y="687084"/>
                  <a:pt x="2114550" y="685800"/>
                </a:cubicBezTo>
                <a:cubicBezTo>
                  <a:pt x="2105081" y="683906"/>
                  <a:pt x="2096691" y="680244"/>
                  <a:pt x="2085975" y="681038"/>
                </a:cubicBezTo>
                <a:cubicBezTo>
                  <a:pt x="2075259" y="681832"/>
                  <a:pt x="2066131" y="690960"/>
                  <a:pt x="2050256" y="690563"/>
                </a:cubicBezTo>
                <a:cubicBezTo>
                  <a:pt x="2034381" y="690166"/>
                  <a:pt x="2006203" y="683022"/>
                  <a:pt x="1990725" y="678656"/>
                </a:cubicBezTo>
                <a:cubicBezTo>
                  <a:pt x="1975247" y="674290"/>
                  <a:pt x="1966912" y="665956"/>
                  <a:pt x="1957387" y="664369"/>
                </a:cubicBezTo>
                <a:cubicBezTo>
                  <a:pt x="1931855" y="655857"/>
                  <a:pt x="1939131" y="656035"/>
                  <a:pt x="1928812" y="652463"/>
                </a:cubicBezTo>
                <a:cubicBezTo>
                  <a:pt x="1918493" y="648891"/>
                  <a:pt x="1911380" y="648239"/>
                  <a:pt x="1895475" y="642938"/>
                </a:cubicBezTo>
                <a:cubicBezTo>
                  <a:pt x="1849041" y="611983"/>
                  <a:pt x="1921185" y="660459"/>
                  <a:pt x="1862137" y="619125"/>
                </a:cubicBezTo>
                <a:cubicBezTo>
                  <a:pt x="1852759" y="612560"/>
                  <a:pt x="1844668" y="602851"/>
                  <a:pt x="1833562" y="600075"/>
                </a:cubicBezTo>
                <a:lnTo>
                  <a:pt x="1814512" y="595313"/>
                </a:lnTo>
                <a:cubicBezTo>
                  <a:pt x="1809750" y="592138"/>
                  <a:pt x="1805455" y="588113"/>
                  <a:pt x="1800225" y="585788"/>
                </a:cubicBezTo>
                <a:cubicBezTo>
                  <a:pt x="1791050" y="581710"/>
                  <a:pt x="1771650" y="576263"/>
                  <a:pt x="1771650" y="576263"/>
                </a:cubicBezTo>
                <a:cubicBezTo>
                  <a:pt x="1762125" y="569913"/>
                  <a:pt x="1753935" y="560833"/>
                  <a:pt x="1743075" y="557213"/>
                </a:cubicBezTo>
                <a:lnTo>
                  <a:pt x="1714500" y="547688"/>
                </a:lnTo>
                <a:cubicBezTo>
                  <a:pt x="1711325" y="542925"/>
                  <a:pt x="1709022" y="537447"/>
                  <a:pt x="1704975" y="533400"/>
                </a:cubicBezTo>
                <a:cubicBezTo>
                  <a:pt x="1695743" y="524168"/>
                  <a:pt x="1688020" y="522986"/>
                  <a:pt x="1676400" y="519113"/>
                </a:cubicBezTo>
                <a:lnTo>
                  <a:pt x="1633537" y="490538"/>
                </a:lnTo>
                <a:cubicBezTo>
                  <a:pt x="1629360" y="487753"/>
                  <a:pt x="1623740" y="488020"/>
                  <a:pt x="1619250" y="485775"/>
                </a:cubicBezTo>
                <a:cubicBezTo>
                  <a:pt x="1614130" y="483215"/>
                  <a:pt x="1610193" y="478575"/>
                  <a:pt x="1604962" y="476250"/>
                </a:cubicBezTo>
                <a:cubicBezTo>
                  <a:pt x="1595787" y="472172"/>
                  <a:pt x="1576387" y="466725"/>
                  <a:pt x="1576387" y="466725"/>
                </a:cubicBezTo>
                <a:cubicBezTo>
                  <a:pt x="1568450" y="460375"/>
                  <a:pt x="1558925" y="453231"/>
                  <a:pt x="1552575" y="447675"/>
                </a:cubicBezTo>
                <a:cubicBezTo>
                  <a:pt x="1546225" y="442119"/>
                  <a:pt x="1545034" y="438547"/>
                  <a:pt x="1538287" y="433388"/>
                </a:cubicBezTo>
                <a:cubicBezTo>
                  <a:pt x="1531540" y="428229"/>
                  <a:pt x="1518841" y="420291"/>
                  <a:pt x="1512094" y="416719"/>
                </a:cubicBezTo>
                <a:cubicBezTo>
                  <a:pt x="1505347" y="413147"/>
                  <a:pt x="1500187" y="413544"/>
                  <a:pt x="1497806" y="411956"/>
                </a:cubicBezTo>
                <a:cubicBezTo>
                  <a:pt x="1495425" y="410369"/>
                  <a:pt x="1501775" y="402829"/>
                  <a:pt x="1497806" y="400051"/>
                </a:cubicBezTo>
                <a:cubicBezTo>
                  <a:pt x="1493837" y="397273"/>
                  <a:pt x="1480344" y="396875"/>
                  <a:pt x="1473994" y="395287"/>
                </a:cubicBezTo>
                <a:cubicBezTo>
                  <a:pt x="1410553" y="352994"/>
                  <a:pt x="1452959" y="379413"/>
                  <a:pt x="1440656" y="376238"/>
                </a:cubicBezTo>
                <a:cubicBezTo>
                  <a:pt x="1428353" y="373063"/>
                  <a:pt x="1409303" y="377826"/>
                  <a:pt x="1400175" y="376238"/>
                </a:cubicBezTo>
                <a:cubicBezTo>
                  <a:pt x="1391047" y="374651"/>
                  <a:pt x="1390650" y="369888"/>
                  <a:pt x="1385887" y="366713"/>
                </a:cubicBezTo>
                <a:cubicBezTo>
                  <a:pt x="1377533" y="361144"/>
                  <a:pt x="1366837" y="360363"/>
                  <a:pt x="1357312" y="357188"/>
                </a:cubicBezTo>
                <a:cubicBezTo>
                  <a:pt x="1350577" y="354943"/>
                  <a:pt x="1345150" y="349385"/>
                  <a:pt x="1338262" y="347663"/>
                </a:cubicBezTo>
                <a:cubicBezTo>
                  <a:pt x="1325845" y="344559"/>
                  <a:pt x="1312849" y="344592"/>
                  <a:pt x="1300162" y="342900"/>
                </a:cubicBezTo>
                <a:cubicBezTo>
                  <a:pt x="1275161" y="339566"/>
                  <a:pt x="1249081" y="334945"/>
                  <a:pt x="1223962" y="333375"/>
                </a:cubicBezTo>
                <a:cubicBezTo>
                  <a:pt x="1187486" y="331095"/>
                  <a:pt x="1150912" y="330698"/>
                  <a:pt x="1114425" y="328613"/>
                </a:cubicBezTo>
                <a:cubicBezTo>
                  <a:pt x="1095340" y="327522"/>
                  <a:pt x="1076325" y="325438"/>
                  <a:pt x="1057275" y="323850"/>
                </a:cubicBezTo>
                <a:cubicBezTo>
                  <a:pt x="1033774" y="317975"/>
                  <a:pt x="1040436" y="316753"/>
                  <a:pt x="1014412" y="323850"/>
                </a:cubicBezTo>
                <a:cubicBezTo>
                  <a:pt x="1004726" y="326492"/>
                  <a:pt x="994568" y="334565"/>
                  <a:pt x="985837" y="333375"/>
                </a:cubicBezTo>
                <a:cubicBezTo>
                  <a:pt x="977106" y="332185"/>
                  <a:pt x="971152" y="320676"/>
                  <a:pt x="962024" y="316707"/>
                </a:cubicBezTo>
                <a:cubicBezTo>
                  <a:pt x="952896" y="312738"/>
                  <a:pt x="942578" y="313135"/>
                  <a:pt x="931069" y="309563"/>
                </a:cubicBezTo>
                <a:cubicBezTo>
                  <a:pt x="919560" y="305991"/>
                  <a:pt x="902891" y="297656"/>
                  <a:pt x="892969" y="295275"/>
                </a:cubicBezTo>
                <a:cubicBezTo>
                  <a:pt x="883047" y="292894"/>
                  <a:pt x="878284" y="299244"/>
                  <a:pt x="871537" y="295275"/>
                </a:cubicBezTo>
                <a:cubicBezTo>
                  <a:pt x="864790" y="291306"/>
                  <a:pt x="859234" y="276225"/>
                  <a:pt x="852487" y="271463"/>
                </a:cubicBezTo>
                <a:cubicBezTo>
                  <a:pt x="845740" y="266701"/>
                  <a:pt x="838200" y="268288"/>
                  <a:pt x="831056" y="266700"/>
                </a:cubicBezTo>
                <a:cubicBezTo>
                  <a:pt x="823912" y="265113"/>
                  <a:pt x="829865" y="263525"/>
                  <a:pt x="809624" y="261938"/>
                </a:cubicBezTo>
                <a:cubicBezTo>
                  <a:pt x="789383" y="260351"/>
                  <a:pt x="756959" y="260135"/>
                  <a:pt x="709612" y="257175"/>
                </a:cubicBezTo>
                <a:cubicBezTo>
                  <a:pt x="700087" y="254000"/>
                  <a:pt x="689391" y="253219"/>
                  <a:pt x="681037" y="247650"/>
                </a:cubicBezTo>
                <a:cubicBezTo>
                  <a:pt x="676275" y="244475"/>
                  <a:pt x="672180" y="239935"/>
                  <a:pt x="666750" y="238125"/>
                </a:cubicBezTo>
                <a:cubicBezTo>
                  <a:pt x="657589" y="235071"/>
                  <a:pt x="647700" y="234950"/>
                  <a:pt x="638175" y="233363"/>
                </a:cubicBezTo>
                <a:cubicBezTo>
                  <a:pt x="613027" y="224980"/>
                  <a:pt x="628063" y="231385"/>
                  <a:pt x="595312" y="209550"/>
                </a:cubicBezTo>
                <a:cubicBezTo>
                  <a:pt x="590550" y="206375"/>
                  <a:pt x="586455" y="201835"/>
                  <a:pt x="581025" y="200025"/>
                </a:cubicBezTo>
                <a:lnTo>
                  <a:pt x="566737" y="195263"/>
                </a:lnTo>
                <a:cubicBezTo>
                  <a:pt x="520751" y="164604"/>
                  <a:pt x="593368" y="210399"/>
                  <a:pt x="528637" y="180975"/>
                </a:cubicBezTo>
                <a:cubicBezTo>
                  <a:pt x="518215" y="176238"/>
                  <a:pt x="500062" y="161925"/>
                  <a:pt x="500062" y="161925"/>
                </a:cubicBezTo>
                <a:cubicBezTo>
                  <a:pt x="496887" y="157163"/>
                  <a:pt x="495299" y="153194"/>
                  <a:pt x="490537" y="147638"/>
                </a:cubicBezTo>
                <a:cubicBezTo>
                  <a:pt x="485775" y="142082"/>
                  <a:pt x="478234" y="134541"/>
                  <a:pt x="471487" y="128588"/>
                </a:cubicBezTo>
                <a:cubicBezTo>
                  <a:pt x="464740" y="122635"/>
                  <a:pt x="460771" y="119062"/>
                  <a:pt x="450055" y="111918"/>
                </a:cubicBezTo>
                <a:cubicBezTo>
                  <a:pt x="439340" y="104774"/>
                  <a:pt x="439526" y="107280"/>
                  <a:pt x="407194" y="85725"/>
                </a:cubicBezTo>
                <a:cubicBezTo>
                  <a:pt x="404019" y="80963"/>
                  <a:pt x="390128" y="71834"/>
                  <a:pt x="383381" y="66675"/>
                </a:cubicBezTo>
                <a:cubicBezTo>
                  <a:pt x="376634" y="61516"/>
                  <a:pt x="373459" y="56357"/>
                  <a:pt x="366712" y="54769"/>
                </a:cubicBezTo>
                <a:cubicBezTo>
                  <a:pt x="359965" y="53182"/>
                  <a:pt x="351631" y="58341"/>
                  <a:pt x="342900" y="57150"/>
                </a:cubicBezTo>
                <a:cubicBezTo>
                  <a:pt x="334169" y="55959"/>
                  <a:pt x="323850" y="50800"/>
                  <a:pt x="314325" y="47625"/>
                </a:cubicBezTo>
                <a:cubicBezTo>
                  <a:pt x="309562" y="46038"/>
                  <a:pt x="304907" y="44081"/>
                  <a:pt x="300037" y="42863"/>
                </a:cubicBezTo>
                <a:cubicBezTo>
                  <a:pt x="240482" y="27973"/>
                  <a:pt x="280591" y="35719"/>
                  <a:pt x="266700" y="33338"/>
                </a:cubicBezTo>
                <a:cubicBezTo>
                  <a:pt x="252809" y="30957"/>
                  <a:pt x="284583" y="51205"/>
                  <a:pt x="216694" y="28575"/>
                </a:cubicBezTo>
                <a:cubicBezTo>
                  <a:pt x="200059" y="23030"/>
                  <a:pt x="189309" y="17463"/>
                  <a:pt x="166687" y="14288"/>
                </a:cubicBezTo>
                <a:cubicBezTo>
                  <a:pt x="144065" y="11113"/>
                  <a:pt x="109537" y="11113"/>
                  <a:pt x="80962" y="9525"/>
                </a:cubicBezTo>
                <a:cubicBezTo>
                  <a:pt x="74612" y="7938"/>
                  <a:pt x="68206" y="6561"/>
                  <a:pt x="61912" y="4763"/>
                </a:cubicBezTo>
                <a:cubicBezTo>
                  <a:pt x="57085" y="3384"/>
                  <a:pt x="52645" y="0"/>
                  <a:pt x="47625" y="0"/>
                </a:cubicBezTo>
                <a:cubicBezTo>
                  <a:pt x="33249" y="0"/>
                  <a:pt x="19050" y="3175"/>
                  <a:pt x="4762" y="4763"/>
                </a:cubicBezTo>
                <a:cubicBezTo>
                  <a:pt x="3175" y="9525"/>
                  <a:pt x="0" y="14030"/>
                  <a:pt x="0" y="19050"/>
                </a:cubicBezTo>
                <a:cubicBezTo>
                  <a:pt x="0" y="26270"/>
                  <a:pt x="9470" y="43410"/>
                  <a:pt x="14287" y="47625"/>
                </a:cubicBezTo>
                <a:cubicBezTo>
                  <a:pt x="23303" y="55514"/>
                  <a:pt x="42411" y="69171"/>
                  <a:pt x="57150" y="71438"/>
                </a:cubicBezTo>
                <a:cubicBezTo>
                  <a:pt x="72919" y="73864"/>
                  <a:pt x="88900" y="74613"/>
                  <a:pt x="104775" y="76200"/>
                </a:cubicBezTo>
                <a:cubicBezTo>
                  <a:pt x="107950" y="80963"/>
                  <a:pt x="110253" y="86440"/>
                  <a:pt x="114300" y="90488"/>
                </a:cubicBezTo>
                <a:cubicBezTo>
                  <a:pt x="122650" y="98839"/>
                  <a:pt x="132028" y="101676"/>
                  <a:pt x="142875" y="104775"/>
                </a:cubicBezTo>
                <a:cubicBezTo>
                  <a:pt x="149169" y="106573"/>
                  <a:pt x="155575" y="107950"/>
                  <a:pt x="161925" y="109538"/>
                </a:cubicBezTo>
                <a:lnTo>
                  <a:pt x="190500" y="128588"/>
                </a:lnTo>
                <a:cubicBezTo>
                  <a:pt x="233586" y="157312"/>
                  <a:pt x="167602" y="132066"/>
                  <a:pt x="214312" y="147638"/>
                </a:cubicBezTo>
                <a:lnTo>
                  <a:pt x="223837" y="176213"/>
                </a:lnTo>
                <a:lnTo>
                  <a:pt x="228600" y="190500"/>
                </a:lnTo>
                <a:cubicBezTo>
                  <a:pt x="227012" y="198438"/>
                  <a:pt x="225800" y="206460"/>
                  <a:pt x="223837" y="214313"/>
                </a:cubicBezTo>
                <a:cubicBezTo>
                  <a:pt x="222619" y="219183"/>
                  <a:pt x="219075" y="223580"/>
                  <a:pt x="219075" y="228600"/>
                </a:cubicBezTo>
                <a:cubicBezTo>
                  <a:pt x="219075" y="238256"/>
                  <a:pt x="220784" y="248014"/>
                  <a:pt x="223837" y="257175"/>
                </a:cubicBezTo>
                <a:cubicBezTo>
                  <a:pt x="225647" y="262605"/>
                  <a:pt x="228892" y="267887"/>
                  <a:pt x="233362" y="271463"/>
                </a:cubicBezTo>
                <a:cubicBezTo>
                  <a:pt x="237282" y="274599"/>
                  <a:pt x="242887" y="274638"/>
                  <a:pt x="247650" y="276225"/>
                </a:cubicBezTo>
                <a:cubicBezTo>
                  <a:pt x="250825" y="280988"/>
                  <a:pt x="254615" y="285393"/>
                  <a:pt x="257175" y="290513"/>
                </a:cubicBezTo>
                <a:cubicBezTo>
                  <a:pt x="259420" y="295003"/>
                  <a:pt x="257852" y="301882"/>
                  <a:pt x="261937" y="304800"/>
                </a:cubicBezTo>
                <a:cubicBezTo>
                  <a:pt x="270107" y="310636"/>
                  <a:pt x="290512" y="314325"/>
                  <a:pt x="290512" y="314325"/>
                </a:cubicBezTo>
                <a:cubicBezTo>
                  <a:pt x="295275" y="317500"/>
                  <a:pt x="299680" y="321290"/>
                  <a:pt x="304800" y="323850"/>
                </a:cubicBezTo>
                <a:cubicBezTo>
                  <a:pt x="309290" y="326095"/>
                  <a:pt x="317103" y="323850"/>
                  <a:pt x="319087" y="328613"/>
                </a:cubicBezTo>
                <a:cubicBezTo>
                  <a:pt x="321072" y="333376"/>
                  <a:pt x="312738" y="346076"/>
                  <a:pt x="316707" y="352426"/>
                </a:cubicBezTo>
                <a:cubicBezTo>
                  <a:pt x="320676" y="358776"/>
                  <a:pt x="339725" y="361157"/>
                  <a:pt x="342900" y="366713"/>
                </a:cubicBezTo>
                <a:cubicBezTo>
                  <a:pt x="346075" y="371475"/>
                  <a:pt x="347956" y="377424"/>
                  <a:pt x="352425" y="381000"/>
                </a:cubicBezTo>
                <a:cubicBezTo>
                  <a:pt x="356345" y="384136"/>
                  <a:pt x="362098" y="383785"/>
                  <a:pt x="366712" y="385763"/>
                </a:cubicBezTo>
                <a:cubicBezTo>
                  <a:pt x="373237" y="388560"/>
                  <a:pt x="379170" y="392651"/>
                  <a:pt x="385762" y="395288"/>
                </a:cubicBezTo>
                <a:cubicBezTo>
                  <a:pt x="395084" y="399017"/>
                  <a:pt x="405983" y="399244"/>
                  <a:pt x="414337" y="404813"/>
                </a:cubicBezTo>
                <a:cubicBezTo>
                  <a:pt x="434071" y="417969"/>
                  <a:pt x="423072" y="412950"/>
                  <a:pt x="447675" y="419100"/>
                </a:cubicBezTo>
                <a:cubicBezTo>
                  <a:pt x="474319" y="459067"/>
                  <a:pt x="436649" y="395679"/>
                  <a:pt x="452437" y="466725"/>
                </a:cubicBezTo>
                <a:cubicBezTo>
                  <a:pt x="453679" y="472313"/>
                  <a:pt x="461962" y="473075"/>
                  <a:pt x="466725" y="476250"/>
                </a:cubicBezTo>
                <a:cubicBezTo>
                  <a:pt x="469900" y="481013"/>
                  <a:pt x="471487" y="487363"/>
                  <a:pt x="476250" y="490538"/>
                </a:cubicBezTo>
                <a:cubicBezTo>
                  <a:pt x="481696" y="494169"/>
                  <a:pt x="489006" y="493502"/>
                  <a:pt x="495300" y="495300"/>
                </a:cubicBezTo>
                <a:cubicBezTo>
                  <a:pt x="500127" y="496679"/>
                  <a:pt x="504825" y="498475"/>
                  <a:pt x="509587" y="500063"/>
                </a:cubicBezTo>
                <a:cubicBezTo>
                  <a:pt x="527050" y="498475"/>
                  <a:pt x="544440" y="495300"/>
                  <a:pt x="561975" y="495300"/>
                </a:cubicBezTo>
                <a:cubicBezTo>
                  <a:pt x="566995" y="495300"/>
                  <a:pt x="574398" y="495402"/>
                  <a:pt x="576262" y="500063"/>
                </a:cubicBezTo>
                <a:cubicBezTo>
                  <a:pt x="598815" y="556446"/>
                  <a:pt x="553870" y="539045"/>
                  <a:pt x="614362" y="547688"/>
                </a:cubicBezTo>
                <a:lnTo>
                  <a:pt x="642937" y="557213"/>
                </a:lnTo>
                <a:lnTo>
                  <a:pt x="657225" y="561975"/>
                </a:lnTo>
                <a:cubicBezTo>
                  <a:pt x="668337" y="560388"/>
                  <a:pt x="679393" y="556096"/>
                  <a:pt x="690562" y="557213"/>
                </a:cubicBezTo>
                <a:cubicBezTo>
                  <a:pt x="707465" y="558903"/>
                  <a:pt x="704410" y="570621"/>
                  <a:pt x="709612" y="581025"/>
                </a:cubicBezTo>
                <a:cubicBezTo>
                  <a:pt x="712172" y="586145"/>
                  <a:pt x="715962" y="590550"/>
                  <a:pt x="719137" y="595313"/>
                </a:cubicBezTo>
                <a:cubicBezTo>
                  <a:pt x="728662" y="593725"/>
                  <a:pt x="738798" y="594264"/>
                  <a:pt x="747712" y="590550"/>
                </a:cubicBezTo>
                <a:cubicBezTo>
                  <a:pt x="758279" y="586147"/>
                  <a:pt x="765427" y="575120"/>
                  <a:pt x="776287" y="571500"/>
                </a:cubicBezTo>
                <a:lnTo>
                  <a:pt x="790575" y="566738"/>
                </a:lnTo>
                <a:cubicBezTo>
                  <a:pt x="813151" y="532873"/>
                  <a:pt x="781660" y="572209"/>
                  <a:pt x="842962" y="547688"/>
                </a:cubicBezTo>
                <a:cubicBezTo>
                  <a:pt x="847623" y="545823"/>
                  <a:pt x="844175" y="536950"/>
                  <a:pt x="847725" y="533400"/>
                </a:cubicBezTo>
                <a:cubicBezTo>
                  <a:pt x="851275" y="529850"/>
                  <a:pt x="857250" y="530225"/>
                  <a:pt x="862012" y="528638"/>
                </a:cubicBezTo>
                <a:cubicBezTo>
                  <a:pt x="865187" y="523875"/>
                  <a:pt x="867067" y="517926"/>
                  <a:pt x="871537" y="514350"/>
                </a:cubicBezTo>
                <a:cubicBezTo>
                  <a:pt x="885158" y="503453"/>
                  <a:pt x="921797" y="513584"/>
                  <a:pt x="928687" y="514350"/>
                </a:cubicBezTo>
                <a:cubicBezTo>
                  <a:pt x="964608" y="526325"/>
                  <a:pt x="920325" y="510170"/>
                  <a:pt x="957262" y="528638"/>
                </a:cubicBezTo>
                <a:cubicBezTo>
                  <a:pt x="961752" y="530883"/>
                  <a:pt x="966787" y="531813"/>
                  <a:pt x="971550" y="533400"/>
                </a:cubicBezTo>
                <a:cubicBezTo>
                  <a:pt x="974392" y="533163"/>
                  <a:pt x="1042139" y="522805"/>
                  <a:pt x="1057275" y="533400"/>
                </a:cubicBezTo>
                <a:cubicBezTo>
                  <a:pt x="1066653" y="539965"/>
                  <a:pt x="1076325" y="561975"/>
                  <a:pt x="1076325" y="561975"/>
                </a:cubicBezTo>
                <a:cubicBezTo>
                  <a:pt x="1089025" y="560388"/>
                  <a:pt x="1102077" y="560581"/>
                  <a:pt x="1114425" y="557213"/>
                </a:cubicBezTo>
                <a:cubicBezTo>
                  <a:pt x="1136102" y="551301"/>
                  <a:pt x="1122910" y="545662"/>
                  <a:pt x="1138237" y="533400"/>
                </a:cubicBezTo>
                <a:cubicBezTo>
                  <a:pt x="1142157" y="530264"/>
                  <a:pt x="1147762" y="530225"/>
                  <a:pt x="1152525" y="528638"/>
                </a:cubicBezTo>
                <a:cubicBezTo>
                  <a:pt x="1157287" y="525463"/>
                  <a:pt x="1163236" y="523582"/>
                  <a:pt x="1166812" y="519113"/>
                </a:cubicBezTo>
                <a:cubicBezTo>
                  <a:pt x="1193102" y="486250"/>
                  <a:pt x="1144919" y="522596"/>
                  <a:pt x="1185862" y="495300"/>
                </a:cubicBezTo>
                <a:cubicBezTo>
                  <a:pt x="1190578" y="481153"/>
                  <a:pt x="1198165" y="459185"/>
                  <a:pt x="1204912" y="452438"/>
                </a:cubicBezTo>
                <a:cubicBezTo>
                  <a:pt x="1211659" y="445691"/>
                  <a:pt x="1221581" y="457994"/>
                  <a:pt x="1226344" y="454819"/>
                </a:cubicBezTo>
                <a:cubicBezTo>
                  <a:pt x="1264819" y="461231"/>
                  <a:pt x="1248966" y="467915"/>
                  <a:pt x="1259681" y="469106"/>
                </a:cubicBezTo>
                <a:cubicBezTo>
                  <a:pt x="1270396" y="470297"/>
                  <a:pt x="1283096" y="462360"/>
                  <a:pt x="1290637" y="461963"/>
                </a:cubicBezTo>
                <a:cubicBezTo>
                  <a:pt x="1298178" y="461566"/>
                  <a:pt x="1300162" y="465138"/>
                  <a:pt x="1304925" y="466725"/>
                </a:cubicBezTo>
                <a:cubicBezTo>
                  <a:pt x="1309687" y="469900"/>
                  <a:pt x="1315636" y="471781"/>
                  <a:pt x="1319212" y="476250"/>
                </a:cubicBezTo>
                <a:cubicBezTo>
                  <a:pt x="1345502" y="509113"/>
                  <a:pt x="1297319" y="472767"/>
                  <a:pt x="1338262" y="500063"/>
                </a:cubicBezTo>
                <a:cubicBezTo>
                  <a:pt x="1339850" y="504825"/>
                  <a:pt x="1341936" y="509450"/>
                  <a:pt x="1343025" y="514350"/>
                </a:cubicBezTo>
                <a:cubicBezTo>
                  <a:pt x="1345120" y="523776"/>
                  <a:pt x="1343469" y="534288"/>
                  <a:pt x="1347787" y="542925"/>
                </a:cubicBezTo>
                <a:cubicBezTo>
                  <a:pt x="1350347" y="548045"/>
                  <a:pt x="1356955" y="549890"/>
                  <a:pt x="1362075" y="552450"/>
                </a:cubicBezTo>
                <a:cubicBezTo>
                  <a:pt x="1366565" y="554695"/>
                  <a:pt x="1371872" y="554968"/>
                  <a:pt x="1376362" y="557213"/>
                </a:cubicBezTo>
                <a:cubicBezTo>
                  <a:pt x="1381482" y="559773"/>
                  <a:pt x="1385419" y="564413"/>
                  <a:pt x="1390650" y="566738"/>
                </a:cubicBezTo>
                <a:cubicBezTo>
                  <a:pt x="1399825" y="570816"/>
                  <a:pt x="1419225" y="576263"/>
                  <a:pt x="1419225" y="576263"/>
                </a:cubicBezTo>
                <a:cubicBezTo>
                  <a:pt x="1422400" y="581025"/>
                  <a:pt x="1426190" y="585431"/>
                  <a:pt x="1428750" y="590550"/>
                </a:cubicBezTo>
                <a:cubicBezTo>
                  <a:pt x="1430995" y="595040"/>
                  <a:pt x="1429962" y="601288"/>
                  <a:pt x="1433512" y="604838"/>
                </a:cubicBezTo>
                <a:cubicBezTo>
                  <a:pt x="1437062" y="608388"/>
                  <a:pt x="1443037" y="608013"/>
                  <a:pt x="1447800" y="609600"/>
                </a:cubicBezTo>
                <a:lnTo>
                  <a:pt x="1476375" y="628650"/>
                </a:lnTo>
                <a:lnTo>
                  <a:pt x="1490662" y="638175"/>
                </a:lnTo>
                <a:cubicBezTo>
                  <a:pt x="1528758" y="695321"/>
                  <a:pt x="1470028" y="611192"/>
                  <a:pt x="1514475" y="661988"/>
                </a:cubicBezTo>
                <a:cubicBezTo>
                  <a:pt x="1522641" y="671320"/>
                  <a:pt x="1531030" y="696215"/>
                  <a:pt x="1547812" y="700088"/>
                </a:cubicBezTo>
                <a:cubicBezTo>
                  <a:pt x="1563358" y="703675"/>
                  <a:pt x="1579562" y="703263"/>
                  <a:pt x="1595437" y="704850"/>
                </a:cubicBezTo>
                <a:cubicBezTo>
                  <a:pt x="1627603" y="715573"/>
                  <a:pt x="1588007" y="703199"/>
                  <a:pt x="1638300" y="714375"/>
                </a:cubicBezTo>
                <a:cubicBezTo>
                  <a:pt x="1643200" y="715464"/>
                  <a:pt x="1647635" y="718313"/>
                  <a:pt x="1652587" y="719138"/>
                </a:cubicBezTo>
                <a:cubicBezTo>
                  <a:pt x="1666767" y="721501"/>
                  <a:pt x="1681162" y="722313"/>
                  <a:pt x="1695450" y="723900"/>
                </a:cubicBezTo>
                <a:cubicBezTo>
                  <a:pt x="1690687" y="727075"/>
                  <a:pt x="1682972" y="727995"/>
                  <a:pt x="1681162" y="733425"/>
                </a:cubicBezTo>
                <a:cubicBezTo>
                  <a:pt x="1680166" y="736413"/>
                  <a:pt x="1689206" y="762320"/>
                  <a:pt x="1690687" y="766763"/>
                </a:cubicBezTo>
                <a:cubicBezTo>
                  <a:pt x="1688110" y="787384"/>
                  <a:pt x="1672682" y="809625"/>
                  <a:pt x="1700212" y="809625"/>
                </a:cubicBezTo>
                <a:cubicBezTo>
                  <a:pt x="1705232" y="809625"/>
                  <a:pt x="1709737" y="806450"/>
                  <a:pt x="1714500" y="804863"/>
                </a:cubicBezTo>
                <a:cubicBezTo>
                  <a:pt x="1752426" y="779578"/>
                  <a:pt x="1677099" y="804735"/>
                  <a:pt x="1754981" y="790575"/>
                </a:cubicBezTo>
                <a:cubicBezTo>
                  <a:pt x="1760612" y="789551"/>
                  <a:pt x="1778000" y="790575"/>
                  <a:pt x="1781175" y="785813"/>
                </a:cubicBezTo>
                <a:cubicBezTo>
                  <a:pt x="1792287" y="819150"/>
                  <a:pt x="1781175" y="811213"/>
                  <a:pt x="1804987" y="819150"/>
                </a:cubicBezTo>
                <a:cubicBezTo>
                  <a:pt x="1807173" y="825709"/>
                  <a:pt x="1810574" y="845656"/>
                  <a:pt x="1824037" y="842963"/>
                </a:cubicBezTo>
                <a:cubicBezTo>
                  <a:pt x="1831964" y="841377"/>
                  <a:pt x="1835595" y="819302"/>
                  <a:pt x="1838325" y="814388"/>
                </a:cubicBezTo>
                <a:cubicBezTo>
                  <a:pt x="1843885" y="804381"/>
                  <a:pt x="1851025" y="795338"/>
                  <a:pt x="1857375" y="785813"/>
                </a:cubicBezTo>
                <a:cubicBezTo>
                  <a:pt x="1860550" y="781050"/>
                  <a:pt x="1861204" y="772094"/>
                  <a:pt x="1866900" y="771525"/>
                </a:cubicBezTo>
                <a:lnTo>
                  <a:pt x="1914525" y="766763"/>
                </a:lnTo>
                <a:cubicBezTo>
                  <a:pt x="1948546" y="744082"/>
                  <a:pt x="1931994" y="750490"/>
                  <a:pt x="1962150" y="742950"/>
                </a:cubicBezTo>
                <a:cubicBezTo>
                  <a:pt x="1984375" y="744538"/>
                  <a:pt x="2007209" y="742309"/>
                  <a:pt x="2028825" y="747713"/>
                </a:cubicBezTo>
                <a:cubicBezTo>
                  <a:pt x="2034378" y="749101"/>
                  <a:pt x="2034303" y="757953"/>
                  <a:pt x="2038350" y="762000"/>
                </a:cubicBezTo>
                <a:cubicBezTo>
                  <a:pt x="2042397" y="766047"/>
                  <a:pt x="2047084" y="770137"/>
                  <a:pt x="2052637" y="771525"/>
                </a:cubicBezTo>
                <a:cubicBezTo>
                  <a:pt x="2066583" y="775012"/>
                  <a:pt x="2081212" y="774700"/>
                  <a:pt x="2095500" y="776288"/>
                </a:cubicBezTo>
                <a:cubicBezTo>
                  <a:pt x="2118819" y="791835"/>
                  <a:pt x="2111454" y="791349"/>
                  <a:pt x="2152650" y="781050"/>
                </a:cubicBezTo>
                <a:cubicBezTo>
                  <a:pt x="2158203" y="779662"/>
                  <a:pt x="2161578" y="773535"/>
                  <a:pt x="2166937" y="771525"/>
                </a:cubicBezTo>
                <a:cubicBezTo>
                  <a:pt x="2174516" y="768683"/>
                  <a:pt x="2182940" y="768893"/>
                  <a:pt x="2190750" y="766763"/>
                </a:cubicBezTo>
                <a:cubicBezTo>
                  <a:pt x="2200436" y="764121"/>
                  <a:pt x="2219325" y="757238"/>
                  <a:pt x="2219325" y="757238"/>
                </a:cubicBezTo>
                <a:cubicBezTo>
                  <a:pt x="2237428" y="739134"/>
                  <a:pt x="2230188" y="737619"/>
                  <a:pt x="2257425" y="752475"/>
                </a:cubicBezTo>
                <a:cubicBezTo>
                  <a:pt x="2267475" y="757957"/>
                  <a:pt x="2286000" y="771525"/>
                  <a:pt x="2286000" y="771525"/>
                </a:cubicBezTo>
                <a:cubicBezTo>
                  <a:pt x="2287587" y="776288"/>
                  <a:pt x="2287626" y="781893"/>
                  <a:pt x="2290762" y="785813"/>
                </a:cubicBezTo>
                <a:cubicBezTo>
                  <a:pt x="2294338" y="790283"/>
                  <a:pt x="2302016" y="790484"/>
                  <a:pt x="2305050" y="795338"/>
                </a:cubicBezTo>
                <a:cubicBezTo>
                  <a:pt x="2310371" y="803852"/>
                  <a:pt x="2314575" y="823913"/>
                  <a:pt x="2314575" y="823913"/>
                </a:cubicBezTo>
                <a:cubicBezTo>
                  <a:pt x="2324100" y="822325"/>
                  <a:pt x="2333724" y="821245"/>
                  <a:pt x="2343150" y="819150"/>
                </a:cubicBezTo>
                <a:cubicBezTo>
                  <a:pt x="2348050" y="818061"/>
                  <a:pt x="2352947" y="812143"/>
                  <a:pt x="2357437" y="814388"/>
                </a:cubicBezTo>
                <a:cubicBezTo>
                  <a:pt x="2361927" y="816633"/>
                  <a:pt x="2358650" y="825125"/>
                  <a:pt x="2362200" y="828675"/>
                </a:cubicBezTo>
                <a:cubicBezTo>
                  <a:pt x="2365750" y="832225"/>
                  <a:pt x="2371725" y="831850"/>
                  <a:pt x="2376487" y="833438"/>
                </a:cubicBezTo>
                <a:cubicBezTo>
                  <a:pt x="2387600" y="831850"/>
                  <a:pt x="2400964" y="835567"/>
                  <a:pt x="2409825" y="828675"/>
                </a:cubicBezTo>
                <a:cubicBezTo>
                  <a:pt x="2409826" y="828674"/>
                  <a:pt x="2421731" y="792958"/>
                  <a:pt x="2424112" y="785813"/>
                </a:cubicBezTo>
                <a:cubicBezTo>
                  <a:pt x="2425699" y="781050"/>
                  <a:pt x="2433557" y="782371"/>
                  <a:pt x="2438400" y="781050"/>
                </a:cubicBezTo>
                <a:cubicBezTo>
                  <a:pt x="2451030" y="777605"/>
                  <a:pt x="2464081" y="775665"/>
                  <a:pt x="2476500" y="771525"/>
                </a:cubicBezTo>
                <a:cubicBezTo>
                  <a:pt x="2486025" y="768350"/>
                  <a:pt x="2495096" y="763109"/>
                  <a:pt x="2505075" y="762000"/>
                </a:cubicBezTo>
                <a:lnTo>
                  <a:pt x="2547937" y="757238"/>
                </a:lnTo>
                <a:cubicBezTo>
                  <a:pt x="2597542" y="740702"/>
                  <a:pt x="2542238" y="757694"/>
                  <a:pt x="2667000" y="747713"/>
                </a:cubicBezTo>
                <a:cubicBezTo>
                  <a:pt x="2685792" y="746210"/>
                  <a:pt x="2678165" y="739954"/>
                  <a:pt x="2695575" y="733425"/>
                </a:cubicBezTo>
                <a:cubicBezTo>
                  <a:pt x="2703154" y="730583"/>
                  <a:pt x="2711485" y="730419"/>
                  <a:pt x="2719387" y="728663"/>
                </a:cubicBezTo>
                <a:cubicBezTo>
                  <a:pt x="2799503" y="710859"/>
                  <a:pt x="2689127" y="735038"/>
                  <a:pt x="2752725" y="719138"/>
                </a:cubicBezTo>
                <a:cubicBezTo>
                  <a:pt x="2760578" y="717175"/>
                  <a:pt x="2768600" y="715963"/>
                  <a:pt x="2776537" y="714375"/>
                </a:cubicBezTo>
                <a:cubicBezTo>
                  <a:pt x="2794000" y="715963"/>
                  <a:pt x="2802732" y="719535"/>
                  <a:pt x="2814638" y="723901"/>
                </a:cubicBezTo>
                <a:cubicBezTo>
                  <a:pt x="2826544" y="728267"/>
                  <a:pt x="2833688" y="738188"/>
                  <a:pt x="2847975" y="740569"/>
                </a:cubicBezTo>
                <a:cubicBezTo>
                  <a:pt x="2862262" y="742950"/>
                  <a:pt x="2889250" y="737791"/>
                  <a:pt x="2900362" y="738188"/>
                </a:cubicBezTo>
                <a:cubicBezTo>
                  <a:pt x="2911474" y="738585"/>
                  <a:pt x="2909887" y="741363"/>
                  <a:pt x="2914650" y="742950"/>
                </a:cubicBezTo>
                <a:cubicBezTo>
                  <a:pt x="2919412" y="746125"/>
                  <a:pt x="2923220" y="752203"/>
                  <a:pt x="2928937" y="752475"/>
                </a:cubicBezTo>
                <a:cubicBezTo>
                  <a:pt x="2995102" y="755626"/>
                  <a:pt x="2991822" y="755327"/>
                  <a:pt x="3028950" y="742950"/>
                </a:cubicBezTo>
                <a:cubicBezTo>
                  <a:pt x="3030537" y="738188"/>
                  <a:pt x="3030162" y="732213"/>
                  <a:pt x="3033712" y="728663"/>
                </a:cubicBezTo>
                <a:cubicBezTo>
                  <a:pt x="3037262" y="725113"/>
                  <a:pt x="3043510" y="726145"/>
                  <a:pt x="3048000" y="723900"/>
                </a:cubicBezTo>
                <a:cubicBezTo>
                  <a:pt x="3053119" y="721340"/>
                  <a:pt x="3057525" y="717550"/>
                  <a:pt x="3062287" y="714375"/>
                </a:cubicBezTo>
                <a:cubicBezTo>
                  <a:pt x="3065462" y="709613"/>
                  <a:pt x="3067765" y="704135"/>
                  <a:pt x="3071812" y="700088"/>
                </a:cubicBezTo>
                <a:cubicBezTo>
                  <a:pt x="3075860" y="696041"/>
                  <a:pt x="3082331" y="694871"/>
                  <a:pt x="3086100" y="690563"/>
                </a:cubicBezTo>
                <a:cubicBezTo>
                  <a:pt x="3093638" y="681948"/>
                  <a:pt x="3094290" y="665609"/>
                  <a:pt x="3105150" y="661988"/>
                </a:cubicBezTo>
                <a:cubicBezTo>
                  <a:pt x="3124867" y="655415"/>
                  <a:pt x="3115260" y="660010"/>
                  <a:pt x="3133725" y="647700"/>
                </a:cubicBezTo>
                <a:cubicBezTo>
                  <a:pt x="3149600" y="623888"/>
                  <a:pt x="3138488" y="636588"/>
                  <a:pt x="3171825" y="614363"/>
                </a:cubicBezTo>
                <a:cubicBezTo>
                  <a:pt x="3177429" y="610627"/>
                  <a:pt x="3180796" y="604210"/>
                  <a:pt x="3186112" y="600075"/>
                </a:cubicBezTo>
                <a:cubicBezTo>
                  <a:pt x="3195148" y="593047"/>
                  <a:pt x="3221831" y="592138"/>
                  <a:pt x="3228975" y="590550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11" name="Freeform 110"/>
          <p:cNvSpPr/>
          <p:nvPr>
            <p:custDataLst>
              <p:tags r:id="rId9"/>
            </p:custDataLst>
          </p:nvPr>
        </p:nvSpPr>
        <p:spPr>
          <a:xfrm>
            <a:off x="4871282" y="3656112"/>
            <a:ext cx="864204" cy="190847"/>
          </a:xfrm>
          <a:custGeom>
            <a:avLst/>
            <a:gdLst>
              <a:gd name="connsiteX0" fmla="*/ 0 w 1552736"/>
              <a:gd name="connsiteY0" fmla="*/ 214312 h 342900"/>
              <a:gd name="connsiteX1" fmla="*/ 0 w 1552736"/>
              <a:gd name="connsiteY1" fmla="*/ 214312 h 342900"/>
              <a:gd name="connsiteX2" fmla="*/ 61912 w 1552736"/>
              <a:gd name="connsiteY2" fmla="*/ 257175 h 342900"/>
              <a:gd name="connsiteX3" fmla="*/ 76200 w 1552736"/>
              <a:gd name="connsiteY3" fmla="*/ 261937 h 342900"/>
              <a:gd name="connsiteX4" fmla="*/ 104775 w 1552736"/>
              <a:gd name="connsiteY4" fmla="*/ 280987 h 342900"/>
              <a:gd name="connsiteX5" fmla="*/ 133350 w 1552736"/>
              <a:gd name="connsiteY5" fmla="*/ 290512 h 342900"/>
              <a:gd name="connsiteX6" fmla="*/ 171450 w 1552736"/>
              <a:gd name="connsiteY6" fmla="*/ 300037 h 342900"/>
              <a:gd name="connsiteX7" fmla="*/ 185737 w 1552736"/>
              <a:gd name="connsiteY7" fmla="*/ 314325 h 342900"/>
              <a:gd name="connsiteX8" fmla="*/ 204787 w 1552736"/>
              <a:gd name="connsiteY8" fmla="*/ 319087 h 342900"/>
              <a:gd name="connsiteX9" fmla="*/ 233362 w 1552736"/>
              <a:gd name="connsiteY9" fmla="*/ 328612 h 342900"/>
              <a:gd name="connsiteX10" fmla="*/ 276225 w 1552736"/>
              <a:gd name="connsiteY10" fmla="*/ 338137 h 342900"/>
              <a:gd name="connsiteX11" fmla="*/ 290512 w 1552736"/>
              <a:gd name="connsiteY11" fmla="*/ 342900 h 342900"/>
              <a:gd name="connsiteX12" fmla="*/ 581025 w 1552736"/>
              <a:gd name="connsiteY12" fmla="*/ 338137 h 342900"/>
              <a:gd name="connsiteX13" fmla="*/ 638175 w 1552736"/>
              <a:gd name="connsiteY13" fmla="*/ 309562 h 342900"/>
              <a:gd name="connsiteX14" fmla="*/ 652462 w 1552736"/>
              <a:gd name="connsiteY14" fmla="*/ 304800 h 342900"/>
              <a:gd name="connsiteX15" fmla="*/ 709612 w 1552736"/>
              <a:gd name="connsiteY15" fmla="*/ 276225 h 342900"/>
              <a:gd name="connsiteX16" fmla="*/ 723900 w 1552736"/>
              <a:gd name="connsiteY16" fmla="*/ 271462 h 342900"/>
              <a:gd name="connsiteX17" fmla="*/ 738187 w 1552736"/>
              <a:gd name="connsiteY17" fmla="*/ 266700 h 342900"/>
              <a:gd name="connsiteX18" fmla="*/ 766762 w 1552736"/>
              <a:gd name="connsiteY18" fmla="*/ 247650 h 342900"/>
              <a:gd name="connsiteX19" fmla="*/ 795337 w 1552736"/>
              <a:gd name="connsiteY19" fmla="*/ 238125 h 342900"/>
              <a:gd name="connsiteX20" fmla="*/ 809625 w 1552736"/>
              <a:gd name="connsiteY20" fmla="*/ 233362 h 342900"/>
              <a:gd name="connsiteX21" fmla="*/ 823912 w 1552736"/>
              <a:gd name="connsiteY21" fmla="*/ 223837 h 342900"/>
              <a:gd name="connsiteX22" fmla="*/ 838200 w 1552736"/>
              <a:gd name="connsiteY22" fmla="*/ 219075 h 342900"/>
              <a:gd name="connsiteX23" fmla="*/ 952500 w 1552736"/>
              <a:gd name="connsiteY23" fmla="*/ 223837 h 342900"/>
              <a:gd name="connsiteX24" fmla="*/ 981075 w 1552736"/>
              <a:gd name="connsiteY24" fmla="*/ 238125 h 342900"/>
              <a:gd name="connsiteX25" fmla="*/ 995362 w 1552736"/>
              <a:gd name="connsiteY25" fmla="*/ 242887 h 342900"/>
              <a:gd name="connsiteX26" fmla="*/ 1181100 w 1552736"/>
              <a:gd name="connsiteY26" fmla="*/ 252412 h 342900"/>
              <a:gd name="connsiteX27" fmla="*/ 1166812 w 1552736"/>
              <a:gd name="connsiteY27" fmla="*/ 257175 h 342900"/>
              <a:gd name="connsiteX28" fmla="*/ 1095375 w 1552736"/>
              <a:gd name="connsiteY28" fmla="*/ 247650 h 342900"/>
              <a:gd name="connsiteX29" fmla="*/ 1100137 w 1552736"/>
              <a:gd name="connsiteY29" fmla="*/ 261937 h 342900"/>
              <a:gd name="connsiteX30" fmla="*/ 1114425 w 1552736"/>
              <a:gd name="connsiteY30" fmla="*/ 271462 h 342900"/>
              <a:gd name="connsiteX31" fmla="*/ 1152525 w 1552736"/>
              <a:gd name="connsiteY31" fmla="*/ 280987 h 342900"/>
              <a:gd name="connsiteX32" fmla="*/ 1219200 w 1552736"/>
              <a:gd name="connsiteY32" fmla="*/ 276225 h 342900"/>
              <a:gd name="connsiteX33" fmla="*/ 1233487 w 1552736"/>
              <a:gd name="connsiteY33" fmla="*/ 247650 h 342900"/>
              <a:gd name="connsiteX34" fmla="*/ 1247775 w 1552736"/>
              <a:gd name="connsiteY34" fmla="*/ 242887 h 342900"/>
              <a:gd name="connsiteX35" fmla="*/ 1376362 w 1552736"/>
              <a:gd name="connsiteY35" fmla="*/ 238125 h 342900"/>
              <a:gd name="connsiteX36" fmla="*/ 1500187 w 1552736"/>
              <a:gd name="connsiteY36" fmla="*/ 228600 h 342900"/>
              <a:gd name="connsiteX37" fmla="*/ 1514475 w 1552736"/>
              <a:gd name="connsiteY37" fmla="*/ 214312 h 342900"/>
              <a:gd name="connsiteX38" fmla="*/ 1528762 w 1552736"/>
              <a:gd name="connsiteY38" fmla="*/ 209550 h 342900"/>
              <a:gd name="connsiteX39" fmla="*/ 1552575 w 1552736"/>
              <a:gd name="connsiteY39" fmla="*/ 185737 h 342900"/>
              <a:gd name="connsiteX40" fmla="*/ 1547812 w 1552736"/>
              <a:gd name="connsiteY40" fmla="*/ 171450 h 342900"/>
              <a:gd name="connsiteX41" fmla="*/ 1533525 w 1552736"/>
              <a:gd name="connsiteY41" fmla="*/ 161925 h 342900"/>
              <a:gd name="connsiteX42" fmla="*/ 1524000 w 1552736"/>
              <a:gd name="connsiteY42" fmla="*/ 147637 h 342900"/>
              <a:gd name="connsiteX43" fmla="*/ 1495425 w 1552736"/>
              <a:gd name="connsiteY43" fmla="*/ 128587 h 342900"/>
              <a:gd name="connsiteX44" fmla="*/ 1471612 w 1552736"/>
              <a:gd name="connsiteY44" fmla="*/ 109537 h 342900"/>
              <a:gd name="connsiteX45" fmla="*/ 1462087 w 1552736"/>
              <a:gd name="connsiteY45" fmla="*/ 95250 h 342900"/>
              <a:gd name="connsiteX46" fmla="*/ 1433512 w 1552736"/>
              <a:gd name="connsiteY46" fmla="*/ 80962 h 342900"/>
              <a:gd name="connsiteX47" fmla="*/ 1404937 w 1552736"/>
              <a:gd name="connsiteY47" fmla="*/ 100012 h 342900"/>
              <a:gd name="connsiteX48" fmla="*/ 1376362 w 1552736"/>
              <a:gd name="connsiteY48" fmla="*/ 114300 h 342900"/>
              <a:gd name="connsiteX49" fmla="*/ 1252537 w 1552736"/>
              <a:gd name="connsiteY49" fmla="*/ 119062 h 342900"/>
              <a:gd name="connsiteX50" fmla="*/ 1119187 w 1552736"/>
              <a:gd name="connsiteY50" fmla="*/ 114300 h 342900"/>
              <a:gd name="connsiteX51" fmla="*/ 1081087 w 1552736"/>
              <a:gd name="connsiteY51" fmla="*/ 100012 h 342900"/>
              <a:gd name="connsiteX52" fmla="*/ 1047750 w 1552736"/>
              <a:gd name="connsiteY52" fmla="*/ 90487 h 342900"/>
              <a:gd name="connsiteX53" fmla="*/ 952500 w 1552736"/>
              <a:gd name="connsiteY53" fmla="*/ 85725 h 342900"/>
              <a:gd name="connsiteX54" fmla="*/ 928687 w 1552736"/>
              <a:gd name="connsiteY54" fmla="*/ 80962 h 342900"/>
              <a:gd name="connsiteX55" fmla="*/ 881062 w 1552736"/>
              <a:gd name="connsiteY55" fmla="*/ 76200 h 342900"/>
              <a:gd name="connsiteX56" fmla="*/ 866775 w 1552736"/>
              <a:gd name="connsiteY56" fmla="*/ 71437 h 342900"/>
              <a:gd name="connsiteX57" fmla="*/ 800100 w 1552736"/>
              <a:gd name="connsiteY57" fmla="*/ 52387 h 342900"/>
              <a:gd name="connsiteX58" fmla="*/ 747712 w 1552736"/>
              <a:gd name="connsiteY58" fmla="*/ 47625 h 342900"/>
              <a:gd name="connsiteX59" fmla="*/ 723900 w 1552736"/>
              <a:gd name="connsiteY59" fmla="*/ 42862 h 342900"/>
              <a:gd name="connsiteX60" fmla="*/ 695325 w 1552736"/>
              <a:gd name="connsiteY60" fmla="*/ 33337 h 342900"/>
              <a:gd name="connsiteX61" fmla="*/ 652462 w 1552736"/>
              <a:gd name="connsiteY61" fmla="*/ 19050 h 342900"/>
              <a:gd name="connsiteX62" fmla="*/ 576262 w 1552736"/>
              <a:gd name="connsiteY62" fmla="*/ 14287 h 342900"/>
              <a:gd name="connsiteX63" fmla="*/ 547687 w 1552736"/>
              <a:gd name="connsiteY63" fmla="*/ 4762 h 342900"/>
              <a:gd name="connsiteX64" fmla="*/ 533400 w 1552736"/>
              <a:gd name="connsiteY64" fmla="*/ 0 h 342900"/>
              <a:gd name="connsiteX65" fmla="*/ 357187 w 1552736"/>
              <a:gd name="connsiteY65" fmla="*/ 4762 h 342900"/>
              <a:gd name="connsiteX66" fmla="*/ 314325 w 1552736"/>
              <a:gd name="connsiteY66" fmla="*/ 33337 h 342900"/>
              <a:gd name="connsiteX67" fmla="*/ 257175 w 1552736"/>
              <a:gd name="connsiteY67" fmla="*/ 42862 h 342900"/>
              <a:gd name="connsiteX68" fmla="*/ 242887 w 1552736"/>
              <a:gd name="connsiteY68" fmla="*/ 47625 h 342900"/>
              <a:gd name="connsiteX69" fmla="*/ 228600 w 1552736"/>
              <a:gd name="connsiteY69" fmla="*/ 57150 h 342900"/>
              <a:gd name="connsiteX70" fmla="*/ 200025 w 1552736"/>
              <a:gd name="connsiteY70" fmla="*/ 66675 h 342900"/>
              <a:gd name="connsiteX71" fmla="*/ 185737 w 1552736"/>
              <a:gd name="connsiteY71" fmla="*/ 71437 h 342900"/>
              <a:gd name="connsiteX72" fmla="*/ 142875 w 1552736"/>
              <a:gd name="connsiteY72" fmla="*/ 100012 h 342900"/>
              <a:gd name="connsiteX73" fmla="*/ 128587 w 1552736"/>
              <a:gd name="connsiteY73" fmla="*/ 109537 h 342900"/>
              <a:gd name="connsiteX74" fmla="*/ 114300 w 1552736"/>
              <a:gd name="connsiteY74" fmla="*/ 119062 h 342900"/>
              <a:gd name="connsiteX75" fmla="*/ 80962 w 1552736"/>
              <a:gd name="connsiteY75" fmla="*/ 152400 h 342900"/>
              <a:gd name="connsiteX76" fmla="*/ 66675 w 1552736"/>
              <a:gd name="connsiteY76" fmla="*/ 166687 h 342900"/>
              <a:gd name="connsiteX77" fmla="*/ 52387 w 1552736"/>
              <a:gd name="connsiteY77" fmla="*/ 171450 h 342900"/>
              <a:gd name="connsiteX78" fmla="*/ 23812 w 1552736"/>
              <a:gd name="connsiteY78" fmla="*/ 185737 h 342900"/>
              <a:gd name="connsiteX79" fmla="*/ 0 w 1552736"/>
              <a:gd name="connsiteY79" fmla="*/ 214312 h 342900"/>
              <a:gd name="connsiteX0" fmla="*/ 0 w 1552736"/>
              <a:gd name="connsiteY0" fmla="*/ 214312 h 342900"/>
              <a:gd name="connsiteX1" fmla="*/ 0 w 1552736"/>
              <a:gd name="connsiteY1" fmla="*/ 214312 h 342900"/>
              <a:gd name="connsiteX2" fmla="*/ 61912 w 1552736"/>
              <a:gd name="connsiteY2" fmla="*/ 257175 h 342900"/>
              <a:gd name="connsiteX3" fmla="*/ 76200 w 1552736"/>
              <a:gd name="connsiteY3" fmla="*/ 261937 h 342900"/>
              <a:gd name="connsiteX4" fmla="*/ 104775 w 1552736"/>
              <a:gd name="connsiteY4" fmla="*/ 280987 h 342900"/>
              <a:gd name="connsiteX5" fmla="*/ 133350 w 1552736"/>
              <a:gd name="connsiteY5" fmla="*/ 290512 h 342900"/>
              <a:gd name="connsiteX6" fmla="*/ 171450 w 1552736"/>
              <a:gd name="connsiteY6" fmla="*/ 300037 h 342900"/>
              <a:gd name="connsiteX7" fmla="*/ 185737 w 1552736"/>
              <a:gd name="connsiteY7" fmla="*/ 314325 h 342900"/>
              <a:gd name="connsiteX8" fmla="*/ 204787 w 1552736"/>
              <a:gd name="connsiteY8" fmla="*/ 319087 h 342900"/>
              <a:gd name="connsiteX9" fmla="*/ 233362 w 1552736"/>
              <a:gd name="connsiteY9" fmla="*/ 328612 h 342900"/>
              <a:gd name="connsiteX10" fmla="*/ 276225 w 1552736"/>
              <a:gd name="connsiteY10" fmla="*/ 338137 h 342900"/>
              <a:gd name="connsiteX11" fmla="*/ 290512 w 1552736"/>
              <a:gd name="connsiteY11" fmla="*/ 342900 h 342900"/>
              <a:gd name="connsiteX12" fmla="*/ 581025 w 1552736"/>
              <a:gd name="connsiteY12" fmla="*/ 338137 h 342900"/>
              <a:gd name="connsiteX13" fmla="*/ 638175 w 1552736"/>
              <a:gd name="connsiteY13" fmla="*/ 309562 h 342900"/>
              <a:gd name="connsiteX14" fmla="*/ 652462 w 1552736"/>
              <a:gd name="connsiteY14" fmla="*/ 304800 h 342900"/>
              <a:gd name="connsiteX15" fmla="*/ 709612 w 1552736"/>
              <a:gd name="connsiteY15" fmla="*/ 276225 h 342900"/>
              <a:gd name="connsiteX16" fmla="*/ 723900 w 1552736"/>
              <a:gd name="connsiteY16" fmla="*/ 271462 h 342900"/>
              <a:gd name="connsiteX17" fmla="*/ 738187 w 1552736"/>
              <a:gd name="connsiteY17" fmla="*/ 266700 h 342900"/>
              <a:gd name="connsiteX18" fmla="*/ 766762 w 1552736"/>
              <a:gd name="connsiteY18" fmla="*/ 247650 h 342900"/>
              <a:gd name="connsiteX19" fmla="*/ 795337 w 1552736"/>
              <a:gd name="connsiteY19" fmla="*/ 238125 h 342900"/>
              <a:gd name="connsiteX20" fmla="*/ 809625 w 1552736"/>
              <a:gd name="connsiteY20" fmla="*/ 233362 h 342900"/>
              <a:gd name="connsiteX21" fmla="*/ 823912 w 1552736"/>
              <a:gd name="connsiteY21" fmla="*/ 223837 h 342900"/>
              <a:gd name="connsiteX22" fmla="*/ 838200 w 1552736"/>
              <a:gd name="connsiteY22" fmla="*/ 219075 h 342900"/>
              <a:gd name="connsiteX23" fmla="*/ 952500 w 1552736"/>
              <a:gd name="connsiteY23" fmla="*/ 223837 h 342900"/>
              <a:gd name="connsiteX24" fmla="*/ 981075 w 1552736"/>
              <a:gd name="connsiteY24" fmla="*/ 238125 h 342900"/>
              <a:gd name="connsiteX25" fmla="*/ 995362 w 1552736"/>
              <a:gd name="connsiteY25" fmla="*/ 242887 h 342900"/>
              <a:gd name="connsiteX26" fmla="*/ 1166812 w 1552736"/>
              <a:gd name="connsiteY26" fmla="*/ 257175 h 342900"/>
              <a:gd name="connsiteX27" fmla="*/ 1095375 w 1552736"/>
              <a:gd name="connsiteY27" fmla="*/ 247650 h 342900"/>
              <a:gd name="connsiteX28" fmla="*/ 1100137 w 1552736"/>
              <a:gd name="connsiteY28" fmla="*/ 261937 h 342900"/>
              <a:gd name="connsiteX29" fmla="*/ 1114425 w 1552736"/>
              <a:gd name="connsiteY29" fmla="*/ 271462 h 342900"/>
              <a:gd name="connsiteX30" fmla="*/ 1152525 w 1552736"/>
              <a:gd name="connsiteY30" fmla="*/ 280987 h 342900"/>
              <a:gd name="connsiteX31" fmla="*/ 1219200 w 1552736"/>
              <a:gd name="connsiteY31" fmla="*/ 276225 h 342900"/>
              <a:gd name="connsiteX32" fmla="*/ 1233487 w 1552736"/>
              <a:gd name="connsiteY32" fmla="*/ 247650 h 342900"/>
              <a:gd name="connsiteX33" fmla="*/ 1247775 w 1552736"/>
              <a:gd name="connsiteY33" fmla="*/ 242887 h 342900"/>
              <a:gd name="connsiteX34" fmla="*/ 1376362 w 1552736"/>
              <a:gd name="connsiteY34" fmla="*/ 238125 h 342900"/>
              <a:gd name="connsiteX35" fmla="*/ 1500187 w 1552736"/>
              <a:gd name="connsiteY35" fmla="*/ 228600 h 342900"/>
              <a:gd name="connsiteX36" fmla="*/ 1514475 w 1552736"/>
              <a:gd name="connsiteY36" fmla="*/ 214312 h 342900"/>
              <a:gd name="connsiteX37" fmla="*/ 1528762 w 1552736"/>
              <a:gd name="connsiteY37" fmla="*/ 209550 h 342900"/>
              <a:gd name="connsiteX38" fmla="*/ 1552575 w 1552736"/>
              <a:gd name="connsiteY38" fmla="*/ 185737 h 342900"/>
              <a:gd name="connsiteX39" fmla="*/ 1547812 w 1552736"/>
              <a:gd name="connsiteY39" fmla="*/ 171450 h 342900"/>
              <a:gd name="connsiteX40" fmla="*/ 1533525 w 1552736"/>
              <a:gd name="connsiteY40" fmla="*/ 161925 h 342900"/>
              <a:gd name="connsiteX41" fmla="*/ 1524000 w 1552736"/>
              <a:gd name="connsiteY41" fmla="*/ 147637 h 342900"/>
              <a:gd name="connsiteX42" fmla="*/ 1495425 w 1552736"/>
              <a:gd name="connsiteY42" fmla="*/ 128587 h 342900"/>
              <a:gd name="connsiteX43" fmla="*/ 1471612 w 1552736"/>
              <a:gd name="connsiteY43" fmla="*/ 109537 h 342900"/>
              <a:gd name="connsiteX44" fmla="*/ 1462087 w 1552736"/>
              <a:gd name="connsiteY44" fmla="*/ 95250 h 342900"/>
              <a:gd name="connsiteX45" fmla="*/ 1433512 w 1552736"/>
              <a:gd name="connsiteY45" fmla="*/ 80962 h 342900"/>
              <a:gd name="connsiteX46" fmla="*/ 1404937 w 1552736"/>
              <a:gd name="connsiteY46" fmla="*/ 100012 h 342900"/>
              <a:gd name="connsiteX47" fmla="*/ 1376362 w 1552736"/>
              <a:gd name="connsiteY47" fmla="*/ 114300 h 342900"/>
              <a:gd name="connsiteX48" fmla="*/ 1252537 w 1552736"/>
              <a:gd name="connsiteY48" fmla="*/ 119062 h 342900"/>
              <a:gd name="connsiteX49" fmla="*/ 1119187 w 1552736"/>
              <a:gd name="connsiteY49" fmla="*/ 114300 h 342900"/>
              <a:gd name="connsiteX50" fmla="*/ 1081087 w 1552736"/>
              <a:gd name="connsiteY50" fmla="*/ 100012 h 342900"/>
              <a:gd name="connsiteX51" fmla="*/ 1047750 w 1552736"/>
              <a:gd name="connsiteY51" fmla="*/ 90487 h 342900"/>
              <a:gd name="connsiteX52" fmla="*/ 952500 w 1552736"/>
              <a:gd name="connsiteY52" fmla="*/ 85725 h 342900"/>
              <a:gd name="connsiteX53" fmla="*/ 928687 w 1552736"/>
              <a:gd name="connsiteY53" fmla="*/ 80962 h 342900"/>
              <a:gd name="connsiteX54" fmla="*/ 881062 w 1552736"/>
              <a:gd name="connsiteY54" fmla="*/ 76200 h 342900"/>
              <a:gd name="connsiteX55" fmla="*/ 866775 w 1552736"/>
              <a:gd name="connsiteY55" fmla="*/ 71437 h 342900"/>
              <a:gd name="connsiteX56" fmla="*/ 800100 w 1552736"/>
              <a:gd name="connsiteY56" fmla="*/ 52387 h 342900"/>
              <a:gd name="connsiteX57" fmla="*/ 747712 w 1552736"/>
              <a:gd name="connsiteY57" fmla="*/ 47625 h 342900"/>
              <a:gd name="connsiteX58" fmla="*/ 723900 w 1552736"/>
              <a:gd name="connsiteY58" fmla="*/ 42862 h 342900"/>
              <a:gd name="connsiteX59" fmla="*/ 695325 w 1552736"/>
              <a:gd name="connsiteY59" fmla="*/ 33337 h 342900"/>
              <a:gd name="connsiteX60" fmla="*/ 652462 w 1552736"/>
              <a:gd name="connsiteY60" fmla="*/ 19050 h 342900"/>
              <a:gd name="connsiteX61" fmla="*/ 576262 w 1552736"/>
              <a:gd name="connsiteY61" fmla="*/ 14287 h 342900"/>
              <a:gd name="connsiteX62" fmla="*/ 547687 w 1552736"/>
              <a:gd name="connsiteY62" fmla="*/ 4762 h 342900"/>
              <a:gd name="connsiteX63" fmla="*/ 533400 w 1552736"/>
              <a:gd name="connsiteY63" fmla="*/ 0 h 342900"/>
              <a:gd name="connsiteX64" fmla="*/ 357187 w 1552736"/>
              <a:gd name="connsiteY64" fmla="*/ 4762 h 342900"/>
              <a:gd name="connsiteX65" fmla="*/ 314325 w 1552736"/>
              <a:gd name="connsiteY65" fmla="*/ 33337 h 342900"/>
              <a:gd name="connsiteX66" fmla="*/ 257175 w 1552736"/>
              <a:gd name="connsiteY66" fmla="*/ 42862 h 342900"/>
              <a:gd name="connsiteX67" fmla="*/ 242887 w 1552736"/>
              <a:gd name="connsiteY67" fmla="*/ 47625 h 342900"/>
              <a:gd name="connsiteX68" fmla="*/ 228600 w 1552736"/>
              <a:gd name="connsiteY68" fmla="*/ 57150 h 342900"/>
              <a:gd name="connsiteX69" fmla="*/ 200025 w 1552736"/>
              <a:gd name="connsiteY69" fmla="*/ 66675 h 342900"/>
              <a:gd name="connsiteX70" fmla="*/ 185737 w 1552736"/>
              <a:gd name="connsiteY70" fmla="*/ 71437 h 342900"/>
              <a:gd name="connsiteX71" fmla="*/ 142875 w 1552736"/>
              <a:gd name="connsiteY71" fmla="*/ 100012 h 342900"/>
              <a:gd name="connsiteX72" fmla="*/ 128587 w 1552736"/>
              <a:gd name="connsiteY72" fmla="*/ 109537 h 342900"/>
              <a:gd name="connsiteX73" fmla="*/ 114300 w 1552736"/>
              <a:gd name="connsiteY73" fmla="*/ 119062 h 342900"/>
              <a:gd name="connsiteX74" fmla="*/ 80962 w 1552736"/>
              <a:gd name="connsiteY74" fmla="*/ 152400 h 342900"/>
              <a:gd name="connsiteX75" fmla="*/ 66675 w 1552736"/>
              <a:gd name="connsiteY75" fmla="*/ 166687 h 342900"/>
              <a:gd name="connsiteX76" fmla="*/ 52387 w 1552736"/>
              <a:gd name="connsiteY76" fmla="*/ 171450 h 342900"/>
              <a:gd name="connsiteX77" fmla="*/ 23812 w 1552736"/>
              <a:gd name="connsiteY77" fmla="*/ 185737 h 342900"/>
              <a:gd name="connsiteX78" fmla="*/ 0 w 1552736"/>
              <a:gd name="connsiteY78" fmla="*/ 214312 h 342900"/>
              <a:gd name="connsiteX0" fmla="*/ 0 w 1552736"/>
              <a:gd name="connsiteY0" fmla="*/ 214312 h 342900"/>
              <a:gd name="connsiteX1" fmla="*/ 0 w 1552736"/>
              <a:gd name="connsiteY1" fmla="*/ 214312 h 342900"/>
              <a:gd name="connsiteX2" fmla="*/ 61912 w 1552736"/>
              <a:gd name="connsiteY2" fmla="*/ 257175 h 342900"/>
              <a:gd name="connsiteX3" fmla="*/ 76200 w 1552736"/>
              <a:gd name="connsiteY3" fmla="*/ 261937 h 342900"/>
              <a:gd name="connsiteX4" fmla="*/ 104775 w 1552736"/>
              <a:gd name="connsiteY4" fmla="*/ 280987 h 342900"/>
              <a:gd name="connsiteX5" fmla="*/ 133350 w 1552736"/>
              <a:gd name="connsiteY5" fmla="*/ 290512 h 342900"/>
              <a:gd name="connsiteX6" fmla="*/ 171450 w 1552736"/>
              <a:gd name="connsiteY6" fmla="*/ 300037 h 342900"/>
              <a:gd name="connsiteX7" fmla="*/ 185737 w 1552736"/>
              <a:gd name="connsiteY7" fmla="*/ 314325 h 342900"/>
              <a:gd name="connsiteX8" fmla="*/ 204787 w 1552736"/>
              <a:gd name="connsiteY8" fmla="*/ 319087 h 342900"/>
              <a:gd name="connsiteX9" fmla="*/ 233362 w 1552736"/>
              <a:gd name="connsiteY9" fmla="*/ 328612 h 342900"/>
              <a:gd name="connsiteX10" fmla="*/ 276225 w 1552736"/>
              <a:gd name="connsiteY10" fmla="*/ 338137 h 342900"/>
              <a:gd name="connsiteX11" fmla="*/ 290512 w 1552736"/>
              <a:gd name="connsiteY11" fmla="*/ 342900 h 342900"/>
              <a:gd name="connsiteX12" fmla="*/ 581025 w 1552736"/>
              <a:gd name="connsiteY12" fmla="*/ 338137 h 342900"/>
              <a:gd name="connsiteX13" fmla="*/ 638175 w 1552736"/>
              <a:gd name="connsiteY13" fmla="*/ 309562 h 342900"/>
              <a:gd name="connsiteX14" fmla="*/ 652462 w 1552736"/>
              <a:gd name="connsiteY14" fmla="*/ 304800 h 342900"/>
              <a:gd name="connsiteX15" fmla="*/ 709612 w 1552736"/>
              <a:gd name="connsiteY15" fmla="*/ 276225 h 342900"/>
              <a:gd name="connsiteX16" fmla="*/ 723900 w 1552736"/>
              <a:gd name="connsiteY16" fmla="*/ 271462 h 342900"/>
              <a:gd name="connsiteX17" fmla="*/ 738187 w 1552736"/>
              <a:gd name="connsiteY17" fmla="*/ 266700 h 342900"/>
              <a:gd name="connsiteX18" fmla="*/ 766762 w 1552736"/>
              <a:gd name="connsiteY18" fmla="*/ 247650 h 342900"/>
              <a:gd name="connsiteX19" fmla="*/ 795337 w 1552736"/>
              <a:gd name="connsiteY19" fmla="*/ 238125 h 342900"/>
              <a:gd name="connsiteX20" fmla="*/ 809625 w 1552736"/>
              <a:gd name="connsiteY20" fmla="*/ 233362 h 342900"/>
              <a:gd name="connsiteX21" fmla="*/ 823912 w 1552736"/>
              <a:gd name="connsiteY21" fmla="*/ 223837 h 342900"/>
              <a:gd name="connsiteX22" fmla="*/ 838200 w 1552736"/>
              <a:gd name="connsiteY22" fmla="*/ 219075 h 342900"/>
              <a:gd name="connsiteX23" fmla="*/ 952500 w 1552736"/>
              <a:gd name="connsiteY23" fmla="*/ 223837 h 342900"/>
              <a:gd name="connsiteX24" fmla="*/ 981075 w 1552736"/>
              <a:gd name="connsiteY24" fmla="*/ 238125 h 342900"/>
              <a:gd name="connsiteX25" fmla="*/ 995362 w 1552736"/>
              <a:gd name="connsiteY25" fmla="*/ 242887 h 342900"/>
              <a:gd name="connsiteX26" fmla="*/ 1095375 w 1552736"/>
              <a:gd name="connsiteY26" fmla="*/ 247650 h 342900"/>
              <a:gd name="connsiteX27" fmla="*/ 1100137 w 1552736"/>
              <a:gd name="connsiteY27" fmla="*/ 261937 h 342900"/>
              <a:gd name="connsiteX28" fmla="*/ 1114425 w 1552736"/>
              <a:gd name="connsiteY28" fmla="*/ 271462 h 342900"/>
              <a:gd name="connsiteX29" fmla="*/ 1152525 w 1552736"/>
              <a:gd name="connsiteY29" fmla="*/ 280987 h 342900"/>
              <a:gd name="connsiteX30" fmla="*/ 1219200 w 1552736"/>
              <a:gd name="connsiteY30" fmla="*/ 276225 h 342900"/>
              <a:gd name="connsiteX31" fmla="*/ 1233487 w 1552736"/>
              <a:gd name="connsiteY31" fmla="*/ 247650 h 342900"/>
              <a:gd name="connsiteX32" fmla="*/ 1247775 w 1552736"/>
              <a:gd name="connsiteY32" fmla="*/ 242887 h 342900"/>
              <a:gd name="connsiteX33" fmla="*/ 1376362 w 1552736"/>
              <a:gd name="connsiteY33" fmla="*/ 238125 h 342900"/>
              <a:gd name="connsiteX34" fmla="*/ 1500187 w 1552736"/>
              <a:gd name="connsiteY34" fmla="*/ 228600 h 342900"/>
              <a:gd name="connsiteX35" fmla="*/ 1514475 w 1552736"/>
              <a:gd name="connsiteY35" fmla="*/ 214312 h 342900"/>
              <a:gd name="connsiteX36" fmla="*/ 1528762 w 1552736"/>
              <a:gd name="connsiteY36" fmla="*/ 209550 h 342900"/>
              <a:gd name="connsiteX37" fmla="*/ 1552575 w 1552736"/>
              <a:gd name="connsiteY37" fmla="*/ 185737 h 342900"/>
              <a:gd name="connsiteX38" fmla="*/ 1547812 w 1552736"/>
              <a:gd name="connsiteY38" fmla="*/ 171450 h 342900"/>
              <a:gd name="connsiteX39" fmla="*/ 1533525 w 1552736"/>
              <a:gd name="connsiteY39" fmla="*/ 161925 h 342900"/>
              <a:gd name="connsiteX40" fmla="*/ 1524000 w 1552736"/>
              <a:gd name="connsiteY40" fmla="*/ 147637 h 342900"/>
              <a:gd name="connsiteX41" fmla="*/ 1495425 w 1552736"/>
              <a:gd name="connsiteY41" fmla="*/ 128587 h 342900"/>
              <a:gd name="connsiteX42" fmla="*/ 1471612 w 1552736"/>
              <a:gd name="connsiteY42" fmla="*/ 109537 h 342900"/>
              <a:gd name="connsiteX43" fmla="*/ 1462087 w 1552736"/>
              <a:gd name="connsiteY43" fmla="*/ 95250 h 342900"/>
              <a:gd name="connsiteX44" fmla="*/ 1433512 w 1552736"/>
              <a:gd name="connsiteY44" fmla="*/ 80962 h 342900"/>
              <a:gd name="connsiteX45" fmla="*/ 1404937 w 1552736"/>
              <a:gd name="connsiteY45" fmla="*/ 100012 h 342900"/>
              <a:gd name="connsiteX46" fmla="*/ 1376362 w 1552736"/>
              <a:gd name="connsiteY46" fmla="*/ 114300 h 342900"/>
              <a:gd name="connsiteX47" fmla="*/ 1252537 w 1552736"/>
              <a:gd name="connsiteY47" fmla="*/ 119062 h 342900"/>
              <a:gd name="connsiteX48" fmla="*/ 1119187 w 1552736"/>
              <a:gd name="connsiteY48" fmla="*/ 114300 h 342900"/>
              <a:gd name="connsiteX49" fmla="*/ 1081087 w 1552736"/>
              <a:gd name="connsiteY49" fmla="*/ 100012 h 342900"/>
              <a:gd name="connsiteX50" fmla="*/ 1047750 w 1552736"/>
              <a:gd name="connsiteY50" fmla="*/ 90487 h 342900"/>
              <a:gd name="connsiteX51" fmla="*/ 952500 w 1552736"/>
              <a:gd name="connsiteY51" fmla="*/ 85725 h 342900"/>
              <a:gd name="connsiteX52" fmla="*/ 928687 w 1552736"/>
              <a:gd name="connsiteY52" fmla="*/ 80962 h 342900"/>
              <a:gd name="connsiteX53" fmla="*/ 881062 w 1552736"/>
              <a:gd name="connsiteY53" fmla="*/ 76200 h 342900"/>
              <a:gd name="connsiteX54" fmla="*/ 866775 w 1552736"/>
              <a:gd name="connsiteY54" fmla="*/ 71437 h 342900"/>
              <a:gd name="connsiteX55" fmla="*/ 800100 w 1552736"/>
              <a:gd name="connsiteY55" fmla="*/ 52387 h 342900"/>
              <a:gd name="connsiteX56" fmla="*/ 747712 w 1552736"/>
              <a:gd name="connsiteY56" fmla="*/ 47625 h 342900"/>
              <a:gd name="connsiteX57" fmla="*/ 723900 w 1552736"/>
              <a:gd name="connsiteY57" fmla="*/ 42862 h 342900"/>
              <a:gd name="connsiteX58" fmla="*/ 695325 w 1552736"/>
              <a:gd name="connsiteY58" fmla="*/ 33337 h 342900"/>
              <a:gd name="connsiteX59" fmla="*/ 652462 w 1552736"/>
              <a:gd name="connsiteY59" fmla="*/ 19050 h 342900"/>
              <a:gd name="connsiteX60" fmla="*/ 576262 w 1552736"/>
              <a:gd name="connsiteY60" fmla="*/ 14287 h 342900"/>
              <a:gd name="connsiteX61" fmla="*/ 547687 w 1552736"/>
              <a:gd name="connsiteY61" fmla="*/ 4762 h 342900"/>
              <a:gd name="connsiteX62" fmla="*/ 533400 w 1552736"/>
              <a:gd name="connsiteY62" fmla="*/ 0 h 342900"/>
              <a:gd name="connsiteX63" fmla="*/ 357187 w 1552736"/>
              <a:gd name="connsiteY63" fmla="*/ 4762 h 342900"/>
              <a:gd name="connsiteX64" fmla="*/ 314325 w 1552736"/>
              <a:gd name="connsiteY64" fmla="*/ 33337 h 342900"/>
              <a:gd name="connsiteX65" fmla="*/ 257175 w 1552736"/>
              <a:gd name="connsiteY65" fmla="*/ 42862 h 342900"/>
              <a:gd name="connsiteX66" fmla="*/ 242887 w 1552736"/>
              <a:gd name="connsiteY66" fmla="*/ 47625 h 342900"/>
              <a:gd name="connsiteX67" fmla="*/ 228600 w 1552736"/>
              <a:gd name="connsiteY67" fmla="*/ 57150 h 342900"/>
              <a:gd name="connsiteX68" fmla="*/ 200025 w 1552736"/>
              <a:gd name="connsiteY68" fmla="*/ 66675 h 342900"/>
              <a:gd name="connsiteX69" fmla="*/ 185737 w 1552736"/>
              <a:gd name="connsiteY69" fmla="*/ 71437 h 342900"/>
              <a:gd name="connsiteX70" fmla="*/ 142875 w 1552736"/>
              <a:gd name="connsiteY70" fmla="*/ 100012 h 342900"/>
              <a:gd name="connsiteX71" fmla="*/ 128587 w 1552736"/>
              <a:gd name="connsiteY71" fmla="*/ 109537 h 342900"/>
              <a:gd name="connsiteX72" fmla="*/ 114300 w 1552736"/>
              <a:gd name="connsiteY72" fmla="*/ 119062 h 342900"/>
              <a:gd name="connsiteX73" fmla="*/ 80962 w 1552736"/>
              <a:gd name="connsiteY73" fmla="*/ 152400 h 342900"/>
              <a:gd name="connsiteX74" fmla="*/ 66675 w 1552736"/>
              <a:gd name="connsiteY74" fmla="*/ 166687 h 342900"/>
              <a:gd name="connsiteX75" fmla="*/ 52387 w 1552736"/>
              <a:gd name="connsiteY75" fmla="*/ 171450 h 342900"/>
              <a:gd name="connsiteX76" fmla="*/ 23812 w 1552736"/>
              <a:gd name="connsiteY76" fmla="*/ 185737 h 342900"/>
              <a:gd name="connsiteX77" fmla="*/ 0 w 1552736"/>
              <a:gd name="connsiteY77" fmla="*/ 214312 h 34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1552736" h="342900">
                <a:moveTo>
                  <a:pt x="0" y="214312"/>
                </a:moveTo>
                <a:lnTo>
                  <a:pt x="0" y="214312"/>
                </a:lnTo>
                <a:cubicBezTo>
                  <a:pt x="52314" y="250932"/>
                  <a:pt x="31502" y="236901"/>
                  <a:pt x="61912" y="257175"/>
                </a:cubicBezTo>
                <a:cubicBezTo>
                  <a:pt x="66089" y="259960"/>
                  <a:pt x="71437" y="260350"/>
                  <a:pt x="76200" y="261937"/>
                </a:cubicBezTo>
                <a:lnTo>
                  <a:pt x="104775" y="280987"/>
                </a:lnTo>
                <a:cubicBezTo>
                  <a:pt x="113129" y="286556"/>
                  <a:pt x="123505" y="288543"/>
                  <a:pt x="133350" y="290512"/>
                </a:cubicBezTo>
                <a:cubicBezTo>
                  <a:pt x="162085" y="296260"/>
                  <a:pt x="149483" y="292716"/>
                  <a:pt x="171450" y="300037"/>
                </a:cubicBezTo>
                <a:cubicBezTo>
                  <a:pt x="176212" y="304800"/>
                  <a:pt x="179889" y="310983"/>
                  <a:pt x="185737" y="314325"/>
                </a:cubicBezTo>
                <a:cubicBezTo>
                  <a:pt x="191420" y="317572"/>
                  <a:pt x="198518" y="317206"/>
                  <a:pt x="204787" y="319087"/>
                </a:cubicBezTo>
                <a:cubicBezTo>
                  <a:pt x="214404" y="321972"/>
                  <a:pt x="223837" y="325437"/>
                  <a:pt x="233362" y="328612"/>
                </a:cubicBezTo>
                <a:cubicBezTo>
                  <a:pt x="248045" y="333506"/>
                  <a:pt x="261106" y="334357"/>
                  <a:pt x="276225" y="338137"/>
                </a:cubicBezTo>
                <a:cubicBezTo>
                  <a:pt x="281095" y="339355"/>
                  <a:pt x="285750" y="341312"/>
                  <a:pt x="290512" y="342900"/>
                </a:cubicBezTo>
                <a:cubicBezTo>
                  <a:pt x="387350" y="341312"/>
                  <a:pt x="484271" y="342469"/>
                  <a:pt x="581025" y="338137"/>
                </a:cubicBezTo>
                <a:cubicBezTo>
                  <a:pt x="602162" y="337191"/>
                  <a:pt x="622109" y="320273"/>
                  <a:pt x="638175" y="309562"/>
                </a:cubicBezTo>
                <a:cubicBezTo>
                  <a:pt x="642352" y="306777"/>
                  <a:pt x="647700" y="306387"/>
                  <a:pt x="652462" y="304800"/>
                </a:cubicBezTo>
                <a:cubicBezTo>
                  <a:pt x="689392" y="280180"/>
                  <a:pt x="670176" y="289371"/>
                  <a:pt x="709612" y="276225"/>
                </a:cubicBezTo>
                <a:lnTo>
                  <a:pt x="723900" y="271462"/>
                </a:lnTo>
                <a:lnTo>
                  <a:pt x="738187" y="266700"/>
                </a:lnTo>
                <a:lnTo>
                  <a:pt x="766762" y="247650"/>
                </a:lnTo>
                <a:cubicBezTo>
                  <a:pt x="775116" y="242081"/>
                  <a:pt x="785812" y="241300"/>
                  <a:pt x="795337" y="238125"/>
                </a:cubicBezTo>
                <a:lnTo>
                  <a:pt x="809625" y="233362"/>
                </a:lnTo>
                <a:cubicBezTo>
                  <a:pt x="815055" y="231552"/>
                  <a:pt x="818793" y="226397"/>
                  <a:pt x="823912" y="223837"/>
                </a:cubicBezTo>
                <a:cubicBezTo>
                  <a:pt x="828402" y="221592"/>
                  <a:pt x="833437" y="220662"/>
                  <a:pt x="838200" y="219075"/>
                </a:cubicBezTo>
                <a:cubicBezTo>
                  <a:pt x="876300" y="220662"/>
                  <a:pt x="914471" y="221020"/>
                  <a:pt x="952500" y="223837"/>
                </a:cubicBezTo>
                <a:cubicBezTo>
                  <a:pt x="966550" y="224878"/>
                  <a:pt x="969072" y="232124"/>
                  <a:pt x="981075" y="238125"/>
                </a:cubicBezTo>
                <a:cubicBezTo>
                  <a:pt x="985565" y="240370"/>
                  <a:pt x="976312" y="241300"/>
                  <a:pt x="995362" y="242887"/>
                </a:cubicBezTo>
                <a:cubicBezTo>
                  <a:pt x="1014412" y="244474"/>
                  <a:pt x="1077913" y="244475"/>
                  <a:pt x="1095375" y="247650"/>
                </a:cubicBezTo>
                <a:cubicBezTo>
                  <a:pt x="1096962" y="252412"/>
                  <a:pt x="1097001" y="258017"/>
                  <a:pt x="1100137" y="261937"/>
                </a:cubicBezTo>
                <a:cubicBezTo>
                  <a:pt x="1103713" y="266407"/>
                  <a:pt x="1109305" y="268902"/>
                  <a:pt x="1114425" y="271462"/>
                </a:cubicBezTo>
                <a:cubicBezTo>
                  <a:pt x="1124192" y="276346"/>
                  <a:pt x="1143462" y="279175"/>
                  <a:pt x="1152525" y="280987"/>
                </a:cubicBezTo>
                <a:cubicBezTo>
                  <a:pt x="1174750" y="279400"/>
                  <a:pt x="1197584" y="281629"/>
                  <a:pt x="1219200" y="276225"/>
                </a:cubicBezTo>
                <a:cubicBezTo>
                  <a:pt x="1230978" y="273280"/>
                  <a:pt x="1227381" y="253756"/>
                  <a:pt x="1233487" y="247650"/>
                </a:cubicBezTo>
                <a:cubicBezTo>
                  <a:pt x="1237037" y="244100"/>
                  <a:pt x="1242766" y="243221"/>
                  <a:pt x="1247775" y="242887"/>
                </a:cubicBezTo>
                <a:cubicBezTo>
                  <a:pt x="1290572" y="240034"/>
                  <a:pt x="1333500" y="239712"/>
                  <a:pt x="1376362" y="238125"/>
                </a:cubicBezTo>
                <a:cubicBezTo>
                  <a:pt x="1434996" y="218579"/>
                  <a:pt x="1315202" y="257059"/>
                  <a:pt x="1500187" y="228600"/>
                </a:cubicBezTo>
                <a:cubicBezTo>
                  <a:pt x="1506844" y="227576"/>
                  <a:pt x="1508871" y="218048"/>
                  <a:pt x="1514475" y="214312"/>
                </a:cubicBezTo>
                <a:cubicBezTo>
                  <a:pt x="1518652" y="211527"/>
                  <a:pt x="1524000" y="211137"/>
                  <a:pt x="1528762" y="209550"/>
                </a:cubicBezTo>
                <a:cubicBezTo>
                  <a:pt x="1537097" y="203994"/>
                  <a:pt x="1550591" y="197644"/>
                  <a:pt x="1552575" y="185737"/>
                </a:cubicBezTo>
                <a:cubicBezTo>
                  <a:pt x="1553400" y="180785"/>
                  <a:pt x="1550948" y="175370"/>
                  <a:pt x="1547812" y="171450"/>
                </a:cubicBezTo>
                <a:cubicBezTo>
                  <a:pt x="1544236" y="166981"/>
                  <a:pt x="1538287" y="165100"/>
                  <a:pt x="1533525" y="161925"/>
                </a:cubicBezTo>
                <a:cubicBezTo>
                  <a:pt x="1530350" y="157162"/>
                  <a:pt x="1528308" y="151406"/>
                  <a:pt x="1524000" y="147637"/>
                </a:cubicBezTo>
                <a:cubicBezTo>
                  <a:pt x="1515385" y="140099"/>
                  <a:pt x="1495425" y="128587"/>
                  <a:pt x="1495425" y="128587"/>
                </a:cubicBezTo>
                <a:cubicBezTo>
                  <a:pt x="1468129" y="87644"/>
                  <a:pt x="1504475" y="135827"/>
                  <a:pt x="1471612" y="109537"/>
                </a:cubicBezTo>
                <a:cubicBezTo>
                  <a:pt x="1467143" y="105961"/>
                  <a:pt x="1466134" y="99297"/>
                  <a:pt x="1462087" y="95250"/>
                </a:cubicBezTo>
                <a:cubicBezTo>
                  <a:pt x="1452855" y="86018"/>
                  <a:pt x="1445133" y="84836"/>
                  <a:pt x="1433512" y="80962"/>
                </a:cubicBezTo>
                <a:lnTo>
                  <a:pt x="1404937" y="100012"/>
                </a:lnTo>
                <a:cubicBezTo>
                  <a:pt x="1396416" y="105692"/>
                  <a:pt x="1387358" y="113542"/>
                  <a:pt x="1376362" y="114300"/>
                </a:cubicBezTo>
                <a:cubicBezTo>
                  <a:pt x="1335154" y="117142"/>
                  <a:pt x="1293812" y="117475"/>
                  <a:pt x="1252537" y="119062"/>
                </a:cubicBezTo>
                <a:cubicBezTo>
                  <a:pt x="1208087" y="117475"/>
                  <a:pt x="1163584" y="116991"/>
                  <a:pt x="1119187" y="114300"/>
                </a:cubicBezTo>
                <a:cubicBezTo>
                  <a:pt x="1087822" y="112399"/>
                  <a:pt x="1103482" y="111209"/>
                  <a:pt x="1081087" y="100012"/>
                </a:cubicBezTo>
                <a:cubicBezTo>
                  <a:pt x="1076129" y="97533"/>
                  <a:pt x="1051409" y="90792"/>
                  <a:pt x="1047750" y="90487"/>
                </a:cubicBezTo>
                <a:cubicBezTo>
                  <a:pt x="1016070" y="87847"/>
                  <a:pt x="984250" y="87312"/>
                  <a:pt x="952500" y="85725"/>
                </a:cubicBezTo>
                <a:cubicBezTo>
                  <a:pt x="944562" y="84137"/>
                  <a:pt x="936711" y="82032"/>
                  <a:pt x="928687" y="80962"/>
                </a:cubicBezTo>
                <a:cubicBezTo>
                  <a:pt x="912873" y="78853"/>
                  <a:pt x="896831" y="78626"/>
                  <a:pt x="881062" y="76200"/>
                </a:cubicBezTo>
                <a:cubicBezTo>
                  <a:pt x="876100" y="75437"/>
                  <a:pt x="871618" y="72758"/>
                  <a:pt x="866775" y="71437"/>
                </a:cubicBezTo>
                <a:cubicBezTo>
                  <a:pt x="800981" y="53492"/>
                  <a:pt x="854864" y="70642"/>
                  <a:pt x="800100" y="52387"/>
                </a:cubicBezTo>
                <a:cubicBezTo>
                  <a:pt x="783465" y="46842"/>
                  <a:pt x="765175" y="49212"/>
                  <a:pt x="747712" y="47625"/>
                </a:cubicBezTo>
                <a:cubicBezTo>
                  <a:pt x="739775" y="46037"/>
                  <a:pt x="731709" y="44992"/>
                  <a:pt x="723900" y="42862"/>
                </a:cubicBezTo>
                <a:cubicBezTo>
                  <a:pt x="714214" y="40220"/>
                  <a:pt x="704850" y="36512"/>
                  <a:pt x="695325" y="33337"/>
                </a:cubicBezTo>
                <a:lnTo>
                  <a:pt x="652462" y="19050"/>
                </a:lnTo>
                <a:cubicBezTo>
                  <a:pt x="628318" y="11003"/>
                  <a:pt x="601662" y="15875"/>
                  <a:pt x="576262" y="14287"/>
                </a:cubicBezTo>
                <a:lnTo>
                  <a:pt x="547687" y="4762"/>
                </a:lnTo>
                <a:lnTo>
                  <a:pt x="533400" y="0"/>
                </a:lnTo>
                <a:lnTo>
                  <a:pt x="357187" y="4762"/>
                </a:lnTo>
                <a:cubicBezTo>
                  <a:pt x="312672" y="9938"/>
                  <a:pt x="343726" y="25986"/>
                  <a:pt x="314325" y="33337"/>
                </a:cubicBezTo>
                <a:cubicBezTo>
                  <a:pt x="282858" y="41204"/>
                  <a:pt x="301770" y="37288"/>
                  <a:pt x="257175" y="42862"/>
                </a:cubicBezTo>
                <a:cubicBezTo>
                  <a:pt x="252412" y="44450"/>
                  <a:pt x="247377" y="45380"/>
                  <a:pt x="242887" y="47625"/>
                </a:cubicBezTo>
                <a:cubicBezTo>
                  <a:pt x="237768" y="50185"/>
                  <a:pt x="233830" y="54825"/>
                  <a:pt x="228600" y="57150"/>
                </a:cubicBezTo>
                <a:cubicBezTo>
                  <a:pt x="219425" y="61228"/>
                  <a:pt x="209550" y="63500"/>
                  <a:pt x="200025" y="66675"/>
                </a:cubicBezTo>
                <a:lnTo>
                  <a:pt x="185737" y="71437"/>
                </a:lnTo>
                <a:lnTo>
                  <a:pt x="142875" y="100012"/>
                </a:lnTo>
                <a:lnTo>
                  <a:pt x="128587" y="109537"/>
                </a:lnTo>
                <a:lnTo>
                  <a:pt x="114300" y="119062"/>
                </a:lnTo>
                <a:cubicBezTo>
                  <a:pt x="105917" y="144210"/>
                  <a:pt x="113714" y="130565"/>
                  <a:pt x="80962" y="152400"/>
                </a:cubicBezTo>
                <a:cubicBezTo>
                  <a:pt x="75358" y="156136"/>
                  <a:pt x="72279" y="162951"/>
                  <a:pt x="66675" y="166687"/>
                </a:cubicBezTo>
                <a:cubicBezTo>
                  <a:pt x="62498" y="169472"/>
                  <a:pt x="56877" y="169205"/>
                  <a:pt x="52387" y="171450"/>
                </a:cubicBezTo>
                <a:cubicBezTo>
                  <a:pt x="15465" y="189911"/>
                  <a:pt x="59719" y="173770"/>
                  <a:pt x="23812" y="185737"/>
                </a:cubicBezTo>
                <a:cubicBezTo>
                  <a:pt x="-6631" y="206032"/>
                  <a:pt x="3969" y="209550"/>
                  <a:pt x="0" y="214312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12" name="Freeform 111"/>
          <p:cNvSpPr/>
          <p:nvPr>
            <p:custDataLst>
              <p:tags r:id="rId10"/>
            </p:custDataLst>
          </p:nvPr>
        </p:nvSpPr>
        <p:spPr>
          <a:xfrm>
            <a:off x="4916342" y="2939179"/>
            <a:ext cx="1243158" cy="815006"/>
          </a:xfrm>
          <a:custGeom>
            <a:avLst/>
            <a:gdLst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33388 w 2233613"/>
              <a:gd name="connsiteY28" fmla="*/ 921417 h 1464342"/>
              <a:gd name="connsiteX29" fmla="*/ 404813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28738 w 2233613"/>
              <a:gd name="connsiteY118" fmla="*/ 816642 h 1464342"/>
              <a:gd name="connsiteX119" fmla="*/ 1343025 w 2233613"/>
              <a:gd name="connsiteY119" fmla="*/ 826167 h 1464342"/>
              <a:gd name="connsiteX120" fmla="*/ 1357313 w 2233613"/>
              <a:gd name="connsiteY120" fmla="*/ 830930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404813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28738 w 2233613"/>
              <a:gd name="connsiteY118" fmla="*/ 816642 h 1464342"/>
              <a:gd name="connsiteX119" fmla="*/ 1343025 w 2233613"/>
              <a:gd name="connsiteY119" fmla="*/ 826167 h 1464342"/>
              <a:gd name="connsiteX120" fmla="*/ 1357313 w 2233613"/>
              <a:gd name="connsiteY120" fmla="*/ 830930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28738 w 2233613"/>
              <a:gd name="connsiteY118" fmla="*/ 816642 h 1464342"/>
              <a:gd name="connsiteX119" fmla="*/ 1343025 w 2233613"/>
              <a:gd name="connsiteY119" fmla="*/ 826167 h 1464342"/>
              <a:gd name="connsiteX120" fmla="*/ 1357313 w 2233613"/>
              <a:gd name="connsiteY120" fmla="*/ 830930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28738 w 2233613"/>
              <a:gd name="connsiteY118" fmla="*/ 816642 h 1464342"/>
              <a:gd name="connsiteX119" fmla="*/ 1343025 w 2233613"/>
              <a:gd name="connsiteY119" fmla="*/ 826167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43025 w 2233613"/>
              <a:gd name="connsiteY119" fmla="*/ 826167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50169 w 2233613"/>
              <a:gd name="connsiteY119" fmla="*/ 811880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43100 w 2233613"/>
              <a:gd name="connsiteY140" fmla="*/ 1150017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50169 w 2233613"/>
              <a:gd name="connsiteY119" fmla="*/ 811880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0238 w 2233613"/>
              <a:gd name="connsiteY139" fmla="*/ 1126205 h 1464342"/>
              <a:gd name="connsiteX140" fmla="*/ 1959769 w 2233613"/>
              <a:gd name="connsiteY140" fmla="*/ 1140492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47750 w 2233613"/>
              <a:gd name="connsiteY100" fmla="*/ 440405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50169 w 2233613"/>
              <a:gd name="connsiteY119" fmla="*/ 811880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9763 w 2233613"/>
              <a:gd name="connsiteY139" fmla="*/ 1119061 h 1464342"/>
              <a:gd name="connsiteX140" fmla="*/ 1959769 w 2233613"/>
              <a:gd name="connsiteY140" fmla="*/ 1140492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59656 w 2233613"/>
              <a:gd name="connsiteY100" fmla="*/ 428499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50169 w 2233613"/>
              <a:gd name="connsiteY119" fmla="*/ 811880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35705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9763 w 2233613"/>
              <a:gd name="connsiteY139" fmla="*/ 1119061 h 1464342"/>
              <a:gd name="connsiteX140" fmla="*/ 1959769 w 2233613"/>
              <a:gd name="connsiteY140" fmla="*/ 1140492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  <a:gd name="connsiteX0" fmla="*/ 2233613 w 2233613"/>
              <a:gd name="connsiteY0" fmla="*/ 1416717 h 1464342"/>
              <a:gd name="connsiteX1" fmla="*/ 1547813 w 2233613"/>
              <a:gd name="connsiteY1" fmla="*/ 1421480 h 1464342"/>
              <a:gd name="connsiteX2" fmla="*/ 1476375 w 2233613"/>
              <a:gd name="connsiteY2" fmla="*/ 1464342 h 1464342"/>
              <a:gd name="connsiteX3" fmla="*/ 1362075 w 2233613"/>
              <a:gd name="connsiteY3" fmla="*/ 1373855 h 1464342"/>
              <a:gd name="connsiteX4" fmla="*/ 1309688 w 2233613"/>
              <a:gd name="connsiteY4" fmla="*/ 1402430 h 1464342"/>
              <a:gd name="connsiteX5" fmla="*/ 1028700 w 2233613"/>
              <a:gd name="connsiteY5" fmla="*/ 1397667 h 1464342"/>
              <a:gd name="connsiteX6" fmla="*/ 971550 w 2233613"/>
              <a:gd name="connsiteY6" fmla="*/ 1378617 h 1464342"/>
              <a:gd name="connsiteX7" fmla="*/ 857250 w 2233613"/>
              <a:gd name="connsiteY7" fmla="*/ 1373855 h 1464342"/>
              <a:gd name="connsiteX8" fmla="*/ 776288 w 2233613"/>
              <a:gd name="connsiteY8" fmla="*/ 1359567 h 1464342"/>
              <a:gd name="connsiteX9" fmla="*/ 704850 w 2233613"/>
              <a:gd name="connsiteY9" fmla="*/ 1335755 h 1464342"/>
              <a:gd name="connsiteX10" fmla="*/ 657225 w 2233613"/>
              <a:gd name="connsiteY10" fmla="*/ 1340517 h 1464342"/>
              <a:gd name="connsiteX11" fmla="*/ 566738 w 2233613"/>
              <a:gd name="connsiteY11" fmla="*/ 1307180 h 1464342"/>
              <a:gd name="connsiteX12" fmla="*/ 509588 w 2233613"/>
              <a:gd name="connsiteY12" fmla="*/ 1302417 h 1464342"/>
              <a:gd name="connsiteX13" fmla="*/ 476250 w 2233613"/>
              <a:gd name="connsiteY13" fmla="*/ 1297655 h 1464342"/>
              <a:gd name="connsiteX14" fmla="*/ 442913 w 2233613"/>
              <a:gd name="connsiteY14" fmla="*/ 1288130 h 1464342"/>
              <a:gd name="connsiteX15" fmla="*/ 404813 w 2233613"/>
              <a:gd name="connsiteY15" fmla="*/ 1288130 h 1464342"/>
              <a:gd name="connsiteX16" fmla="*/ 404813 w 2233613"/>
              <a:gd name="connsiteY16" fmla="*/ 1235742 h 1464342"/>
              <a:gd name="connsiteX17" fmla="*/ 400050 w 2233613"/>
              <a:gd name="connsiteY17" fmla="*/ 1226217 h 1464342"/>
              <a:gd name="connsiteX18" fmla="*/ 433388 w 2233613"/>
              <a:gd name="connsiteY18" fmla="*/ 1197642 h 1464342"/>
              <a:gd name="connsiteX19" fmla="*/ 438150 w 2233613"/>
              <a:gd name="connsiteY19" fmla="*/ 1183355 h 1464342"/>
              <a:gd name="connsiteX20" fmla="*/ 461963 w 2233613"/>
              <a:gd name="connsiteY20" fmla="*/ 1154780 h 1464342"/>
              <a:gd name="connsiteX21" fmla="*/ 466725 w 2233613"/>
              <a:gd name="connsiteY21" fmla="*/ 1135730 h 1464342"/>
              <a:gd name="connsiteX22" fmla="*/ 471488 w 2233613"/>
              <a:gd name="connsiteY22" fmla="*/ 1121442 h 1464342"/>
              <a:gd name="connsiteX23" fmla="*/ 466725 w 2233613"/>
              <a:gd name="connsiteY23" fmla="*/ 1073817 h 1464342"/>
              <a:gd name="connsiteX24" fmla="*/ 461963 w 2233613"/>
              <a:gd name="connsiteY24" fmla="*/ 1040480 h 1464342"/>
              <a:gd name="connsiteX25" fmla="*/ 452438 w 2233613"/>
              <a:gd name="connsiteY25" fmla="*/ 1011905 h 1464342"/>
              <a:gd name="connsiteX26" fmla="*/ 447675 w 2233613"/>
              <a:gd name="connsiteY26" fmla="*/ 964280 h 1464342"/>
              <a:gd name="connsiteX27" fmla="*/ 438150 w 2233613"/>
              <a:gd name="connsiteY27" fmla="*/ 935705 h 1464342"/>
              <a:gd name="connsiteX28" fmla="*/ 409575 w 2233613"/>
              <a:gd name="connsiteY28" fmla="*/ 930942 h 1464342"/>
              <a:gd name="connsiteX29" fmla="*/ 395288 w 2233613"/>
              <a:gd name="connsiteY29" fmla="*/ 902367 h 1464342"/>
              <a:gd name="connsiteX30" fmla="*/ 390525 w 2233613"/>
              <a:gd name="connsiteY30" fmla="*/ 892842 h 1464342"/>
              <a:gd name="connsiteX31" fmla="*/ 371475 w 2233613"/>
              <a:gd name="connsiteY31" fmla="*/ 873792 h 1464342"/>
              <a:gd name="connsiteX32" fmla="*/ 366713 w 2233613"/>
              <a:gd name="connsiteY32" fmla="*/ 859505 h 1464342"/>
              <a:gd name="connsiteX33" fmla="*/ 333375 w 2233613"/>
              <a:gd name="connsiteY33" fmla="*/ 821405 h 1464342"/>
              <a:gd name="connsiteX34" fmla="*/ 323850 w 2233613"/>
              <a:gd name="connsiteY34" fmla="*/ 788067 h 1464342"/>
              <a:gd name="connsiteX35" fmla="*/ 295275 w 2233613"/>
              <a:gd name="connsiteY35" fmla="*/ 769017 h 1464342"/>
              <a:gd name="connsiteX36" fmla="*/ 285750 w 2233613"/>
              <a:gd name="connsiteY36" fmla="*/ 754730 h 1464342"/>
              <a:gd name="connsiteX37" fmla="*/ 257175 w 2233613"/>
              <a:gd name="connsiteY37" fmla="*/ 735680 h 1464342"/>
              <a:gd name="connsiteX38" fmla="*/ 228600 w 2233613"/>
              <a:gd name="connsiteY38" fmla="*/ 716630 h 1464342"/>
              <a:gd name="connsiteX39" fmla="*/ 214313 w 2233613"/>
              <a:gd name="connsiteY39" fmla="*/ 711867 h 1464342"/>
              <a:gd name="connsiteX40" fmla="*/ 185738 w 2233613"/>
              <a:gd name="connsiteY40" fmla="*/ 692817 h 1464342"/>
              <a:gd name="connsiteX41" fmla="*/ 171450 w 2233613"/>
              <a:gd name="connsiteY41" fmla="*/ 683292 h 1464342"/>
              <a:gd name="connsiteX42" fmla="*/ 142875 w 2233613"/>
              <a:gd name="connsiteY42" fmla="*/ 640430 h 1464342"/>
              <a:gd name="connsiteX43" fmla="*/ 128588 w 2233613"/>
              <a:gd name="connsiteY43" fmla="*/ 630905 h 1464342"/>
              <a:gd name="connsiteX44" fmla="*/ 119063 w 2233613"/>
              <a:gd name="connsiteY44" fmla="*/ 616617 h 1464342"/>
              <a:gd name="connsiteX45" fmla="*/ 100013 w 2233613"/>
              <a:gd name="connsiteY45" fmla="*/ 592805 h 1464342"/>
              <a:gd name="connsiteX46" fmla="*/ 90488 w 2233613"/>
              <a:gd name="connsiteY46" fmla="*/ 564230 h 1464342"/>
              <a:gd name="connsiteX47" fmla="*/ 80963 w 2233613"/>
              <a:gd name="connsiteY47" fmla="*/ 549942 h 1464342"/>
              <a:gd name="connsiteX48" fmla="*/ 71438 w 2233613"/>
              <a:gd name="connsiteY48" fmla="*/ 507080 h 1464342"/>
              <a:gd name="connsiteX49" fmla="*/ 61913 w 2233613"/>
              <a:gd name="connsiteY49" fmla="*/ 492792 h 1464342"/>
              <a:gd name="connsiteX50" fmla="*/ 52388 w 2233613"/>
              <a:gd name="connsiteY50" fmla="*/ 464217 h 1464342"/>
              <a:gd name="connsiteX51" fmla="*/ 42863 w 2233613"/>
              <a:gd name="connsiteY51" fmla="*/ 445167 h 1464342"/>
              <a:gd name="connsiteX52" fmla="*/ 33338 w 2233613"/>
              <a:gd name="connsiteY52" fmla="*/ 416592 h 1464342"/>
              <a:gd name="connsiteX53" fmla="*/ 28575 w 2233613"/>
              <a:gd name="connsiteY53" fmla="*/ 402305 h 1464342"/>
              <a:gd name="connsiteX54" fmla="*/ 23813 w 2233613"/>
              <a:gd name="connsiteY54" fmla="*/ 388017 h 1464342"/>
              <a:gd name="connsiteX55" fmla="*/ 19050 w 2233613"/>
              <a:gd name="connsiteY55" fmla="*/ 373730 h 1464342"/>
              <a:gd name="connsiteX56" fmla="*/ 9525 w 2233613"/>
              <a:gd name="connsiteY56" fmla="*/ 307055 h 1464342"/>
              <a:gd name="connsiteX57" fmla="*/ 0 w 2233613"/>
              <a:gd name="connsiteY57" fmla="*/ 259430 h 1464342"/>
              <a:gd name="connsiteX58" fmla="*/ 9525 w 2233613"/>
              <a:gd name="connsiteY58" fmla="*/ 130842 h 1464342"/>
              <a:gd name="connsiteX59" fmla="*/ 14288 w 2233613"/>
              <a:gd name="connsiteY59" fmla="*/ 116555 h 1464342"/>
              <a:gd name="connsiteX60" fmla="*/ 19050 w 2233613"/>
              <a:gd name="connsiteY60" fmla="*/ 97505 h 1464342"/>
              <a:gd name="connsiteX61" fmla="*/ 47625 w 2233613"/>
              <a:gd name="connsiteY61" fmla="*/ 78455 h 1464342"/>
              <a:gd name="connsiteX62" fmla="*/ 85725 w 2233613"/>
              <a:gd name="connsiteY62" fmla="*/ 54642 h 1464342"/>
              <a:gd name="connsiteX63" fmla="*/ 114300 w 2233613"/>
              <a:gd name="connsiteY63" fmla="*/ 35592 h 1464342"/>
              <a:gd name="connsiteX64" fmla="*/ 195263 w 2233613"/>
              <a:gd name="connsiteY64" fmla="*/ 26067 h 1464342"/>
              <a:gd name="connsiteX65" fmla="*/ 219075 w 2233613"/>
              <a:gd name="connsiteY65" fmla="*/ 21305 h 1464342"/>
              <a:gd name="connsiteX66" fmla="*/ 252413 w 2233613"/>
              <a:gd name="connsiteY66" fmla="*/ 16542 h 1464342"/>
              <a:gd name="connsiteX67" fmla="*/ 280988 w 2233613"/>
              <a:gd name="connsiteY67" fmla="*/ 11780 h 1464342"/>
              <a:gd name="connsiteX68" fmla="*/ 404813 w 2233613"/>
              <a:gd name="connsiteY68" fmla="*/ 7017 h 1464342"/>
              <a:gd name="connsiteX69" fmla="*/ 442913 w 2233613"/>
              <a:gd name="connsiteY69" fmla="*/ 16542 h 1464342"/>
              <a:gd name="connsiteX70" fmla="*/ 471488 w 2233613"/>
              <a:gd name="connsiteY70" fmla="*/ 35592 h 1464342"/>
              <a:gd name="connsiteX71" fmla="*/ 485775 w 2233613"/>
              <a:gd name="connsiteY71" fmla="*/ 45117 h 1464342"/>
              <a:gd name="connsiteX72" fmla="*/ 528638 w 2233613"/>
              <a:gd name="connsiteY72" fmla="*/ 59405 h 1464342"/>
              <a:gd name="connsiteX73" fmla="*/ 557213 w 2233613"/>
              <a:gd name="connsiteY73" fmla="*/ 78455 h 1464342"/>
              <a:gd name="connsiteX74" fmla="*/ 571500 w 2233613"/>
              <a:gd name="connsiteY74" fmla="*/ 83217 h 1464342"/>
              <a:gd name="connsiteX75" fmla="*/ 585788 w 2233613"/>
              <a:gd name="connsiteY75" fmla="*/ 92742 h 1464342"/>
              <a:gd name="connsiteX76" fmla="*/ 600075 w 2233613"/>
              <a:gd name="connsiteY76" fmla="*/ 107030 h 1464342"/>
              <a:gd name="connsiteX77" fmla="*/ 619125 w 2233613"/>
              <a:gd name="connsiteY77" fmla="*/ 111792 h 1464342"/>
              <a:gd name="connsiteX78" fmla="*/ 623888 w 2233613"/>
              <a:gd name="connsiteY78" fmla="*/ 126080 h 1464342"/>
              <a:gd name="connsiteX79" fmla="*/ 657225 w 2233613"/>
              <a:gd name="connsiteY79" fmla="*/ 154655 h 1464342"/>
              <a:gd name="connsiteX80" fmla="*/ 671513 w 2233613"/>
              <a:gd name="connsiteY80" fmla="*/ 168942 h 1464342"/>
              <a:gd name="connsiteX81" fmla="*/ 685800 w 2233613"/>
              <a:gd name="connsiteY81" fmla="*/ 178467 h 1464342"/>
              <a:gd name="connsiteX82" fmla="*/ 700088 w 2233613"/>
              <a:gd name="connsiteY82" fmla="*/ 192755 h 1464342"/>
              <a:gd name="connsiteX83" fmla="*/ 714375 w 2233613"/>
              <a:gd name="connsiteY83" fmla="*/ 197517 h 1464342"/>
              <a:gd name="connsiteX84" fmla="*/ 738188 w 2233613"/>
              <a:gd name="connsiteY84" fmla="*/ 207042 h 1464342"/>
              <a:gd name="connsiteX85" fmla="*/ 752475 w 2233613"/>
              <a:gd name="connsiteY85" fmla="*/ 216567 h 1464342"/>
              <a:gd name="connsiteX86" fmla="*/ 766763 w 2233613"/>
              <a:gd name="connsiteY86" fmla="*/ 221330 h 1464342"/>
              <a:gd name="connsiteX87" fmla="*/ 804863 w 2233613"/>
              <a:gd name="connsiteY87" fmla="*/ 245142 h 1464342"/>
              <a:gd name="connsiteX88" fmla="*/ 823913 w 2233613"/>
              <a:gd name="connsiteY88" fmla="*/ 273717 h 1464342"/>
              <a:gd name="connsiteX89" fmla="*/ 842963 w 2233613"/>
              <a:gd name="connsiteY89" fmla="*/ 302292 h 1464342"/>
              <a:gd name="connsiteX90" fmla="*/ 852488 w 2233613"/>
              <a:gd name="connsiteY90" fmla="*/ 316580 h 1464342"/>
              <a:gd name="connsiteX91" fmla="*/ 857250 w 2233613"/>
              <a:gd name="connsiteY91" fmla="*/ 330867 h 1464342"/>
              <a:gd name="connsiteX92" fmla="*/ 862013 w 2233613"/>
              <a:gd name="connsiteY92" fmla="*/ 407067 h 1464342"/>
              <a:gd name="connsiteX93" fmla="*/ 876300 w 2233613"/>
              <a:gd name="connsiteY93" fmla="*/ 416592 h 1464342"/>
              <a:gd name="connsiteX94" fmla="*/ 890588 w 2233613"/>
              <a:gd name="connsiteY94" fmla="*/ 411830 h 1464342"/>
              <a:gd name="connsiteX95" fmla="*/ 904875 w 2233613"/>
              <a:gd name="connsiteY95" fmla="*/ 402305 h 1464342"/>
              <a:gd name="connsiteX96" fmla="*/ 933450 w 2233613"/>
              <a:gd name="connsiteY96" fmla="*/ 392780 h 1464342"/>
              <a:gd name="connsiteX97" fmla="*/ 976313 w 2233613"/>
              <a:gd name="connsiteY97" fmla="*/ 416592 h 1464342"/>
              <a:gd name="connsiteX98" fmla="*/ 990600 w 2233613"/>
              <a:gd name="connsiteY98" fmla="*/ 421355 h 1464342"/>
              <a:gd name="connsiteX99" fmla="*/ 1033463 w 2233613"/>
              <a:gd name="connsiteY99" fmla="*/ 426117 h 1464342"/>
              <a:gd name="connsiteX100" fmla="*/ 1059656 w 2233613"/>
              <a:gd name="connsiteY100" fmla="*/ 428499 h 1464342"/>
              <a:gd name="connsiteX101" fmla="*/ 1095375 w 2233613"/>
              <a:gd name="connsiteY101" fmla="*/ 440405 h 1464342"/>
              <a:gd name="connsiteX102" fmla="*/ 1109663 w 2233613"/>
              <a:gd name="connsiteY102" fmla="*/ 435642 h 1464342"/>
              <a:gd name="connsiteX103" fmla="*/ 1143000 w 2233613"/>
              <a:gd name="connsiteY103" fmla="*/ 430880 h 1464342"/>
              <a:gd name="connsiteX104" fmla="*/ 1185863 w 2233613"/>
              <a:gd name="connsiteY104" fmla="*/ 435642 h 1464342"/>
              <a:gd name="connsiteX105" fmla="*/ 1209675 w 2233613"/>
              <a:gd name="connsiteY105" fmla="*/ 459455 h 1464342"/>
              <a:gd name="connsiteX106" fmla="*/ 1223963 w 2233613"/>
              <a:gd name="connsiteY106" fmla="*/ 464217 h 1464342"/>
              <a:gd name="connsiteX107" fmla="*/ 1219200 w 2233613"/>
              <a:gd name="connsiteY107" fmla="*/ 535655 h 1464342"/>
              <a:gd name="connsiteX108" fmla="*/ 1190625 w 2233613"/>
              <a:gd name="connsiteY108" fmla="*/ 554705 h 1464342"/>
              <a:gd name="connsiteX109" fmla="*/ 1185863 w 2233613"/>
              <a:gd name="connsiteY109" fmla="*/ 597567 h 1464342"/>
              <a:gd name="connsiteX110" fmla="*/ 1200150 w 2233613"/>
              <a:gd name="connsiteY110" fmla="*/ 669005 h 1464342"/>
              <a:gd name="connsiteX111" fmla="*/ 1204913 w 2233613"/>
              <a:gd name="connsiteY111" fmla="*/ 683292 h 1464342"/>
              <a:gd name="connsiteX112" fmla="*/ 1209675 w 2233613"/>
              <a:gd name="connsiteY112" fmla="*/ 697580 h 1464342"/>
              <a:gd name="connsiteX113" fmla="*/ 1233488 w 2233613"/>
              <a:gd name="connsiteY113" fmla="*/ 726155 h 1464342"/>
              <a:gd name="connsiteX114" fmla="*/ 1252538 w 2233613"/>
              <a:gd name="connsiteY114" fmla="*/ 749967 h 1464342"/>
              <a:gd name="connsiteX115" fmla="*/ 1271588 w 2233613"/>
              <a:gd name="connsiteY115" fmla="*/ 773780 h 1464342"/>
              <a:gd name="connsiteX116" fmla="*/ 1285875 w 2233613"/>
              <a:gd name="connsiteY116" fmla="*/ 802355 h 1464342"/>
              <a:gd name="connsiteX117" fmla="*/ 1314450 w 2233613"/>
              <a:gd name="connsiteY117" fmla="*/ 811880 h 1464342"/>
              <a:gd name="connsiteX118" fmla="*/ 1333500 w 2233613"/>
              <a:gd name="connsiteY118" fmla="*/ 807117 h 1464342"/>
              <a:gd name="connsiteX119" fmla="*/ 1350169 w 2233613"/>
              <a:gd name="connsiteY119" fmla="*/ 811880 h 1464342"/>
              <a:gd name="connsiteX120" fmla="*/ 1369219 w 2233613"/>
              <a:gd name="connsiteY120" fmla="*/ 821405 h 1464342"/>
              <a:gd name="connsiteX121" fmla="*/ 1414463 w 2233613"/>
              <a:gd name="connsiteY121" fmla="*/ 840455 h 1464342"/>
              <a:gd name="connsiteX122" fmla="*/ 1433513 w 2233613"/>
              <a:gd name="connsiteY122" fmla="*/ 845217 h 1464342"/>
              <a:gd name="connsiteX123" fmla="*/ 1447800 w 2233613"/>
              <a:gd name="connsiteY123" fmla="*/ 849980 h 1464342"/>
              <a:gd name="connsiteX124" fmla="*/ 1524000 w 2233613"/>
              <a:gd name="connsiteY124" fmla="*/ 854742 h 1464342"/>
              <a:gd name="connsiteX125" fmla="*/ 1543050 w 2233613"/>
              <a:gd name="connsiteY125" fmla="*/ 859505 h 1464342"/>
              <a:gd name="connsiteX126" fmla="*/ 1585913 w 2233613"/>
              <a:gd name="connsiteY126" fmla="*/ 873792 h 1464342"/>
              <a:gd name="connsiteX127" fmla="*/ 1609725 w 2233613"/>
              <a:gd name="connsiteY127" fmla="*/ 878555 h 1464342"/>
              <a:gd name="connsiteX128" fmla="*/ 1709738 w 2233613"/>
              <a:gd name="connsiteY128" fmla="*/ 892842 h 1464342"/>
              <a:gd name="connsiteX129" fmla="*/ 1752600 w 2233613"/>
              <a:gd name="connsiteY129" fmla="*/ 907130 h 1464342"/>
              <a:gd name="connsiteX130" fmla="*/ 1766888 w 2233613"/>
              <a:gd name="connsiteY130" fmla="*/ 911892 h 1464342"/>
              <a:gd name="connsiteX131" fmla="*/ 1809750 w 2233613"/>
              <a:gd name="connsiteY131" fmla="*/ 919036 h 1464342"/>
              <a:gd name="connsiteX132" fmla="*/ 1824038 w 2233613"/>
              <a:gd name="connsiteY132" fmla="*/ 940467 h 1464342"/>
              <a:gd name="connsiteX133" fmla="*/ 1824038 w 2233613"/>
              <a:gd name="connsiteY133" fmla="*/ 983330 h 1464342"/>
              <a:gd name="connsiteX134" fmla="*/ 1828800 w 2233613"/>
              <a:gd name="connsiteY134" fmla="*/ 1016667 h 1464342"/>
              <a:gd name="connsiteX135" fmla="*/ 1838325 w 2233613"/>
              <a:gd name="connsiteY135" fmla="*/ 1030955 h 1464342"/>
              <a:gd name="connsiteX136" fmla="*/ 1843088 w 2233613"/>
              <a:gd name="connsiteY136" fmla="*/ 1045242 h 1464342"/>
              <a:gd name="connsiteX137" fmla="*/ 1876425 w 2233613"/>
              <a:gd name="connsiteY137" fmla="*/ 1083342 h 1464342"/>
              <a:gd name="connsiteX138" fmla="*/ 1885950 w 2233613"/>
              <a:gd name="connsiteY138" fmla="*/ 1097630 h 1464342"/>
              <a:gd name="connsiteX139" fmla="*/ 1909763 w 2233613"/>
              <a:gd name="connsiteY139" fmla="*/ 1119061 h 1464342"/>
              <a:gd name="connsiteX140" fmla="*/ 1959769 w 2233613"/>
              <a:gd name="connsiteY140" fmla="*/ 1140492 h 1464342"/>
              <a:gd name="connsiteX141" fmla="*/ 1957388 w 2233613"/>
              <a:gd name="connsiteY141" fmla="*/ 1178592 h 1464342"/>
              <a:gd name="connsiteX142" fmla="*/ 1962150 w 2233613"/>
              <a:gd name="connsiteY142" fmla="*/ 1202405 h 1464342"/>
              <a:gd name="connsiteX143" fmla="*/ 1976438 w 2233613"/>
              <a:gd name="connsiteY143" fmla="*/ 1207167 h 1464342"/>
              <a:gd name="connsiteX144" fmla="*/ 1985963 w 2233613"/>
              <a:gd name="connsiteY144" fmla="*/ 1192880 h 1464342"/>
              <a:gd name="connsiteX145" fmla="*/ 2043113 w 2233613"/>
              <a:gd name="connsiteY145" fmla="*/ 1178592 h 1464342"/>
              <a:gd name="connsiteX146" fmla="*/ 2057400 w 2233613"/>
              <a:gd name="connsiteY146" fmla="*/ 1173830 h 1464342"/>
              <a:gd name="connsiteX147" fmla="*/ 2109788 w 2233613"/>
              <a:gd name="connsiteY147" fmla="*/ 1178592 h 1464342"/>
              <a:gd name="connsiteX148" fmla="*/ 2124075 w 2233613"/>
              <a:gd name="connsiteY148" fmla="*/ 1183355 h 1464342"/>
              <a:gd name="connsiteX149" fmla="*/ 2166938 w 2233613"/>
              <a:gd name="connsiteY149" fmla="*/ 1188117 h 1464342"/>
              <a:gd name="connsiteX150" fmla="*/ 2200275 w 2233613"/>
              <a:gd name="connsiteY150" fmla="*/ 1211930 h 1464342"/>
              <a:gd name="connsiteX151" fmla="*/ 2185988 w 2233613"/>
              <a:gd name="connsiteY151" fmla="*/ 1264317 h 1464342"/>
              <a:gd name="connsiteX152" fmla="*/ 2176463 w 2233613"/>
              <a:gd name="connsiteY152" fmla="*/ 1350042 h 1464342"/>
              <a:gd name="connsiteX153" fmla="*/ 2185988 w 2233613"/>
              <a:gd name="connsiteY153" fmla="*/ 1383380 h 1464342"/>
              <a:gd name="connsiteX154" fmla="*/ 2200275 w 2233613"/>
              <a:gd name="connsiteY154" fmla="*/ 1392905 h 1464342"/>
              <a:gd name="connsiteX155" fmla="*/ 2224088 w 2233613"/>
              <a:gd name="connsiteY155" fmla="*/ 1416717 h 1464342"/>
              <a:gd name="connsiteX156" fmla="*/ 2233613 w 2233613"/>
              <a:gd name="connsiteY156" fmla="*/ 1416717 h 1464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</a:cxnLst>
            <a:rect l="l" t="t" r="r" b="b"/>
            <a:pathLst>
              <a:path w="2233613" h="1464342">
                <a:moveTo>
                  <a:pt x="2233613" y="1416717"/>
                </a:moveTo>
                <a:lnTo>
                  <a:pt x="1547813" y="1421480"/>
                </a:lnTo>
                <a:lnTo>
                  <a:pt x="1476375" y="1464342"/>
                </a:lnTo>
                <a:lnTo>
                  <a:pt x="1362075" y="1373855"/>
                </a:lnTo>
                <a:lnTo>
                  <a:pt x="1309688" y="1402430"/>
                </a:lnTo>
                <a:lnTo>
                  <a:pt x="1028700" y="1397667"/>
                </a:lnTo>
                <a:lnTo>
                  <a:pt x="971550" y="1378617"/>
                </a:lnTo>
                <a:lnTo>
                  <a:pt x="857250" y="1373855"/>
                </a:lnTo>
                <a:lnTo>
                  <a:pt x="776288" y="1359567"/>
                </a:lnTo>
                <a:lnTo>
                  <a:pt x="704850" y="1335755"/>
                </a:lnTo>
                <a:lnTo>
                  <a:pt x="657225" y="1340517"/>
                </a:lnTo>
                <a:lnTo>
                  <a:pt x="566738" y="1307180"/>
                </a:lnTo>
                <a:lnTo>
                  <a:pt x="509588" y="1302417"/>
                </a:lnTo>
                <a:lnTo>
                  <a:pt x="476250" y="1297655"/>
                </a:lnTo>
                <a:lnTo>
                  <a:pt x="442913" y="1288130"/>
                </a:lnTo>
                <a:lnTo>
                  <a:pt x="404813" y="1288130"/>
                </a:lnTo>
                <a:lnTo>
                  <a:pt x="404813" y="1235742"/>
                </a:lnTo>
                <a:lnTo>
                  <a:pt x="400050" y="1226217"/>
                </a:lnTo>
                <a:cubicBezTo>
                  <a:pt x="411163" y="1216692"/>
                  <a:pt x="423664" y="1208581"/>
                  <a:pt x="433388" y="1197642"/>
                </a:cubicBezTo>
                <a:cubicBezTo>
                  <a:pt x="436723" y="1193890"/>
                  <a:pt x="435905" y="1187845"/>
                  <a:pt x="438150" y="1183355"/>
                </a:cubicBezTo>
                <a:cubicBezTo>
                  <a:pt x="444781" y="1170092"/>
                  <a:pt x="451428" y="1165314"/>
                  <a:pt x="461963" y="1154780"/>
                </a:cubicBezTo>
                <a:cubicBezTo>
                  <a:pt x="463550" y="1148430"/>
                  <a:pt x="464927" y="1142024"/>
                  <a:pt x="466725" y="1135730"/>
                </a:cubicBezTo>
                <a:cubicBezTo>
                  <a:pt x="468104" y="1130903"/>
                  <a:pt x="471488" y="1126462"/>
                  <a:pt x="471488" y="1121442"/>
                </a:cubicBezTo>
                <a:cubicBezTo>
                  <a:pt x="471488" y="1105488"/>
                  <a:pt x="468589" y="1089662"/>
                  <a:pt x="466725" y="1073817"/>
                </a:cubicBezTo>
                <a:cubicBezTo>
                  <a:pt x="465413" y="1062669"/>
                  <a:pt x="464487" y="1051418"/>
                  <a:pt x="461963" y="1040480"/>
                </a:cubicBezTo>
                <a:cubicBezTo>
                  <a:pt x="459705" y="1030697"/>
                  <a:pt x="452438" y="1011905"/>
                  <a:pt x="452438" y="1011905"/>
                </a:cubicBezTo>
                <a:cubicBezTo>
                  <a:pt x="450850" y="996030"/>
                  <a:pt x="450615" y="979961"/>
                  <a:pt x="447675" y="964280"/>
                </a:cubicBezTo>
                <a:cubicBezTo>
                  <a:pt x="445825" y="954412"/>
                  <a:pt x="444500" y="941261"/>
                  <a:pt x="438150" y="935705"/>
                </a:cubicBezTo>
                <a:cubicBezTo>
                  <a:pt x="431800" y="930149"/>
                  <a:pt x="416719" y="936498"/>
                  <a:pt x="409575" y="930942"/>
                </a:cubicBezTo>
                <a:cubicBezTo>
                  <a:pt x="402431" y="925386"/>
                  <a:pt x="398463" y="908717"/>
                  <a:pt x="395288" y="902367"/>
                </a:cubicBezTo>
                <a:cubicBezTo>
                  <a:pt x="392113" y="896017"/>
                  <a:pt x="394494" y="897604"/>
                  <a:pt x="390525" y="892842"/>
                </a:cubicBezTo>
                <a:cubicBezTo>
                  <a:pt x="386556" y="888080"/>
                  <a:pt x="396874" y="899191"/>
                  <a:pt x="371475" y="873792"/>
                </a:cubicBezTo>
                <a:cubicBezTo>
                  <a:pt x="367925" y="870242"/>
                  <a:pt x="369151" y="863893"/>
                  <a:pt x="366713" y="859505"/>
                </a:cubicBezTo>
                <a:cubicBezTo>
                  <a:pt x="350371" y="830089"/>
                  <a:pt x="354246" y="835319"/>
                  <a:pt x="333375" y="821405"/>
                </a:cubicBezTo>
                <a:cubicBezTo>
                  <a:pt x="333333" y="821238"/>
                  <a:pt x="326129" y="790346"/>
                  <a:pt x="323850" y="788067"/>
                </a:cubicBezTo>
                <a:cubicBezTo>
                  <a:pt x="315755" y="779972"/>
                  <a:pt x="295275" y="769017"/>
                  <a:pt x="295275" y="769017"/>
                </a:cubicBezTo>
                <a:cubicBezTo>
                  <a:pt x="292100" y="764255"/>
                  <a:pt x="290058" y="758499"/>
                  <a:pt x="285750" y="754730"/>
                </a:cubicBezTo>
                <a:cubicBezTo>
                  <a:pt x="277135" y="747192"/>
                  <a:pt x="266700" y="742030"/>
                  <a:pt x="257175" y="735680"/>
                </a:cubicBezTo>
                <a:lnTo>
                  <a:pt x="228600" y="716630"/>
                </a:lnTo>
                <a:cubicBezTo>
                  <a:pt x="224423" y="713845"/>
                  <a:pt x="218701" y="714305"/>
                  <a:pt x="214313" y="711867"/>
                </a:cubicBezTo>
                <a:cubicBezTo>
                  <a:pt x="204306" y="706307"/>
                  <a:pt x="195263" y="699167"/>
                  <a:pt x="185738" y="692817"/>
                </a:cubicBezTo>
                <a:lnTo>
                  <a:pt x="171450" y="683292"/>
                </a:lnTo>
                <a:lnTo>
                  <a:pt x="142875" y="640430"/>
                </a:lnTo>
                <a:cubicBezTo>
                  <a:pt x="139700" y="635668"/>
                  <a:pt x="133350" y="634080"/>
                  <a:pt x="128588" y="630905"/>
                </a:cubicBezTo>
                <a:cubicBezTo>
                  <a:pt x="125413" y="626142"/>
                  <a:pt x="122497" y="621196"/>
                  <a:pt x="119063" y="616617"/>
                </a:cubicBezTo>
                <a:cubicBezTo>
                  <a:pt x="112964" y="608485"/>
                  <a:pt x="104880" y="601729"/>
                  <a:pt x="100013" y="592805"/>
                </a:cubicBezTo>
                <a:cubicBezTo>
                  <a:pt x="95205" y="583991"/>
                  <a:pt x="96057" y="572584"/>
                  <a:pt x="90488" y="564230"/>
                </a:cubicBezTo>
                <a:lnTo>
                  <a:pt x="80963" y="549942"/>
                </a:lnTo>
                <a:cubicBezTo>
                  <a:pt x="79134" y="538971"/>
                  <a:pt x="77299" y="518802"/>
                  <a:pt x="71438" y="507080"/>
                </a:cubicBezTo>
                <a:cubicBezTo>
                  <a:pt x="68878" y="501960"/>
                  <a:pt x="64238" y="498023"/>
                  <a:pt x="61913" y="492792"/>
                </a:cubicBezTo>
                <a:cubicBezTo>
                  <a:pt x="57835" y="483617"/>
                  <a:pt x="56878" y="473197"/>
                  <a:pt x="52388" y="464217"/>
                </a:cubicBezTo>
                <a:cubicBezTo>
                  <a:pt x="49213" y="457867"/>
                  <a:pt x="45500" y="451759"/>
                  <a:pt x="42863" y="445167"/>
                </a:cubicBezTo>
                <a:cubicBezTo>
                  <a:pt x="39134" y="435845"/>
                  <a:pt x="36513" y="426117"/>
                  <a:pt x="33338" y="416592"/>
                </a:cubicBezTo>
                <a:lnTo>
                  <a:pt x="28575" y="402305"/>
                </a:lnTo>
                <a:lnTo>
                  <a:pt x="23813" y="388017"/>
                </a:lnTo>
                <a:lnTo>
                  <a:pt x="19050" y="373730"/>
                </a:lnTo>
                <a:cubicBezTo>
                  <a:pt x="10687" y="323547"/>
                  <a:pt x="17470" y="366643"/>
                  <a:pt x="9525" y="307055"/>
                </a:cubicBezTo>
                <a:cubicBezTo>
                  <a:pt x="4660" y="270568"/>
                  <a:pt x="8042" y="283552"/>
                  <a:pt x="0" y="259430"/>
                </a:cubicBezTo>
                <a:cubicBezTo>
                  <a:pt x="3095" y="188262"/>
                  <a:pt x="-3750" y="177305"/>
                  <a:pt x="9525" y="130842"/>
                </a:cubicBezTo>
                <a:cubicBezTo>
                  <a:pt x="10904" y="126015"/>
                  <a:pt x="12909" y="121382"/>
                  <a:pt x="14288" y="116555"/>
                </a:cubicBezTo>
                <a:cubicBezTo>
                  <a:pt x="16086" y="110261"/>
                  <a:pt x="14740" y="102431"/>
                  <a:pt x="19050" y="97505"/>
                </a:cubicBezTo>
                <a:cubicBezTo>
                  <a:pt x="26588" y="88890"/>
                  <a:pt x="47625" y="78455"/>
                  <a:pt x="47625" y="78455"/>
                </a:cubicBezTo>
                <a:cubicBezTo>
                  <a:pt x="70473" y="44181"/>
                  <a:pt x="38119" y="86380"/>
                  <a:pt x="85725" y="54642"/>
                </a:cubicBezTo>
                <a:cubicBezTo>
                  <a:pt x="95250" y="48292"/>
                  <a:pt x="103008" y="37474"/>
                  <a:pt x="114300" y="35592"/>
                </a:cubicBezTo>
                <a:cubicBezTo>
                  <a:pt x="160171" y="27948"/>
                  <a:pt x="133258" y="31704"/>
                  <a:pt x="195263" y="26067"/>
                </a:cubicBezTo>
                <a:cubicBezTo>
                  <a:pt x="203200" y="24480"/>
                  <a:pt x="211091" y="22636"/>
                  <a:pt x="219075" y="21305"/>
                </a:cubicBezTo>
                <a:cubicBezTo>
                  <a:pt x="230148" y="19460"/>
                  <a:pt x="241318" y="18249"/>
                  <a:pt x="252413" y="16542"/>
                </a:cubicBezTo>
                <a:cubicBezTo>
                  <a:pt x="261957" y="15074"/>
                  <a:pt x="271463" y="13367"/>
                  <a:pt x="280988" y="11780"/>
                </a:cubicBezTo>
                <a:cubicBezTo>
                  <a:pt x="339721" y="-7798"/>
                  <a:pt x="299535" y="1754"/>
                  <a:pt x="404813" y="7017"/>
                </a:cubicBezTo>
                <a:cubicBezTo>
                  <a:pt x="411405" y="8336"/>
                  <a:pt x="434679" y="11968"/>
                  <a:pt x="442913" y="16542"/>
                </a:cubicBezTo>
                <a:cubicBezTo>
                  <a:pt x="452920" y="22101"/>
                  <a:pt x="461963" y="29242"/>
                  <a:pt x="471488" y="35592"/>
                </a:cubicBezTo>
                <a:cubicBezTo>
                  <a:pt x="476250" y="38767"/>
                  <a:pt x="480345" y="43307"/>
                  <a:pt x="485775" y="45117"/>
                </a:cubicBezTo>
                <a:lnTo>
                  <a:pt x="528638" y="59405"/>
                </a:lnTo>
                <a:cubicBezTo>
                  <a:pt x="539498" y="63025"/>
                  <a:pt x="546353" y="74835"/>
                  <a:pt x="557213" y="78455"/>
                </a:cubicBezTo>
                <a:lnTo>
                  <a:pt x="571500" y="83217"/>
                </a:lnTo>
                <a:cubicBezTo>
                  <a:pt x="576263" y="86392"/>
                  <a:pt x="581391" y="89078"/>
                  <a:pt x="585788" y="92742"/>
                </a:cubicBezTo>
                <a:cubicBezTo>
                  <a:pt x="590962" y="97054"/>
                  <a:pt x="594227" y="103688"/>
                  <a:pt x="600075" y="107030"/>
                </a:cubicBezTo>
                <a:cubicBezTo>
                  <a:pt x="605758" y="110277"/>
                  <a:pt x="612775" y="110205"/>
                  <a:pt x="619125" y="111792"/>
                </a:cubicBezTo>
                <a:cubicBezTo>
                  <a:pt x="620713" y="116555"/>
                  <a:pt x="621103" y="121903"/>
                  <a:pt x="623888" y="126080"/>
                </a:cubicBezTo>
                <a:cubicBezTo>
                  <a:pt x="631765" y="137896"/>
                  <a:pt x="646957" y="145854"/>
                  <a:pt x="657225" y="154655"/>
                </a:cubicBezTo>
                <a:cubicBezTo>
                  <a:pt x="662339" y="159038"/>
                  <a:pt x="666339" y="164630"/>
                  <a:pt x="671513" y="168942"/>
                </a:cubicBezTo>
                <a:cubicBezTo>
                  <a:pt x="675910" y="172606"/>
                  <a:pt x="681403" y="174803"/>
                  <a:pt x="685800" y="178467"/>
                </a:cubicBezTo>
                <a:cubicBezTo>
                  <a:pt x="690974" y="182779"/>
                  <a:pt x="694484" y="189019"/>
                  <a:pt x="700088" y="192755"/>
                </a:cubicBezTo>
                <a:cubicBezTo>
                  <a:pt x="704265" y="195540"/>
                  <a:pt x="709675" y="195754"/>
                  <a:pt x="714375" y="197517"/>
                </a:cubicBezTo>
                <a:cubicBezTo>
                  <a:pt x="722380" y="200519"/>
                  <a:pt x="730541" y="203219"/>
                  <a:pt x="738188" y="207042"/>
                </a:cubicBezTo>
                <a:cubicBezTo>
                  <a:pt x="743307" y="209602"/>
                  <a:pt x="747356" y="214007"/>
                  <a:pt x="752475" y="216567"/>
                </a:cubicBezTo>
                <a:cubicBezTo>
                  <a:pt x="756965" y="218812"/>
                  <a:pt x="762273" y="219085"/>
                  <a:pt x="766763" y="221330"/>
                </a:cubicBezTo>
                <a:cubicBezTo>
                  <a:pt x="778250" y="227074"/>
                  <a:pt x="793530" y="237587"/>
                  <a:pt x="804863" y="245142"/>
                </a:cubicBezTo>
                <a:cubicBezTo>
                  <a:pt x="813970" y="272468"/>
                  <a:pt x="803102" y="246961"/>
                  <a:pt x="823913" y="273717"/>
                </a:cubicBezTo>
                <a:cubicBezTo>
                  <a:pt x="830941" y="282753"/>
                  <a:pt x="836613" y="292767"/>
                  <a:pt x="842963" y="302292"/>
                </a:cubicBezTo>
                <a:lnTo>
                  <a:pt x="852488" y="316580"/>
                </a:lnTo>
                <a:cubicBezTo>
                  <a:pt x="854075" y="321342"/>
                  <a:pt x="856724" y="325875"/>
                  <a:pt x="857250" y="330867"/>
                </a:cubicBezTo>
                <a:cubicBezTo>
                  <a:pt x="859914" y="356177"/>
                  <a:pt x="856492" y="382223"/>
                  <a:pt x="862013" y="407067"/>
                </a:cubicBezTo>
                <a:cubicBezTo>
                  <a:pt x="863255" y="412654"/>
                  <a:pt x="871538" y="413417"/>
                  <a:pt x="876300" y="416592"/>
                </a:cubicBezTo>
                <a:cubicBezTo>
                  <a:pt x="881063" y="415005"/>
                  <a:pt x="886098" y="414075"/>
                  <a:pt x="890588" y="411830"/>
                </a:cubicBezTo>
                <a:cubicBezTo>
                  <a:pt x="895707" y="409270"/>
                  <a:pt x="899645" y="404630"/>
                  <a:pt x="904875" y="402305"/>
                </a:cubicBezTo>
                <a:cubicBezTo>
                  <a:pt x="914050" y="398227"/>
                  <a:pt x="933450" y="392780"/>
                  <a:pt x="933450" y="392780"/>
                </a:cubicBezTo>
                <a:cubicBezTo>
                  <a:pt x="1000291" y="415060"/>
                  <a:pt x="933542" y="388078"/>
                  <a:pt x="976313" y="416592"/>
                </a:cubicBezTo>
                <a:cubicBezTo>
                  <a:pt x="980490" y="419377"/>
                  <a:pt x="985648" y="420530"/>
                  <a:pt x="990600" y="421355"/>
                </a:cubicBezTo>
                <a:cubicBezTo>
                  <a:pt x="1004780" y="423718"/>
                  <a:pt x="1019175" y="424530"/>
                  <a:pt x="1033463" y="426117"/>
                </a:cubicBezTo>
                <a:cubicBezTo>
                  <a:pt x="1038225" y="430880"/>
                  <a:pt x="1053632" y="425487"/>
                  <a:pt x="1059656" y="428499"/>
                </a:cubicBezTo>
                <a:cubicBezTo>
                  <a:pt x="1076588" y="436965"/>
                  <a:pt x="1087041" y="439215"/>
                  <a:pt x="1095375" y="440405"/>
                </a:cubicBezTo>
                <a:cubicBezTo>
                  <a:pt x="1103709" y="441595"/>
                  <a:pt x="1104740" y="436627"/>
                  <a:pt x="1109663" y="435642"/>
                </a:cubicBezTo>
                <a:cubicBezTo>
                  <a:pt x="1120670" y="433441"/>
                  <a:pt x="1131888" y="432467"/>
                  <a:pt x="1143000" y="430880"/>
                </a:cubicBezTo>
                <a:cubicBezTo>
                  <a:pt x="1157288" y="432467"/>
                  <a:pt x="1171917" y="432156"/>
                  <a:pt x="1185863" y="435642"/>
                </a:cubicBezTo>
                <a:cubicBezTo>
                  <a:pt x="1206644" y="440837"/>
                  <a:pt x="1195243" y="447910"/>
                  <a:pt x="1209675" y="459455"/>
                </a:cubicBezTo>
                <a:cubicBezTo>
                  <a:pt x="1213595" y="462591"/>
                  <a:pt x="1219200" y="462630"/>
                  <a:pt x="1223963" y="464217"/>
                </a:cubicBezTo>
                <a:cubicBezTo>
                  <a:pt x="1222375" y="488030"/>
                  <a:pt x="1227451" y="513261"/>
                  <a:pt x="1219200" y="535655"/>
                </a:cubicBezTo>
                <a:cubicBezTo>
                  <a:pt x="1215242" y="546397"/>
                  <a:pt x="1190625" y="554705"/>
                  <a:pt x="1190625" y="554705"/>
                </a:cubicBezTo>
                <a:cubicBezTo>
                  <a:pt x="1189038" y="568992"/>
                  <a:pt x="1185863" y="583192"/>
                  <a:pt x="1185863" y="597567"/>
                </a:cubicBezTo>
                <a:cubicBezTo>
                  <a:pt x="1185863" y="632795"/>
                  <a:pt x="1190179" y="639094"/>
                  <a:pt x="1200150" y="669005"/>
                </a:cubicBezTo>
                <a:lnTo>
                  <a:pt x="1204913" y="683292"/>
                </a:lnTo>
                <a:cubicBezTo>
                  <a:pt x="1206501" y="688055"/>
                  <a:pt x="1206125" y="694030"/>
                  <a:pt x="1209675" y="697580"/>
                </a:cubicBezTo>
                <a:cubicBezTo>
                  <a:pt x="1228011" y="715914"/>
                  <a:pt x="1220227" y="706263"/>
                  <a:pt x="1233488" y="726155"/>
                </a:cubicBezTo>
                <a:cubicBezTo>
                  <a:pt x="1245458" y="762067"/>
                  <a:pt x="1227918" y="719192"/>
                  <a:pt x="1252538" y="749967"/>
                </a:cubicBezTo>
                <a:cubicBezTo>
                  <a:pt x="1278828" y="782830"/>
                  <a:pt x="1230640" y="746483"/>
                  <a:pt x="1271588" y="773780"/>
                </a:cubicBezTo>
                <a:cubicBezTo>
                  <a:pt x="1274183" y="781565"/>
                  <a:pt x="1278100" y="797496"/>
                  <a:pt x="1285875" y="802355"/>
                </a:cubicBezTo>
                <a:cubicBezTo>
                  <a:pt x="1294389" y="807676"/>
                  <a:pt x="1306513" y="811086"/>
                  <a:pt x="1314450" y="811880"/>
                </a:cubicBezTo>
                <a:cubicBezTo>
                  <a:pt x="1322387" y="812674"/>
                  <a:pt x="1327547" y="807117"/>
                  <a:pt x="1333500" y="807117"/>
                </a:cubicBezTo>
                <a:cubicBezTo>
                  <a:pt x="1339453" y="807117"/>
                  <a:pt x="1344216" y="809499"/>
                  <a:pt x="1350169" y="811880"/>
                </a:cubicBezTo>
                <a:cubicBezTo>
                  <a:pt x="1356122" y="814261"/>
                  <a:pt x="1358503" y="816643"/>
                  <a:pt x="1369219" y="821405"/>
                </a:cubicBezTo>
                <a:cubicBezTo>
                  <a:pt x="1379935" y="826167"/>
                  <a:pt x="1403747" y="836486"/>
                  <a:pt x="1414463" y="840455"/>
                </a:cubicBezTo>
                <a:cubicBezTo>
                  <a:pt x="1425179" y="844424"/>
                  <a:pt x="1427219" y="843419"/>
                  <a:pt x="1433513" y="845217"/>
                </a:cubicBezTo>
                <a:cubicBezTo>
                  <a:pt x="1438340" y="846596"/>
                  <a:pt x="1442808" y="849454"/>
                  <a:pt x="1447800" y="849980"/>
                </a:cubicBezTo>
                <a:cubicBezTo>
                  <a:pt x="1473110" y="852644"/>
                  <a:pt x="1498600" y="853155"/>
                  <a:pt x="1524000" y="854742"/>
                </a:cubicBezTo>
                <a:cubicBezTo>
                  <a:pt x="1530350" y="856330"/>
                  <a:pt x="1536781" y="857624"/>
                  <a:pt x="1543050" y="859505"/>
                </a:cubicBezTo>
                <a:cubicBezTo>
                  <a:pt x="1557475" y="863833"/>
                  <a:pt x="1571625" y="869030"/>
                  <a:pt x="1585913" y="873792"/>
                </a:cubicBezTo>
                <a:cubicBezTo>
                  <a:pt x="1593592" y="876351"/>
                  <a:pt x="1601754" y="877148"/>
                  <a:pt x="1609725" y="878555"/>
                </a:cubicBezTo>
                <a:cubicBezTo>
                  <a:pt x="1670351" y="889254"/>
                  <a:pt x="1655648" y="886833"/>
                  <a:pt x="1709738" y="892842"/>
                </a:cubicBezTo>
                <a:lnTo>
                  <a:pt x="1752600" y="907130"/>
                </a:lnTo>
                <a:cubicBezTo>
                  <a:pt x="1757363" y="908717"/>
                  <a:pt x="1757363" y="909908"/>
                  <a:pt x="1766888" y="911892"/>
                </a:cubicBezTo>
                <a:cubicBezTo>
                  <a:pt x="1776413" y="913876"/>
                  <a:pt x="1774786" y="907382"/>
                  <a:pt x="1809750" y="919036"/>
                </a:cubicBezTo>
                <a:cubicBezTo>
                  <a:pt x="1814513" y="926180"/>
                  <a:pt x="1821657" y="929751"/>
                  <a:pt x="1824038" y="940467"/>
                </a:cubicBezTo>
                <a:cubicBezTo>
                  <a:pt x="1826419" y="951183"/>
                  <a:pt x="1818744" y="948920"/>
                  <a:pt x="1824038" y="983330"/>
                </a:cubicBezTo>
                <a:cubicBezTo>
                  <a:pt x="1825745" y="994425"/>
                  <a:pt x="1825575" y="1005915"/>
                  <a:pt x="1828800" y="1016667"/>
                </a:cubicBezTo>
                <a:cubicBezTo>
                  <a:pt x="1830445" y="1022150"/>
                  <a:pt x="1835765" y="1025835"/>
                  <a:pt x="1838325" y="1030955"/>
                </a:cubicBezTo>
                <a:cubicBezTo>
                  <a:pt x="1840570" y="1035445"/>
                  <a:pt x="1840650" y="1040854"/>
                  <a:pt x="1843088" y="1045242"/>
                </a:cubicBezTo>
                <a:cubicBezTo>
                  <a:pt x="1859431" y="1074658"/>
                  <a:pt x="1855554" y="1069428"/>
                  <a:pt x="1876425" y="1083342"/>
                </a:cubicBezTo>
                <a:cubicBezTo>
                  <a:pt x="1879600" y="1088105"/>
                  <a:pt x="1880394" y="1091677"/>
                  <a:pt x="1885950" y="1097630"/>
                </a:cubicBezTo>
                <a:cubicBezTo>
                  <a:pt x="1891506" y="1103583"/>
                  <a:pt x="1897460" y="1111917"/>
                  <a:pt x="1909763" y="1119061"/>
                </a:cubicBezTo>
                <a:cubicBezTo>
                  <a:pt x="1922066" y="1126205"/>
                  <a:pt x="1940146" y="1133951"/>
                  <a:pt x="1959769" y="1140492"/>
                </a:cubicBezTo>
                <a:cubicBezTo>
                  <a:pt x="1969079" y="1154458"/>
                  <a:pt x="1956991" y="1168273"/>
                  <a:pt x="1957388" y="1178592"/>
                </a:cubicBezTo>
                <a:cubicBezTo>
                  <a:pt x="1957785" y="1188911"/>
                  <a:pt x="1957660" y="1195670"/>
                  <a:pt x="1962150" y="1202405"/>
                </a:cubicBezTo>
                <a:cubicBezTo>
                  <a:pt x="1964935" y="1206582"/>
                  <a:pt x="1971675" y="1205580"/>
                  <a:pt x="1976438" y="1207167"/>
                </a:cubicBezTo>
                <a:cubicBezTo>
                  <a:pt x="1979613" y="1202405"/>
                  <a:pt x="1981109" y="1195913"/>
                  <a:pt x="1985963" y="1192880"/>
                </a:cubicBezTo>
                <a:cubicBezTo>
                  <a:pt x="2001890" y="1182926"/>
                  <a:pt x="2025609" y="1182482"/>
                  <a:pt x="2043113" y="1178592"/>
                </a:cubicBezTo>
                <a:cubicBezTo>
                  <a:pt x="2048013" y="1177503"/>
                  <a:pt x="2052638" y="1175417"/>
                  <a:pt x="2057400" y="1173830"/>
                </a:cubicBezTo>
                <a:cubicBezTo>
                  <a:pt x="2074863" y="1175417"/>
                  <a:pt x="2092430" y="1176112"/>
                  <a:pt x="2109788" y="1178592"/>
                </a:cubicBezTo>
                <a:cubicBezTo>
                  <a:pt x="2114758" y="1179302"/>
                  <a:pt x="2119123" y="1182530"/>
                  <a:pt x="2124075" y="1183355"/>
                </a:cubicBezTo>
                <a:cubicBezTo>
                  <a:pt x="2138255" y="1185718"/>
                  <a:pt x="2152650" y="1186530"/>
                  <a:pt x="2166938" y="1188117"/>
                </a:cubicBezTo>
                <a:cubicBezTo>
                  <a:pt x="2200276" y="1199230"/>
                  <a:pt x="2192338" y="1188117"/>
                  <a:pt x="2200275" y="1211930"/>
                </a:cubicBezTo>
                <a:cubicBezTo>
                  <a:pt x="2184226" y="1236003"/>
                  <a:pt x="2190173" y="1222468"/>
                  <a:pt x="2185988" y="1264317"/>
                </a:cubicBezTo>
                <a:cubicBezTo>
                  <a:pt x="2177642" y="1347779"/>
                  <a:pt x="2185772" y="1294181"/>
                  <a:pt x="2176463" y="1350042"/>
                </a:cubicBezTo>
                <a:cubicBezTo>
                  <a:pt x="2176775" y="1351290"/>
                  <a:pt x="2183502" y="1380273"/>
                  <a:pt x="2185988" y="1383380"/>
                </a:cubicBezTo>
                <a:cubicBezTo>
                  <a:pt x="2189564" y="1387849"/>
                  <a:pt x="2195513" y="1389730"/>
                  <a:pt x="2200275" y="1392905"/>
                </a:cubicBezTo>
                <a:cubicBezTo>
                  <a:pt x="2208357" y="1405028"/>
                  <a:pt x="2209656" y="1410944"/>
                  <a:pt x="2224088" y="1416717"/>
                </a:cubicBezTo>
                <a:cubicBezTo>
                  <a:pt x="2227036" y="1417896"/>
                  <a:pt x="2230438" y="1416717"/>
                  <a:pt x="2233613" y="1416717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13" name="Freeform 13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540039" y="3173471"/>
            <a:ext cx="393799" cy="278012"/>
          </a:xfrm>
          <a:custGeom>
            <a:avLst/>
            <a:gdLst>
              <a:gd name="connsiteX0" fmla="*/ 2364 w 707548"/>
              <a:gd name="connsiteY0" fmla="*/ 0 h 577773"/>
              <a:gd name="connsiteX1" fmla="*/ 10113 w 707548"/>
              <a:gd name="connsiteY1" fmla="*/ 0 h 577773"/>
              <a:gd name="connsiteX2" fmla="*/ 10113 w 707548"/>
              <a:gd name="connsiteY2" fmla="*/ 5550 h 577773"/>
              <a:gd name="connsiteX3" fmla="*/ 17862 w 707548"/>
              <a:gd name="connsiteY3" fmla="*/ 5550 h 577773"/>
              <a:gd name="connsiteX4" fmla="*/ 25612 w 707548"/>
              <a:gd name="connsiteY4" fmla="*/ 5550 h 577773"/>
              <a:gd name="connsiteX5" fmla="*/ 33361 w 707548"/>
              <a:gd name="connsiteY5" fmla="*/ 5550 h 577773"/>
              <a:gd name="connsiteX6" fmla="*/ 33361 w 707548"/>
              <a:gd name="connsiteY6" fmla="*/ 11100 h 577773"/>
              <a:gd name="connsiteX7" fmla="*/ 41110 w 707548"/>
              <a:gd name="connsiteY7" fmla="*/ 5550 h 577773"/>
              <a:gd name="connsiteX8" fmla="*/ 41110 w 707548"/>
              <a:gd name="connsiteY8" fmla="*/ 11100 h 577773"/>
              <a:gd name="connsiteX9" fmla="*/ 48859 w 707548"/>
              <a:gd name="connsiteY9" fmla="*/ 11100 h 577773"/>
              <a:gd name="connsiteX10" fmla="*/ 48859 w 707548"/>
              <a:gd name="connsiteY10" fmla="*/ 16651 h 577773"/>
              <a:gd name="connsiteX11" fmla="*/ 56609 w 707548"/>
              <a:gd name="connsiteY11" fmla="*/ 16651 h 577773"/>
              <a:gd name="connsiteX12" fmla="*/ 64358 w 707548"/>
              <a:gd name="connsiteY12" fmla="*/ 16651 h 577773"/>
              <a:gd name="connsiteX13" fmla="*/ 64358 w 707548"/>
              <a:gd name="connsiteY13" fmla="*/ 22201 h 577773"/>
              <a:gd name="connsiteX14" fmla="*/ 72107 w 707548"/>
              <a:gd name="connsiteY14" fmla="*/ 22201 h 577773"/>
              <a:gd name="connsiteX15" fmla="*/ 72107 w 707548"/>
              <a:gd name="connsiteY15" fmla="*/ 16651 h 577773"/>
              <a:gd name="connsiteX16" fmla="*/ 79857 w 707548"/>
              <a:gd name="connsiteY16" fmla="*/ 16651 h 577773"/>
              <a:gd name="connsiteX17" fmla="*/ 87606 w 707548"/>
              <a:gd name="connsiteY17" fmla="*/ 16651 h 577773"/>
              <a:gd name="connsiteX18" fmla="*/ 95355 w 707548"/>
              <a:gd name="connsiteY18" fmla="*/ 16651 h 577773"/>
              <a:gd name="connsiteX19" fmla="*/ 103104 w 707548"/>
              <a:gd name="connsiteY19" fmla="*/ 22201 h 577773"/>
              <a:gd name="connsiteX20" fmla="*/ 110854 w 707548"/>
              <a:gd name="connsiteY20" fmla="*/ 16651 h 577773"/>
              <a:gd name="connsiteX21" fmla="*/ 110854 w 707548"/>
              <a:gd name="connsiteY21" fmla="*/ 22201 h 577773"/>
              <a:gd name="connsiteX22" fmla="*/ 118603 w 707548"/>
              <a:gd name="connsiteY22" fmla="*/ 22201 h 577773"/>
              <a:gd name="connsiteX23" fmla="*/ 118603 w 707548"/>
              <a:gd name="connsiteY23" fmla="*/ 27751 h 577773"/>
              <a:gd name="connsiteX24" fmla="*/ 126352 w 707548"/>
              <a:gd name="connsiteY24" fmla="*/ 33301 h 577773"/>
              <a:gd name="connsiteX25" fmla="*/ 134102 w 707548"/>
              <a:gd name="connsiteY25" fmla="*/ 33301 h 577773"/>
              <a:gd name="connsiteX26" fmla="*/ 134102 w 707548"/>
              <a:gd name="connsiteY26" fmla="*/ 38851 h 577773"/>
              <a:gd name="connsiteX27" fmla="*/ 141851 w 707548"/>
              <a:gd name="connsiteY27" fmla="*/ 38851 h 577773"/>
              <a:gd name="connsiteX28" fmla="*/ 141851 w 707548"/>
              <a:gd name="connsiteY28" fmla="*/ 44401 h 577773"/>
              <a:gd name="connsiteX29" fmla="*/ 149600 w 707548"/>
              <a:gd name="connsiteY29" fmla="*/ 44401 h 577773"/>
              <a:gd name="connsiteX30" fmla="*/ 157349 w 707548"/>
              <a:gd name="connsiteY30" fmla="*/ 44401 h 577773"/>
              <a:gd name="connsiteX31" fmla="*/ 157349 w 707548"/>
              <a:gd name="connsiteY31" fmla="*/ 49951 h 577773"/>
              <a:gd name="connsiteX32" fmla="*/ 165099 w 707548"/>
              <a:gd name="connsiteY32" fmla="*/ 44401 h 577773"/>
              <a:gd name="connsiteX33" fmla="*/ 165099 w 707548"/>
              <a:gd name="connsiteY33" fmla="*/ 49951 h 577773"/>
              <a:gd name="connsiteX34" fmla="*/ 172848 w 707548"/>
              <a:gd name="connsiteY34" fmla="*/ 55501 h 577773"/>
              <a:gd name="connsiteX35" fmla="*/ 180597 w 707548"/>
              <a:gd name="connsiteY35" fmla="*/ 55501 h 577773"/>
              <a:gd name="connsiteX36" fmla="*/ 180597 w 707548"/>
              <a:gd name="connsiteY36" fmla="*/ 61052 h 577773"/>
              <a:gd name="connsiteX37" fmla="*/ 188347 w 707548"/>
              <a:gd name="connsiteY37" fmla="*/ 61052 h 577773"/>
              <a:gd name="connsiteX38" fmla="*/ 188347 w 707548"/>
              <a:gd name="connsiteY38" fmla="*/ 66602 h 577773"/>
              <a:gd name="connsiteX39" fmla="*/ 196096 w 707548"/>
              <a:gd name="connsiteY39" fmla="*/ 72152 h 577773"/>
              <a:gd name="connsiteX40" fmla="*/ 203845 w 707548"/>
              <a:gd name="connsiteY40" fmla="*/ 77702 h 577773"/>
              <a:gd name="connsiteX41" fmla="*/ 211594 w 707548"/>
              <a:gd name="connsiteY41" fmla="*/ 77702 h 577773"/>
              <a:gd name="connsiteX42" fmla="*/ 219344 w 707548"/>
              <a:gd name="connsiteY42" fmla="*/ 77702 h 577773"/>
              <a:gd name="connsiteX43" fmla="*/ 227093 w 707548"/>
              <a:gd name="connsiteY43" fmla="*/ 77702 h 577773"/>
              <a:gd name="connsiteX44" fmla="*/ 234842 w 707548"/>
              <a:gd name="connsiteY44" fmla="*/ 77702 h 577773"/>
              <a:gd name="connsiteX45" fmla="*/ 234842 w 707548"/>
              <a:gd name="connsiteY45" fmla="*/ 83252 h 577773"/>
              <a:gd name="connsiteX46" fmla="*/ 227093 w 707548"/>
              <a:gd name="connsiteY46" fmla="*/ 83252 h 577773"/>
              <a:gd name="connsiteX47" fmla="*/ 227093 w 707548"/>
              <a:gd name="connsiteY47" fmla="*/ 88802 h 577773"/>
              <a:gd name="connsiteX48" fmla="*/ 234842 w 707548"/>
              <a:gd name="connsiteY48" fmla="*/ 88802 h 577773"/>
              <a:gd name="connsiteX49" fmla="*/ 234842 w 707548"/>
              <a:gd name="connsiteY49" fmla="*/ 94352 h 577773"/>
              <a:gd name="connsiteX50" fmla="*/ 234842 w 707548"/>
              <a:gd name="connsiteY50" fmla="*/ 99902 h 577773"/>
              <a:gd name="connsiteX51" fmla="*/ 250341 w 707548"/>
              <a:gd name="connsiteY51" fmla="*/ 99902 h 577773"/>
              <a:gd name="connsiteX52" fmla="*/ 250341 w 707548"/>
              <a:gd name="connsiteY52" fmla="*/ 105453 h 577773"/>
              <a:gd name="connsiteX53" fmla="*/ 258090 w 707548"/>
              <a:gd name="connsiteY53" fmla="*/ 105453 h 577773"/>
              <a:gd name="connsiteX54" fmla="*/ 258090 w 707548"/>
              <a:gd name="connsiteY54" fmla="*/ 116553 h 577773"/>
              <a:gd name="connsiteX55" fmla="*/ 265839 w 707548"/>
              <a:gd name="connsiteY55" fmla="*/ 116553 h 577773"/>
              <a:gd name="connsiteX56" fmla="*/ 265839 w 707548"/>
              <a:gd name="connsiteY56" fmla="*/ 122103 h 577773"/>
              <a:gd name="connsiteX57" fmla="*/ 273589 w 707548"/>
              <a:gd name="connsiteY57" fmla="*/ 122103 h 577773"/>
              <a:gd name="connsiteX58" fmla="*/ 273589 w 707548"/>
              <a:gd name="connsiteY58" fmla="*/ 127653 h 577773"/>
              <a:gd name="connsiteX59" fmla="*/ 265839 w 707548"/>
              <a:gd name="connsiteY59" fmla="*/ 138753 h 577773"/>
              <a:gd name="connsiteX60" fmla="*/ 273589 w 707548"/>
              <a:gd name="connsiteY60" fmla="*/ 144303 h 577773"/>
              <a:gd name="connsiteX61" fmla="*/ 273589 w 707548"/>
              <a:gd name="connsiteY61" fmla="*/ 149853 h 577773"/>
              <a:gd name="connsiteX62" fmla="*/ 273589 w 707548"/>
              <a:gd name="connsiteY62" fmla="*/ 155404 h 577773"/>
              <a:gd name="connsiteX63" fmla="*/ 265839 w 707548"/>
              <a:gd name="connsiteY63" fmla="*/ 155404 h 577773"/>
              <a:gd name="connsiteX64" fmla="*/ 258090 w 707548"/>
              <a:gd name="connsiteY64" fmla="*/ 155404 h 577773"/>
              <a:gd name="connsiteX65" fmla="*/ 258090 w 707548"/>
              <a:gd name="connsiteY65" fmla="*/ 160954 h 577773"/>
              <a:gd name="connsiteX66" fmla="*/ 265839 w 707548"/>
              <a:gd name="connsiteY66" fmla="*/ 160954 h 577773"/>
              <a:gd name="connsiteX67" fmla="*/ 273589 w 707548"/>
              <a:gd name="connsiteY67" fmla="*/ 166504 h 577773"/>
              <a:gd name="connsiteX68" fmla="*/ 281338 w 707548"/>
              <a:gd name="connsiteY68" fmla="*/ 172054 h 577773"/>
              <a:gd name="connsiteX69" fmla="*/ 289087 w 707548"/>
              <a:gd name="connsiteY69" fmla="*/ 172054 h 577773"/>
              <a:gd name="connsiteX70" fmla="*/ 296836 w 707548"/>
              <a:gd name="connsiteY70" fmla="*/ 177604 h 577773"/>
              <a:gd name="connsiteX71" fmla="*/ 296836 w 707548"/>
              <a:gd name="connsiteY71" fmla="*/ 183154 h 577773"/>
              <a:gd name="connsiteX72" fmla="*/ 304586 w 707548"/>
              <a:gd name="connsiteY72" fmla="*/ 183154 h 577773"/>
              <a:gd name="connsiteX73" fmla="*/ 304586 w 707548"/>
              <a:gd name="connsiteY73" fmla="*/ 188704 h 577773"/>
              <a:gd name="connsiteX74" fmla="*/ 312335 w 707548"/>
              <a:gd name="connsiteY74" fmla="*/ 188704 h 577773"/>
              <a:gd name="connsiteX75" fmla="*/ 320084 w 707548"/>
              <a:gd name="connsiteY75" fmla="*/ 188704 h 577773"/>
              <a:gd name="connsiteX76" fmla="*/ 320084 w 707548"/>
              <a:gd name="connsiteY76" fmla="*/ 194254 h 577773"/>
              <a:gd name="connsiteX77" fmla="*/ 327834 w 707548"/>
              <a:gd name="connsiteY77" fmla="*/ 194254 h 577773"/>
              <a:gd name="connsiteX78" fmla="*/ 335583 w 707548"/>
              <a:gd name="connsiteY78" fmla="*/ 194254 h 577773"/>
              <a:gd name="connsiteX79" fmla="*/ 335583 w 707548"/>
              <a:gd name="connsiteY79" fmla="*/ 199805 h 577773"/>
              <a:gd name="connsiteX80" fmla="*/ 343332 w 707548"/>
              <a:gd name="connsiteY80" fmla="*/ 199805 h 577773"/>
              <a:gd name="connsiteX81" fmla="*/ 343332 w 707548"/>
              <a:gd name="connsiteY81" fmla="*/ 205355 h 577773"/>
              <a:gd name="connsiteX82" fmla="*/ 343332 w 707548"/>
              <a:gd name="connsiteY82" fmla="*/ 210905 h 577773"/>
              <a:gd name="connsiteX83" fmla="*/ 335583 w 707548"/>
              <a:gd name="connsiteY83" fmla="*/ 216455 h 577773"/>
              <a:gd name="connsiteX84" fmla="*/ 343332 w 707548"/>
              <a:gd name="connsiteY84" fmla="*/ 216455 h 577773"/>
              <a:gd name="connsiteX85" fmla="*/ 343332 w 707548"/>
              <a:gd name="connsiteY85" fmla="*/ 222005 h 577773"/>
              <a:gd name="connsiteX86" fmla="*/ 343332 w 707548"/>
              <a:gd name="connsiteY86" fmla="*/ 227555 h 577773"/>
              <a:gd name="connsiteX87" fmla="*/ 351081 w 707548"/>
              <a:gd name="connsiteY87" fmla="*/ 227555 h 577773"/>
              <a:gd name="connsiteX88" fmla="*/ 351081 w 707548"/>
              <a:gd name="connsiteY88" fmla="*/ 233105 h 577773"/>
              <a:gd name="connsiteX89" fmla="*/ 358831 w 707548"/>
              <a:gd name="connsiteY89" fmla="*/ 233105 h 577773"/>
              <a:gd name="connsiteX90" fmla="*/ 358831 w 707548"/>
              <a:gd name="connsiteY90" fmla="*/ 238655 h 577773"/>
              <a:gd name="connsiteX91" fmla="*/ 366580 w 707548"/>
              <a:gd name="connsiteY91" fmla="*/ 238655 h 577773"/>
              <a:gd name="connsiteX92" fmla="*/ 374329 w 707548"/>
              <a:gd name="connsiteY92" fmla="*/ 238655 h 577773"/>
              <a:gd name="connsiteX93" fmla="*/ 374329 w 707548"/>
              <a:gd name="connsiteY93" fmla="*/ 244206 h 577773"/>
              <a:gd name="connsiteX94" fmla="*/ 382078 w 707548"/>
              <a:gd name="connsiteY94" fmla="*/ 244206 h 577773"/>
              <a:gd name="connsiteX95" fmla="*/ 382078 w 707548"/>
              <a:gd name="connsiteY95" fmla="*/ 249756 h 577773"/>
              <a:gd name="connsiteX96" fmla="*/ 389828 w 707548"/>
              <a:gd name="connsiteY96" fmla="*/ 249756 h 577773"/>
              <a:gd name="connsiteX97" fmla="*/ 397577 w 707548"/>
              <a:gd name="connsiteY97" fmla="*/ 249756 h 577773"/>
              <a:gd name="connsiteX98" fmla="*/ 405326 w 707548"/>
              <a:gd name="connsiteY98" fmla="*/ 249756 h 577773"/>
              <a:gd name="connsiteX99" fmla="*/ 413076 w 707548"/>
              <a:gd name="connsiteY99" fmla="*/ 255306 h 577773"/>
              <a:gd name="connsiteX100" fmla="*/ 428574 w 707548"/>
              <a:gd name="connsiteY100" fmla="*/ 255306 h 577773"/>
              <a:gd name="connsiteX101" fmla="*/ 436323 w 707548"/>
              <a:gd name="connsiteY101" fmla="*/ 260856 h 577773"/>
              <a:gd name="connsiteX102" fmla="*/ 444073 w 707548"/>
              <a:gd name="connsiteY102" fmla="*/ 260856 h 577773"/>
              <a:gd name="connsiteX103" fmla="*/ 451822 w 707548"/>
              <a:gd name="connsiteY103" fmla="*/ 260856 h 577773"/>
              <a:gd name="connsiteX104" fmla="*/ 459571 w 707548"/>
              <a:gd name="connsiteY104" fmla="*/ 260856 h 577773"/>
              <a:gd name="connsiteX105" fmla="*/ 467321 w 707548"/>
              <a:gd name="connsiteY105" fmla="*/ 266406 h 577773"/>
              <a:gd name="connsiteX106" fmla="*/ 467321 w 707548"/>
              <a:gd name="connsiteY106" fmla="*/ 271956 h 577773"/>
              <a:gd name="connsiteX107" fmla="*/ 467321 w 707548"/>
              <a:gd name="connsiteY107" fmla="*/ 277506 h 577773"/>
              <a:gd name="connsiteX108" fmla="*/ 475070 w 707548"/>
              <a:gd name="connsiteY108" fmla="*/ 277506 h 577773"/>
              <a:gd name="connsiteX109" fmla="*/ 482819 w 707548"/>
              <a:gd name="connsiteY109" fmla="*/ 277506 h 577773"/>
              <a:gd name="connsiteX110" fmla="*/ 482819 w 707548"/>
              <a:gd name="connsiteY110" fmla="*/ 283056 h 577773"/>
              <a:gd name="connsiteX111" fmla="*/ 490568 w 707548"/>
              <a:gd name="connsiteY111" fmla="*/ 283056 h 577773"/>
              <a:gd name="connsiteX112" fmla="*/ 490568 w 707548"/>
              <a:gd name="connsiteY112" fmla="*/ 288606 h 577773"/>
              <a:gd name="connsiteX113" fmla="*/ 490568 w 707548"/>
              <a:gd name="connsiteY113" fmla="*/ 294157 h 577773"/>
              <a:gd name="connsiteX114" fmla="*/ 498318 w 707548"/>
              <a:gd name="connsiteY114" fmla="*/ 294157 h 577773"/>
              <a:gd name="connsiteX115" fmla="*/ 498318 w 707548"/>
              <a:gd name="connsiteY115" fmla="*/ 299707 h 577773"/>
              <a:gd name="connsiteX116" fmla="*/ 490568 w 707548"/>
              <a:gd name="connsiteY116" fmla="*/ 299707 h 577773"/>
              <a:gd name="connsiteX117" fmla="*/ 490568 w 707548"/>
              <a:gd name="connsiteY117" fmla="*/ 305257 h 577773"/>
              <a:gd name="connsiteX118" fmla="*/ 490568 w 707548"/>
              <a:gd name="connsiteY118" fmla="*/ 310807 h 577773"/>
              <a:gd name="connsiteX119" fmla="*/ 490568 w 707548"/>
              <a:gd name="connsiteY119" fmla="*/ 316357 h 577773"/>
              <a:gd name="connsiteX120" fmla="*/ 490568 w 707548"/>
              <a:gd name="connsiteY120" fmla="*/ 321907 h 577773"/>
              <a:gd name="connsiteX121" fmla="*/ 498318 w 707548"/>
              <a:gd name="connsiteY121" fmla="*/ 321907 h 577773"/>
              <a:gd name="connsiteX122" fmla="*/ 506067 w 707548"/>
              <a:gd name="connsiteY122" fmla="*/ 321907 h 577773"/>
              <a:gd name="connsiteX123" fmla="*/ 513816 w 707548"/>
              <a:gd name="connsiteY123" fmla="*/ 327457 h 577773"/>
              <a:gd name="connsiteX124" fmla="*/ 521565 w 707548"/>
              <a:gd name="connsiteY124" fmla="*/ 327457 h 577773"/>
              <a:gd name="connsiteX125" fmla="*/ 529315 w 707548"/>
              <a:gd name="connsiteY125" fmla="*/ 327457 h 577773"/>
              <a:gd name="connsiteX126" fmla="*/ 529315 w 707548"/>
              <a:gd name="connsiteY126" fmla="*/ 321907 h 577773"/>
              <a:gd name="connsiteX127" fmla="*/ 537064 w 707548"/>
              <a:gd name="connsiteY127" fmla="*/ 321907 h 577773"/>
              <a:gd name="connsiteX128" fmla="*/ 544813 w 707548"/>
              <a:gd name="connsiteY128" fmla="*/ 321907 h 577773"/>
              <a:gd name="connsiteX129" fmla="*/ 544813 w 707548"/>
              <a:gd name="connsiteY129" fmla="*/ 327457 h 577773"/>
              <a:gd name="connsiteX130" fmla="*/ 552562 w 707548"/>
              <a:gd name="connsiteY130" fmla="*/ 333007 h 577773"/>
              <a:gd name="connsiteX131" fmla="*/ 560312 w 707548"/>
              <a:gd name="connsiteY131" fmla="*/ 338558 h 577773"/>
              <a:gd name="connsiteX132" fmla="*/ 568061 w 707548"/>
              <a:gd name="connsiteY132" fmla="*/ 338558 h 577773"/>
              <a:gd name="connsiteX133" fmla="*/ 568061 w 707548"/>
              <a:gd name="connsiteY133" fmla="*/ 344108 h 577773"/>
              <a:gd name="connsiteX134" fmla="*/ 575810 w 707548"/>
              <a:gd name="connsiteY134" fmla="*/ 349658 h 577773"/>
              <a:gd name="connsiteX135" fmla="*/ 575810 w 707548"/>
              <a:gd name="connsiteY135" fmla="*/ 355208 h 577773"/>
              <a:gd name="connsiteX136" fmla="*/ 583560 w 707548"/>
              <a:gd name="connsiteY136" fmla="*/ 355208 h 577773"/>
              <a:gd name="connsiteX137" fmla="*/ 591309 w 707548"/>
              <a:gd name="connsiteY137" fmla="*/ 366308 h 577773"/>
              <a:gd name="connsiteX138" fmla="*/ 599058 w 707548"/>
              <a:gd name="connsiteY138" fmla="*/ 366308 h 577773"/>
              <a:gd name="connsiteX139" fmla="*/ 599058 w 707548"/>
              <a:gd name="connsiteY139" fmla="*/ 371858 h 577773"/>
              <a:gd name="connsiteX140" fmla="*/ 606807 w 707548"/>
              <a:gd name="connsiteY140" fmla="*/ 371858 h 577773"/>
              <a:gd name="connsiteX141" fmla="*/ 606807 w 707548"/>
              <a:gd name="connsiteY141" fmla="*/ 366308 h 577773"/>
              <a:gd name="connsiteX142" fmla="*/ 614557 w 707548"/>
              <a:gd name="connsiteY142" fmla="*/ 366308 h 577773"/>
              <a:gd name="connsiteX143" fmla="*/ 622306 w 707548"/>
              <a:gd name="connsiteY143" fmla="*/ 366308 h 577773"/>
              <a:gd name="connsiteX144" fmla="*/ 630055 w 707548"/>
              <a:gd name="connsiteY144" fmla="*/ 366308 h 577773"/>
              <a:gd name="connsiteX145" fmla="*/ 637804 w 707548"/>
              <a:gd name="connsiteY145" fmla="*/ 366308 h 577773"/>
              <a:gd name="connsiteX146" fmla="*/ 645554 w 707548"/>
              <a:gd name="connsiteY146" fmla="*/ 366308 h 577773"/>
              <a:gd name="connsiteX147" fmla="*/ 645554 w 707548"/>
              <a:gd name="connsiteY147" fmla="*/ 371858 h 577773"/>
              <a:gd name="connsiteX148" fmla="*/ 653303 w 707548"/>
              <a:gd name="connsiteY148" fmla="*/ 371858 h 577773"/>
              <a:gd name="connsiteX149" fmla="*/ 661052 w 707548"/>
              <a:gd name="connsiteY149" fmla="*/ 371858 h 577773"/>
              <a:gd name="connsiteX150" fmla="*/ 661052 w 707548"/>
              <a:gd name="connsiteY150" fmla="*/ 377408 h 577773"/>
              <a:gd name="connsiteX151" fmla="*/ 661052 w 707548"/>
              <a:gd name="connsiteY151" fmla="*/ 382959 h 577773"/>
              <a:gd name="connsiteX152" fmla="*/ 668802 w 707548"/>
              <a:gd name="connsiteY152" fmla="*/ 382959 h 577773"/>
              <a:gd name="connsiteX153" fmla="*/ 676551 w 707548"/>
              <a:gd name="connsiteY153" fmla="*/ 382959 h 577773"/>
              <a:gd name="connsiteX154" fmla="*/ 676551 w 707548"/>
              <a:gd name="connsiteY154" fmla="*/ 388509 h 577773"/>
              <a:gd name="connsiteX155" fmla="*/ 676551 w 707548"/>
              <a:gd name="connsiteY155" fmla="*/ 394059 h 577773"/>
              <a:gd name="connsiteX156" fmla="*/ 676551 w 707548"/>
              <a:gd name="connsiteY156" fmla="*/ 399609 h 577773"/>
              <a:gd name="connsiteX157" fmla="*/ 684300 w 707548"/>
              <a:gd name="connsiteY157" fmla="*/ 399609 h 577773"/>
              <a:gd name="connsiteX158" fmla="*/ 692050 w 707548"/>
              <a:gd name="connsiteY158" fmla="*/ 399609 h 577773"/>
              <a:gd name="connsiteX159" fmla="*/ 692050 w 707548"/>
              <a:gd name="connsiteY159" fmla="*/ 405159 h 577773"/>
              <a:gd name="connsiteX160" fmla="*/ 699799 w 707548"/>
              <a:gd name="connsiteY160" fmla="*/ 405159 h 577773"/>
              <a:gd name="connsiteX161" fmla="*/ 699799 w 707548"/>
              <a:gd name="connsiteY161" fmla="*/ 410709 h 577773"/>
              <a:gd name="connsiteX162" fmla="*/ 707548 w 707548"/>
              <a:gd name="connsiteY162" fmla="*/ 410709 h 577773"/>
              <a:gd name="connsiteX163" fmla="*/ 707548 w 707548"/>
              <a:gd name="connsiteY163" fmla="*/ 416259 h 577773"/>
              <a:gd name="connsiteX164" fmla="*/ 707548 w 707548"/>
              <a:gd name="connsiteY164" fmla="*/ 421809 h 577773"/>
              <a:gd name="connsiteX165" fmla="*/ 699799 w 707548"/>
              <a:gd name="connsiteY165" fmla="*/ 427359 h 577773"/>
              <a:gd name="connsiteX166" fmla="*/ 699799 w 707548"/>
              <a:gd name="connsiteY166" fmla="*/ 432910 h 577773"/>
              <a:gd name="connsiteX167" fmla="*/ 692050 w 707548"/>
              <a:gd name="connsiteY167" fmla="*/ 432910 h 577773"/>
              <a:gd name="connsiteX168" fmla="*/ 692050 w 707548"/>
              <a:gd name="connsiteY168" fmla="*/ 438460 h 577773"/>
              <a:gd name="connsiteX169" fmla="*/ 692050 w 707548"/>
              <a:gd name="connsiteY169" fmla="*/ 444010 h 577773"/>
              <a:gd name="connsiteX170" fmla="*/ 699799 w 707548"/>
              <a:gd name="connsiteY170" fmla="*/ 444010 h 577773"/>
              <a:gd name="connsiteX171" fmla="*/ 692050 w 707548"/>
              <a:gd name="connsiteY171" fmla="*/ 449560 h 577773"/>
              <a:gd name="connsiteX172" fmla="*/ 692050 w 707548"/>
              <a:gd name="connsiteY172" fmla="*/ 455110 h 577773"/>
              <a:gd name="connsiteX173" fmla="*/ 692050 w 707548"/>
              <a:gd name="connsiteY173" fmla="*/ 460660 h 577773"/>
              <a:gd name="connsiteX174" fmla="*/ 692050 w 707548"/>
              <a:gd name="connsiteY174" fmla="*/ 466210 h 577773"/>
              <a:gd name="connsiteX175" fmla="*/ 684300 w 707548"/>
              <a:gd name="connsiteY175" fmla="*/ 466210 h 577773"/>
              <a:gd name="connsiteX176" fmla="*/ 676551 w 707548"/>
              <a:gd name="connsiteY176" fmla="*/ 466210 h 577773"/>
              <a:gd name="connsiteX177" fmla="*/ 676551 w 707548"/>
              <a:gd name="connsiteY177" fmla="*/ 471760 h 577773"/>
              <a:gd name="connsiteX178" fmla="*/ 676551 w 707548"/>
              <a:gd name="connsiteY178" fmla="*/ 477311 h 577773"/>
              <a:gd name="connsiteX179" fmla="*/ 676551 w 707548"/>
              <a:gd name="connsiteY179" fmla="*/ 482861 h 577773"/>
              <a:gd name="connsiteX180" fmla="*/ 684300 w 707548"/>
              <a:gd name="connsiteY180" fmla="*/ 482861 h 577773"/>
              <a:gd name="connsiteX181" fmla="*/ 684300 w 707548"/>
              <a:gd name="connsiteY181" fmla="*/ 488411 h 577773"/>
              <a:gd name="connsiteX182" fmla="*/ 684300 w 707548"/>
              <a:gd name="connsiteY182" fmla="*/ 493961 h 577773"/>
              <a:gd name="connsiteX183" fmla="*/ 684300 w 707548"/>
              <a:gd name="connsiteY183" fmla="*/ 499511 h 577773"/>
              <a:gd name="connsiteX184" fmla="*/ 684300 w 707548"/>
              <a:gd name="connsiteY184" fmla="*/ 505061 h 577773"/>
              <a:gd name="connsiteX185" fmla="*/ 684300 w 707548"/>
              <a:gd name="connsiteY185" fmla="*/ 510611 h 577773"/>
              <a:gd name="connsiteX186" fmla="*/ 684300 w 707548"/>
              <a:gd name="connsiteY186" fmla="*/ 516161 h 577773"/>
              <a:gd name="connsiteX187" fmla="*/ 684300 w 707548"/>
              <a:gd name="connsiteY187" fmla="*/ 521712 h 577773"/>
              <a:gd name="connsiteX188" fmla="*/ 684300 w 707548"/>
              <a:gd name="connsiteY188" fmla="*/ 527262 h 577773"/>
              <a:gd name="connsiteX189" fmla="*/ 692050 w 707548"/>
              <a:gd name="connsiteY189" fmla="*/ 527262 h 577773"/>
              <a:gd name="connsiteX190" fmla="*/ 692050 w 707548"/>
              <a:gd name="connsiteY190" fmla="*/ 532812 h 577773"/>
              <a:gd name="connsiteX191" fmla="*/ 699799 w 707548"/>
              <a:gd name="connsiteY191" fmla="*/ 532812 h 577773"/>
              <a:gd name="connsiteX192" fmla="*/ 699799 w 707548"/>
              <a:gd name="connsiteY192" fmla="*/ 538362 h 577773"/>
              <a:gd name="connsiteX193" fmla="*/ 699799 w 707548"/>
              <a:gd name="connsiteY193" fmla="*/ 543912 h 577773"/>
              <a:gd name="connsiteX194" fmla="*/ 699799 w 707548"/>
              <a:gd name="connsiteY194" fmla="*/ 549462 h 577773"/>
              <a:gd name="connsiteX195" fmla="*/ 699799 w 707548"/>
              <a:gd name="connsiteY195" fmla="*/ 555012 h 577773"/>
              <a:gd name="connsiteX196" fmla="*/ 617990 w 707548"/>
              <a:gd name="connsiteY196" fmla="*/ 577773 h 577773"/>
              <a:gd name="connsiteX197" fmla="*/ 622464 w 707548"/>
              <a:gd name="connsiteY197" fmla="*/ 564348 h 577773"/>
              <a:gd name="connsiteX198" fmla="*/ 631989 w 707548"/>
              <a:gd name="connsiteY198" fmla="*/ 473861 h 577773"/>
              <a:gd name="connsiteX199" fmla="*/ 570077 w 707548"/>
              <a:gd name="connsiteY199" fmla="*/ 469098 h 577773"/>
              <a:gd name="connsiteX200" fmla="*/ 536739 w 707548"/>
              <a:gd name="connsiteY200" fmla="*/ 459573 h 577773"/>
              <a:gd name="connsiteX201" fmla="*/ 503402 w 707548"/>
              <a:gd name="connsiteY201" fmla="*/ 454811 h 577773"/>
              <a:gd name="connsiteX202" fmla="*/ 489114 w 707548"/>
              <a:gd name="connsiteY202" fmla="*/ 450048 h 577773"/>
              <a:gd name="connsiteX203" fmla="*/ 470064 w 707548"/>
              <a:gd name="connsiteY203" fmla="*/ 445286 h 577773"/>
              <a:gd name="connsiteX204" fmla="*/ 412914 w 707548"/>
              <a:gd name="connsiteY204" fmla="*/ 440523 h 577773"/>
              <a:gd name="connsiteX205" fmla="*/ 351002 w 707548"/>
              <a:gd name="connsiteY205" fmla="*/ 430998 h 577773"/>
              <a:gd name="connsiteX206" fmla="*/ 265277 w 707548"/>
              <a:gd name="connsiteY206" fmla="*/ 402423 h 577773"/>
              <a:gd name="connsiteX207" fmla="*/ 246227 w 707548"/>
              <a:gd name="connsiteY207" fmla="*/ 397661 h 577773"/>
              <a:gd name="connsiteX208" fmla="*/ 231939 w 707548"/>
              <a:gd name="connsiteY208" fmla="*/ 392898 h 577773"/>
              <a:gd name="connsiteX209" fmla="*/ 203364 w 707548"/>
              <a:gd name="connsiteY209" fmla="*/ 383373 h 577773"/>
              <a:gd name="connsiteX210" fmla="*/ 174789 w 707548"/>
              <a:gd name="connsiteY210" fmla="*/ 373848 h 577773"/>
              <a:gd name="connsiteX211" fmla="*/ 170027 w 707548"/>
              <a:gd name="connsiteY211" fmla="*/ 359561 h 577773"/>
              <a:gd name="connsiteX212" fmla="*/ 155739 w 707548"/>
              <a:gd name="connsiteY212" fmla="*/ 354798 h 577773"/>
              <a:gd name="connsiteX213" fmla="*/ 136689 w 707548"/>
              <a:gd name="connsiteY213" fmla="*/ 326223 h 577773"/>
              <a:gd name="connsiteX214" fmla="*/ 117639 w 707548"/>
              <a:gd name="connsiteY214" fmla="*/ 297648 h 577773"/>
              <a:gd name="connsiteX215" fmla="*/ 112877 w 707548"/>
              <a:gd name="connsiteY215" fmla="*/ 283361 h 577773"/>
              <a:gd name="connsiteX216" fmla="*/ 103258 w 707548"/>
              <a:gd name="connsiteY216" fmla="*/ 270388 h 577773"/>
              <a:gd name="connsiteX217" fmla="*/ 98770 w 707548"/>
              <a:gd name="connsiteY217" fmla="*/ 268149 h 577773"/>
              <a:gd name="connsiteX218" fmla="*/ 98236 w 707548"/>
              <a:gd name="connsiteY218" fmla="*/ 268565 h 577773"/>
              <a:gd name="connsiteX219" fmla="*/ 93827 w 707548"/>
              <a:gd name="connsiteY219" fmla="*/ 254786 h 577773"/>
              <a:gd name="connsiteX220" fmla="*/ 79539 w 707548"/>
              <a:gd name="connsiteY220" fmla="*/ 240498 h 577773"/>
              <a:gd name="connsiteX221" fmla="*/ 70014 w 707548"/>
              <a:gd name="connsiteY221" fmla="*/ 211923 h 577773"/>
              <a:gd name="connsiteX222" fmla="*/ 70014 w 707548"/>
              <a:gd name="connsiteY222" fmla="*/ 130961 h 577773"/>
              <a:gd name="connsiteX223" fmla="*/ 84302 w 707548"/>
              <a:gd name="connsiteY223" fmla="*/ 121436 h 577773"/>
              <a:gd name="connsiteX224" fmla="*/ 89064 w 707548"/>
              <a:gd name="connsiteY224" fmla="*/ 107148 h 577773"/>
              <a:gd name="connsiteX225" fmla="*/ 96903 w 707548"/>
              <a:gd name="connsiteY225" fmla="*/ 93859 h 577773"/>
              <a:gd name="connsiteX226" fmla="*/ 103352 w 707548"/>
              <a:gd name="connsiteY226" fmla="*/ 69048 h 577773"/>
              <a:gd name="connsiteX227" fmla="*/ 93827 w 707548"/>
              <a:gd name="connsiteY227" fmla="*/ 40473 h 577773"/>
              <a:gd name="connsiteX228" fmla="*/ 84302 w 707548"/>
              <a:gd name="connsiteY228" fmla="*/ 26186 h 577773"/>
              <a:gd name="connsiteX229" fmla="*/ 41439 w 707548"/>
              <a:gd name="connsiteY229" fmla="*/ 16661 h 577773"/>
              <a:gd name="connsiteX230" fmla="*/ 12864 w 707548"/>
              <a:gd name="connsiteY230" fmla="*/ 7136 h 577773"/>
              <a:gd name="connsiteX231" fmla="*/ 0 w 707548"/>
              <a:gd name="connsiteY231" fmla="*/ 11424 h 577773"/>
              <a:gd name="connsiteX232" fmla="*/ 0 w 707548"/>
              <a:gd name="connsiteY232" fmla="*/ 5550 h 577773"/>
              <a:gd name="connsiteX233" fmla="*/ 2364 w 707548"/>
              <a:gd name="connsiteY233" fmla="*/ 5550 h 577773"/>
              <a:gd name="connsiteX234" fmla="*/ 2364 w 707548"/>
              <a:gd name="connsiteY234" fmla="*/ 0 h 577773"/>
              <a:gd name="connsiteX0" fmla="*/ 2364 w 707548"/>
              <a:gd name="connsiteY0" fmla="*/ 0 h 564348"/>
              <a:gd name="connsiteX1" fmla="*/ 10113 w 707548"/>
              <a:gd name="connsiteY1" fmla="*/ 0 h 564348"/>
              <a:gd name="connsiteX2" fmla="*/ 10113 w 707548"/>
              <a:gd name="connsiteY2" fmla="*/ 5550 h 564348"/>
              <a:gd name="connsiteX3" fmla="*/ 17862 w 707548"/>
              <a:gd name="connsiteY3" fmla="*/ 5550 h 564348"/>
              <a:gd name="connsiteX4" fmla="*/ 25612 w 707548"/>
              <a:gd name="connsiteY4" fmla="*/ 5550 h 564348"/>
              <a:gd name="connsiteX5" fmla="*/ 33361 w 707548"/>
              <a:gd name="connsiteY5" fmla="*/ 5550 h 564348"/>
              <a:gd name="connsiteX6" fmla="*/ 33361 w 707548"/>
              <a:gd name="connsiteY6" fmla="*/ 11100 h 564348"/>
              <a:gd name="connsiteX7" fmla="*/ 41110 w 707548"/>
              <a:gd name="connsiteY7" fmla="*/ 5550 h 564348"/>
              <a:gd name="connsiteX8" fmla="*/ 41110 w 707548"/>
              <a:gd name="connsiteY8" fmla="*/ 11100 h 564348"/>
              <a:gd name="connsiteX9" fmla="*/ 48859 w 707548"/>
              <a:gd name="connsiteY9" fmla="*/ 11100 h 564348"/>
              <a:gd name="connsiteX10" fmla="*/ 48859 w 707548"/>
              <a:gd name="connsiteY10" fmla="*/ 16651 h 564348"/>
              <a:gd name="connsiteX11" fmla="*/ 56609 w 707548"/>
              <a:gd name="connsiteY11" fmla="*/ 16651 h 564348"/>
              <a:gd name="connsiteX12" fmla="*/ 64358 w 707548"/>
              <a:gd name="connsiteY12" fmla="*/ 16651 h 564348"/>
              <a:gd name="connsiteX13" fmla="*/ 64358 w 707548"/>
              <a:gd name="connsiteY13" fmla="*/ 22201 h 564348"/>
              <a:gd name="connsiteX14" fmla="*/ 72107 w 707548"/>
              <a:gd name="connsiteY14" fmla="*/ 22201 h 564348"/>
              <a:gd name="connsiteX15" fmla="*/ 72107 w 707548"/>
              <a:gd name="connsiteY15" fmla="*/ 16651 h 564348"/>
              <a:gd name="connsiteX16" fmla="*/ 79857 w 707548"/>
              <a:gd name="connsiteY16" fmla="*/ 16651 h 564348"/>
              <a:gd name="connsiteX17" fmla="*/ 87606 w 707548"/>
              <a:gd name="connsiteY17" fmla="*/ 16651 h 564348"/>
              <a:gd name="connsiteX18" fmla="*/ 95355 w 707548"/>
              <a:gd name="connsiteY18" fmla="*/ 16651 h 564348"/>
              <a:gd name="connsiteX19" fmla="*/ 103104 w 707548"/>
              <a:gd name="connsiteY19" fmla="*/ 22201 h 564348"/>
              <a:gd name="connsiteX20" fmla="*/ 110854 w 707548"/>
              <a:gd name="connsiteY20" fmla="*/ 16651 h 564348"/>
              <a:gd name="connsiteX21" fmla="*/ 110854 w 707548"/>
              <a:gd name="connsiteY21" fmla="*/ 22201 h 564348"/>
              <a:gd name="connsiteX22" fmla="*/ 118603 w 707548"/>
              <a:gd name="connsiteY22" fmla="*/ 22201 h 564348"/>
              <a:gd name="connsiteX23" fmla="*/ 118603 w 707548"/>
              <a:gd name="connsiteY23" fmla="*/ 27751 h 564348"/>
              <a:gd name="connsiteX24" fmla="*/ 126352 w 707548"/>
              <a:gd name="connsiteY24" fmla="*/ 33301 h 564348"/>
              <a:gd name="connsiteX25" fmla="*/ 134102 w 707548"/>
              <a:gd name="connsiteY25" fmla="*/ 33301 h 564348"/>
              <a:gd name="connsiteX26" fmla="*/ 134102 w 707548"/>
              <a:gd name="connsiteY26" fmla="*/ 38851 h 564348"/>
              <a:gd name="connsiteX27" fmla="*/ 141851 w 707548"/>
              <a:gd name="connsiteY27" fmla="*/ 38851 h 564348"/>
              <a:gd name="connsiteX28" fmla="*/ 141851 w 707548"/>
              <a:gd name="connsiteY28" fmla="*/ 44401 h 564348"/>
              <a:gd name="connsiteX29" fmla="*/ 149600 w 707548"/>
              <a:gd name="connsiteY29" fmla="*/ 44401 h 564348"/>
              <a:gd name="connsiteX30" fmla="*/ 157349 w 707548"/>
              <a:gd name="connsiteY30" fmla="*/ 44401 h 564348"/>
              <a:gd name="connsiteX31" fmla="*/ 157349 w 707548"/>
              <a:gd name="connsiteY31" fmla="*/ 49951 h 564348"/>
              <a:gd name="connsiteX32" fmla="*/ 165099 w 707548"/>
              <a:gd name="connsiteY32" fmla="*/ 44401 h 564348"/>
              <a:gd name="connsiteX33" fmla="*/ 165099 w 707548"/>
              <a:gd name="connsiteY33" fmla="*/ 49951 h 564348"/>
              <a:gd name="connsiteX34" fmla="*/ 172848 w 707548"/>
              <a:gd name="connsiteY34" fmla="*/ 55501 h 564348"/>
              <a:gd name="connsiteX35" fmla="*/ 180597 w 707548"/>
              <a:gd name="connsiteY35" fmla="*/ 55501 h 564348"/>
              <a:gd name="connsiteX36" fmla="*/ 180597 w 707548"/>
              <a:gd name="connsiteY36" fmla="*/ 61052 h 564348"/>
              <a:gd name="connsiteX37" fmla="*/ 188347 w 707548"/>
              <a:gd name="connsiteY37" fmla="*/ 61052 h 564348"/>
              <a:gd name="connsiteX38" fmla="*/ 188347 w 707548"/>
              <a:gd name="connsiteY38" fmla="*/ 66602 h 564348"/>
              <a:gd name="connsiteX39" fmla="*/ 196096 w 707548"/>
              <a:gd name="connsiteY39" fmla="*/ 72152 h 564348"/>
              <a:gd name="connsiteX40" fmla="*/ 203845 w 707548"/>
              <a:gd name="connsiteY40" fmla="*/ 77702 h 564348"/>
              <a:gd name="connsiteX41" fmla="*/ 211594 w 707548"/>
              <a:gd name="connsiteY41" fmla="*/ 77702 h 564348"/>
              <a:gd name="connsiteX42" fmla="*/ 219344 w 707548"/>
              <a:gd name="connsiteY42" fmla="*/ 77702 h 564348"/>
              <a:gd name="connsiteX43" fmla="*/ 227093 w 707548"/>
              <a:gd name="connsiteY43" fmla="*/ 77702 h 564348"/>
              <a:gd name="connsiteX44" fmla="*/ 234842 w 707548"/>
              <a:gd name="connsiteY44" fmla="*/ 77702 h 564348"/>
              <a:gd name="connsiteX45" fmla="*/ 234842 w 707548"/>
              <a:gd name="connsiteY45" fmla="*/ 83252 h 564348"/>
              <a:gd name="connsiteX46" fmla="*/ 227093 w 707548"/>
              <a:gd name="connsiteY46" fmla="*/ 83252 h 564348"/>
              <a:gd name="connsiteX47" fmla="*/ 227093 w 707548"/>
              <a:gd name="connsiteY47" fmla="*/ 88802 h 564348"/>
              <a:gd name="connsiteX48" fmla="*/ 234842 w 707548"/>
              <a:gd name="connsiteY48" fmla="*/ 88802 h 564348"/>
              <a:gd name="connsiteX49" fmla="*/ 234842 w 707548"/>
              <a:gd name="connsiteY49" fmla="*/ 94352 h 564348"/>
              <a:gd name="connsiteX50" fmla="*/ 234842 w 707548"/>
              <a:gd name="connsiteY50" fmla="*/ 99902 h 564348"/>
              <a:gd name="connsiteX51" fmla="*/ 250341 w 707548"/>
              <a:gd name="connsiteY51" fmla="*/ 99902 h 564348"/>
              <a:gd name="connsiteX52" fmla="*/ 250341 w 707548"/>
              <a:gd name="connsiteY52" fmla="*/ 105453 h 564348"/>
              <a:gd name="connsiteX53" fmla="*/ 258090 w 707548"/>
              <a:gd name="connsiteY53" fmla="*/ 105453 h 564348"/>
              <a:gd name="connsiteX54" fmla="*/ 258090 w 707548"/>
              <a:gd name="connsiteY54" fmla="*/ 116553 h 564348"/>
              <a:gd name="connsiteX55" fmla="*/ 265839 w 707548"/>
              <a:gd name="connsiteY55" fmla="*/ 116553 h 564348"/>
              <a:gd name="connsiteX56" fmla="*/ 265839 w 707548"/>
              <a:gd name="connsiteY56" fmla="*/ 122103 h 564348"/>
              <a:gd name="connsiteX57" fmla="*/ 273589 w 707548"/>
              <a:gd name="connsiteY57" fmla="*/ 122103 h 564348"/>
              <a:gd name="connsiteX58" fmla="*/ 273589 w 707548"/>
              <a:gd name="connsiteY58" fmla="*/ 127653 h 564348"/>
              <a:gd name="connsiteX59" fmla="*/ 265839 w 707548"/>
              <a:gd name="connsiteY59" fmla="*/ 138753 h 564348"/>
              <a:gd name="connsiteX60" fmla="*/ 273589 w 707548"/>
              <a:gd name="connsiteY60" fmla="*/ 144303 h 564348"/>
              <a:gd name="connsiteX61" fmla="*/ 273589 w 707548"/>
              <a:gd name="connsiteY61" fmla="*/ 149853 h 564348"/>
              <a:gd name="connsiteX62" fmla="*/ 273589 w 707548"/>
              <a:gd name="connsiteY62" fmla="*/ 155404 h 564348"/>
              <a:gd name="connsiteX63" fmla="*/ 265839 w 707548"/>
              <a:gd name="connsiteY63" fmla="*/ 155404 h 564348"/>
              <a:gd name="connsiteX64" fmla="*/ 258090 w 707548"/>
              <a:gd name="connsiteY64" fmla="*/ 155404 h 564348"/>
              <a:gd name="connsiteX65" fmla="*/ 258090 w 707548"/>
              <a:gd name="connsiteY65" fmla="*/ 160954 h 564348"/>
              <a:gd name="connsiteX66" fmla="*/ 265839 w 707548"/>
              <a:gd name="connsiteY66" fmla="*/ 160954 h 564348"/>
              <a:gd name="connsiteX67" fmla="*/ 273589 w 707548"/>
              <a:gd name="connsiteY67" fmla="*/ 166504 h 564348"/>
              <a:gd name="connsiteX68" fmla="*/ 281338 w 707548"/>
              <a:gd name="connsiteY68" fmla="*/ 172054 h 564348"/>
              <a:gd name="connsiteX69" fmla="*/ 289087 w 707548"/>
              <a:gd name="connsiteY69" fmla="*/ 172054 h 564348"/>
              <a:gd name="connsiteX70" fmla="*/ 296836 w 707548"/>
              <a:gd name="connsiteY70" fmla="*/ 177604 h 564348"/>
              <a:gd name="connsiteX71" fmla="*/ 296836 w 707548"/>
              <a:gd name="connsiteY71" fmla="*/ 183154 h 564348"/>
              <a:gd name="connsiteX72" fmla="*/ 304586 w 707548"/>
              <a:gd name="connsiteY72" fmla="*/ 183154 h 564348"/>
              <a:gd name="connsiteX73" fmla="*/ 304586 w 707548"/>
              <a:gd name="connsiteY73" fmla="*/ 188704 h 564348"/>
              <a:gd name="connsiteX74" fmla="*/ 312335 w 707548"/>
              <a:gd name="connsiteY74" fmla="*/ 188704 h 564348"/>
              <a:gd name="connsiteX75" fmla="*/ 320084 w 707548"/>
              <a:gd name="connsiteY75" fmla="*/ 188704 h 564348"/>
              <a:gd name="connsiteX76" fmla="*/ 320084 w 707548"/>
              <a:gd name="connsiteY76" fmla="*/ 194254 h 564348"/>
              <a:gd name="connsiteX77" fmla="*/ 327834 w 707548"/>
              <a:gd name="connsiteY77" fmla="*/ 194254 h 564348"/>
              <a:gd name="connsiteX78" fmla="*/ 335583 w 707548"/>
              <a:gd name="connsiteY78" fmla="*/ 194254 h 564348"/>
              <a:gd name="connsiteX79" fmla="*/ 335583 w 707548"/>
              <a:gd name="connsiteY79" fmla="*/ 199805 h 564348"/>
              <a:gd name="connsiteX80" fmla="*/ 343332 w 707548"/>
              <a:gd name="connsiteY80" fmla="*/ 199805 h 564348"/>
              <a:gd name="connsiteX81" fmla="*/ 343332 w 707548"/>
              <a:gd name="connsiteY81" fmla="*/ 205355 h 564348"/>
              <a:gd name="connsiteX82" fmla="*/ 343332 w 707548"/>
              <a:gd name="connsiteY82" fmla="*/ 210905 h 564348"/>
              <a:gd name="connsiteX83" fmla="*/ 335583 w 707548"/>
              <a:gd name="connsiteY83" fmla="*/ 216455 h 564348"/>
              <a:gd name="connsiteX84" fmla="*/ 343332 w 707548"/>
              <a:gd name="connsiteY84" fmla="*/ 216455 h 564348"/>
              <a:gd name="connsiteX85" fmla="*/ 343332 w 707548"/>
              <a:gd name="connsiteY85" fmla="*/ 222005 h 564348"/>
              <a:gd name="connsiteX86" fmla="*/ 343332 w 707548"/>
              <a:gd name="connsiteY86" fmla="*/ 227555 h 564348"/>
              <a:gd name="connsiteX87" fmla="*/ 351081 w 707548"/>
              <a:gd name="connsiteY87" fmla="*/ 227555 h 564348"/>
              <a:gd name="connsiteX88" fmla="*/ 351081 w 707548"/>
              <a:gd name="connsiteY88" fmla="*/ 233105 h 564348"/>
              <a:gd name="connsiteX89" fmla="*/ 358831 w 707548"/>
              <a:gd name="connsiteY89" fmla="*/ 233105 h 564348"/>
              <a:gd name="connsiteX90" fmla="*/ 358831 w 707548"/>
              <a:gd name="connsiteY90" fmla="*/ 238655 h 564348"/>
              <a:gd name="connsiteX91" fmla="*/ 366580 w 707548"/>
              <a:gd name="connsiteY91" fmla="*/ 238655 h 564348"/>
              <a:gd name="connsiteX92" fmla="*/ 374329 w 707548"/>
              <a:gd name="connsiteY92" fmla="*/ 238655 h 564348"/>
              <a:gd name="connsiteX93" fmla="*/ 374329 w 707548"/>
              <a:gd name="connsiteY93" fmla="*/ 244206 h 564348"/>
              <a:gd name="connsiteX94" fmla="*/ 382078 w 707548"/>
              <a:gd name="connsiteY94" fmla="*/ 244206 h 564348"/>
              <a:gd name="connsiteX95" fmla="*/ 382078 w 707548"/>
              <a:gd name="connsiteY95" fmla="*/ 249756 h 564348"/>
              <a:gd name="connsiteX96" fmla="*/ 389828 w 707548"/>
              <a:gd name="connsiteY96" fmla="*/ 249756 h 564348"/>
              <a:gd name="connsiteX97" fmla="*/ 397577 w 707548"/>
              <a:gd name="connsiteY97" fmla="*/ 249756 h 564348"/>
              <a:gd name="connsiteX98" fmla="*/ 405326 w 707548"/>
              <a:gd name="connsiteY98" fmla="*/ 249756 h 564348"/>
              <a:gd name="connsiteX99" fmla="*/ 413076 w 707548"/>
              <a:gd name="connsiteY99" fmla="*/ 255306 h 564348"/>
              <a:gd name="connsiteX100" fmla="*/ 428574 w 707548"/>
              <a:gd name="connsiteY100" fmla="*/ 255306 h 564348"/>
              <a:gd name="connsiteX101" fmla="*/ 436323 w 707548"/>
              <a:gd name="connsiteY101" fmla="*/ 260856 h 564348"/>
              <a:gd name="connsiteX102" fmla="*/ 444073 w 707548"/>
              <a:gd name="connsiteY102" fmla="*/ 260856 h 564348"/>
              <a:gd name="connsiteX103" fmla="*/ 451822 w 707548"/>
              <a:gd name="connsiteY103" fmla="*/ 260856 h 564348"/>
              <a:gd name="connsiteX104" fmla="*/ 459571 w 707548"/>
              <a:gd name="connsiteY104" fmla="*/ 260856 h 564348"/>
              <a:gd name="connsiteX105" fmla="*/ 467321 w 707548"/>
              <a:gd name="connsiteY105" fmla="*/ 266406 h 564348"/>
              <a:gd name="connsiteX106" fmla="*/ 467321 w 707548"/>
              <a:gd name="connsiteY106" fmla="*/ 271956 h 564348"/>
              <a:gd name="connsiteX107" fmla="*/ 467321 w 707548"/>
              <a:gd name="connsiteY107" fmla="*/ 277506 h 564348"/>
              <a:gd name="connsiteX108" fmla="*/ 475070 w 707548"/>
              <a:gd name="connsiteY108" fmla="*/ 277506 h 564348"/>
              <a:gd name="connsiteX109" fmla="*/ 482819 w 707548"/>
              <a:gd name="connsiteY109" fmla="*/ 277506 h 564348"/>
              <a:gd name="connsiteX110" fmla="*/ 482819 w 707548"/>
              <a:gd name="connsiteY110" fmla="*/ 283056 h 564348"/>
              <a:gd name="connsiteX111" fmla="*/ 490568 w 707548"/>
              <a:gd name="connsiteY111" fmla="*/ 283056 h 564348"/>
              <a:gd name="connsiteX112" fmla="*/ 490568 w 707548"/>
              <a:gd name="connsiteY112" fmla="*/ 288606 h 564348"/>
              <a:gd name="connsiteX113" fmla="*/ 490568 w 707548"/>
              <a:gd name="connsiteY113" fmla="*/ 294157 h 564348"/>
              <a:gd name="connsiteX114" fmla="*/ 498318 w 707548"/>
              <a:gd name="connsiteY114" fmla="*/ 294157 h 564348"/>
              <a:gd name="connsiteX115" fmla="*/ 498318 w 707548"/>
              <a:gd name="connsiteY115" fmla="*/ 299707 h 564348"/>
              <a:gd name="connsiteX116" fmla="*/ 490568 w 707548"/>
              <a:gd name="connsiteY116" fmla="*/ 299707 h 564348"/>
              <a:gd name="connsiteX117" fmla="*/ 490568 w 707548"/>
              <a:gd name="connsiteY117" fmla="*/ 305257 h 564348"/>
              <a:gd name="connsiteX118" fmla="*/ 490568 w 707548"/>
              <a:gd name="connsiteY118" fmla="*/ 310807 h 564348"/>
              <a:gd name="connsiteX119" fmla="*/ 490568 w 707548"/>
              <a:gd name="connsiteY119" fmla="*/ 316357 h 564348"/>
              <a:gd name="connsiteX120" fmla="*/ 490568 w 707548"/>
              <a:gd name="connsiteY120" fmla="*/ 321907 h 564348"/>
              <a:gd name="connsiteX121" fmla="*/ 498318 w 707548"/>
              <a:gd name="connsiteY121" fmla="*/ 321907 h 564348"/>
              <a:gd name="connsiteX122" fmla="*/ 506067 w 707548"/>
              <a:gd name="connsiteY122" fmla="*/ 321907 h 564348"/>
              <a:gd name="connsiteX123" fmla="*/ 513816 w 707548"/>
              <a:gd name="connsiteY123" fmla="*/ 327457 h 564348"/>
              <a:gd name="connsiteX124" fmla="*/ 521565 w 707548"/>
              <a:gd name="connsiteY124" fmla="*/ 327457 h 564348"/>
              <a:gd name="connsiteX125" fmla="*/ 529315 w 707548"/>
              <a:gd name="connsiteY125" fmla="*/ 327457 h 564348"/>
              <a:gd name="connsiteX126" fmla="*/ 529315 w 707548"/>
              <a:gd name="connsiteY126" fmla="*/ 321907 h 564348"/>
              <a:gd name="connsiteX127" fmla="*/ 537064 w 707548"/>
              <a:gd name="connsiteY127" fmla="*/ 321907 h 564348"/>
              <a:gd name="connsiteX128" fmla="*/ 544813 w 707548"/>
              <a:gd name="connsiteY128" fmla="*/ 321907 h 564348"/>
              <a:gd name="connsiteX129" fmla="*/ 544813 w 707548"/>
              <a:gd name="connsiteY129" fmla="*/ 327457 h 564348"/>
              <a:gd name="connsiteX130" fmla="*/ 552562 w 707548"/>
              <a:gd name="connsiteY130" fmla="*/ 333007 h 564348"/>
              <a:gd name="connsiteX131" fmla="*/ 560312 w 707548"/>
              <a:gd name="connsiteY131" fmla="*/ 338558 h 564348"/>
              <a:gd name="connsiteX132" fmla="*/ 568061 w 707548"/>
              <a:gd name="connsiteY132" fmla="*/ 338558 h 564348"/>
              <a:gd name="connsiteX133" fmla="*/ 568061 w 707548"/>
              <a:gd name="connsiteY133" fmla="*/ 344108 h 564348"/>
              <a:gd name="connsiteX134" fmla="*/ 575810 w 707548"/>
              <a:gd name="connsiteY134" fmla="*/ 349658 h 564348"/>
              <a:gd name="connsiteX135" fmla="*/ 575810 w 707548"/>
              <a:gd name="connsiteY135" fmla="*/ 355208 h 564348"/>
              <a:gd name="connsiteX136" fmla="*/ 583560 w 707548"/>
              <a:gd name="connsiteY136" fmla="*/ 355208 h 564348"/>
              <a:gd name="connsiteX137" fmla="*/ 591309 w 707548"/>
              <a:gd name="connsiteY137" fmla="*/ 366308 h 564348"/>
              <a:gd name="connsiteX138" fmla="*/ 599058 w 707548"/>
              <a:gd name="connsiteY138" fmla="*/ 366308 h 564348"/>
              <a:gd name="connsiteX139" fmla="*/ 599058 w 707548"/>
              <a:gd name="connsiteY139" fmla="*/ 371858 h 564348"/>
              <a:gd name="connsiteX140" fmla="*/ 606807 w 707548"/>
              <a:gd name="connsiteY140" fmla="*/ 371858 h 564348"/>
              <a:gd name="connsiteX141" fmla="*/ 606807 w 707548"/>
              <a:gd name="connsiteY141" fmla="*/ 366308 h 564348"/>
              <a:gd name="connsiteX142" fmla="*/ 614557 w 707548"/>
              <a:gd name="connsiteY142" fmla="*/ 366308 h 564348"/>
              <a:gd name="connsiteX143" fmla="*/ 622306 w 707548"/>
              <a:gd name="connsiteY143" fmla="*/ 366308 h 564348"/>
              <a:gd name="connsiteX144" fmla="*/ 630055 w 707548"/>
              <a:gd name="connsiteY144" fmla="*/ 366308 h 564348"/>
              <a:gd name="connsiteX145" fmla="*/ 637804 w 707548"/>
              <a:gd name="connsiteY145" fmla="*/ 366308 h 564348"/>
              <a:gd name="connsiteX146" fmla="*/ 645554 w 707548"/>
              <a:gd name="connsiteY146" fmla="*/ 366308 h 564348"/>
              <a:gd name="connsiteX147" fmla="*/ 645554 w 707548"/>
              <a:gd name="connsiteY147" fmla="*/ 371858 h 564348"/>
              <a:gd name="connsiteX148" fmla="*/ 653303 w 707548"/>
              <a:gd name="connsiteY148" fmla="*/ 371858 h 564348"/>
              <a:gd name="connsiteX149" fmla="*/ 661052 w 707548"/>
              <a:gd name="connsiteY149" fmla="*/ 371858 h 564348"/>
              <a:gd name="connsiteX150" fmla="*/ 661052 w 707548"/>
              <a:gd name="connsiteY150" fmla="*/ 377408 h 564348"/>
              <a:gd name="connsiteX151" fmla="*/ 661052 w 707548"/>
              <a:gd name="connsiteY151" fmla="*/ 382959 h 564348"/>
              <a:gd name="connsiteX152" fmla="*/ 668802 w 707548"/>
              <a:gd name="connsiteY152" fmla="*/ 382959 h 564348"/>
              <a:gd name="connsiteX153" fmla="*/ 676551 w 707548"/>
              <a:gd name="connsiteY153" fmla="*/ 382959 h 564348"/>
              <a:gd name="connsiteX154" fmla="*/ 676551 w 707548"/>
              <a:gd name="connsiteY154" fmla="*/ 388509 h 564348"/>
              <a:gd name="connsiteX155" fmla="*/ 676551 w 707548"/>
              <a:gd name="connsiteY155" fmla="*/ 394059 h 564348"/>
              <a:gd name="connsiteX156" fmla="*/ 676551 w 707548"/>
              <a:gd name="connsiteY156" fmla="*/ 399609 h 564348"/>
              <a:gd name="connsiteX157" fmla="*/ 684300 w 707548"/>
              <a:gd name="connsiteY157" fmla="*/ 399609 h 564348"/>
              <a:gd name="connsiteX158" fmla="*/ 692050 w 707548"/>
              <a:gd name="connsiteY158" fmla="*/ 399609 h 564348"/>
              <a:gd name="connsiteX159" fmla="*/ 692050 w 707548"/>
              <a:gd name="connsiteY159" fmla="*/ 405159 h 564348"/>
              <a:gd name="connsiteX160" fmla="*/ 699799 w 707548"/>
              <a:gd name="connsiteY160" fmla="*/ 405159 h 564348"/>
              <a:gd name="connsiteX161" fmla="*/ 699799 w 707548"/>
              <a:gd name="connsiteY161" fmla="*/ 410709 h 564348"/>
              <a:gd name="connsiteX162" fmla="*/ 707548 w 707548"/>
              <a:gd name="connsiteY162" fmla="*/ 410709 h 564348"/>
              <a:gd name="connsiteX163" fmla="*/ 707548 w 707548"/>
              <a:gd name="connsiteY163" fmla="*/ 416259 h 564348"/>
              <a:gd name="connsiteX164" fmla="*/ 707548 w 707548"/>
              <a:gd name="connsiteY164" fmla="*/ 421809 h 564348"/>
              <a:gd name="connsiteX165" fmla="*/ 699799 w 707548"/>
              <a:gd name="connsiteY165" fmla="*/ 427359 h 564348"/>
              <a:gd name="connsiteX166" fmla="*/ 699799 w 707548"/>
              <a:gd name="connsiteY166" fmla="*/ 432910 h 564348"/>
              <a:gd name="connsiteX167" fmla="*/ 692050 w 707548"/>
              <a:gd name="connsiteY167" fmla="*/ 432910 h 564348"/>
              <a:gd name="connsiteX168" fmla="*/ 692050 w 707548"/>
              <a:gd name="connsiteY168" fmla="*/ 438460 h 564348"/>
              <a:gd name="connsiteX169" fmla="*/ 692050 w 707548"/>
              <a:gd name="connsiteY169" fmla="*/ 444010 h 564348"/>
              <a:gd name="connsiteX170" fmla="*/ 699799 w 707548"/>
              <a:gd name="connsiteY170" fmla="*/ 444010 h 564348"/>
              <a:gd name="connsiteX171" fmla="*/ 692050 w 707548"/>
              <a:gd name="connsiteY171" fmla="*/ 449560 h 564348"/>
              <a:gd name="connsiteX172" fmla="*/ 692050 w 707548"/>
              <a:gd name="connsiteY172" fmla="*/ 455110 h 564348"/>
              <a:gd name="connsiteX173" fmla="*/ 692050 w 707548"/>
              <a:gd name="connsiteY173" fmla="*/ 460660 h 564348"/>
              <a:gd name="connsiteX174" fmla="*/ 692050 w 707548"/>
              <a:gd name="connsiteY174" fmla="*/ 466210 h 564348"/>
              <a:gd name="connsiteX175" fmla="*/ 684300 w 707548"/>
              <a:gd name="connsiteY175" fmla="*/ 466210 h 564348"/>
              <a:gd name="connsiteX176" fmla="*/ 676551 w 707548"/>
              <a:gd name="connsiteY176" fmla="*/ 466210 h 564348"/>
              <a:gd name="connsiteX177" fmla="*/ 676551 w 707548"/>
              <a:gd name="connsiteY177" fmla="*/ 471760 h 564348"/>
              <a:gd name="connsiteX178" fmla="*/ 676551 w 707548"/>
              <a:gd name="connsiteY178" fmla="*/ 477311 h 564348"/>
              <a:gd name="connsiteX179" fmla="*/ 676551 w 707548"/>
              <a:gd name="connsiteY179" fmla="*/ 482861 h 564348"/>
              <a:gd name="connsiteX180" fmla="*/ 684300 w 707548"/>
              <a:gd name="connsiteY180" fmla="*/ 482861 h 564348"/>
              <a:gd name="connsiteX181" fmla="*/ 684300 w 707548"/>
              <a:gd name="connsiteY181" fmla="*/ 488411 h 564348"/>
              <a:gd name="connsiteX182" fmla="*/ 684300 w 707548"/>
              <a:gd name="connsiteY182" fmla="*/ 493961 h 564348"/>
              <a:gd name="connsiteX183" fmla="*/ 684300 w 707548"/>
              <a:gd name="connsiteY183" fmla="*/ 499511 h 564348"/>
              <a:gd name="connsiteX184" fmla="*/ 684300 w 707548"/>
              <a:gd name="connsiteY184" fmla="*/ 505061 h 564348"/>
              <a:gd name="connsiteX185" fmla="*/ 684300 w 707548"/>
              <a:gd name="connsiteY185" fmla="*/ 510611 h 564348"/>
              <a:gd name="connsiteX186" fmla="*/ 684300 w 707548"/>
              <a:gd name="connsiteY186" fmla="*/ 516161 h 564348"/>
              <a:gd name="connsiteX187" fmla="*/ 684300 w 707548"/>
              <a:gd name="connsiteY187" fmla="*/ 521712 h 564348"/>
              <a:gd name="connsiteX188" fmla="*/ 684300 w 707548"/>
              <a:gd name="connsiteY188" fmla="*/ 527262 h 564348"/>
              <a:gd name="connsiteX189" fmla="*/ 692050 w 707548"/>
              <a:gd name="connsiteY189" fmla="*/ 527262 h 564348"/>
              <a:gd name="connsiteX190" fmla="*/ 692050 w 707548"/>
              <a:gd name="connsiteY190" fmla="*/ 532812 h 564348"/>
              <a:gd name="connsiteX191" fmla="*/ 699799 w 707548"/>
              <a:gd name="connsiteY191" fmla="*/ 532812 h 564348"/>
              <a:gd name="connsiteX192" fmla="*/ 699799 w 707548"/>
              <a:gd name="connsiteY192" fmla="*/ 538362 h 564348"/>
              <a:gd name="connsiteX193" fmla="*/ 699799 w 707548"/>
              <a:gd name="connsiteY193" fmla="*/ 543912 h 564348"/>
              <a:gd name="connsiteX194" fmla="*/ 699799 w 707548"/>
              <a:gd name="connsiteY194" fmla="*/ 549462 h 564348"/>
              <a:gd name="connsiteX195" fmla="*/ 699799 w 707548"/>
              <a:gd name="connsiteY195" fmla="*/ 555012 h 564348"/>
              <a:gd name="connsiteX196" fmla="*/ 622464 w 707548"/>
              <a:gd name="connsiteY196" fmla="*/ 564348 h 564348"/>
              <a:gd name="connsiteX197" fmla="*/ 631989 w 707548"/>
              <a:gd name="connsiteY197" fmla="*/ 473861 h 564348"/>
              <a:gd name="connsiteX198" fmla="*/ 570077 w 707548"/>
              <a:gd name="connsiteY198" fmla="*/ 469098 h 564348"/>
              <a:gd name="connsiteX199" fmla="*/ 536739 w 707548"/>
              <a:gd name="connsiteY199" fmla="*/ 459573 h 564348"/>
              <a:gd name="connsiteX200" fmla="*/ 503402 w 707548"/>
              <a:gd name="connsiteY200" fmla="*/ 454811 h 564348"/>
              <a:gd name="connsiteX201" fmla="*/ 489114 w 707548"/>
              <a:gd name="connsiteY201" fmla="*/ 450048 h 564348"/>
              <a:gd name="connsiteX202" fmla="*/ 470064 w 707548"/>
              <a:gd name="connsiteY202" fmla="*/ 445286 h 564348"/>
              <a:gd name="connsiteX203" fmla="*/ 412914 w 707548"/>
              <a:gd name="connsiteY203" fmla="*/ 440523 h 564348"/>
              <a:gd name="connsiteX204" fmla="*/ 351002 w 707548"/>
              <a:gd name="connsiteY204" fmla="*/ 430998 h 564348"/>
              <a:gd name="connsiteX205" fmla="*/ 265277 w 707548"/>
              <a:gd name="connsiteY205" fmla="*/ 402423 h 564348"/>
              <a:gd name="connsiteX206" fmla="*/ 246227 w 707548"/>
              <a:gd name="connsiteY206" fmla="*/ 397661 h 564348"/>
              <a:gd name="connsiteX207" fmla="*/ 231939 w 707548"/>
              <a:gd name="connsiteY207" fmla="*/ 392898 h 564348"/>
              <a:gd name="connsiteX208" fmla="*/ 203364 w 707548"/>
              <a:gd name="connsiteY208" fmla="*/ 383373 h 564348"/>
              <a:gd name="connsiteX209" fmla="*/ 174789 w 707548"/>
              <a:gd name="connsiteY209" fmla="*/ 373848 h 564348"/>
              <a:gd name="connsiteX210" fmla="*/ 170027 w 707548"/>
              <a:gd name="connsiteY210" fmla="*/ 359561 h 564348"/>
              <a:gd name="connsiteX211" fmla="*/ 155739 w 707548"/>
              <a:gd name="connsiteY211" fmla="*/ 354798 h 564348"/>
              <a:gd name="connsiteX212" fmla="*/ 136689 w 707548"/>
              <a:gd name="connsiteY212" fmla="*/ 326223 h 564348"/>
              <a:gd name="connsiteX213" fmla="*/ 117639 w 707548"/>
              <a:gd name="connsiteY213" fmla="*/ 297648 h 564348"/>
              <a:gd name="connsiteX214" fmla="*/ 112877 w 707548"/>
              <a:gd name="connsiteY214" fmla="*/ 283361 h 564348"/>
              <a:gd name="connsiteX215" fmla="*/ 103258 w 707548"/>
              <a:gd name="connsiteY215" fmla="*/ 270388 h 564348"/>
              <a:gd name="connsiteX216" fmla="*/ 98770 w 707548"/>
              <a:gd name="connsiteY216" fmla="*/ 268149 h 564348"/>
              <a:gd name="connsiteX217" fmla="*/ 98236 w 707548"/>
              <a:gd name="connsiteY217" fmla="*/ 268565 h 564348"/>
              <a:gd name="connsiteX218" fmla="*/ 93827 w 707548"/>
              <a:gd name="connsiteY218" fmla="*/ 254786 h 564348"/>
              <a:gd name="connsiteX219" fmla="*/ 79539 w 707548"/>
              <a:gd name="connsiteY219" fmla="*/ 240498 h 564348"/>
              <a:gd name="connsiteX220" fmla="*/ 70014 w 707548"/>
              <a:gd name="connsiteY220" fmla="*/ 211923 h 564348"/>
              <a:gd name="connsiteX221" fmla="*/ 70014 w 707548"/>
              <a:gd name="connsiteY221" fmla="*/ 130961 h 564348"/>
              <a:gd name="connsiteX222" fmla="*/ 84302 w 707548"/>
              <a:gd name="connsiteY222" fmla="*/ 121436 h 564348"/>
              <a:gd name="connsiteX223" fmla="*/ 89064 w 707548"/>
              <a:gd name="connsiteY223" fmla="*/ 107148 h 564348"/>
              <a:gd name="connsiteX224" fmla="*/ 96903 w 707548"/>
              <a:gd name="connsiteY224" fmla="*/ 93859 h 564348"/>
              <a:gd name="connsiteX225" fmla="*/ 103352 w 707548"/>
              <a:gd name="connsiteY225" fmla="*/ 69048 h 564348"/>
              <a:gd name="connsiteX226" fmla="*/ 93827 w 707548"/>
              <a:gd name="connsiteY226" fmla="*/ 40473 h 564348"/>
              <a:gd name="connsiteX227" fmla="*/ 84302 w 707548"/>
              <a:gd name="connsiteY227" fmla="*/ 26186 h 564348"/>
              <a:gd name="connsiteX228" fmla="*/ 41439 w 707548"/>
              <a:gd name="connsiteY228" fmla="*/ 16661 h 564348"/>
              <a:gd name="connsiteX229" fmla="*/ 12864 w 707548"/>
              <a:gd name="connsiteY229" fmla="*/ 7136 h 564348"/>
              <a:gd name="connsiteX230" fmla="*/ 0 w 707548"/>
              <a:gd name="connsiteY230" fmla="*/ 11424 h 564348"/>
              <a:gd name="connsiteX231" fmla="*/ 0 w 707548"/>
              <a:gd name="connsiteY231" fmla="*/ 5550 h 564348"/>
              <a:gd name="connsiteX232" fmla="*/ 2364 w 707548"/>
              <a:gd name="connsiteY232" fmla="*/ 5550 h 564348"/>
              <a:gd name="connsiteX233" fmla="*/ 2364 w 707548"/>
              <a:gd name="connsiteY233" fmla="*/ 0 h 564348"/>
              <a:gd name="connsiteX0" fmla="*/ 2364 w 707548"/>
              <a:gd name="connsiteY0" fmla="*/ 0 h 555012"/>
              <a:gd name="connsiteX1" fmla="*/ 10113 w 707548"/>
              <a:gd name="connsiteY1" fmla="*/ 0 h 555012"/>
              <a:gd name="connsiteX2" fmla="*/ 10113 w 707548"/>
              <a:gd name="connsiteY2" fmla="*/ 5550 h 555012"/>
              <a:gd name="connsiteX3" fmla="*/ 17862 w 707548"/>
              <a:gd name="connsiteY3" fmla="*/ 5550 h 555012"/>
              <a:gd name="connsiteX4" fmla="*/ 25612 w 707548"/>
              <a:gd name="connsiteY4" fmla="*/ 5550 h 555012"/>
              <a:gd name="connsiteX5" fmla="*/ 33361 w 707548"/>
              <a:gd name="connsiteY5" fmla="*/ 5550 h 555012"/>
              <a:gd name="connsiteX6" fmla="*/ 33361 w 707548"/>
              <a:gd name="connsiteY6" fmla="*/ 11100 h 555012"/>
              <a:gd name="connsiteX7" fmla="*/ 41110 w 707548"/>
              <a:gd name="connsiteY7" fmla="*/ 5550 h 555012"/>
              <a:gd name="connsiteX8" fmla="*/ 41110 w 707548"/>
              <a:gd name="connsiteY8" fmla="*/ 11100 h 555012"/>
              <a:gd name="connsiteX9" fmla="*/ 48859 w 707548"/>
              <a:gd name="connsiteY9" fmla="*/ 11100 h 555012"/>
              <a:gd name="connsiteX10" fmla="*/ 48859 w 707548"/>
              <a:gd name="connsiteY10" fmla="*/ 16651 h 555012"/>
              <a:gd name="connsiteX11" fmla="*/ 56609 w 707548"/>
              <a:gd name="connsiteY11" fmla="*/ 16651 h 555012"/>
              <a:gd name="connsiteX12" fmla="*/ 64358 w 707548"/>
              <a:gd name="connsiteY12" fmla="*/ 16651 h 555012"/>
              <a:gd name="connsiteX13" fmla="*/ 64358 w 707548"/>
              <a:gd name="connsiteY13" fmla="*/ 22201 h 555012"/>
              <a:gd name="connsiteX14" fmla="*/ 72107 w 707548"/>
              <a:gd name="connsiteY14" fmla="*/ 22201 h 555012"/>
              <a:gd name="connsiteX15" fmla="*/ 72107 w 707548"/>
              <a:gd name="connsiteY15" fmla="*/ 16651 h 555012"/>
              <a:gd name="connsiteX16" fmla="*/ 79857 w 707548"/>
              <a:gd name="connsiteY16" fmla="*/ 16651 h 555012"/>
              <a:gd name="connsiteX17" fmla="*/ 87606 w 707548"/>
              <a:gd name="connsiteY17" fmla="*/ 16651 h 555012"/>
              <a:gd name="connsiteX18" fmla="*/ 95355 w 707548"/>
              <a:gd name="connsiteY18" fmla="*/ 16651 h 555012"/>
              <a:gd name="connsiteX19" fmla="*/ 103104 w 707548"/>
              <a:gd name="connsiteY19" fmla="*/ 22201 h 555012"/>
              <a:gd name="connsiteX20" fmla="*/ 110854 w 707548"/>
              <a:gd name="connsiteY20" fmla="*/ 16651 h 555012"/>
              <a:gd name="connsiteX21" fmla="*/ 110854 w 707548"/>
              <a:gd name="connsiteY21" fmla="*/ 22201 h 555012"/>
              <a:gd name="connsiteX22" fmla="*/ 118603 w 707548"/>
              <a:gd name="connsiteY22" fmla="*/ 22201 h 555012"/>
              <a:gd name="connsiteX23" fmla="*/ 118603 w 707548"/>
              <a:gd name="connsiteY23" fmla="*/ 27751 h 555012"/>
              <a:gd name="connsiteX24" fmla="*/ 126352 w 707548"/>
              <a:gd name="connsiteY24" fmla="*/ 33301 h 555012"/>
              <a:gd name="connsiteX25" fmla="*/ 134102 w 707548"/>
              <a:gd name="connsiteY25" fmla="*/ 33301 h 555012"/>
              <a:gd name="connsiteX26" fmla="*/ 134102 w 707548"/>
              <a:gd name="connsiteY26" fmla="*/ 38851 h 555012"/>
              <a:gd name="connsiteX27" fmla="*/ 141851 w 707548"/>
              <a:gd name="connsiteY27" fmla="*/ 38851 h 555012"/>
              <a:gd name="connsiteX28" fmla="*/ 141851 w 707548"/>
              <a:gd name="connsiteY28" fmla="*/ 44401 h 555012"/>
              <a:gd name="connsiteX29" fmla="*/ 149600 w 707548"/>
              <a:gd name="connsiteY29" fmla="*/ 44401 h 555012"/>
              <a:gd name="connsiteX30" fmla="*/ 157349 w 707548"/>
              <a:gd name="connsiteY30" fmla="*/ 44401 h 555012"/>
              <a:gd name="connsiteX31" fmla="*/ 157349 w 707548"/>
              <a:gd name="connsiteY31" fmla="*/ 49951 h 555012"/>
              <a:gd name="connsiteX32" fmla="*/ 165099 w 707548"/>
              <a:gd name="connsiteY32" fmla="*/ 44401 h 555012"/>
              <a:gd name="connsiteX33" fmla="*/ 165099 w 707548"/>
              <a:gd name="connsiteY33" fmla="*/ 49951 h 555012"/>
              <a:gd name="connsiteX34" fmla="*/ 172848 w 707548"/>
              <a:gd name="connsiteY34" fmla="*/ 55501 h 555012"/>
              <a:gd name="connsiteX35" fmla="*/ 180597 w 707548"/>
              <a:gd name="connsiteY35" fmla="*/ 55501 h 555012"/>
              <a:gd name="connsiteX36" fmla="*/ 180597 w 707548"/>
              <a:gd name="connsiteY36" fmla="*/ 61052 h 555012"/>
              <a:gd name="connsiteX37" fmla="*/ 188347 w 707548"/>
              <a:gd name="connsiteY37" fmla="*/ 61052 h 555012"/>
              <a:gd name="connsiteX38" fmla="*/ 188347 w 707548"/>
              <a:gd name="connsiteY38" fmla="*/ 66602 h 555012"/>
              <a:gd name="connsiteX39" fmla="*/ 196096 w 707548"/>
              <a:gd name="connsiteY39" fmla="*/ 72152 h 555012"/>
              <a:gd name="connsiteX40" fmla="*/ 203845 w 707548"/>
              <a:gd name="connsiteY40" fmla="*/ 77702 h 555012"/>
              <a:gd name="connsiteX41" fmla="*/ 211594 w 707548"/>
              <a:gd name="connsiteY41" fmla="*/ 77702 h 555012"/>
              <a:gd name="connsiteX42" fmla="*/ 219344 w 707548"/>
              <a:gd name="connsiteY42" fmla="*/ 77702 h 555012"/>
              <a:gd name="connsiteX43" fmla="*/ 227093 w 707548"/>
              <a:gd name="connsiteY43" fmla="*/ 77702 h 555012"/>
              <a:gd name="connsiteX44" fmla="*/ 234842 w 707548"/>
              <a:gd name="connsiteY44" fmla="*/ 77702 h 555012"/>
              <a:gd name="connsiteX45" fmla="*/ 234842 w 707548"/>
              <a:gd name="connsiteY45" fmla="*/ 83252 h 555012"/>
              <a:gd name="connsiteX46" fmla="*/ 227093 w 707548"/>
              <a:gd name="connsiteY46" fmla="*/ 83252 h 555012"/>
              <a:gd name="connsiteX47" fmla="*/ 227093 w 707548"/>
              <a:gd name="connsiteY47" fmla="*/ 88802 h 555012"/>
              <a:gd name="connsiteX48" fmla="*/ 234842 w 707548"/>
              <a:gd name="connsiteY48" fmla="*/ 88802 h 555012"/>
              <a:gd name="connsiteX49" fmla="*/ 234842 w 707548"/>
              <a:gd name="connsiteY49" fmla="*/ 94352 h 555012"/>
              <a:gd name="connsiteX50" fmla="*/ 234842 w 707548"/>
              <a:gd name="connsiteY50" fmla="*/ 99902 h 555012"/>
              <a:gd name="connsiteX51" fmla="*/ 250341 w 707548"/>
              <a:gd name="connsiteY51" fmla="*/ 99902 h 555012"/>
              <a:gd name="connsiteX52" fmla="*/ 250341 w 707548"/>
              <a:gd name="connsiteY52" fmla="*/ 105453 h 555012"/>
              <a:gd name="connsiteX53" fmla="*/ 258090 w 707548"/>
              <a:gd name="connsiteY53" fmla="*/ 105453 h 555012"/>
              <a:gd name="connsiteX54" fmla="*/ 258090 w 707548"/>
              <a:gd name="connsiteY54" fmla="*/ 116553 h 555012"/>
              <a:gd name="connsiteX55" fmla="*/ 265839 w 707548"/>
              <a:gd name="connsiteY55" fmla="*/ 116553 h 555012"/>
              <a:gd name="connsiteX56" fmla="*/ 265839 w 707548"/>
              <a:gd name="connsiteY56" fmla="*/ 122103 h 555012"/>
              <a:gd name="connsiteX57" fmla="*/ 273589 w 707548"/>
              <a:gd name="connsiteY57" fmla="*/ 122103 h 555012"/>
              <a:gd name="connsiteX58" fmla="*/ 273589 w 707548"/>
              <a:gd name="connsiteY58" fmla="*/ 127653 h 555012"/>
              <a:gd name="connsiteX59" fmla="*/ 265839 w 707548"/>
              <a:gd name="connsiteY59" fmla="*/ 138753 h 555012"/>
              <a:gd name="connsiteX60" fmla="*/ 273589 w 707548"/>
              <a:gd name="connsiteY60" fmla="*/ 144303 h 555012"/>
              <a:gd name="connsiteX61" fmla="*/ 273589 w 707548"/>
              <a:gd name="connsiteY61" fmla="*/ 149853 h 555012"/>
              <a:gd name="connsiteX62" fmla="*/ 273589 w 707548"/>
              <a:gd name="connsiteY62" fmla="*/ 155404 h 555012"/>
              <a:gd name="connsiteX63" fmla="*/ 265839 w 707548"/>
              <a:gd name="connsiteY63" fmla="*/ 155404 h 555012"/>
              <a:gd name="connsiteX64" fmla="*/ 258090 w 707548"/>
              <a:gd name="connsiteY64" fmla="*/ 155404 h 555012"/>
              <a:gd name="connsiteX65" fmla="*/ 258090 w 707548"/>
              <a:gd name="connsiteY65" fmla="*/ 160954 h 555012"/>
              <a:gd name="connsiteX66" fmla="*/ 265839 w 707548"/>
              <a:gd name="connsiteY66" fmla="*/ 160954 h 555012"/>
              <a:gd name="connsiteX67" fmla="*/ 273589 w 707548"/>
              <a:gd name="connsiteY67" fmla="*/ 166504 h 555012"/>
              <a:gd name="connsiteX68" fmla="*/ 281338 w 707548"/>
              <a:gd name="connsiteY68" fmla="*/ 172054 h 555012"/>
              <a:gd name="connsiteX69" fmla="*/ 289087 w 707548"/>
              <a:gd name="connsiteY69" fmla="*/ 172054 h 555012"/>
              <a:gd name="connsiteX70" fmla="*/ 296836 w 707548"/>
              <a:gd name="connsiteY70" fmla="*/ 177604 h 555012"/>
              <a:gd name="connsiteX71" fmla="*/ 296836 w 707548"/>
              <a:gd name="connsiteY71" fmla="*/ 183154 h 555012"/>
              <a:gd name="connsiteX72" fmla="*/ 304586 w 707548"/>
              <a:gd name="connsiteY72" fmla="*/ 183154 h 555012"/>
              <a:gd name="connsiteX73" fmla="*/ 304586 w 707548"/>
              <a:gd name="connsiteY73" fmla="*/ 188704 h 555012"/>
              <a:gd name="connsiteX74" fmla="*/ 312335 w 707548"/>
              <a:gd name="connsiteY74" fmla="*/ 188704 h 555012"/>
              <a:gd name="connsiteX75" fmla="*/ 320084 w 707548"/>
              <a:gd name="connsiteY75" fmla="*/ 188704 h 555012"/>
              <a:gd name="connsiteX76" fmla="*/ 320084 w 707548"/>
              <a:gd name="connsiteY76" fmla="*/ 194254 h 555012"/>
              <a:gd name="connsiteX77" fmla="*/ 327834 w 707548"/>
              <a:gd name="connsiteY77" fmla="*/ 194254 h 555012"/>
              <a:gd name="connsiteX78" fmla="*/ 335583 w 707548"/>
              <a:gd name="connsiteY78" fmla="*/ 194254 h 555012"/>
              <a:gd name="connsiteX79" fmla="*/ 335583 w 707548"/>
              <a:gd name="connsiteY79" fmla="*/ 199805 h 555012"/>
              <a:gd name="connsiteX80" fmla="*/ 343332 w 707548"/>
              <a:gd name="connsiteY80" fmla="*/ 199805 h 555012"/>
              <a:gd name="connsiteX81" fmla="*/ 343332 w 707548"/>
              <a:gd name="connsiteY81" fmla="*/ 205355 h 555012"/>
              <a:gd name="connsiteX82" fmla="*/ 343332 w 707548"/>
              <a:gd name="connsiteY82" fmla="*/ 210905 h 555012"/>
              <a:gd name="connsiteX83" fmla="*/ 335583 w 707548"/>
              <a:gd name="connsiteY83" fmla="*/ 216455 h 555012"/>
              <a:gd name="connsiteX84" fmla="*/ 343332 w 707548"/>
              <a:gd name="connsiteY84" fmla="*/ 216455 h 555012"/>
              <a:gd name="connsiteX85" fmla="*/ 343332 w 707548"/>
              <a:gd name="connsiteY85" fmla="*/ 222005 h 555012"/>
              <a:gd name="connsiteX86" fmla="*/ 343332 w 707548"/>
              <a:gd name="connsiteY86" fmla="*/ 227555 h 555012"/>
              <a:gd name="connsiteX87" fmla="*/ 351081 w 707548"/>
              <a:gd name="connsiteY87" fmla="*/ 227555 h 555012"/>
              <a:gd name="connsiteX88" fmla="*/ 351081 w 707548"/>
              <a:gd name="connsiteY88" fmla="*/ 233105 h 555012"/>
              <a:gd name="connsiteX89" fmla="*/ 358831 w 707548"/>
              <a:gd name="connsiteY89" fmla="*/ 233105 h 555012"/>
              <a:gd name="connsiteX90" fmla="*/ 358831 w 707548"/>
              <a:gd name="connsiteY90" fmla="*/ 238655 h 555012"/>
              <a:gd name="connsiteX91" fmla="*/ 366580 w 707548"/>
              <a:gd name="connsiteY91" fmla="*/ 238655 h 555012"/>
              <a:gd name="connsiteX92" fmla="*/ 374329 w 707548"/>
              <a:gd name="connsiteY92" fmla="*/ 238655 h 555012"/>
              <a:gd name="connsiteX93" fmla="*/ 374329 w 707548"/>
              <a:gd name="connsiteY93" fmla="*/ 244206 h 555012"/>
              <a:gd name="connsiteX94" fmla="*/ 382078 w 707548"/>
              <a:gd name="connsiteY94" fmla="*/ 244206 h 555012"/>
              <a:gd name="connsiteX95" fmla="*/ 382078 w 707548"/>
              <a:gd name="connsiteY95" fmla="*/ 249756 h 555012"/>
              <a:gd name="connsiteX96" fmla="*/ 389828 w 707548"/>
              <a:gd name="connsiteY96" fmla="*/ 249756 h 555012"/>
              <a:gd name="connsiteX97" fmla="*/ 397577 w 707548"/>
              <a:gd name="connsiteY97" fmla="*/ 249756 h 555012"/>
              <a:gd name="connsiteX98" fmla="*/ 405326 w 707548"/>
              <a:gd name="connsiteY98" fmla="*/ 249756 h 555012"/>
              <a:gd name="connsiteX99" fmla="*/ 413076 w 707548"/>
              <a:gd name="connsiteY99" fmla="*/ 255306 h 555012"/>
              <a:gd name="connsiteX100" fmla="*/ 428574 w 707548"/>
              <a:gd name="connsiteY100" fmla="*/ 255306 h 555012"/>
              <a:gd name="connsiteX101" fmla="*/ 436323 w 707548"/>
              <a:gd name="connsiteY101" fmla="*/ 260856 h 555012"/>
              <a:gd name="connsiteX102" fmla="*/ 444073 w 707548"/>
              <a:gd name="connsiteY102" fmla="*/ 260856 h 555012"/>
              <a:gd name="connsiteX103" fmla="*/ 451822 w 707548"/>
              <a:gd name="connsiteY103" fmla="*/ 260856 h 555012"/>
              <a:gd name="connsiteX104" fmla="*/ 459571 w 707548"/>
              <a:gd name="connsiteY104" fmla="*/ 260856 h 555012"/>
              <a:gd name="connsiteX105" fmla="*/ 467321 w 707548"/>
              <a:gd name="connsiteY105" fmla="*/ 266406 h 555012"/>
              <a:gd name="connsiteX106" fmla="*/ 467321 w 707548"/>
              <a:gd name="connsiteY106" fmla="*/ 271956 h 555012"/>
              <a:gd name="connsiteX107" fmla="*/ 467321 w 707548"/>
              <a:gd name="connsiteY107" fmla="*/ 277506 h 555012"/>
              <a:gd name="connsiteX108" fmla="*/ 475070 w 707548"/>
              <a:gd name="connsiteY108" fmla="*/ 277506 h 555012"/>
              <a:gd name="connsiteX109" fmla="*/ 482819 w 707548"/>
              <a:gd name="connsiteY109" fmla="*/ 277506 h 555012"/>
              <a:gd name="connsiteX110" fmla="*/ 482819 w 707548"/>
              <a:gd name="connsiteY110" fmla="*/ 283056 h 555012"/>
              <a:gd name="connsiteX111" fmla="*/ 490568 w 707548"/>
              <a:gd name="connsiteY111" fmla="*/ 283056 h 555012"/>
              <a:gd name="connsiteX112" fmla="*/ 490568 w 707548"/>
              <a:gd name="connsiteY112" fmla="*/ 288606 h 555012"/>
              <a:gd name="connsiteX113" fmla="*/ 490568 w 707548"/>
              <a:gd name="connsiteY113" fmla="*/ 294157 h 555012"/>
              <a:gd name="connsiteX114" fmla="*/ 498318 w 707548"/>
              <a:gd name="connsiteY114" fmla="*/ 294157 h 555012"/>
              <a:gd name="connsiteX115" fmla="*/ 498318 w 707548"/>
              <a:gd name="connsiteY115" fmla="*/ 299707 h 555012"/>
              <a:gd name="connsiteX116" fmla="*/ 490568 w 707548"/>
              <a:gd name="connsiteY116" fmla="*/ 299707 h 555012"/>
              <a:gd name="connsiteX117" fmla="*/ 490568 w 707548"/>
              <a:gd name="connsiteY117" fmla="*/ 305257 h 555012"/>
              <a:gd name="connsiteX118" fmla="*/ 490568 w 707548"/>
              <a:gd name="connsiteY118" fmla="*/ 310807 h 555012"/>
              <a:gd name="connsiteX119" fmla="*/ 490568 w 707548"/>
              <a:gd name="connsiteY119" fmla="*/ 316357 h 555012"/>
              <a:gd name="connsiteX120" fmla="*/ 490568 w 707548"/>
              <a:gd name="connsiteY120" fmla="*/ 321907 h 555012"/>
              <a:gd name="connsiteX121" fmla="*/ 498318 w 707548"/>
              <a:gd name="connsiteY121" fmla="*/ 321907 h 555012"/>
              <a:gd name="connsiteX122" fmla="*/ 506067 w 707548"/>
              <a:gd name="connsiteY122" fmla="*/ 321907 h 555012"/>
              <a:gd name="connsiteX123" fmla="*/ 513816 w 707548"/>
              <a:gd name="connsiteY123" fmla="*/ 327457 h 555012"/>
              <a:gd name="connsiteX124" fmla="*/ 521565 w 707548"/>
              <a:gd name="connsiteY124" fmla="*/ 327457 h 555012"/>
              <a:gd name="connsiteX125" fmla="*/ 529315 w 707548"/>
              <a:gd name="connsiteY125" fmla="*/ 327457 h 555012"/>
              <a:gd name="connsiteX126" fmla="*/ 529315 w 707548"/>
              <a:gd name="connsiteY126" fmla="*/ 321907 h 555012"/>
              <a:gd name="connsiteX127" fmla="*/ 537064 w 707548"/>
              <a:gd name="connsiteY127" fmla="*/ 321907 h 555012"/>
              <a:gd name="connsiteX128" fmla="*/ 544813 w 707548"/>
              <a:gd name="connsiteY128" fmla="*/ 321907 h 555012"/>
              <a:gd name="connsiteX129" fmla="*/ 544813 w 707548"/>
              <a:gd name="connsiteY129" fmla="*/ 327457 h 555012"/>
              <a:gd name="connsiteX130" fmla="*/ 552562 w 707548"/>
              <a:gd name="connsiteY130" fmla="*/ 333007 h 555012"/>
              <a:gd name="connsiteX131" fmla="*/ 560312 w 707548"/>
              <a:gd name="connsiteY131" fmla="*/ 338558 h 555012"/>
              <a:gd name="connsiteX132" fmla="*/ 568061 w 707548"/>
              <a:gd name="connsiteY132" fmla="*/ 338558 h 555012"/>
              <a:gd name="connsiteX133" fmla="*/ 568061 w 707548"/>
              <a:gd name="connsiteY133" fmla="*/ 344108 h 555012"/>
              <a:gd name="connsiteX134" fmla="*/ 575810 w 707548"/>
              <a:gd name="connsiteY134" fmla="*/ 349658 h 555012"/>
              <a:gd name="connsiteX135" fmla="*/ 575810 w 707548"/>
              <a:gd name="connsiteY135" fmla="*/ 355208 h 555012"/>
              <a:gd name="connsiteX136" fmla="*/ 583560 w 707548"/>
              <a:gd name="connsiteY136" fmla="*/ 355208 h 555012"/>
              <a:gd name="connsiteX137" fmla="*/ 591309 w 707548"/>
              <a:gd name="connsiteY137" fmla="*/ 366308 h 555012"/>
              <a:gd name="connsiteX138" fmla="*/ 599058 w 707548"/>
              <a:gd name="connsiteY138" fmla="*/ 366308 h 555012"/>
              <a:gd name="connsiteX139" fmla="*/ 599058 w 707548"/>
              <a:gd name="connsiteY139" fmla="*/ 371858 h 555012"/>
              <a:gd name="connsiteX140" fmla="*/ 606807 w 707548"/>
              <a:gd name="connsiteY140" fmla="*/ 371858 h 555012"/>
              <a:gd name="connsiteX141" fmla="*/ 606807 w 707548"/>
              <a:gd name="connsiteY141" fmla="*/ 366308 h 555012"/>
              <a:gd name="connsiteX142" fmla="*/ 614557 w 707548"/>
              <a:gd name="connsiteY142" fmla="*/ 366308 h 555012"/>
              <a:gd name="connsiteX143" fmla="*/ 622306 w 707548"/>
              <a:gd name="connsiteY143" fmla="*/ 366308 h 555012"/>
              <a:gd name="connsiteX144" fmla="*/ 630055 w 707548"/>
              <a:gd name="connsiteY144" fmla="*/ 366308 h 555012"/>
              <a:gd name="connsiteX145" fmla="*/ 637804 w 707548"/>
              <a:gd name="connsiteY145" fmla="*/ 366308 h 555012"/>
              <a:gd name="connsiteX146" fmla="*/ 645554 w 707548"/>
              <a:gd name="connsiteY146" fmla="*/ 366308 h 555012"/>
              <a:gd name="connsiteX147" fmla="*/ 645554 w 707548"/>
              <a:gd name="connsiteY147" fmla="*/ 371858 h 555012"/>
              <a:gd name="connsiteX148" fmla="*/ 653303 w 707548"/>
              <a:gd name="connsiteY148" fmla="*/ 371858 h 555012"/>
              <a:gd name="connsiteX149" fmla="*/ 661052 w 707548"/>
              <a:gd name="connsiteY149" fmla="*/ 371858 h 555012"/>
              <a:gd name="connsiteX150" fmla="*/ 661052 w 707548"/>
              <a:gd name="connsiteY150" fmla="*/ 377408 h 555012"/>
              <a:gd name="connsiteX151" fmla="*/ 661052 w 707548"/>
              <a:gd name="connsiteY151" fmla="*/ 382959 h 555012"/>
              <a:gd name="connsiteX152" fmla="*/ 668802 w 707548"/>
              <a:gd name="connsiteY152" fmla="*/ 382959 h 555012"/>
              <a:gd name="connsiteX153" fmla="*/ 676551 w 707548"/>
              <a:gd name="connsiteY153" fmla="*/ 382959 h 555012"/>
              <a:gd name="connsiteX154" fmla="*/ 676551 w 707548"/>
              <a:gd name="connsiteY154" fmla="*/ 388509 h 555012"/>
              <a:gd name="connsiteX155" fmla="*/ 676551 w 707548"/>
              <a:gd name="connsiteY155" fmla="*/ 394059 h 555012"/>
              <a:gd name="connsiteX156" fmla="*/ 676551 w 707548"/>
              <a:gd name="connsiteY156" fmla="*/ 399609 h 555012"/>
              <a:gd name="connsiteX157" fmla="*/ 684300 w 707548"/>
              <a:gd name="connsiteY157" fmla="*/ 399609 h 555012"/>
              <a:gd name="connsiteX158" fmla="*/ 692050 w 707548"/>
              <a:gd name="connsiteY158" fmla="*/ 399609 h 555012"/>
              <a:gd name="connsiteX159" fmla="*/ 692050 w 707548"/>
              <a:gd name="connsiteY159" fmla="*/ 405159 h 555012"/>
              <a:gd name="connsiteX160" fmla="*/ 699799 w 707548"/>
              <a:gd name="connsiteY160" fmla="*/ 405159 h 555012"/>
              <a:gd name="connsiteX161" fmla="*/ 699799 w 707548"/>
              <a:gd name="connsiteY161" fmla="*/ 410709 h 555012"/>
              <a:gd name="connsiteX162" fmla="*/ 707548 w 707548"/>
              <a:gd name="connsiteY162" fmla="*/ 410709 h 555012"/>
              <a:gd name="connsiteX163" fmla="*/ 707548 w 707548"/>
              <a:gd name="connsiteY163" fmla="*/ 416259 h 555012"/>
              <a:gd name="connsiteX164" fmla="*/ 707548 w 707548"/>
              <a:gd name="connsiteY164" fmla="*/ 421809 h 555012"/>
              <a:gd name="connsiteX165" fmla="*/ 699799 w 707548"/>
              <a:gd name="connsiteY165" fmla="*/ 427359 h 555012"/>
              <a:gd name="connsiteX166" fmla="*/ 699799 w 707548"/>
              <a:gd name="connsiteY166" fmla="*/ 432910 h 555012"/>
              <a:gd name="connsiteX167" fmla="*/ 692050 w 707548"/>
              <a:gd name="connsiteY167" fmla="*/ 432910 h 555012"/>
              <a:gd name="connsiteX168" fmla="*/ 692050 w 707548"/>
              <a:gd name="connsiteY168" fmla="*/ 438460 h 555012"/>
              <a:gd name="connsiteX169" fmla="*/ 692050 w 707548"/>
              <a:gd name="connsiteY169" fmla="*/ 444010 h 555012"/>
              <a:gd name="connsiteX170" fmla="*/ 699799 w 707548"/>
              <a:gd name="connsiteY170" fmla="*/ 444010 h 555012"/>
              <a:gd name="connsiteX171" fmla="*/ 692050 w 707548"/>
              <a:gd name="connsiteY171" fmla="*/ 449560 h 555012"/>
              <a:gd name="connsiteX172" fmla="*/ 692050 w 707548"/>
              <a:gd name="connsiteY172" fmla="*/ 455110 h 555012"/>
              <a:gd name="connsiteX173" fmla="*/ 692050 w 707548"/>
              <a:gd name="connsiteY173" fmla="*/ 460660 h 555012"/>
              <a:gd name="connsiteX174" fmla="*/ 692050 w 707548"/>
              <a:gd name="connsiteY174" fmla="*/ 466210 h 555012"/>
              <a:gd name="connsiteX175" fmla="*/ 684300 w 707548"/>
              <a:gd name="connsiteY175" fmla="*/ 466210 h 555012"/>
              <a:gd name="connsiteX176" fmla="*/ 676551 w 707548"/>
              <a:gd name="connsiteY176" fmla="*/ 466210 h 555012"/>
              <a:gd name="connsiteX177" fmla="*/ 676551 w 707548"/>
              <a:gd name="connsiteY177" fmla="*/ 471760 h 555012"/>
              <a:gd name="connsiteX178" fmla="*/ 676551 w 707548"/>
              <a:gd name="connsiteY178" fmla="*/ 477311 h 555012"/>
              <a:gd name="connsiteX179" fmla="*/ 676551 w 707548"/>
              <a:gd name="connsiteY179" fmla="*/ 482861 h 555012"/>
              <a:gd name="connsiteX180" fmla="*/ 684300 w 707548"/>
              <a:gd name="connsiteY180" fmla="*/ 482861 h 555012"/>
              <a:gd name="connsiteX181" fmla="*/ 684300 w 707548"/>
              <a:gd name="connsiteY181" fmla="*/ 488411 h 555012"/>
              <a:gd name="connsiteX182" fmla="*/ 684300 w 707548"/>
              <a:gd name="connsiteY182" fmla="*/ 493961 h 555012"/>
              <a:gd name="connsiteX183" fmla="*/ 684300 w 707548"/>
              <a:gd name="connsiteY183" fmla="*/ 499511 h 555012"/>
              <a:gd name="connsiteX184" fmla="*/ 684300 w 707548"/>
              <a:gd name="connsiteY184" fmla="*/ 505061 h 555012"/>
              <a:gd name="connsiteX185" fmla="*/ 684300 w 707548"/>
              <a:gd name="connsiteY185" fmla="*/ 510611 h 555012"/>
              <a:gd name="connsiteX186" fmla="*/ 684300 w 707548"/>
              <a:gd name="connsiteY186" fmla="*/ 516161 h 555012"/>
              <a:gd name="connsiteX187" fmla="*/ 684300 w 707548"/>
              <a:gd name="connsiteY187" fmla="*/ 521712 h 555012"/>
              <a:gd name="connsiteX188" fmla="*/ 684300 w 707548"/>
              <a:gd name="connsiteY188" fmla="*/ 527262 h 555012"/>
              <a:gd name="connsiteX189" fmla="*/ 692050 w 707548"/>
              <a:gd name="connsiteY189" fmla="*/ 527262 h 555012"/>
              <a:gd name="connsiteX190" fmla="*/ 692050 w 707548"/>
              <a:gd name="connsiteY190" fmla="*/ 532812 h 555012"/>
              <a:gd name="connsiteX191" fmla="*/ 699799 w 707548"/>
              <a:gd name="connsiteY191" fmla="*/ 532812 h 555012"/>
              <a:gd name="connsiteX192" fmla="*/ 699799 w 707548"/>
              <a:gd name="connsiteY192" fmla="*/ 538362 h 555012"/>
              <a:gd name="connsiteX193" fmla="*/ 699799 w 707548"/>
              <a:gd name="connsiteY193" fmla="*/ 543912 h 555012"/>
              <a:gd name="connsiteX194" fmla="*/ 699799 w 707548"/>
              <a:gd name="connsiteY194" fmla="*/ 549462 h 555012"/>
              <a:gd name="connsiteX195" fmla="*/ 699799 w 707548"/>
              <a:gd name="connsiteY195" fmla="*/ 555012 h 555012"/>
              <a:gd name="connsiteX196" fmla="*/ 631989 w 707548"/>
              <a:gd name="connsiteY196" fmla="*/ 473861 h 555012"/>
              <a:gd name="connsiteX197" fmla="*/ 570077 w 707548"/>
              <a:gd name="connsiteY197" fmla="*/ 469098 h 555012"/>
              <a:gd name="connsiteX198" fmla="*/ 536739 w 707548"/>
              <a:gd name="connsiteY198" fmla="*/ 459573 h 555012"/>
              <a:gd name="connsiteX199" fmla="*/ 503402 w 707548"/>
              <a:gd name="connsiteY199" fmla="*/ 454811 h 555012"/>
              <a:gd name="connsiteX200" fmla="*/ 489114 w 707548"/>
              <a:gd name="connsiteY200" fmla="*/ 450048 h 555012"/>
              <a:gd name="connsiteX201" fmla="*/ 470064 w 707548"/>
              <a:gd name="connsiteY201" fmla="*/ 445286 h 555012"/>
              <a:gd name="connsiteX202" fmla="*/ 412914 w 707548"/>
              <a:gd name="connsiteY202" fmla="*/ 440523 h 555012"/>
              <a:gd name="connsiteX203" fmla="*/ 351002 w 707548"/>
              <a:gd name="connsiteY203" fmla="*/ 430998 h 555012"/>
              <a:gd name="connsiteX204" fmla="*/ 265277 w 707548"/>
              <a:gd name="connsiteY204" fmla="*/ 402423 h 555012"/>
              <a:gd name="connsiteX205" fmla="*/ 246227 w 707548"/>
              <a:gd name="connsiteY205" fmla="*/ 397661 h 555012"/>
              <a:gd name="connsiteX206" fmla="*/ 231939 w 707548"/>
              <a:gd name="connsiteY206" fmla="*/ 392898 h 555012"/>
              <a:gd name="connsiteX207" fmla="*/ 203364 w 707548"/>
              <a:gd name="connsiteY207" fmla="*/ 383373 h 555012"/>
              <a:gd name="connsiteX208" fmla="*/ 174789 w 707548"/>
              <a:gd name="connsiteY208" fmla="*/ 373848 h 555012"/>
              <a:gd name="connsiteX209" fmla="*/ 170027 w 707548"/>
              <a:gd name="connsiteY209" fmla="*/ 359561 h 555012"/>
              <a:gd name="connsiteX210" fmla="*/ 155739 w 707548"/>
              <a:gd name="connsiteY210" fmla="*/ 354798 h 555012"/>
              <a:gd name="connsiteX211" fmla="*/ 136689 w 707548"/>
              <a:gd name="connsiteY211" fmla="*/ 326223 h 555012"/>
              <a:gd name="connsiteX212" fmla="*/ 117639 w 707548"/>
              <a:gd name="connsiteY212" fmla="*/ 297648 h 555012"/>
              <a:gd name="connsiteX213" fmla="*/ 112877 w 707548"/>
              <a:gd name="connsiteY213" fmla="*/ 283361 h 555012"/>
              <a:gd name="connsiteX214" fmla="*/ 103258 w 707548"/>
              <a:gd name="connsiteY214" fmla="*/ 270388 h 555012"/>
              <a:gd name="connsiteX215" fmla="*/ 98770 w 707548"/>
              <a:gd name="connsiteY215" fmla="*/ 268149 h 555012"/>
              <a:gd name="connsiteX216" fmla="*/ 98236 w 707548"/>
              <a:gd name="connsiteY216" fmla="*/ 268565 h 555012"/>
              <a:gd name="connsiteX217" fmla="*/ 93827 w 707548"/>
              <a:gd name="connsiteY217" fmla="*/ 254786 h 555012"/>
              <a:gd name="connsiteX218" fmla="*/ 79539 w 707548"/>
              <a:gd name="connsiteY218" fmla="*/ 240498 h 555012"/>
              <a:gd name="connsiteX219" fmla="*/ 70014 w 707548"/>
              <a:gd name="connsiteY219" fmla="*/ 211923 h 555012"/>
              <a:gd name="connsiteX220" fmla="*/ 70014 w 707548"/>
              <a:gd name="connsiteY220" fmla="*/ 130961 h 555012"/>
              <a:gd name="connsiteX221" fmla="*/ 84302 w 707548"/>
              <a:gd name="connsiteY221" fmla="*/ 121436 h 555012"/>
              <a:gd name="connsiteX222" fmla="*/ 89064 w 707548"/>
              <a:gd name="connsiteY222" fmla="*/ 107148 h 555012"/>
              <a:gd name="connsiteX223" fmla="*/ 96903 w 707548"/>
              <a:gd name="connsiteY223" fmla="*/ 93859 h 555012"/>
              <a:gd name="connsiteX224" fmla="*/ 103352 w 707548"/>
              <a:gd name="connsiteY224" fmla="*/ 69048 h 555012"/>
              <a:gd name="connsiteX225" fmla="*/ 93827 w 707548"/>
              <a:gd name="connsiteY225" fmla="*/ 40473 h 555012"/>
              <a:gd name="connsiteX226" fmla="*/ 84302 w 707548"/>
              <a:gd name="connsiteY226" fmla="*/ 26186 h 555012"/>
              <a:gd name="connsiteX227" fmla="*/ 41439 w 707548"/>
              <a:gd name="connsiteY227" fmla="*/ 16661 h 555012"/>
              <a:gd name="connsiteX228" fmla="*/ 12864 w 707548"/>
              <a:gd name="connsiteY228" fmla="*/ 7136 h 555012"/>
              <a:gd name="connsiteX229" fmla="*/ 0 w 707548"/>
              <a:gd name="connsiteY229" fmla="*/ 11424 h 555012"/>
              <a:gd name="connsiteX230" fmla="*/ 0 w 707548"/>
              <a:gd name="connsiteY230" fmla="*/ 5550 h 555012"/>
              <a:gd name="connsiteX231" fmla="*/ 2364 w 707548"/>
              <a:gd name="connsiteY231" fmla="*/ 5550 h 555012"/>
              <a:gd name="connsiteX232" fmla="*/ 2364 w 707548"/>
              <a:gd name="connsiteY232" fmla="*/ 0 h 55501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84300 w 707548"/>
              <a:gd name="connsiteY186" fmla="*/ 516161 h 549462"/>
              <a:gd name="connsiteX187" fmla="*/ 684300 w 707548"/>
              <a:gd name="connsiteY187" fmla="*/ 521712 h 549462"/>
              <a:gd name="connsiteX188" fmla="*/ 684300 w 707548"/>
              <a:gd name="connsiteY188" fmla="*/ 527262 h 549462"/>
              <a:gd name="connsiteX189" fmla="*/ 692050 w 707548"/>
              <a:gd name="connsiteY189" fmla="*/ 527262 h 549462"/>
              <a:gd name="connsiteX190" fmla="*/ 692050 w 707548"/>
              <a:gd name="connsiteY190" fmla="*/ 532812 h 549462"/>
              <a:gd name="connsiteX191" fmla="*/ 699799 w 707548"/>
              <a:gd name="connsiteY191" fmla="*/ 532812 h 549462"/>
              <a:gd name="connsiteX192" fmla="*/ 699799 w 707548"/>
              <a:gd name="connsiteY192" fmla="*/ 538362 h 549462"/>
              <a:gd name="connsiteX193" fmla="*/ 699799 w 707548"/>
              <a:gd name="connsiteY193" fmla="*/ 543912 h 549462"/>
              <a:gd name="connsiteX194" fmla="*/ 699799 w 707548"/>
              <a:gd name="connsiteY194" fmla="*/ 549462 h 549462"/>
              <a:gd name="connsiteX195" fmla="*/ 631989 w 707548"/>
              <a:gd name="connsiteY195" fmla="*/ 473861 h 549462"/>
              <a:gd name="connsiteX196" fmla="*/ 570077 w 707548"/>
              <a:gd name="connsiteY196" fmla="*/ 469098 h 549462"/>
              <a:gd name="connsiteX197" fmla="*/ 536739 w 707548"/>
              <a:gd name="connsiteY197" fmla="*/ 459573 h 549462"/>
              <a:gd name="connsiteX198" fmla="*/ 503402 w 707548"/>
              <a:gd name="connsiteY198" fmla="*/ 454811 h 549462"/>
              <a:gd name="connsiteX199" fmla="*/ 489114 w 707548"/>
              <a:gd name="connsiteY199" fmla="*/ 450048 h 549462"/>
              <a:gd name="connsiteX200" fmla="*/ 470064 w 707548"/>
              <a:gd name="connsiteY200" fmla="*/ 445286 h 549462"/>
              <a:gd name="connsiteX201" fmla="*/ 412914 w 707548"/>
              <a:gd name="connsiteY201" fmla="*/ 440523 h 549462"/>
              <a:gd name="connsiteX202" fmla="*/ 351002 w 707548"/>
              <a:gd name="connsiteY202" fmla="*/ 430998 h 549462"/>
              <a:gd name="connsiteX203" fmla="*/ 265277 w 707548"/>
              <a:gd name="connsiteY203" fmla="*/ 402423 h 549462"/>
              <a:gd name="connsiteX204" fmla="*/ 246227 w 707548"/>
              <a:gd name="connsiteY204" fmla="*/ 397661 h 549462"/>
              <a:gd name="connsiteX205" fmla="*/ 231939 w 707548"/>
              <a:gd name="connsiteY205" fmla="*/ 392898 h 549462"/>
              <a:gd name="connsiteX206" fmla="*/ 203364 w 707548"/>
              <a:gd name="connsiteY206" fmla="*/ 383373 h 549462"/>
              <a:gd name="connsiteX207" fmla="*/ 174789 w 707548"/>
              <a:gd name="connsiteY207" fmla="*/ 373848 h 549462"/>
              <a:gd name="connsiteX208" fmla="*/ 170027 w 707548"/>
              <a:gd name="connsiteY208" fmla="*/ 359561 h 549462"/>
              <a:gd name="connsiteX209" fmla="*/ 155739 w 707548"/>
              <a:gd name="connsiteY209" fmla="*/ 354798 h 549462"/>
              <a:gd name="connsiteX210" fmla="*/ 136689 w 707548"/>
              <a:gd name="connsiteY210" fmla="*/ 326223 h 549462"/>
              <a:gd name="connsiteX211" fmla="*/ 117639 w 707548"/>
              <a:gd name="connsiteY211" fmla="*/ 297648 h 549462"/>
              <a:gd name="connsiteX212" fmla="*/ 112877 w 707548"/>
              <a:gd name="connsiteY212" fmla="*/ 283361 h 549462"/>
              <a:gd name="connsiteX213" fmla="*/ 103258 w 707548"/>
              <a:gd name="connsiteY213" fmla="*/ 270388 h 549462"/>
              <a:gd name="connsiteX214" fmla="*/ 98770 w 707548"/>
              <a:gd name="connsiteY214" fmla="*/ 268149 h 549462"/>
              <a:gd name="connsiteX215" fmla="*/ 98236 w 707548"/>
              <a:gd name="connsiteY215" fmla="*/ 268565 h 549462"/>
              <a:gd name="connsiteX216" fmla="*/ 93827 w 707548"/>
              <a:gd name="connsiteY216" fmla="*/ 254786 h 549462"/>
              <a:gd name="connsiteX217" fmla="*/ 79539 w 707548"/>
              <a:gd name="connsiteY217" fmla="*/ 240498 h 549462"/>
              <a:gd name="connsiteX218" fmla="*/ 70014 w 707548"/>
              <a:gd name="connsiteY218" fmla="*/ 211923 h 549462"/>
              <a:gd name="connsiteX219" fmla="*/ 70014 w 707548"/>
              <a:gd name="connsiteY219" fmla="*/ 130961 h 549462"/>
              <a:gd name="connsiteX220" fmla="*/ 84302 w 707548"/>
              <a:gd name="connsiteY220" fmla="*/ 121436 h 549462"/>
              <a:gd name="connsiteX221" fmla="*/ 89064 w 707548"/>
              <a:gd name="connsiteY221" fmla="*/ 107148 h 549462"/>
              <a:gd name="connsiteX222" fmla="*/ 96903 w 707548"/>
              <a:gd name="connsiteY222" fmla="*/ 93859 h 549462"/>
              <a:gd name="connsiteX223" fmla="*/ 103352 w 707548"/>
              <a:gd name="connsiteY223" fmla="*/ 69048 h 549462"/>
              <a:gd name="connsiteX224" fmla="*/ 93827 w 707548"/>
              <a:gd name="connsiteY224" fmla="*/ 40473 h 549462"/>
              <a:gd name="connsiteX225" fmla="*/ 84302 w 707548"/>
              <a:gd name="connsiteY225" fmla="*/ 26186 h 549462"/>
              <a:gd name="connsiteX226" fmla="*/ 41439 w 707548"/>
              <a:gd name="connsiteY226" fmla="*/ 16661 h 549462"/>
              <a:gd name="connsiteX227" fmla="*/ 12864 w 707548"/>
              <a:gd name="connsiteY227" fmla="*/ 7136 h 549462"/>
              <a:gd name="connsiteX228" fmla="*/ 0 w 707548"/>
              <a:gd name="connsiteY228" fmla="*/ 11424 h 549462"/>
              <a:gd name="connsiteX229" fmla="*/ 0 w 707548"/>
              <a:gd name="connsiteY229" fmla="*/ 5550 h 549462"/>
              <a:gd name="connsiteX230" fmla="*/ 2364 w 707548"/>
              <a:gd name="connsiteY230" fmla="*/ 5550 h 549462"/>
              <a:gd name="connsiteX231" fmla="*/ 2364 w 707548"/>
              <a:gd name="connsiteY231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84300 w 707548"/>
              <a:gd name="connsiteY186" fmla="*/ 516161 h 549462"/>
              <a:gd name="connsiteX187" fmla="*/ 684300 w 707548"/>
              <a:gd name="connsiteY187" fmla="*/ 521712 h 549462"/>
              <a:gd name="connsiteX188" fmla="*/ 684300 w 707548"/>
              <a:gd name="connsiteY188" fmla="*/ 527262 h 549462"/>
              <a:gd name="connsiteX189" fmla="*/ 692050 w 707548"/>
              <a:gd name="connsiteY189" fmla="*/ 527262 h 549462"/>
              <a:gd name="connsiteX190" fmla="*/ 699799 w 707548"/>
              <a:gd name="connsiteY190" fmla="*/ 532812 h 549462"/>
              <a:gd name="connsiteX191" fmla="*/ 699799 w 707548"/>
              <a:gd name="connsiteY191" fmla="*/ 538362 h 549462"/>
              <a:gd name="connsiteX192" fmla="*/ 699799 w 707548"/>
              <a:gd name="connsiteY192" fmla="*/ 543912 h 549462"/>
              <a:gd name="connsiteX193" fmla="*/ 699799 w 707548"/>
              <a:gd name="connsiteY193" fmla="*/ 549462 h 549462"/>
              <a:gd name="connsiteX194" fmla="*/ 631989 w 707548"/>
              <a:gd name="connsiteY194" fmla="*/ 473861 h 549462"/>
              <a:gd name="connsiteX195" fmla="*/ 570077 w 707548"/>
              <a:gd name="connsiteY195" fmla="*/ 469098 h 549462"/>
              <a:gd name="connsiteX196" fmla="*/ 536739 w 707548"/>
              <a:gd name="connsiteY196" fmla="*/ 459573 h 549462"/>
              <a:gd name="connsiteX197" fmla="*/ 503402 w 707548"/>
              <a:gd name="connsiteY197" fmla="*/ 454811 h 549462"/>
              <a:gd name="connsiteX198" fmla="*/ 489114 w 707548"/>
              <a:gd name="connsiteY198" fmla="*/ 450048 h 549462"/>
              <a:gd name="connsiteX199" fmla="*/ 470064 w 707548"/>
              <a:gd name="connsiteY199" fmla="*/ 445286 h 549462"/>
              <a:gd name="connsiteX200" fmla="*/ 412914 w 707548"/>
              <a:gd name="connsiteY200" fmla="*/ 440523 h 549462"/>
              <a:gd name="connsiteX201" fmla="*/ 351002 w 707548"/>
              <a:gd name="connsiteY201" fmla="*/ 430998 h 549462"/>
              <a:gd name="connsiteX202" fmla="*/ 265277 w 707548"/>
              <a:gd name="connsiteY202" fmla="*/ 402423 h 549462"/>
              <a:gd name="connsiteX203" fmla="*/ 246227 w 707548"/>
              <a:gd name="connsiteY203" fmla="*/ 397661 h 549462"/>
              <a:gd name="connsiteX204" fmla="*/ 231939 w 707548"/>
              <a:gd name="connsiteY204" fmla="*/ 392898 h 549462"/>
              <a:gd name="connsiteX205" fmla="*/ 203364 w 707548"/>
              <a:gd name="connsiteY205" fmla="*/ 383373 h 549462"/>
              <a:gd name="connsiteX206" fmla="*/ 174789 w 707548"/>
              <a:gd name="connsiteY206" fmla="*/ 373848 h 549462"/>
              <a:gd name="connsiteX207" fmla="*/ 170027 w 707548"/>
              <a:gd name="connsiteY207" fmla="*/ 359561 h 549462"/>
              <a:gd name="connsiteX208" fmla="*/ 155739 w 707548"/>
              <a:gd name="connsiteY208" fmla="*/ 354798 h 549462"/>
              <a:gd name="connsiteX209" fmla="*/ 136689 w 707548"/>
              <a:gd name="connsiteY209" fmla="*/ 326223 h 549462"/>
              <a:gd name="connsiteX210" fmla="*/ 117639 w 707548"/>
              <a:gd name="connsiteY210" fmla="*/ 297648 h 549462"/>
              <a:gd name="connsiteX211" fmla="*/ 112877 w 707548"/>
              <a:gd name="connsiteY211" fmla="*/ 283361 h 549462"/>
              <a:gd name="connsiteX212" fmla="*/ 103258 w 707548"/>
              <a:gd name="connsiteY212" fmla="*/ 270388 h 549462"/>
              <a:gd name="connsiteX213" fmla="*/ 98770 w 707548"/>
              <a:gd name="connsiteY213" fmla="*/ 268149 h 549462"/>
              <a:gd name="connsiteX214" fmla="*/ 98236 w 707548"/>
              <a:gd name="connsiteY214" fmla="*/ 268565 h 549462"/>
              <a:gd name="connsiteX215" fmla="*/ 93827 w 707548"/>
              <a:gd name="connsiteY215" fmla="*/ 254786 h 549462"/>
              <a:gd name="connsiteX216" fmla="*/ 79539 w 707548"/>
              <a:gd name="connsiteY216" fmla="*/ 240498 h 549462"/>
              <a:gd name="connsiteX217" fmla="*/ 70014 w 707548"/>
              <a:gd name="connsiteY217" fmla="*/ 211923 h 549462"/>
              <a:gd name="connsiteX218" fmla="*/ 70014 w 707548"/>
              <a:gd name="connsiteY218" fmla="*/ 130961 h 549462"/>
              <a:gd name="connsiteX219" fmla="*/ 84302 w 707548"/>
              <a:gd name="connsiteY219" fmla="*/ 121436 h 549462"/>
              <a:gd name="connsiteX220" fmla="*/ 89064 w 707548"/>
              <a:gd name="connsiteY220" fmla="*/ 107148 h 549462"/>
              <a:gd name="connsiteX221" fmla="*/ 96903 w 707548"/>
              <a:gd name="connsiteY221" fmla="*/ 93859 h 549462"/>
              <a:gd name="connsiteX222" fmla="*/ 103352 w 707548"/>
              <a:gd name="connsiteY222" fmla="*/ 69048 h 549462"/>
              <a:gd name="connsiteX223" fmla="*/ 93827 w 707548"/>
              <a:gd name="connsiteY223" fmla="*/ 40473 h 549462"/>
              <a:gd name="connsiteX224" fmla="*/ 84302 w 707548"/>
              <a:gd name="connsiteY224" fmla="*/ 26186 h 549462"/>
              <a:gd name="connsiteX225" fmla="*/ 41439 w 707548"/>
              <a:gd name="connsiteY225" fmla="*/ 16661 h 549462"/>
              <a:gd name="connsiteX226" fmla="*/ 12864 w 707548"/>
              <a:gd name="connsiteY226" fmla="*/ 7136 h 549462"/>
              <a:gd name="connsiteX227" fmla="*/ 0 w 707548"/>
              <a:gd name="connsiteY227" fmla="*/ 11424 h 549462"/>
              <a:gd name="connsiteX228" fmla="*/ 0 w 707548"/>
              <a:gd name="connsiteY228" fmla="*/ 5550 h 549462"/>
              <a:gd name="connsiteX229" fmla="*/ 2364 w 707548"/>
              <a:gd name="connsiteY229" fmla="*/ 5550 h 549462"/>
              <a:gd name="connsiteX230" fmla="*/ 2364 w 707548"/>
              <a:gd name="connsiteY230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84300 w 707548"/>
              <a:gd name="connsiteY186" fmla="*/ 516161 h 549462"/>
              <a:gd name="connsiteX187" fmla="*/ 684300 w 707548"/>
              <a:gd name="connsiteY187" fmla="*/ 521712 h 549462"/>
              <a:gd name="connsiteX188" fmla="*/ 684300 w 707548"/>
              <a:gd name="connsiteY188" fmla="*/ 527262 h 549462"/>
              <a:gd name="connsiteX189" fmla="*/ 699799 w 707548"/>
              <a:gd name="connsiteY189" fmla="*/ 532812 h 549462"/>
              <a:gd name="connsiteX190" fmla="*/ 699799 w 707548"/>
              <a:gd name="connsiteY190" fmla="*/ 538362 h 549462"/>
              <a:gd name="connsiteX191" fmla="*/ 699799 w 707548"/>
              <a:gd name="connsiteY191" fmla="*/ 543912 h 549462"/>
              <a:gd name="connsiteX192" fmla="*/ 699799 w 707548"/>
              <a:gd name="connsiteY192" fmla="*/ 549462 h 549462"/>
              <a:gd name="connsiteX193" fmla="*/ 631989 w 707548"/>
              <a:gd name="connsiteY193" fmla="*/ 473861 h 549462"/>
              <a:gd name="connsiteX194" fmla="*/ 570077 w 707548"/>
              <a:gd name="connsiteY194" fmla="*/ 469098 h 549462"/>
              <a:gd name="connsiteX195" fmla="*/ 536739 w 707548"/>
              <a:gd name="connsiteY195" fmla="*/ 459573 h 549462"/>
              <a:gd name="connsiteX196" fmla="*/ 503402 w 707548"/>
              <a:gd name="connsiteY196" fmla="*/ 454811 h 549462"/>
              <a:gd name="connsiteX197" fmla="*/ 489114 w 707548"/>
              <a:gd name="connsiteY197" fmla="*/ 450048 h 549462"/>
              <a:gd name="connsiteX198" fmla="*/ 470064 w 707548"/>
              <a:gd name="connsiteY198" fmla="*/ 445286 h 549462"/>
              <a:gd name="connsiteX199" fmla="*/ 412914 w 707548"/>
              <a:gd name="connsiteY199" fmla="*/ 440523 h 549462"/>
              <a:gd name="connsiteX200" fmla="*/ 351002 w 707548"/>
              <a:gd name="connsiteY200" fmla="*/ 430998 h 549462"/>
              <a:gd name="connsiteX201" fmla="*/ 265277 w 707548"/>
              <a:gd name="connsiteY201" fmla="*/ 402423 h 549462"/>
              <a:gd name="connsiteX202" fmla="*/ 246227 w 707548"/>
              <a:gd name="connsiteY202" fmla="*/ 397661 h 549462"/>
              <a:gd name="connsiteX203" fmla="*/ 231939 w 707548"/>
              <a:gd name="connsiteY203" fmla="*/ 392898 h 549462"/>
              <a:gd name="connsiteX204" fmla="*/ 203364 w 707548"/>
              <a:gd name="connsiteY204" fmla="*/ 383373 h 549462"/>
              <a:gd name="connsiteX205" fmla="*/ 174789 w 707548"/>
              <a:gd name="connsiteY205" fmla="*/ 373848 h 549462"/>
              <a:gd name="connsiteX206" fmla="*/ 170027 w 707548"/>
              <a:gd name="connsiteY206" fmla="*/ 359561 h 549462"/>
              <a:gd name="connsiteX207" fmla="*/ 155739 w 707548"/>
              <a:gd name="connsiteY207" fmla="*/ 354798 h 549462"/>
              <a:gd name="connsiteX208" fmla="*/ 136689 w 707548"/>
              <a:gd name="connsiteY208" fmla="*/ 326223 h 549462"/>
              <a:gd name="connsiteX209" fmla="*/ 117639 w 707548"/>
              <a:gd name="connsiteY209" fmla="*/ 297648 h 549462"/>
              <a:gd name="connsiteX210" fmla="*/ 112877 w 707548"/>
              <a:gd name="connsiteY210" fmla="*/ 283361 h 549462"/>
              <a:gd name="connsiteX211" fmla="*/ 103258 w 707548"/>
              <a:gd name="connsiteY211" fmla="*/ 270388 h 549462"/>
              <a:gd name="connsiteX212" fmla="*/ 98770 w 707548"/>
              <a:gd name="connsiteY212" fmla="*/ 268149 h 549462"/>
              <a:gd name="connsiteX213" fmla="*/ 98236 w 707548"/>
              <a:gd name="connsiteY213" fmla="*/ 268565 h 549462"/>
              <a:gd name="connsiteX214" fmla="*/ 93827 w 707548"/>
              <a:gd name="connsiteY214" fmla="*/ 254786 h 549462"/>
              <a:gd name="connsiteX215" fmla="*/ 79539 w 707548"/>
              <a:gd name="connsiteY215" fmla="*/ 240498 h 549462"/>
              <a:gd name="connsiteX216" fmla="*/ 70014 w 707548"/>
              <a:gd name="connsiteY216" fmla="*/ 211923 h 549462"/>
              <a:gd name="connsiteX217" fmla="*/ 70014 w 707548"/>
              <a:gd name="connsiteY217" fmla="*/ 130961 h 549462"/>
              <a:gd name="connsiteX218" fmla="*/ 84302 w 707548"/>
              <a:gd name="connsiteY218" fmla="*/ 121436 h 549462"/>
              <a:gd name="connsiteX219" fmla="*/ 89064 w 707548"/>
              <a:gd name="connsiteY219" fmla="*/ 107148 h 549462"/>
              <a:gd name="connsiteX220" fmla="*/ 96903 w 707548"/>
              <a:gd name="connsiteY220" fmla="*/ 93859 h 549462"/>
              <a:gd name="connsiteX221" fmla="*/ 103352 w 707548"/>
              <a:gd name="connsiteY221" fmla="*/ 69048 h 549462"/>
              <a:gd name="connsiteX222" fmla="*/ 93827 w 707548"/>
              <a:gd name="connsiteY222" fmla="*/ 40473 h 549462"/>
              <a:gd name="connsiteX223" fmla="*/ 84302 w 707548"/>
              <a:gd name="connsiteY223" fmla="*/ 26186 h 549462"/>
              <a:gd name="connsiteX224" fmla="*/ 41439 w 707548"/>
              <a:gd name="connsiteY224" fmla="*/ 16661 h 549462"/>
              <a:gd name="connsiteX225" fmla="*/ 12864 w 707548"/>
              <a:gd name="connsiteY225" fmla="*/ 7136 h 549462"/>
              <a:gd name="connsiteX226" fmla="*/ 0 w 707548"/>
              <a:gd name="connsiteY226" fmla="*/ 11424 h 549462"/>
              <a:gd name="connsiteX227" fmla="*/ 0 w 707548"/>
              <a:gd name="connsiteY227" fmla="*/ 5550 h 549462"/>
              <a:gd name="connsiteX228" fmla="*/ 2364 w 707548"/>
              <a:gd name="connsiteY228" fmla="*/ 5550 h 549462"/>
              <a:gd name="connsiteX229" fmla="*/ 2364 w 707548"/>
              <a:gd name="connsiteY229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84300 w 707548"/>
              <a:gd name="connsiteY186" fmla="*/ 516161 h 549462"/>
              <a:gd name="connsiteX187" fmla="*/ 684300 w 707548"/>
              <a:gd name="connsiteY187" fmla="*/ 521712 h 549462"/>
              <a:gd name="connsiteX188" fmla="*/ 699799 w 707548"/>
              <a:gd name="connsiteY188" fmla="*/ 532812 h 549462"/>
              <a:gd name="connsiteX189" fmla="*/ 699799 w 707548"/>
              <a:gd name="connsiteY189" fmla="*/ 538362 h 549462"/>
              <a:gd name="connsiteX190" fmla="*/ 699799 w 707548"/>
              <a:gd name="connsiteY190" fmla="*/ 543912 h 549462"/>
              <a:gd name="connsiteX191" fmla="*/ 699799 w 707548"/>
              <a:gd name="connsiteY191" fmla="*/ 549462 h 549462"/>
              <a:gd name="connsiteX192" fmla="*/ 631989 w 707548"/>
              <a:gd name="connsiteY192" fmla="*/ 473861 h 549462"/>
              <a:gd name="connsiteX193" fmla="*/ 570077 w 707548"/>
              <a:gd name="connsiteY193" fmla="*/ 469098 h 549462"/>
              <a:gd name="connsiteX194" fmla="*/ 536739 w 707548"/>
              <a:gd name="connsiteY194" fmla="*/ 459573 h 549462"/>
              <a:gd name="connsiteX195" fmla="*/ 503402 w 707548"/>
              <a:gd name="connsiteY195" fmla="*/ 454811 h 549462"/>
              <a:gd name="connsiteX196" fmla="*/ 489114 w 707548"/>
              <a:gd name="connsiteY196" fmla="*/ 450048 h 549462"/>
              <a:gd name="connsiteX197" fmla="*/ 470064 w 707548"/>
              <a:gd name="connsiteY197" fmla="*/ 445286 h 549462"/>
              <a:gd name="connsiteX198" fmla="*/ 412914 w 707548"/>
              <a:gd name="connsiteY198" fmla="*/ 440523 h 549462"/>
              <a:gd name="connsiteX199" fmla="*/ 351002 w 707548"/>
              <a:gd name="connsiteY199" fmla="*/ 430998 h 549462"/>
              <a:gd name="connsiteX200" fmla="*/ 265277 w 707548"/>
              <a:gd name="connsiteY200" fmla="*/ 402423 h 549462"/>
              <a:gd name="connsiteX201" fmla="*/ 246227 w 707548"/>
              <a:gd name="connsiteY201" fmla="*/ 397661 h 549462"/>
              <a:gd name="connsiteX202" fmla="*/ 231939 w 707548"/>
              <a:gd name="connsiteY202" fmla="*/ 392898 h 549462"/>
              <a:gd name="connsiteX203" fmla="*/ 203364 w 707548"/>
              <a:gd name="connsiteY203" fmla="*/ 383373 h 549462"/>
              <a:gd name="connsiteX204" fmla="*/ 174789 w 707548"/>
              <a:gd name="connsiteY204" fmla="*/ 373848 h 549462"/>
              <a:gd name="connsiteX205" fmla="*/ 170027 w 707548"/>
              <a:gd name="connsiteY205" fmla="*/ 359561 h 549462"/>
              <a:gd name="connsiteX206" fmla="*/ 155739 w 707548"/>
              <a:gd name="connsiteY206" fmla="*/ 354798 h 549462"/>
              <a:gd name="connsiteX207" fmla="*/ 136689 w 707548"/>
              <a:gd name="connsiteY207" fmla="*/ 326223 h 549462"/>
              <a:gd name="connsiteX208" fmla="*/ 117639 w 707548"/>
              <a:gd name="connsiteY208" fmla="*/ 297648 h 549462"/>
              <a:gd name="connsiteX209" fmla="*/ 112877 w 707548"/>
              <a:gd name="connsiteY209" fmla="*/ 283361 h 549462"/>
              <a:gd name="connsiteX210" fmla="*/ 103258 w 707548"/>
              <a:gd name="connsiteY210" fmla="*/ 270388 h 549462"/>
              <a:gd name="connsiteX211" fmla="*/ 98770 w 707548"/>
              <a:gd name="connsiteY211" fmla="*/ 268149 h 549462"/>
              <a:gd name="connsiteX212" fmla="*/ 98236 w 707548"/>
              <a:gd name="connsiteY212" fmla="*/ 268565 h 549462"/>
              <a:gd name="connsiteX213" fmla="*/ 93827 w 707548"/>
              <a:gd name="connsiteY213" fmla="*/ 254786 h 549462"/>
              <a:gd name="connsiteX214" fmla="*/ 79539 w 707548"/>
              <a:gd name="connsiteY214" fmla="*/ 240498 h 549462"/>
              <a:gd name="connsiteX215" fmla="*/ 70014 w 707548"/>
              <a:gd name="connsiteY215" fmla="*/ 211923 h 549462"/>
              <a:gd name="connsiteX216" fmla="*/ 70014 w 707548"/>
              <a:gd name="connsiteY216" fmla="*/ 130961 h 549462"/>
              <a:gd name="connsiteX217" fmla="*/ 84302 w 707548"/>
              <a:gd name="connsiteY217" fmla="*/ 121436 h 549462"/>
              <a:gd name="connsiteX218" fmla="*/ 89064 w 707548"/>
              <a:gd name="connsiteY218" fmla="*/ 107148 h 549462"/>
              <a:gd name="connsiteX219" fmla="*/ 96903 w 707548"/>
              <a:gd name="connsiteY219" fmla="*/ 93859 h 549462"/>
              <a:gd name="connsiteX220" fmla="*/ 103352 w 707548"/>
              <a:gd name="connsiteY220" fmla="*/ 69048 h 549462"/>
              <a:gd name="connsiteX221" fmla="*/ 93827 w 707548"/>
              <a:gd name="connsiteY221" fmla="*/ 40473 h 549462"/>
              <a:gd name="connsiteX222" fmla="*/ 84302 w 707548"/>
              <a:gd name="connsiteY222" fmla="*/ 26186 h 549462"/>
              <a:gd name="connsiteX223" fmla="*/ 41439 w 707548"/>
              <a:gd name="connsiteY223" fmla="*/ 16661 h 549462"/>
              <a:gd name="connsiteX224" fmla="*/ 12864 w 707548"/>
              <a:gd name="connsiteY224" fmla="*/ 7136 h 549462"/>
              <a:gd name="connsiteX225" fmla="*/ 0 w 707548"/>
              <a:gd name="connsiteY225" fmla="*/ 11424 h 549462"/>
              <a:gd name="connsiteX226" fmla="*/ 0 w 707548"/>
              <a:gd name="connsiteY226" fmla="*/ 5550 h 549462"/>
              <a:gd name="connsiteX227" fmla="*/ 2364 w 707548"/>
              <a:gd name="connsiteY227" fmla="*/ 5550 h 549462"/>
              <a:gd name="connsiteX228" fmla="*/ 2364 w 707548"/>
              <a:gd name="connsiteY228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84300 w 707548"/>
              <a:gd name="connsiteY186" fmla="*/ 516161 h 549462"/>
              <a:gd name="connsiteX187" fmla="*/ 699799 w 707548"/>
              <a:gd name="connsiteY187" fmla="*/ 532812 h 549462"/>
              <a:gd name="connsiteX188" fmla="*/ 699799 w 707548"/>
              <a:gd name="connsiteY188" fmla="*/ 538362 h 549462"/>
              <a:gd name="connsiteX189" fmla="*/ 699799 w 707548"/>
              <a:gd name="connsiteY189" fmla="*/ 543912 h 549462"/>
              <a:gd name="connsiteX190" fmla="*/ 699799 w 707548"/>
              <a:gd name="connsiteY190" fmla="*/ 549462 h 549462"/>
              <a:gd name="connsiteX191" fmla="*/ 631989 w 707548"/>
              <a:gd name="connsiteY191" fmla="*/ 473861 h 549462"/>
              <a:gd name="connsiteX192" fmla="*/ 570077 w 707548"/>
              <a:gd name="connsiteY192" fmla="*/ 469098 h 549462"/>
              <a:gd name="connsiteX193" fmla="*/ 536739 w 707548"/>
              <a:gd name="connsiteY193" fmla="*/ 459573 h 549462"/>
              <a:gd name="connsiteX194" fmla="*/ 503402 w 707548"/>
              <a:gd name="connsiteY194" fmla="*/ 454811 h 549462"/>
              <a:gd name="connsiteX195" fmla="*/ 489114 w 707548"/>
              <a:gd name="connsiteY195" fmla="*/ 450048 h 549462"/>
              <a:gd name="connsiteX196" fmla="*/ 470064 w 707548"/>
              <a:gd name="connsiteY196" fmla="*/ 445286 h 549462"/>
              <a:gd name="connsiteX197" fmla="*/ 412914 w 707548"/>
              <a:gd name="connsiteY197" fmla="*/ 440523 h 549462"/>
              <a:gd name="connsiteX198" fmla="*/ 351002 w 707548"/>
              <a:gd name="connsiteY198" fmla="*/ 430998 h 549462"/>
              <a:gd name="connsiteX199" fmla="*/ 265277 w 707548"/>
              <a:gd name="connsiteY199" fmla="*/ 402423 h 549462"/>
              <a:gd name="connsiteX200" fmla="*/ 246227 w 707548"/>
              <a:gd name="connsiteY200" fmla="*/ 397661 h 549462"/>
              <a:gd name="connsiteX201" fmla="*/ 231939 w 707548"/>
              <a:gd name="connsiteY201" fmla="*/ 392898 h 549462"/>
              <a:gd name="connsiteX202" fmla="*/ 203364 w 707548"/>
              <a:gd name="connsiteY202" fmla="*/ 383373 h 549462"/>
              <a:gd name="connsiteX203" fmla="*/ 174789 w 707548"/>
              <a:gd name="connsiteY203" fmla="*/ 373848 h 549462"/>
              <a:gd name="connsiteX204" fmla="*/ 170027 w 707548"/>
              <a:gd name="connsiteY204" fmla="*/ 359561 h 549462"/>
              <a:gd name="connsiteX205" fmla="*/ 155739 w 707548"/>
              <a:gd name="connsiteY205" fmla="*/ 354798 h 549462"/>
              <a:gd name="connsiteX206" fmla="*/ 136689 w 707548"/>
              <a:gd name="connsiteY206" fmla="*/ 326223 h 549462"/>
              <a:gd name="connsiteX207" fmla="*/ 117639 w 707548"/>
              <a:gd name="connsiteY207" fmla="*/ 297648 h 549462"/>
              <a:gd name="connsiteX208" fmla="*/ 112877 w 707548"/>
              <a:gd name="connsiteY208" fmla="*/ 283361 h 549462"/>
              <a:gd name="connsiteX209" fmla="*/ 103258 w 707548"/>
              <a:gd name="connsiteY209" fmla="*/ 270388 h 549462"/>
              <a:gd name="connsiteX210" fmla="*/ 98770 w 707548"/>
              <a:gd name="connsiteY210" fmla="*/ 268149 h 549462"/>
              <a:gd name="connsiteX211" fmla="*/ 98236 w 707548"/>
              <a:gd name="connsiteY211" fmla="*/ 268565 h 549462"/>
              <a:gd name="connsiteX212" fmla="*/ 93827 w 707548"/>
              <a:gd name="connsiteY212" fmla="*/ 254786 h 549462"/>
              <a:gd name="connsiteX213" fmla="*/ 79539 w 707548"/>
              <a:gd name="connsiteY213" fmla="*/ 240498 h 549462"/>
              <a:gd name="connsiteX214" fmla="*/ 70014 w 707548"/>
              <a:gd name="connsiteY214" fmla="*/ 211923 h 549462"/>
              <a:gd name="connsiteX215" fmla="*/ 70014 w 707548"/>
              <a:gd name="connsiteY215" fmla="*/ 130961 h 549462"/>
              <a:gd name="connsiteX216" fmla="*/ 84302 w 707548"/>
              <a:gd name="connsiteY216" fmla="*/ 121436 h 549462"/>
              <a:gd name="connsiteX217" fmla="*/ 89064 w 707548"/>
              <a:gd name="connsiteY217" fmla="*/ 107148 h 549462"/>
              <a:gd name="connsiteX218" fmla="*/ 96903 w 707548"/>
              <a:gd name="connsiteY218" fmla="*/ 93859 h 549462"/>
              <a:gd name="connsiteX219" fmla="*/ 103352 w 707548"/>
              <a:gd name="connsiteY219" fmla="*/ 69048 h 549462"/>
              <a:gd name="connsiteX220" fmla="*/ 93827 w 707548"/>
              <a:gd name="connsiteY220" fmla="*/ 40473 h 549462"/>
              <a:gd name="connsiteX221" fmla="*/ 84302 w 707548"/>
              <a:gd name="connsiteY221" fmla="*/ 26186 h 549462"/>
              <a:gd name="connsiteX222" fmla="*/ 41439 w 707548"/>
              <a:gd name="connsiteY222" fmla="*/ 16661 h 549462"/>
              <a:gd name="connsiteX223" fmla="*/ 12864 w 707548"/>
              <a:gd name="connsiteY223" fmla="*/ 7136 h 549462"/>
              <a:gd name="connsiteX224" fmla="*/ 0 w 707548"/>
              <a:gd name="connsiteY224" fmla="*/ 11424 h 549462"/>
              <a:gd name="connsiteX225" fmla="*/ 0 w 707548"/>
              <a:gd name="connsiteY225" fmla="*/ 5550 h 549462"/>
              <a:gd name="connsiteX226" fmla="*/ 2364 w 707548"/>
              <a:gd name="connsiteY226" fmla="*/ 5550 h 549462"/>
              <a:gd name="connsiteX227" fmla="*/ 2364 w 707548"/>
              <a:gd name="connsiteY227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84300 w 707548"/>
              <a:gd name="connsiteY185" fmla="*/ 510611 h 549462"/>
              <a:gd name="connsiteX186" fmla="*/ 699799 w 707548"/>
              <a:gd name="connsiteY186" fmla="*/ 532812 h 549462"/>
              <a:gd name="connsiteX187" fmla="*/ 699799 w 707548"/>
              <a:gd name="connsiteY187" fmla="*/ 538362 h 549462"/>
              <a:gd name="connsiteX188" fmla="*/ 699799 w 707548"/>
              <a:gd name="connsiteY188" fmla="*/ 543912 h 549462"/>
              <a:gd name="connsiteX189" fmla="*/ 699799 w 707548"/>
              <a:gd name="connsiteY189" fmla="*/ 549462 h 549462"/>
              <a:gd name="connsiteX190" fmla="*/ 631989 w 707548"/>
              <a:gd name="connsiteY190" fmla="*/ 473861 h 549462"/>
              <a:gd name="connsiteX191" fmla="*/ 570077 w 707548"/>
              <a:gd name="connsiteY191" fmla="*/ 469098 h 549462"/>
              <a:gd name="connsiteX192" fmla="*/ 536739 w 707548"/>
              <a:gd name="connsiteY192" fmla="*/ 459573 h 549462"/>
              <a:gd name="connsiteX193" fmla="*/ 503402 w 707548"/>
              <a:gd name="connsiteY193" fmla="*/ 454811 h 549462"/>
              <a:gd name="connsiteX194" fmla="*/ 489114 w 707548"/>
              <a:gd name="connsiteY194" fmla="*/ 450048 h 549462"/>
              <a:gd name="connsiteX195" fmla="*/ 470064 w 707548"/>
              <a:gd name="connsiteY195" fmla="*/ 445286 h 549462"/>
              <a:gd name="connsiteX196" fmla="*/ 412914 w 707548"/>
              <a:gd name="connsiteY196" fmla="*/ 440523 h 549462"/>
              <a:gd name="connsiteX197" fmla="*/ 351002 w 707548"/>
              <a:gd name="connsiteY197" fmla="*/ 430998 h 549462"/>
              <a:gd name="connsiteX198" fmla="*/ 265277 w 707548"/>
              <a:gd name="connsiteY198" fmla="*/ 402423 h 549462"/>
              <a:gd name="connsiteX199" fmla="*/ 246227 w 707548"/>
              <a:gd name="connsiteY199" fmla="*/ 397661 h 549462"/>
              <a:gd name="connsiteX200" fmla="*/ 231939 w 707548"/>
              <a:gd name="connsiteY200" fmla="*/ 392898 h 549462"/>
              <a:gd name="connsiteX201" fmla="*/ 203364 w 707548"/>
              <a:gd name="connsiteY201" fmla="*/ 383373 h 549462"/>
              <a:gd name="connsiteX202" fmla="*/ 174789 w 707548"/>
              <a:gd name="connsiteY202" fmla="*/ 373848 h 549462"/>
              <a:gd name="connsiteX203" fmla="*/ 170027 w 707548"/>
              <a:gd name="connsiteY203" fmla="*/ 359561 h 549462"/>
              <a:gd name="connsiteX204" fmla="*/ 155739 w 707548"/>
              <a:gd name="connsiteY204" fmla="*/ 354798 h 549462"/>
              <a:gd name="connsiteX205" fmla="*/ 136689 w 707548"/>
              <a:gd name="connsiteY205" fmla="*/ 326223 h 549462"/>
              <a:gd name="connsiteX206" fmla="*/ 117639 w 707548"/>
              <a:gd name="connsiteY206" fmla="*/ 297648 h 549462"/>
              <a:gd name="connsiteX207" fmla="*/ 112877 w 707548"/>
              <a:gd name="connsiteY207" fmla="*/ 283361 h 549462"/>
              <a:gd name="connsiteX208" fmla="*/ 103258 w 707548"/>
              <a:gd name="connsiteY208" fmla="*/ 270388 h 549462"/>
              <a:gd name="connsiteX209" fmla="*/ 98770 w 707548"/>
              <a:gd name="connsiteY209" fmla="*/ 268149 h 549462"/>
              <a:gd name="connsiteX210" fmla="*/ 98236 w 707548"/>
              <a:gd name="connsiteY210" fmla="*/ 268565 h 549462"/>
              <a:gd name="connsiteX211" fmla="*/ 93827 w 707548"/>
              <a:gd name="connsiteY211" fmla="*/ 254786 h 549462"/>
              <a:gd name="connsiteX212" fmla="*/ 79539 w 707548"/>
              <a:gd name="connsiteY212" fmla="*/ 240498 h 549462"/>
              <a:gd name="connsiteX213" fmla="*/ 70014 w 707548"/>
              <a:gd name="connsiteY213" fmla="*/ 211923 h 549462"/>
              <a:gd name="connsiteX214" fmla="*/ 70014 w 707548"/>
              <a:gd name="connsiteY214" fmla="*/ 130961 h 549462"/>
              <a:gd name="connsiteX215" fmla="*/ 84302 w 707548"/>
              <a:gd name="connsiteY215" fmla="*/ 121436 h 549462"/>
              <a:gd name="connsiteX216" fmla="*/ 89064 w 707548"/>
              <a:gd name="connsiteY216" fmla="*/ 107148 h 549462"/>
              <a:gd name="connsiteX217" fmla="*/ 96903 w 707548"/>
              <a:gd name="connsiteY217" fmla="*/ 93859 h 549462"/>
              <a:gd name="connsiteX218" fmla="*/ 103352 w 707548"/>
              <a:gd name="connsiteY218" fmla="*/ 69048 h 549462"/>
              <a:gd name="connsiteX219" fmla="*/ 93827 w 707548"/>
              <a:gd name="connsiteY219" fmla="*/ 40473 h 549462"/>
              <a:gd name="connsiteX220" fmla="*/ 84302 w 707548"/>
              <a:gd name="connsiteY220" fmla="*/ 26186 h 549462"/>
              <a:gd name="connsiteX221" fmla="*/ 41439 w 707548"/>
              <a:gd name="connsiteY221" fmla="*/ 16661 h 549462"/>
              <a:gd name="connsiteX222" fmla="*/ 12864 w 707548"/>
              <a:gd name="connsiteY222" fmla="*/ 7136 h 549462"/>
              <a:gd name="connsiteX223" fmla="*/ 0 w 707548"/>
              <a:gd name="connsiteY223" fmla="*/ 11424 h 549462"/>
              <a:gd name="connsiteX224" fmla="*/ 0 w 707548"/>
              <a:gd name="connsiteY224" fmla="*/ 5550 h 549462"/>
              <a:gd name="connsiteX225" fmla="*/ 2364 w 707548"/>
              <a:gd name="connsiteY225" fmla="*/ 5550 h 549462"/>
              <a:gd name="connsiteX226" fmla="*/ 2364 w 707548"/>
              <a:gd name="connsiteY226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84300 w 707548"/>
              <a:gd name="connsiteY184" fmla="*/ 505061 h 549462"/>
              <a:gd name="connsiteX185" fmla="*/ 699799 w 707548"/>
              <a:gd name="connsiteY185" fmla="*/ 532812 h 549462"/>
              <a:gd name="connsiteX186" fmla="*/ 699799 w 707548"/>
              <a:gd name="connsiteY186" fmla="*/ 538362 h 549462"/>
              <a:gd name="connsiteX187" fmla="*/ 699799 w 707548"/>
              <a:gd name="connsiteY187" fmla="*/ 543912 h 549462"/>
              <a:gd name="connsiteX188" fmla="*/ 699799 w 707548"/>
              <a:gd name="connsiteY188" fmla="*/ 549462 h 549462"/>
              <a:gd name="connsiteX189" fmla="*/ 631989 w 707548"/>
              <a:gd name="connsiteY189" fmla="*/ 473861 h 549462"/>
              <a:gd name="connsiteX190" fmla="*/ 570077 w 707548"/>
              <a:gd name="connsiteY190" fmla="*/ 469098 h 549462"/>
              <a:gd name="connsiteX191" fmla="*/ 536739 w 707548"/>
              <a:gd name="connsiteY191" fmla="*/ 459573 h 549462"/>
              <a:gd name="connsiteX192" fmla="*/ 503402 w 707548"/>
              <a:gd name="connsiteY192" fmla="*/ 454811 h 549462"/>
              <a:gd name="connsiteX193" fmla="*/ 489114 w 707548"/>
              <a:gd name="connsiteY193" fmla="*/ 450048 h 549462"/>
              <a:gd name="connsiteX194" fmla="*/ 470064 w 707548"/>
              <a:gd name="connsiteY194" fmla="*/ 445286 h 549462"/>
              <a:gd name="connsiteX195" fmla="*/ 412914 w 707548"/>
              <a:gd name="connsiteY195" fmla="*/ 440523 h 549462"/>
              <a:gd name="connsiteX196" fmla="*/ 351002 w 707548"/>
              <a:gd name="connsiteY196" fmla="*/ 430998 h 549462"/>
              <a:gd name="connsiteX197" fmla="*/ 265277 w 707548"/>
              <a:gd name="connsiteY197" fmla="*/ 402423 h 549462"/>
              <a:gd name="connsiteX198" fmla="*/ 246227 w 707548"/>
              <a:gd name="connsiteY198" fmla="*/ 397661 h 549462"/>
              <a:gd name="connsiteX199" fmla="*/ 231939 w 707548"/>
              <a:gd name="connsiteY199" fmla="*/ 392898 h 549462"/>
              <a:gd name="connsiteX200" fmla="*/ 203364 w 707548"/>
              <a:gd name="connsiteY200" fmla="*/ 383373 h 549462"/>
              <a:gd name="connsiteX201" fmla="*/ 174789 w 707548"/>
              <a:gd name="connsiteY201" fmla="*/ 373848 h 549462"/>
              <a:gd name="connsiteX202" fmla="*/ 170027 w 707548"/>
              <a:gd name="connsiteY202" fmla="*/ 359561 h 549462"/>
              <a:gd name="connsiteX203" fmla="*/ 155739 w 707548"/>
              <a:gd name="connsiteY203" fmla="*/ 354798 h 549462"/>
              <a:gd name="connsiteX204" fmla="*/ 136689 w 707548"/>
              <a:gd name="connsiteY204" fmla="*/ 326223 h 549462"/>
              <a:gd name="connsiteX205" fmla="*/ 117639 w 707548"/>
              <a:gd name="connsiteY205" fmla="*/ 297648 h 549462"/>
              <a:gd name="connsiteX206" fmla="*/ 112877 w 707548"/>
              <a:gd name="connsiteY206" fmla="*/ 283361 h 549462"/>
              <a:gd name="connsiteX207" fmla="*/ 103258 w 707548"/>
              <a:gd name="connsiteY207" fmla="*/ 270388 h 549462"/>
              <a:gd name="connsiteX208" fmla="*/ 98770 w 707548"/>
              <a:gd name="connsiteY208" fmla="*/ 268149 h 549462"/>
              <a:gd name="connsiteX209" fmla="*/ 98236 w 707548"/>
              <a:gd name="connsiteY209" fmla="*/ 268565 h 549462"/>
              <a:gd name="connsiteX210" fmla="*/ 93827 w 707548"/>
              <a:gd name="connsiteY210" fmla="*/ 254786 h 549462"/>
              <a:gd name="connsiteX211" fmla="*/ 79539 w 707548"/>
              <a:gd name="connsiteY211" fmla="*/ 240498 h 549462"/>
              <a:gd name="connsiteX212" fmla="*/ 70014 w 707548"/>
              <a:gd name="connsiteY212" fmla="*/ 211923 h 549462"/>
              <a:gd name="connsiteX213" fmla="*/ 70014 w 707548"/>
              <a:gd name="connsiteY213" fmla="*/ 130961 h 549462"/>
              <a:gd name="connsiteX214" fmla="*/ 84302 w 707548"/>
              <a:gd name="connsiteY214" fmla="*/ 121436 h 549462"/>
              <a:gd name="connsiteX215" fmla="*/ 89064 w 707548"/>
              <a:gd name="connsiteY215" fmla="*/ 107148 h 549462"/>
              <a:gd name="connsiteX216" fmla="*/ 96903 w 707548"/>
              <a:gd name="connsiteY216" fmla="*/ 93859 h 549462"/>
              <a:gd name="connsiteX217" fmla="*/ 103352 w 707548"/>
              <a:gd name="connsiteY217" fmla="*/ 69048 h 549462"/>
              <a:gd name="connsiteX218" fmla="*/ 93827 w 707548"/>
              <a:gd name="connsiteY218" fmla="*/ 40473 h 549462"/>
              <a:gd name="connsiteX219" fmla="*/ 84302 w 707548"/>
              <a:gd name="connsiteY219" fmla="*/ 26186 h 549462"/>
              <a:gd name="connsiteX220" fmla="*/ 41439 w 707548"/>
              <a:gd name="connsiteY220" fmla="*/ 16661 h 549462"/>
              <a:gd name="connsiteX221" fmla="*/ 12864 w 707548"/>
              <a:gd name="connsiteY221" fmla="*/ 7136 h 549462"/>
              <a:gd name="connsiteX222" fmla="*/ 0 w 707548"/>
              <a:gd name="connsiteY222" fmla="*/ 11424 h 549462"/>
              <a:gd name="connsiteX223" fmla="*/ 0 w 707548"/>
              <a:gd name="connsiteY223" fmla="*/ 5550 h 549462"/>
              <a:gd name="connsiteX224" fmla="*/ 2364 w 707548"/>
              <a:gd name="connsiteY224" fmla="*/ 5550 h 549462"/>
              <a:gd name="connsiteX225" fmla="*/ 2364 w 707548"/>
              <a:gd name="connsiteY225" fmla="*/ 0 h 549462"/>
              <a:gd name="connsiteX0" fmla="*/ 2364 w 707548"/>
              <a:gd name="connsiteY0" fmla="*/ 0 h 549462"/>
              <a:gd name="connsiteX1" fmla="*/ 10113 w 707548"/>
              <a:gd name="connsiteY1" fmla="*/ 0 h 549462"/>
              <a:gd name="connsiteX2" fmla="*/ 10113 w 707548"/>
              <a:gd name="connsiteY2" fmla="*/ 5550 h 549462"/>
              <a:gd name="connsiteX3" fmla="*/ 17862 w 707548"/>
              <a:gd name="connsiteY3" fmla="*/ 5550 h 549462"/>
              <a:gd name="connsiteX4" fmla="*/ 25612 w 707548"/>
              <a:gd name="connsiteY4" fmla="*/ 5550 h 549462"/>
              <a:gd name="connsiteX5" fmla="*/ 33361 w 707548"/>
              <a:gd name="connsiteY5" fmla="*/ 5550 h 549462"/>
              <a:gd name="connsiteX6" fmla="*/ 33361 w 707548"/>
              <a:gd name="connsiteY6" fmla="*/ 11100 h 549462"/>
              <a:gd name="connsiteX7" fmla="*/ 41110 w 707548"/>
              <a:gd name="connsiteY7" fmla="*/ 5550 h 549462"/>
              <a:gd name="connsiteX8" fmla="*/ 41110 w 707548"/>
              <a:gd name="connsiteY8" fmla="*/ 11100 h 549462"/>
              <a:gd name="connsiteX9" fmla="*/ 48859 w 707548"/>
              <a:gd name="connsiteY9" fmla="*/ 11100 h 549462"/>
              <a:gd name="connsiteX10" fmla="*/ 48859 w 707548"/>
              <a:gd name="connsiteY10" fmla="*/ 16651 h 549462"/>
              <a:gd name="connsiteX11" fmla="*/ 56609 w 707548"/>
              <a:gd name="connsiteY11" fmla="*/ 16651 h 549462"/>
              <a:gd name="connsiteX12" fmla="*/ 64358 w 707548"/>
              <a:gd name="connsiteY12" fmla="*/ 16651 h 549462"/>
              <a:gd name="connsiteX13" fmla="*/ 64358 w 707548"/>
              <a:gd name="connsiteY13" fmla="*/ 22201 h 549462"/>
              <a:gd name="connsiteX14" fmla="*/ 72107 w 707548"/>
              <a:gd name="connsiteY14" fmla="*/ 22201 h 549462"/>
              <a:gd name="connsiteX15" fmla="*/ 72107 w 707548"/>
              <a:gd name="connsiteY15" fmla="*/ 16651 h 549462"/>
              <a:gd name="connsiteX16" fmla="*/ 79857 w 707548"/>
              <a:gd name="connsiteY16" fmla="*/ 16651 h 549462"/>
              <a:gd name="connsiteX17" fmla="*/ 87606 w 707548"/>
              <a:gd name="connsiteY17" fmla="*/ 16651 h 549462"/>
              <a:gd name="connsiteX18" fmla="*/ 95355 w 707548"/>
              <a:gd name="connsiteY18" fmla="*/ 16651 h 549462"/>
              <a:gd name="connsiteX19" fmla="*/ 103104 w 707548"/>
              <a:gd name="connsiteY19" fmla="*/ 22201 h 549462"/>
              <a:gd name="connsiteX20" fmla="*/ 110854 w 707548"/>
              <a:gd name="connsiteY20" fmla="*/ 16651 h 549462"/>
              <a:gd name="connsiteX21" fmla="*/ 110854 w 707548"/>
              <a:gd name="connsiteY21" fmla="*/ 22201 h 549462"/>
              <a:gd name="connsiteX22" fmla="*/ 118603 w 707548"/>
              <a:gd name="connsiteY22" fmla="*/ 22201 h 549462"/>
              <a:gd name="connsiteX23" fmla="*/ 118603 w 707548"/>
              <a:gd name="connsiteY23" fmla="*/ 27751 h 549462"/>
              <a:gd name="connsiteX24" fmla="*/ 126352 w 707548"/>
              <a:gd name="connsiteY24" fmla="*/ 33301 h 549462"/>
              <a:gd name="connsiteX25" fmla="*/ 134102 w 707548"/>
              <a:gd name="connsiteY25" fmla="*/ 33301 h 549462"/>
              <a:gd name="connsiteX26" fmla="*/ 134102 w 707548"/>
              <a:gd name="connsiteY26" fmla="*/ 38851 h 549462"/>
              <a:gd name="connsiteX27" fmla="*/ 141851 w 707548"/>
              <a:gd name="connsiteY27" fmla="*/ 38851 h 549462"/>
              <a:gd name="connsiteX28" fmla="*/ 141851 w 707548"/>
              <a:gd name="connsiteY28" fmla="*/ 44401 h 549462"/>
              <a:gd name="connsiteX29" fmla="*/ 149600 w 707548"/>
              <a:gd name="connsiteY29" fmla="*/ 44401 h 549462"/>
              <a:gd name="connsiteX30" fmla="*/ 157349 w 707548"/>
              <a:gd name="connsiteY30" fmla="*/ 44401 h 549462"/>
              <a:gd name="connsiteX31" fmla="*/ 157349 w 707548"/>
              <a:gd name="connsiteY31" fmla="*/ 49951 h 549462"/>
              <a:gd name="connsiteX32" fmla="*/ 165099 w 707548"/>
              <a:gd name="connsiteY32" fmla="*/ 44401 h 549462"/>
              <a:gd name="connsiteX33" fmla="*/ 165099 w 707548"/>
              <a:gd name="connsiteY33" fmla="*/ 49951 h 549462"/>
              <a:gd name="connsiteX34" fmla="*/ 172848 w 707548"/>
              <a:gd name="connsiteY34" fmla="*/ 55501 h 549462"/>
              <a:gd name="connsiteX35" fmla="*/ 180597 w 707548"/>
              <a:gd name="connsiteY35" fmla="*/ 55501 h 549462"/>
              <a:gd name="connsiteX36" fmla="*/ 180597 w 707548"/>
              <a:gd name="connsiteY36" fmla="*/ 61052 h 549462"/>
              <a:gd name="connsiteX37" fmla="*/ 188347 w 707548"/>
              <a:gd name="connsiteY37" fmla="*/ 61052 h 549462"/>
              <a:gd name="connsiteX38" fmla="*/ 188347 w 707548"/>
              <a:gd name="connsiteY38" fmla="*/ 66602 h 549462"/>
              <a:gd name="connsiteX39" fmla="*/ 196096 w 707548"/>
              <a:gd name="connsiteY39" fmla="*/ 72152 h 549462"/>
              <a:gd name="connsiteX40" fmla="*/ 203845 w 707548"/>
              <a:gd name="connsiteY40" fmla="*/ 77702 h 549462"/>
              <a:gd name="connsiteX41" fmla="*/ 211594 w 707548"/>
              <a:gd name="connsiteY41" fmla="*/ 77702 h 549462"/>
              <a:gd name="connsiteX42" fmla="*/ 219344 w 707548"/>
              <a:gd name="connsiteY42" fmla="*/ 77702 h 549462"/>
              <a:gd name="connsiteX43" fmla="*/ 227093 w 707548"/>
              <a:gd name="connsiteY43" fmla="*/ 77702 h 549462"/>
              <a:gd name="connsiteX44" fmla="*/ 234842 w 707548"/>
              <a:gd name="connsiteY44" fmla="*/ 77702 h 549462"/>
              <a:gd name="connsiteX45" fmla="*/ 234842 w 707548"/>
              <a:gd name="connsiteY45" fmla="*/ 83252 h 549462"/>
              <a:gd name="connsiteX46" fmla="*/ 227093 w 707548"/>
              <a:gd name="connsiteY46" fmla="*/ 83252 h 549462"/>
              <a:gd name="connsiteX47" fmla="*/ 227093 w 707548"/>
              <a:gd name="connsiteY47" fmla="*/ 88802 h 549462"/>
              <a:gd name="connsiteX48" fmla="*/ 234842 w 707548"/>
              <a:gd name="connsiteY48" fmla="*/ 88802 h 549462"/>
              <a:gd name="connsiteX49" fmla="*/ 234842 w 707548"/>
              <a:gd name="connsiteY49" fmla="*/ 94352 h 549462"/>
              <a:gd name="connsiteX50" fmla="*/ 234842 w 707548"/>
              <a:gd name="connsiteY50" fmla="*/ 99902 h 549462"/>
              <a:gd name="connsiteX51" fmla="*/ 250341 w 707548"/>
              <a:gd name="connsiteY51" fmla="*/ 99902 h 549462"/>
              <a:gd name="connsiteX52" fmla="*/ 250341 w 707548"/>
              <a:gd name="connsiteY52" fmla="*/ 105453 h 549462"/>
              <a:gd name="connsiteX53" fmla="*/ 258090 w 707548"/>
              <a:gd name="connsiteY53" fmla="*/ 105453 h 549462"/>
              <a:gd name="connsiteX54" fmla="*/ 258090 w 707548"/>
              <a:gd name="connsiteY54" fmla="*/ 116553 h 549462"/>
              <a:gd name="connsiteX55" fmla="*/ 265839 w 707548"/>
              <a:gd name="connsiteY55" fmla="*/ 116553 h 549462"/>
              <a:gd name="connsiteX56" fmla="*/ 265839 w 707548"/>
              <a:gd name="connsiteY56" fmla="*/ 122103 h 549462"/>
              <a:gd name="connsiteX57" fmla="*/ 273589 w 707548"/>
              <a:gd name="connsiteY57" fmla="*/ 122103 h 549462"/>
              <a:gd name="connsiteX58" fmla="*/ 273589 w 707548"/>
              <a:gd name="connsiteY58" fmla="*/ 127653 h 549462"/>
              <a:gd name="connsiteX59" fmla="*/ 265839 w 707548"/>
              <a:gd name="connsiteY59" fmla="*/ 138753 h 549462"/>
              <a:gd name="connsiteX60" fmla="*/ 273589 w 707548"/>
              <a:gd name="connsiteY60" fmla="*/ 144303 h 549462"/>
              <a:gd name="connsiteX61" fmla="*/ 273589 w 707548"/>
              <a:gd name="connsiteY61" fmla="*/ 149853 h 549462"/>
              <a:gd name="connsiteX62" fmla="*/ 273589 w 707548"/>
              <a:gd name="connsiteY62" fmla="*/ 155404 h 549462"/>
              <a:gd name="connsiteX63" fmla="*/ 265839 w 707548"/>
              <a:gd name="connsiteY63" fmla="*/ 155404 h 549462"/>
              <a:gd name="connsiteX64" fmla="*/ 258090 w 707548"/>
              <a:gd name="connsiteY64" fmla="*/ 155404 h 549462"/>
              <a:gd name="connsiteX65" fmla="*/ 258090 w 707548"/>
              <a:gd name="connsiteY65" fmla="*/ 160954 h 549462"/>
              <a:gd name="connsiteX66" fmla="*/ 265839 w 707548"/>
              <a:gd name="connsiteY66" fmla="*/ 160954 h 549462"/>
              <a:gd name="connsiteX67" fmla="*/ 273589 w 707548"/>
              <a:gd name="connsiteY67" fmla="*/ 166504 h 549462"/>
              <a:gd name="connsiteX68" fmla="*/ 281338 w 707548"/>
              <a:gd name="connsiteY68" fmla="*/ 172054 h 549462"/>
              <a:gd name="connsiteX69" fmla="*/ 289087 w 707548"/>
              <a:gd name="connsiteY69" fmla="*/ 172054 h 549462"/>
              <a:gd name="connsiteX70" fmla="*/ 296836 w 707548"/>
              <a:gd name="connsiteY70" fmla="*/ 177604 h 549462"/>
              <a:gd name="connsiteX71" fmla="*/ 296836 w 707548"/>
              <a:gd name="connsiteY71" fmla="*/ 183154 h 549462"/>
              <a:gd name="connsiteX72" fmla="*/ 304586 w 707548"/>
              <a:gd name="connsiteY72" fmla="*/ 183154 h 549462"/>
              <a:gd name="connsiteX73" fmla="*/ 304586 w 707548"/>
              <a:gd name="connsiteY73" fmla="*/ 188704 h 549462"/>
              <a:gd name="connsiteX74" fmla="*/ 312335 w 707548"/>
              <a:gd name="connsiteY74" fmla="*/ 188704 h 549462"/>
              <a:gd name="connsiteX75" fmla="*/ 320084 w 707548"/>
              <a:gd name="connsiteY75" fmla="*/ 188704 h 549462"/>
              <a:gd name="connsiteX76" fmla="*/ 320084 w 707548"/>
              <a:gd name="connsiteY76" fmla="*/ 194254 h 549462"/>
              <a:gd name="connsiteX77" fmla="*/ 327834 w 707548"/>
              <a:gd name="connsiteY77" fmla="*/ 194254 h 549462"/>
              <a:gd name="connsiteX78" fmla="*/ 335583 w 707548"/>
              <a:gd name="connsiteY78" fmla="*/ 194254 h 549462"/>
              <a:gd name="connsiteX79" fmla="*/ 335583 w 707548"/>
              <a:gd name="connsiteY79" fmla="*/ 199805 h 549462"/>
              <a:gd name="connsiteX80" fmla="*/ 343332 w 707548"/>
              <a:gd name="connsiteY80" fmla="*/ 199805 h 549462"/>
              <a:gd name="connsiteX81" fmla="*/ 343332 w 707548"/>
              <a:gd name="connsiteY81" fmla="*/ 205355 h 549462"/>
              <a:gd name="connsiteX82" fmla="*/ 343332 w 707548"/>
              <a:gd name="connsiteY82" fmla="*/ 210905 h 549462"/>
              <a:gd name="connsiteX83" fmla="*/ 335583 w 707548"/>
              <a:gd name="connsiteY83" fmla="*/ 216455 h 549462"/>
              <a:gd name="connsiteX84" fmla="*/ 343332 w 707548"/>
              <a:gd name="connsiteY84" fmla="*/ 216455 h 549462"/>
              <a:gd name="connsiteX85" fmla="*/ 343332 w 707548"/>
              <a:gd name="connsiteY85" fmla="*/ 222005 h 549462"/>
              <a:gd name="connsiteX86" fmla="*/ 343332 w 707548"/>
              <a:gd name="connsiteY86" fmla="*/ 227555 h 549462"/>
              <a:gd name="connsiteX87" fmla="*/ 351081 w 707548"/>
              <a:gd name="connsiteY87" fmla="*/ 227555 h 549462"/>
              <a:gd name="connsiteX88" fmla="*/ 351081 w 707548"/>
              <a:gd name="connsiteY88" fmla="*/ 233105 h 549462"/>
              <a:gd name="connsiteX89" fmla="*/ 358831 w 707548"/>
              <a:gd name="connsiteY89" fmla="*/ 233105 h 549462"/>
              <a:gd name="connsiteX90" fmla="*/ 358831 w 707548"/>
              <a:gd name="connsiteY90" fmla="*/ 238655 h 549462"/>
              <a:gd name="connsiteX91" fmla="*/ 366580 w 707548"/>
              <a:gd name="connsiteY91" fmla="*/ 238655 h 549462"/>
              <a:gd name="connsiteX92" fmla="*/ 374329 w 707548"/>
              <a:gd name="connsiteY92" fmla="*/ 238655 h 549462"/>
              <a:gd name="connsiteX93" fmla="*/ 374329 w 707548"/>
              <a:gd name="connsiteY93" fmla="*/ 244206 h 549462"/>
              <a:gd name="connsiteX94" fmla="*/ 382078 w 707548"/>
              <a:gd name="connsiteY94" fmla="*/ 244206 h 549462"/>
              <a:gd name="connsiteX95" fmla="*/ 382078 w 707548"/>
              <a:gd name="connsiteY95" fmla="*/ 249756 h 549462"/>
              <a:gd name="connsiteX96" fmla="*/ 389828 w 707548"/>
              <a:gd name="connsiteY96" fmla="*/ 249756 h 549462"/>
              <a:gd name="connsiteX97" fmla="*/ 397577 w 707548"/>
              <a:gd name="connsiteY97" fmla="*/ 249756 h 549462"/>
              <a:gd name="connsiteX98" fmla="*/ 405326 w 707548"/>
              <a:gd name="connsiteY98" fmla="*/ 249756 h 549462"/>
              <a:gd name="connsiteX99" fmla="*/ 413076 w 707548"/>
              <a:gd name="connsiteY99" fmla="*/ 255306 h 549462"/>
              <a:gd name="connsiteX100" fmla="*/ 428574 w 707548"/>
              <a:gd name="connsiteY100" fmla="*/ 255306 h 549462"/>
              <a:gd name="connsiteX101" fmla="*/ 436323 w 707548"/>
              <a:gd name="connsiteY101" fmla="*/ 260856 h 549462"/>
              <a:gd name="connsiteX102" fmla="*/ 444073 w 707548"/>
              <a:gd name="connsiteY102" fmla="*/ 260856 h 549462"/>
              <a:gd name="connsiteX103" fmla="*/ 451822 w 707548"/>
              <a:gd name="connsiteY103" fmla="*/ 260856 h 549462"/>
              <a:gd name="connsiteX104" fmla="*/ 459571 w 707548"/>
              <a:gd name="connsiteY104" fmla="*/ 260856 h 549462"/>
              <a:gd name="connsiteX105" fmla="*/ 467321 w 707548"/>
              <a:gd name="connsiteY105" fmla="*/ 266406 h 549462"/>
              <a:gd name="connsiteX106" fmla="*/ 467321 w 707548"/>
              <a:gd name="connsiteY106" fmla="*/ 271956 h 549462"/>
              <a:gd name="connsiteX107" fmla="*/ 467321 w 707548"/>
              <a:gd name="connsiteY107" fmla="*/ 277506 h 549462"/>
              <a:gd name="connsiteX108" fmla="*/ 475070 w 707548"/>
              <a:gd name="connsiteY108" fmla="*/ 277506 h 549462"/>
              <a:gd name="connsiteX109" fmla="*/ 482819 w 707548"/>
              <a:gd name="connsiteY109" fmla="*/ 277506 h 549462"/>
              <a:gd name="connsiteX110" fmla="*/ 482819 w 707548"/>
              <a:gd name="connsiteY110" fmla="*/ 283056 h 549462"/>
              <a:gd name="connsiteX111" fmla="*/ 490568 w 707548"/>
              <a:gd name="connsiteY111" fmla="*/ 283056 h 549462"/>
              <a:gd name="connsiteX112" fmla="*/ 490568 w 707548"/>
              <a:gd name="connsiteY112" fmla="*/ 288606 h 549462"/>
              <a:gd name="connsiteX113" fmla="*/ 490568 w 707548"/>
              <a:gd name="connsiteY113" fmla="*/ 294157 h 549462"/>
              <a:gd name="connsiteX114" fmla="*/ 498318 w 707548"/>
              <a:gd name="connsiteY114" fmla="*/ 294157 h 549462"/>
              <a:gd name="connsiteX115" fmla="*/ 498318 w 707548"/>
              <a:gd name="connsiteY115" fmla="*/ 299707 h 549462"/>
              <a:gd name="connsiteX116" fmla="*/ 490568 w 707548"/>
              <a:gd name="connsiteY116" fmla="*/ 299707 h 549462"/>
              <a:gd name="connsiteX117" fmla="*/ 490568 w 707548"/>
              <a:gd name="connsiteY117" fmla="*/ 305257 h 549462"/>
              <a:gd name="connsiteX118" fmla="*/ 490568 w 707548"/>
              <a:gd name="connsiteY118" fmla="*/ 310807 h 549462"/>
              <a:gd name="connsiteX119" fmla="*/ 490568 w 707548"/>
              <a:gd name="connsiteY119" fmla="*/ 316357 h 549462"/>
              <a:gd name="connsiteX120" fmla="*/ 490568 w 707548"/>
              <a:gd name="connsiteY120" fmla="*/ 321907 h 549462"/>
              <a:gd name="connsiteX121" fmla="*/ 498318 w 707548"/>
              <a:gd name="connsiteY121" fmla="*/ 321907 h 549462"/>
              <a:gd name="connsiteX122" fmla="*/ 506067 w 707548"/>
              <a:gd name="connsiteY122" fmla="*/ 321907 h 549462"/>
              <a:gd name="connsiteX123" fmla="*/ 513816 w 707548"/>
              <a:gd name="connsiteY123" fmla="*/ 327457 h 549462"/>
              <a:gd name="connsiteX124" fmla="*/ 521565 w 707548"/>
              <a:gd name="connsiteY124" fmla="*/ 327457 h 549462"/>
              <a:gd name="connsiteX125" fmla="*/ 529315 w 707548"/>
              <a:gd name="connsiteY125" fmla="*/ 327457 h 549462"/>
              <a:gd name="connsiteX126" fmla="*/ 529315 w 707548"/>
              <a:gd name="connsiteY126" fmla="*/ 321907 h 549462"/>
              <a:gd name="connsiteX127" fmla="*/ 537064 w 707548"/>
              <a:gd name="connsiteY127" fmla="*/ 321907 h 549462"/>
              <a:gd name="connsiteX128" fmla="*/ 544813 w 707548"/>
              <a:gd name="connsiteY128" fmla="*/ 321907 h 549462"/>
              <a:gd name="connsiteX129" fmla="*/ 544813 w 707548"/>
              <a:gd name="connsiteY129" fmla="*/ 327457 h 549462"/>
              <a:gd name="connsiteX130" fmla="*/ 552562 w 707548"/>
              <a:gd name="connsiteY130" fmla="*/ 333007 h 549462"/>
              <a:gd name="connsiteX131" fmla="*/ 560312 w 707548"/>
              <a:gd name="connsiteY131" fmla="*/ 338558 h 549462"/>
              <a:gd name="connsiteX132" fmla="*/ 568061 w 707548"/>
              <a:gd name="connsiteY132" fmla="*/ 338558 h 549462"/>
              <a:gd name="connsiteX133" fmla="*/ 568061 w 707548"/>
              <a:gd name="connsiteY133" fmla="*/ 344108 h 549462"/>
              <a:gd name="connsiteX134" fmla="*/ 575810 w 707548"/>
              <a:gd name="connsiteY134" fmla="*/ 349658 h 549462"/>
              <a:gd name="connsiteX135" fmla="*/ 575810 w 707548"/>
              <a:gd name="connsiteY135" fmla="*/ 355208 h 549462"/>
              <a:gd name="connsiteX136" fmla="*/ 583560 w 707548"/>
              <a:gd name="connsiteY136" fmla="*/ 355208 h 549462"/>
              <a:gd name="connsiteX137" fmla="*/ 591309 w 707548"/>
              <a:gd name="connsiteY137" fmla="*/ 366308 h 549462"/>
              <a:gd name="connsiteX138" fmla="*/ 599058 w 707548"/>
              <a:gd name="connsiteY138" fmla="*/ 366308 h 549462"/>
              <a:gd name="connsiteX139" fmla="*/ 599058 w 707548"/>
              <a:gd name="connsiteY139" fmla="*/ 371858 h 549462"/>
              <a:gd name="connsiteX140" fmla="*/ 606807 w 707548"/>
              <a:gd name="connsiteY140" fmla="*/ 371858 h 549462"/>
              <a:gd name="connsiteX141" fmla="*/ 606807 w 707548"/>
              <a:gd name="connsiteY141" fmla="*/ 366308 h 549462"/>
              <a:gd name="connsiteX142" fmla="*/ 614557 w 707548"/>
              <a:gd name="connsiteY142" fmla="*/ 366308 h 549462"/>
              <a:gd name="connsiteX143" fmla="*/ 622306 w 707548"/>
              <a:gd name="connsiteY143" fmla="*/ 366308 h 549462"/>
              <a:gd name="connsiteX144" fmla="*/ 630055 w 707548"/>
              <a:gd name="connsiteY144" fmla="*/ 366308 h 549462"/>
              <a:gd name="connsiteX145" fmla="*/ 637804 w 707548"/>
              <a:gd name="connsiteY145" fmla="*/ 366308 h 549462"/>
              <a:gd name="connsiteX146" fmla="*/ 645554 w 707548"/>
              <a:gd name="connsiteY146" fmla="*/ 366308 h 549462"/>
              <a:gd name="connsiteX147" fmla="*/ 645554 w 707548"/>
              <a:gd name="connsiteY147" fmla="*/ 371858 h 549462"/>
              <a:gd name="connsiteX148" fmla="*/ 653303 w 707548"/>
              <a:gd name="connsiteY148" fmla="*/ 371858 h 549462"/>
              <a:gd name="connsiteX149" fmla="*/ 661052 w 707548"/>
              <a:gd name="connsiteY149" fmla="*/ 371858 h 549462"/>
              <a:gd name="connsiteX150" fmla="*/ 661052 w 707548"/>
              <a:gd name="connsiteY150" fmla="*/ 377408 h 549462"/>
              <a:gd name="connsiteX151" fmla="*/ 661052 w 707548"/>
              <a:gd name="connsiteY151" fmla="*/ 382959 h 549462"/>
              <a:gd name="connsiteX152" fmla="*/ 668802 w 707548"/>
              <a:gd name="connsiteY152" fmla="*/ 382959 h 549462"/>
              <a:gd name="connsiteX153" fmla="*/ 676551 w 707548"/>
              <a:gd name="connsiteY153" fmla="*/ 382959 h 549462"/>
              <a:gd name="connsiteX154" fmla="*/ 676551 w 707548"/>
              <a:gd name="connsiteY154" fmla="*/ 388509 h 549462"/>
              <a:gd name="connsiteX155" fmla="*/ 676551 w 707548"/>
              <a:gd name="connsiteY155" fmla="*/ 394059 h 549462"/>
              <a:gd name="connsiteX156" fmla="*/ 676551 w 707548"/>
              <a:gd name="connsiteY156" fmla="*/ 399609 h 549462"/>
              <a:gd name="connsiteX157" fmla="*/ 684300 w 707548"/>
              <a:gd name="connsiteY157" fmla="*/ 399609 h 549462"/>
              <a:gd name="connsiteX158" fmla="*/ 692050 w 707548"/>
              <a:gd name="connsiteY158" fmla="*/ 399609 h 549462"/>
              <a:gd name="connsiteX159" fmla="*/ 692050 w 707548"/>
              <a:gd name="connsiteY159" fmla="*/ 405159 h 549462"/>
              <a:gd name="connsiteX160" fmla="*/ 699799 w 707548"/>
              <a:gd name="connsiteY160" fmla="*/ 405159 h 549462"/>
              <a:gd name="connsiteX161" fmla="*/ 699799 w 707548"/>
              <a:gd name="connsiteY161" fmla="*/ 410709 h 549462"/>
              <a:gd name="connsiteX162" fmla="*/ 707548 w 707548"/>
              <a:gd name="connsiteY162" fmla="*/ 410709 h 549462"/>
              <a:gd name="connsiteX163" fmla="*/ 707548 w 707548"/>
              <a:gd name="connsiteY163" fmla="*/ 416259 h 549462"/>
              <a:gd name="connsiteX164" fmla="*/ 707548 w 707548"/>
              <a:gd name="connsiteY164" fmla="*/ 421809 h 549462"/>
              <a:gd name="connsiteX165" fmla="*/ 699799 w 707548"/>
              <a:gd name="connsiteY165" fmla="*/ 427359 h 549462"/>
              <a:gd name="connsiteX166" fmla="*/ 699799 w 707548"/>
              <a:gd name="connsiteY166" fmla="*/ 432910 h 549462"/>
              <a:gd name="connsiteX167" fmla="*/ 692050 w 707548"/>
              <a:gd name="connsiteY167" fmla="*/ 432910 h 549462"/>
              <a:gd name="connsiteX168" fmla="*/ 692050 w 707548"/>
              <a:gd name="connsiteY168" fmla="*/ 438460 h 549462"/>
              <a:gd name="connsiteX169" fmla="*/ 692050 w 707548"/>
              <a:gd name="connsiteY169" fmla="*/ 444010 h 549462"/>
              <a:gd name="connsiteX170" fmla="*/ 699799 w 707548"/>
              <a:gd name="connsiteY170" fmla="*/ 444010 h 549462"/>
              <a:gd name="connsiteX171" fmla="*/ 692050 w 707548"/>
              <a:gd name="connsiteY171" fmla="*/ 449560 h 549462"/>
              <a:gd name="connsiteX172" fmla="*/ 692050 w 707548"/>
              <a:gd name="connsiteY172" fmla="*/ 455110 h 549462"/>
              <a:gd name="connsiteX173" fmla="*/ 692050 w 707548"/>
              <a:gd name="connsiteY173" fmla="*/ 460660 h 549462"/>
              <a:gd name="connsiteX174" fmla="*/ 692050 w 707548"/>
              <a:gd name="connsiteY174" fmla="*/ 466210 h 549462"/>
              <a:gd name="connsiteX175" fmla="*/ 684300 w 707548"/>
              <a:gd name="connsiteY175" fmla="*/ 466210 h 549462"/>
              <a:gd name="connsiteX176" fmla="*/ 676551 w 707548"/>
              <a:gd name="connsiteY176" fmla="*/ 466210 h 549462"/>
              <a:gd name="connsiteX177" fmla="*/ 676551 w 707548"/>
              <a:gd name="connsiteY177" fmla="*/ 471760 h 549462"/>
              <a:gd name="connsiteX178" fmla="*/ 676551 w 707548"/>
              <a:gd name="connsiteY178" fmla="*/ 477311 h 549462"/>
              <a:gd name="connsiteX179" fmla="*/ 676551 w 707548"/>
              <a:gd name="connsiteY179" fmla="*/ 482861 h 549462"/>
              <a:gd name="connsiteX180" fmla="*/ 684300 w 707548"/>
              <a:gd name="connsiteY180" fmla="*/ 482861 h 549462"/>
              <a:gd name="connsiteX181" fmla="*/ 684300 w 707548"/>
              <a:gd name="connsiteY181" fmla="*/ 488411 h 549462"/>
              <a:gd name="connsiteX182" fmla="*/ 684300 w 707548"/>
              <a:gd name="connsiteY182" fmla="*/ 493961 h 549462"/>
              <a:gd name="connsiteX183" fmla="*/ 684300 w 707548"/>
              <a:gd name="connsiteY183" fmla="*/ 499511 h 549462"/>
              <a:gd name="connsiteX184" fmla="*/ 699799 w 707548"/>
              <a:gd name="connsiteY184" fmla="*/ 532812 h 549462"/>
              <a:gd name="connsiteX185" fmla="*/ 699799 w 707548"/>
              <a:gd name="connsiteY185" fmla="*/ 538362 h 549462"/>
              <a:gd name="connsiteX186" fmla="*/ 699799 w 707548"/>
              <a:gd name="connsiteY186" fmla="*/ 543912 h 549462"/>
              <a:gd name="connsiteX187" fmla="*/ 699799 w 707548"/>
              <a:gd name="connsiteY187" fmla="*/ 549462 h 549462"/>
              <a:gd name="connsiteX188" fmla="*/ 631989 w 707548"/>
              <a:gd name="connsiteY188" fmla="*/ 473861 h 549462"/>
              <a:gd name="connsiteX189" fmla="*/ 570077 w 707548"/>
              <a:gd name="connsiteY189" fmla="*/ 469098 h 549462"/>
              <a:gd name="connsiteX190" fmla="*/ 536739 w 707548"/>
              <a:gd name="connsiteY190" fmla="*/ 459573 h 549462"/>
              <a:gd name="connsiteX191" fmla="*/ 503402 w 707548"/>
              <a:gd name="connsiteY191" fmla="*/ 454811 h 549462"/>
              <a:gd name="connsiteX192" fmla="*/ 489114 w 707548"/>
              <a:gd name="connsiteY192" fmla="*/ 450048 h 549462"/>
              <a:gd name="connsiteX193" fmla="*/ 470064 w 707548"/>
              <a:gd name="connsiteY193" fmla="*/ 445286 h 549462"/>
              <a:gd name="connsiteX194" fmla="*/ 412914 w 707548"/>
              <a:gd name="connsiteY194" fmla="*/ 440523 h 549462"/>
              <a:gd name="connsiteX195" fmla="*/ 351002 w 707548"/>
              <a:gd name="connsiteY195" fmla="*/ 430998 h 549462"/>
              <a:gd name="connsiteX196" fmla="*/ 265277 w 707548"/>
              <a:gd name="connsiteY196" fmla="*/ 402423 h 549462"/>
              <a:gd name="connsiteX197" fmla="*/ 246227 w 707548"/>
              <a:gd name="connsiteY197" fmla="*/ 397661 h 549462"/>
              <a:gd name="connsiteX198" fmla="*/ 231939 w 707548"/>
              <a:gd name="connsiteY198" fmla="*/ 392898 h 549462"/>
              <a:gd name="connsiteX199" fmla="*/ 203364 w 707548"/>
              <a:gd name="connsiteY199" fmla="*/ 383373 h 549462"/>
              <a:gd name="connsiteX200" fmla="*/ 174789 w 707548"/>
              <a:gd name="connsiteY200" fmla="*/ 373848 h 549462"/>
              <a:gd name="connsiteX201" fmla="*/ 170027 w 707548"/>
              <a:gd name="connsiteY201" fmla="*/ 359561 h 549462"/>
              <a:gd name="connsiteX202" fmla="*/ 155739 w 707548"/>
              <a:gd name="connsiteY202" fmla="*/ 354798 h 549462"/>
              <a:gd name="connsiteX203" fmla="*/ 136689 w 707548"/>
              <a:gd name="connsiteY203" fmla="*/ 326223 h 549462"/>
              <a:gd name="connsiteX204" fmla="*/ 117639 w 707548"/>
              <a:gd name="connsiteY204" fmla="*/ 297648 h 549462"/>
              <a:gd name="connsiteX205" fmla="*/ 112877 w 707548"/>
              <a:gd name="connsiteY205" fmla="*/ 283361 h 549462"/>
              <a:gd name="connsiteX206" fmla="*/ 103258 w 707548"/>
              <a:gd name="connsiteY206" fmla="*/ 270388 h 549462"/>
              <a:gd name="connsiteX207" fmla="*/ 98770 w 707548"/>
              <a:gd name="connsiteY207" fmla="*/ 268149 h 549462"/>
              <a:gd name="connsiteX208" fmla="*/ 98236 w 707548"/>
              <a:gd name="connsiteY208" fmla="*/ 268565 h 549462"/>
              <a:gd name="connsiteX209" fmla="*/ 93827 w 707548"/>
              <a:gd name="connsiteY209" fmla="*/ 254786 h 549462"/>
              <a:gd name="connsiteX210" fmla="*/ 79539 w 707548"/>
              <a:gd name="connsiteY210" fmla="*/ 240498 h 549462"/>
              <a:gd name="connsiteX211" fmla="*/ 70014 w 707548"/>
              <a:gd name="connsiteY211" fmla="*/ 211923 h 549462"/>
              <a:gd name="connsiteX212" fmla="*/ 70014 w 707548"/>
              <a:gd name="connsiteY212" fmla="*/ 130961 h 549462"/>
              <a:gd name="connsiteX213" fmla="*/ 84302 w 707548"/>
              <a:gd name="connsiteY213" fmla="*/ 121436 h 549462"/>
              <a:gd name="connsiteX214" fmla="*/ 89064 w 707548"/>
              <a:gd name="connsiteY214" fmla="*/ 107148 h 549462"/>
              <a:gd name="connsiteX215" fmla="*/ 96903 w 707548"/>
              <a:gd name="connsiteY215" fmla="*/ 93859 h 549462"/>
              <a:gd name="connsiteX216" fmla="*/ 103352 w 707548"/>
              <a:gd name="connsiteY216" fmla="*/ 69048 h 549462"/>
              <a:gd name="connsiteX217" fmla="*/ 93827 w 707548"/>
              <a:gd name="connsiteY217" fmla="*/ 40473 h 549462"/>
              <a:gd name="connsiteX218" fmla="*/ 84302 w 707548"/>
              <a:gd name="connsiteY218" fmla="*/ 26186 h 549462"/>
              <a:gd name="connsiteX219" fmla="*/ 41439 w 707548"/>
              <a:gd name="connsiteY219" fmla="*/ 16661 h 549462"/>
              <a:gd name="connsiteX220" fmla="*/ 12864 w 707548"/>
              <a:gd name="connsiteY220" fmla="*/ 7136 h 549462"/>
              <a:gd name="connsiteX221" fmla="*/ 0 w 707548"/>
              <a:gd name="connsiteY221" fmla="*/ 11424 h 549462"/>
              <a:gd name="connsiteX222" fmla="*/ 0 w 707548"/>
              <a:gd name="connsiteY222" fmla="*/ 5550 h 549462"/>
              <a:gd name="connsiteX223" fmla="*/ 2364 w 707548"/>
              <a:gd name="connsiteY223" fmla="*/ 5550 h 549462"/>
              <a:gd name="connsiteX224" fmla="*/ 2364 w 707548"/>
              <a:gd name="connsiteY224" fmla="*/ 0 h 549462"/>
              <a:gd name="connsiteX0" fmla="*/ 2364 w 707548"/>
              <a:gd name="connsiteY0" fmla="*/ 0 h 543912"/>
              <a:gd name="connsiteX1" fmla="*/ 10113 w 707548"/>
              <a:gd name="connsiteY1" fmla="*/ 0 h 543912"/>
              <a:gd name="connsiteX2" fmla="*/ 10113 w 707548"/>
              <a:gd name="connsiteY2" fmla="*/ 5550 h 543912"/>
              <a:gd name="connsiteX3" fmla="*/ 17862 w 707548"/>
              <a:gd name="connsiteY3" fmla="*/ 5550 h 543912"/>
              <a:gd name="connsiteX4" fmla="*/ 25612 w 707548"/>
              <a:gd name="connsiteY4" fmla="*/ 5550 h 543912"/>
              <a:gd name="connsiteX5" fmla="*/ 33361 w 707548"/>
              <a:gd name="connsiteY5" fmla="*/ 5550 h 543912"/>
              <a:gd name="connsiteX6" fmla="*/ 33361 w 707548"/>
              <a:gd name="connsiteY6" fmla="*/ 11100 h 543912"/>
              <a:gd name="connsiteX7" fmla="*/ 41110 w 707548"/>
              <a:gd name="connsiteY7" fmla="*/ 5550 h 543912"/>
              <a:gd name="connsiteX8" fmla="*/ 41110 w 707548"/>
              <a:gd name="connsiteY8" fmla="*/ 11100 h 543912"/>
              <a:gd name="connsiteX9" fmla="*/ 48859 w 707548"/>
              <a:gd name="connsiteY9" fmla="*/ 11100 h 543912"/>
              <a:gd name="connsiteX10" fmla="*/ 48859 w 707548"/>
              <a:gd name="connsiteY10" fmla="*/ 16651 h 543912"/>
              <a:gd name="connsiteX11" fmla="*/ 56609 w 707548"/>
              <a:gd name="connsiteY11" fmla="*/ 16651 h 543912"/>
              <a:gd name="connsiteX12" fmla="*/ 64358 w 707548"/>
              <a:gd name="connsiteY12" fmla="*/ 16651 h 543912"/>
              <a:gd name="connsiteX13" fmla="*/ 64358 w 707548"/>
              <a:gd name="connsiteY13" fmla="*/ 22201 h 543912"/>
              <a:gd name="connsiteX14" fmla="*/ 72107 w 707548"/>
              <a:gd name="connsiteY14" fmla="*/ 22201 h 543912"/>
              <a:gd name="connsiteX15" fmla="*/ 72107 w 707548"/>
              <a:gd name="connsiteY15" fmla="*/ 16651 h 543912"/>
              <a:gd name="connsiteX16" fmla="*/ 79857 w 707548"/>
              <a:gd name="connsiteY16" fmla="*/ 16651 h 543912"/>
              <a:gd name="connsiteX17" fmla="*/ 87606 w 707548"/>
              <a:gd name="connsiteY17" fmla="*/ 16651 h 543912"/>
              <a:gd name="connsiteX18" fmla="*/ 95355 w 707548"/>
              <a:gd name="connsiteY18" fmla="*/ 16651 h 543912"/>
              <a:gd name="connsiteX19" fmla="*/ 103104 w 707548"/>
              <a:gd name="connsiteY19" fmla="*/ 22201 h 543912"/>
              <a:gd name="connsiteX20" fmla="*/ 110854 w 707548"/>
              <a:gd name="connsiteY20" fmla="*/ 16651 h 543912"/>
              <a:gd name="connsiteX21" fmla="*/ 110854 w 707548"/>
              <a:gd name="connsiteY21" fmla="*/ 22201 h 543912"/>
              <a:gd name="connsiteX22" fmla="*/ 118603 w 707548"/>
              <a:gd name="connsiteY22" fmla="*/ 22201 h 543912"/>
              <a:gd name="connsiteX23" fmla="*/ 118603 w 707548"/>
              <a:gd name="connsiteY23" fmla="*/ 27751 h 543912"/>
              <a:gd name="connsiteX24" fmla="*/ 126352 w 707548"/>
              <a:gd name="connsiteY24" fmla="*/ 33301 h 543912"/>
              <a:gd name="connsiteX25" fmla="*/ 134102 w 707548"/>
              <a:gd name="connsiteY25" fmla="*/ 33301 h 543912"/>
              <a:gd name="connsiteX26" fmla="*/ 134102 w 707548"/>
              <a:gd name="connsiteY26" fmla="*/ 38851 h 543912"/>
              <a:gd name="connsiteX27" fmla="*/ 141851 w 707548"/>
              <a:gd name="connsiteY27" fmla="*/ 38851 h 543912"/>
              <a:gd name="connsiteX28" fmla="*/ 141851 w 707548"/>
              <a:gd name="connsiteY28" fmla="*/ 44401 h 543912"/>
              <a:gd name="connsiteX29" fmla="*/ 149600 w 707548"/>
              <a:gd name="connsiteY29" fmla="*/ 44401 h 543912"/>
              <a:gd name="connsiteX30" fmla="*/ 157349 w 707548"/>
              <a:gd name="connsiteY30" fmla="*/ 44401 h 543912"/>
              <a:gd name="connsiteX31" fmla="*/ 157349 w 707548"/>
              <a:gd name="connsiteY31" fmla="*/ 49951 h 543912"/>
              <a:gd name="connsiteX32" fmla="*/ 165099 w 707548"/>
              <a:gd name="connsiteY32" fmla="*/ 44401 h 543912"/>
              <a:gd name="connsiteX33" fmla="*/ 165099 w 707548"/>
              <a:gd name="connsiteY33" fmla="*/ 49951 h 543912"/>
              <a:gd name="connsiteX34" fmla="*/ 172848 w 707548"/>
              <a:gd name="connsiteY34" fmla="*/ 55501 h 543912"/>
              <a:gd name="connsiteX35" fmla="*/ 180597 w 707548"/>
              <a:gd name="connsiteY35" fmla="*/ 55501 h 543912"/>
              <a:gd name="connsiteX36" fmla="*/ 180597 w 707548"/>
              <a:gd name="connsiteY36" fmla="*/ 61052 h 543912"/>
              <a:gd name="connsiteX37" fmla="*/ 188347 w 707548"/>
              <a:gd name="connsiteY37" fmla="*/ 61052 h 543912"/>
              <a:gd name="connsiteX38" fmla="*/ 188347 w 707548"/>
              <a:gd name="connsiteY38" fmla="*/ 66602 h 543912"/>
              <a:gd name="connsiteX39" fmla="*/ 196096 w 707548"/>
              <a:gd name="connsiteY39" fmla="*/ 72152 h 543912"/>
              <a:gd name="connsiteX40" fmla="*/ 203845 w 707548"/>
              <a:gd name="connsiteY40" fmla="*/ 77702 h 543912"/>
              <a:gd name="connsiteX41" fmla="*/ 211594 w 707548"/>
              <a:gd name="connsiteY41" fmla="*/ 77702 h 543912"/>
              <a:gd name="connsiteX42" fmla="*/ 219344 w 707548"/>
              <a:gd name="connsiteY42" fmla="*/ 77702 h 543912"/>
              <a:gd name="connsiteX43" fmla="*/ 227093 w 707548"/>
              <a:gd name="connsiteY43" fmla="*/ 77702 h 543912"/>
              <a:gd name="connsiteX44" fmla="*/ 234842 w 707548"/>
              <a:gd name="connsiteY44" fmla="*/ 77702 h 543912"/>
              <a:gd name="connsiteX45" fmla="*/ 234842 w 707548"/>
              <a:gd name="connsiteY45" fmla="*/ 83252 h 543912"/>
              <a:gd name="connsiteX46" fmla="*/ 227093 w 707548"/>
              <a:gd name="connsiteY46" fmla="*/ 83252 h 543912"/>
              <a:gd name="connsiteX47" fmla="*/ 227093 w 707548"/>
              <a:gd name="connsiteY47" fmla="*/ 88802 h 543912"/>
              <a:gd name="connsiteX48" fmla="*/ 234842 w 707548"/>
              <a:gd name="connsiteY48" fmla="*/ 88802 h 543912"/>
              <a:gd name="connsiteX49" fmla="*/ 234842 w 707548"/>
              <a:gd name="connsiteY49" fmla="*/ 94352 h 543912"/>
              <a:gd name="connsiteX50" fmla="*/ 234842 w 707548"/>
              <a:gd name="connsiteY50" fmla="*/ 99902 h 543912"/>
              <a:gd name="connsiteX51" fmla="*/ 250341 w 707548"/>
              <a:gd name="connsiteY51" fmla="*/ 99902 h 543912"/>
              <a:gd name="connsiteX52" fmla="*/ 250341 w 707548"/>
              <a:gd name="connsiteY52" fmla="*/ 105453 h 543912"/>
              <a:gd name="connsiteX53" fmla="*/ 258090 w 707548"/>
              <a:gd name="connsiteY53" fmla="*/ 105453 h 543912"/>
              <a:gd name="connsiteX54" fmla="*/ 258090 w 707548"/>
              <a:gd name="connsiteY54" fmla="*/ 116553 h 543912"/>
              <a:gd name="connsiteX55" fmla="*/ 265839 w 707548"/>
              <a:gd name="connsiteY55" fmla="*/ 116553 h 543912"/>
              <a:gd name="connsiteX56" fmla="*/ 265839 w 707548"/>
              <a:gd name="connsiteY56" fmla="*/ 122103 h 543912"/>
              <a:gd name="connsiteX57" fmla="*/ 273589 w 707548"/>
              <a:gd name="connsiteY57" fmla="*/ 122103 h 543912"/>
              <a:gd name="connsiteX58" fmla="*/ 273589 w 707548"/>
              <a:gd name="connsiteY58" fmla="*/ 127653 h 543912"/>
              <a:gd name="connsiteX59" fmla="*/ 265839 w 707548"/>
              <a:gd name="connsiteY59" fmla="*/ 138753 h 543912"/>
              <a:gd name="connsiteX60" fmla="*/ 273589 w 707548"/>
              <a:gd name="connsiteY60" fmla="*/ 144303 h 543912"/>
              <a:gd name="connsiteX61" fmla="*/ 273589 w 707548"/>
              <a:gd name="connsiteY61" fmla="*/ 149853 h 543912"/>
              <a:gd name="connsiteX62" fmla="*/ 273589 w 707548"/>
              <a:gd name="connsiteY62" fmla="*/ 155404 h 543912"/>
              <a:gd name="connsiteX63" fmla="*/ 265839 w 707548"/>
              <a:gd name="connsiteY63" fmla="*/ 155404 h 543912"/>
              <a:gd name="connsiteX64" fmla="*/ 258090 w 707548"/>
              <a:gd name="connsiteY64" fmla="*/ 155404 h 543912"/>
              <a:gd name="connsiteX65" fmla="*/ 258090 w 707548"/>
              <a:gd name="connsiteY65" fmla="*/ 160954 h 543912"/>
              <a:gd name="connsiteX66" fmla="*/ 265839 w 707548"/>
              <a:gd name="connsiteY66" fmla="*/ 160954 h 543912"/>
              <a:gd name="connsiteX67" fmla="*/ 273589 w 707548"/>
              <a:gd name="connsiteY67" fmla="*/ 166504 h 543912"/>
              <a:gd name="connsiteX68" fmla="*/ 281338 w 707548"/>
              <a:gd name="connsiteY68" fmla="*/ 172054 h 543912"/>
              <a:gd name="connsiteX69" fmla="*/ 289087 w 707548"/>
              <a:gd name="connsiteY69" fmla="*/ 172054 h 543912"/>
              <a:gd name="connsiteX70" fmla="*/ 296836 w 707548"/>
              <a:gd name="connsiteY70" fmla="*/ 177604 h 543912"/>
              <a:gd name="connsiteX71" fmla="*/ 296836 w 707548"/>
              <a:gd name="connsiteY71" fmla="*/ 183154 h 543912"/>
              <a:gd name="connsiteX72" fmla="*/ 304586 w 707548"/>
              <a:gd name="connsiteY72" fmla="*/ 183154 h 543912"/>
              <a:gd name="connsiteX73" fmla="*/ 304586 w 707548"/>
              <a:gd name="connsiteY73" fmla="*/ 188704 h 543912"/>
              <a:gd name="connsiteX74" fmla="*/ 312335 w 707548"/>
              <a:gd name="connsiteY74" fmla="*/ 188704 h 543912"/>
              <a:gd name="connsiteX75" fmla="*/ 320084 w 707548"/>
              <a:gd name="connsiteY75" fmla="*/ 188704 h 543912"/>
              <a:gd name="connsiteX76" fmla="*/ 320084 w 707548"/>
              <a:gd name="connsiteY76" fmla="*/ 194254 h 543912"/>
              <a:gd name="connsiteX77" fmla="*/ 327834 w 707548"/>
              <a:gd name="connsiteY77" fmla="*/ 194254 h 543912"/>
              <a:gd name="connsiteX78" fmla="*/ 335583 w 707548"/>
              <a:gd name="connsiteY78" fmla="*/ 194254 h 543912"/>
              <a:gd name="connsiteX79" fmla="*/ 335583 w 707548"/>
              <a:gd name="connsiteY79" fmla="*/ 199805 h 543912"/>
              <a:gd name="connsiteX80" fmla="*/ 343332 w 707548"/>
              <a:gd name="connsiteY80" fmla="*/ 199805 h 543912"/>
              <a:gd name="connsiteX81" fmla="*/ 343332 w 707548"/>
              <a:gd name="connsiteY81" fmla="*/ 205355 h 543912"/>
              <a:gd name="connsiteX82" fmla="*/ 343332 w 707548"/>
              <a:gd name="connsiteY82" fmla="*/ 210905 h 543912"/>
              <a:gd name="connsiteX83" fmla="*/ 335583 w 707548"/>
              <a:gd name="connsiteY83" fmla="*/ 216455 h 543912"/>
              <a:gd name="connsiteX84" fmla="*/ 343332 w 707548"/>
              <a:gd name="connsiteY84" fmla="*/ 216455 h 543912"/>
              <a:gd name="connsiteX85" fmla="*/ 343332 w 707548"/>
              <a:gd name="connsiteY85" fmla="*/ 222005 h 543912"/>
              <a:gd name="connsiteX86" fmla="*/ 343332 w 707548"/>
              <a:gd name="connsiteY86" fmla="*/ 227555 h 543912"/>
              <a:gd name="connsiteX87" fmla="*/ 351081 w 707548"/>
              <a:gd name="connsiteY87" fmla="*/ 227555 h 543912"/>
              <a:gd name="connsiteX88" fmla="*/ 351081 w 707548"/>
              <a:gd name="connsiteY88" fmla="*/ 233105 h 543912"/>
              <a:gd name="connsiteX89" fmla="*/ 358831 w 707548"/>
              <a:gd name="connsiteY89" fmla="*/ 233105 h 543912"/>
              <a:gd name="connsiteX90" fmla="*/ 358831 w 707548"/>
              <a:gd name="connsiteY90" fmla="*/ 238655 h 543912"/>
              <a:gd name="connsiteX91" fmla="*/ 366580 w 707548"/>
              <a:gd name="connsiteY91" fmla="*/ 238655 h 543912"/>
              <a:gd name="connsiteX92" fmla="*/ 374329 w 707548"/>
              <a:gd name="connsiteY92" fmla="*/ 238655 h 543912"/>
              <a:gd name="connsiteX93" fmla="*/ 374329 w 707548"/>
              <a:gd name="connsiteY93" fmla="*/ 244206 h 543912"/>
              <a:gd name="connsiteX94" fmla="*/ 382078 w 707548"/>
              <a:gd name="connsiteY94" fmla="*/ 244206 h 543912"/>
              <a:gd name="connsiteX95" fmla="*/ 382078 w 707548"/>
              <a:gd name="connsiteY95" fmla="*/ 249756 h 543912"/>
              <a:gd name="connsiteX96" fmla="*/ 389828 w 707548"/>
              <a:gd name="connsiteY96" fmla="*/ 249756 h 543912"/>
              <a:gd name="connsiteX97" fmla="*/ 397577 w 707548"/>
              <a:gd name="connsiteY97" fmla="*/ 249756 h 543912"/>
              <a:gd name="connsiteX98" fmla="*/ 405326 w 707548"/>
              <a:gd name="connsiteY98" fmla="*/ 249756 h 543912"/>
              <a:gd name="connsiteX99" fmla="*/ 413076 w 707548"/>
              <a:gd name="connsiteY99" fmla="*/ 255306 h 543912"/>
              <a:gd name="connsiteX100" fmla="*/ 428574 w 707548"/>
              <a:gd name="connsiteY100" fmla="*/ 255306 h 543912"/>
              <a:gd name="connsiteX101" fmla="*/ 436323 w 707548"/>
              <a:gd name="connsiteY101" fmla="*/ 260856 h 543912"/>
              <a:gd name="connsiteX102" fmla="*/ 444073 w 707548"/>
              <a:gd name="connsiteY102" fmla="*/ 260856 h 543912"/>
              <a:gd name="connsiteX103" fmla="*/ 451822 w 707548"/>
              <a:gd name="connsiteY103" fmla="*/ 260856 h 543912"/>
              <a:gd name="connsiteX104" fmla="*/ 459571 w 707548"/>
              <a:gd name="connsiteY104" fmla="*/ 260856 h 543912"/>
              <a:gd name="connsiteX105" fmla="*/ 467321 w 707548"/>
              <a:gd name="connsiteY105" fmla="*/ 266406 h 543912"/>
              <a:gd name="connsiteX106" fmla="*/ 467321 w 707548"/>
              <a:gd name="connsiteY106" fmla="*/ 271956 h 543912"/>
              <a:gd name="connsiteX107" fmla="*/ 467321 w 707548"/>
              <a:gd name="connsiteY107" fmla="*/ 277506 h 543912"/>
              <a:gd name="connsiteX108" fmla="*/ 475070 w 707548"/>
              <a:gd name="connsiteY108" fmla="*/ 277506 h 543912"/>
              <a:gd name="connsiteX109" fmla="*/ 482819 w 707548"/>
              <a:gd name="connsiteY109" fmla="*/ 277506 h 543912"/>
              <a:gd name="connsiteX110" fmla="*/ 482819 w 707548"/>
              <a:gd name="connsiteY110" fmla="*/ 283056 h 543912"/>
              <a:gd name="connsiteX111" fmla="*/ 490568 w 707548"/>
              <a:gd name="connsiteY111" fmla="*/ 283056 h 543912"/>
              <a:gd name="connsiteX112" fmla="*/ 490568 w 707548"/>
              <a:gd name="connsiteY112" fmla="*/ 288606 h 543912"/>
              <a:gd name="connsiteX113" fmla="*/ 490568 w 707548"/>
              <a:gd name="connsiteY113" fmla="*/ 294157 h 543912"/>
              <a:gd name="connsiteX114" fmla="*/ 498318 w 707548"/>
              <a:gd name="connsiteY114" fmla="*/ 294157 h 543912"/>
              <a:gd name="connsiteX115" fmla="*/ 498318 w 707548"/>
              <a:gd name="connsiteY115" fmla="*/ 299707 h 543912"/>
              <a:gd name="connsiteX116" fmla="*/ 490568 w 707548"/>
              <a:gd name="connsiteY116" fmla="*/ 299707 h 543912"/>
              <a:gd name="connsiteX117" fmla="*/ 490568 w 707548"/>
              <a:gd name="connsiteY117" fmla="*/ 305257 h 543912"/>
              <a:gd name="connsiteX118" fmla="*/ 490568 w 707548"/>
              <a:gd name="connsiteY118" fmla="*/ 310807 h 543912"/>
              <a:gd name="connsiteX119" fmla="*/ 490568 w 707548"/>
              <a:gd name="connsiteY119" fmla="*/ 316357 h 543912"/>
              <a:gd name="connsiteX120" fmla="*/ 490568 w 707548"/>
              <a:gd name="connsiteY120" fmla="*/ 321907 h 543912"/>
              <a:gd name="connsiteX121" fmla="*/ 498318 w 707548"/>
              <a:gd name="connsiteY121" fmla="*/ 321907 h 543912"/>
              <a:gd name="connsiteX122" fmla="*/ 506067 w 707548"/>
              <a:gd name="connsiteY122" fmla="*/ 321907 h 543912"/>
              <a:gd name="connsiteX123" fmla="*/ 513816 w 707548"/>
              <a:gd name="connsiteY123" fmla="*/ 327457 h 543912"/>
              <a:gd name="connsiteX124" fmla="*/ 521565 w 707548"/>
              <a:gd name="connsiteY124" fmla="*/ 327457 h 543912"/>
              <a:gd name="connsiteX125" fmla="*/ 529315 w 707548"/>
              <a:gd name="connsiteY125" fmla="*/ 327457 h 543912"/>
              <a:gd name="connsiteX126" fmla="*/ 529315 w 707548"/>
              <a:gd name="connsiteY126" fmla="*/ 321907 h 543912"/>
              <a:gd name="connsiteX127" fmla="*/ 537064 w 707548"/>
              <a:gd name="connsiteY127" fmla="*/ 321907 h 543912"/>
              <a:gd name="connsiteX128" fmla="*/ 544813 w 707548"/>
              <a:gd name="connsiteY128" fmla="*/ 321907 h 543912"/>
              <a:gd name="connsiteX129" fmla="*/ 544813 w 707548"/>
              <a:gd name="connsiteY129" fmla="*/ 327457 h 543912"/>
              <a:gd name="connsiteX130" fmla="*/ 552562 w 707548"/>
              <a:gd name="connsiteY130" fmla="*/ 333007 h 543912"/>
              <a:gd name="connsiteX131" fmla="*/ 560312 w 707548"/>
              <a:gd name="connsiteY131" fmla="*/ 338558 h 543912"/>
              <a:gd name="connsiteX132" fmla="*/ 568061 w 707548"/>
              <a:gd name="connsiteY132" fmla="*/ 338558 h 543912"/>
              <a:gd name="connsiteX133" fmla="*/ 568061 w 707548"/>
              <a:gd name="connsiteY133" fmla="*/ 344108 h 543912"/>
              <a:gd name="connsiteX134" fmla="*/ 575810 w 707548"/>
              <a:gd name="connsiteY134" fmla="*/ 349658 h 543912"/>
              <a:gd name="connsiteX135" fmla="*/ 575810 w 707548"/>
              <a:gd name="connsiteY135" fmla="*/ 355208 h 543912"/>
              <a:gd name="connsiteX136" fmla="*/ 583560 w 707548"/>
              <a:gd name="connsiteY136" fmla="*/ 355208 h 543912"/>
              <a:gd name="connsiteX137" fmla="*/ 591309 w 707548"/>
              <a:gd name="connsiteY137" fmla="*/ 366308 h 543912"/>
              <a:gd name="connsiteX138" fmla="*/ 599058 w 707548"/>
              <a:gd name="connsiteY138" fmla="*/ 366308 h 543912"/>
              <a:gd name="connsiteX139" fmla="*/ 599058 w 707548"/>
              <a:gd name="connsiteY139" fmla="*/ 371858 h 543912"/>
              <a:gd name="connsiteX140" fmla="*/ 606807 w 707548"/>
              <a:gd name="connsiteY140" fmla="*/ 371858 h 543912"/>
              <a:gd name="connsiteX141" fmla="*/ 606807 w 707548"/>
              <a:gd name="connsiteY141" fmla="*/ 366308 h 543912"/>
              <a:gd name="connsiteX142" fmla="*/ 614557 w 707548"/>
              <a:gd name="connsiteY142" fmla="*/ 366308 h 543912"/>
              <a:gd name="connsiteX143" fmla="*/ 622306 w 707548"/>
              <a:gd name="connsiteY143" fmla="*/ 366308 h 543912"/>
              <a:gd name="connsiteX144" fmla="*/ 630055 w 707548"/>
              <a:gd name="connsiteY144" fmla="*/ 366308 h 543912"/>
              <a:gd name="connsiteX145" fmla="*/ 637804 w 707548"/>
              <a:gd name="connsiteY145" fmla="*/ 366308 h 543912"/>
              <a:gd name="connsiteX146" fmla="*/ 645554 w 707548"/>
              <a:gd name="connsiteY146" fmla="*/ 366308 h 543912"/>
              <a:gd name="connsiteX147" fmla="*/ 645554 w 707548"/>
              <a:gd name="connsiteY147" fmla="*/ 371858 h 543912"/>
              <a:gd name="connsiteX148" fmla="*/ 653303 w 707548"/>
              <a:gd name="connsiteY148" fmla="*/ 371858 h 543912"/>
              <a:gd name="connsiteX149" fmla="*/ 661052 w 707548"/>
              <a:gd name="connsiteY149" fmla="*/ 371858 h 543912"/>
              <a:gd name="connsiteX150" fmla="*/ 661052 w 707548"/>
              <a:gd name="connsiteY150" fmla="*/ 377408 h 543912"/>
              <a:gd name="connsiteX151" fmla="*/ 661052 w 707548"/>
              <a:gd name="connsiteY151" fmla="*/ 382959 h 543912"/>
              <a:gd name="connsiteX152" fmla="*/ 668802 w 707548"/>
              <a:gd name="connsiteY152" fmla="*/ 382959 h 543912"/>
              <a:gd name="connsiteX153" fmla="*/ 676551 w 707548"/>
              <a:gd name="connsiteY153" fmla="*/ 382959 h 543912"/>
              <a:gd name="connsiteX154" fmla="*/ 676551 w 707548"/>
              <a:gd name="connsiteY154" fmla="*/ 388509 h 543912"/>
              <a:gd name="connsiteX155" fmla="*/ 676551 w 707548"/>
              <a:gd name="connsiteY155" fmla="*/ 394059 h 543912"/>
              <a:gd name="connsiteX156" fmla="*/ 676551 w 707548"/>
              <a:gd name="connsiteY156" fmla="*/ 399609 h 543912"/>
              <a:gd name="connsiteX157" fmla="*/ 684300 w 707548"/>
              <a:gd name="connsiteY157" fmla="*/ 399609 h 543912"/>
              <a:gd name="connsiteX158" fmla="*/ 692050 w 707548"/>
              <a:gd name="connsiteY158" fmla="*/ 399609 h 543912"/>
              <a:gd name="connsiteX159" fmla="*/ 692050 w 707548"/>
              <a:gd name="connsiteY159" fmla="*/ 405159 h 543912"/>
              <a:gd name="connsiteX160" fmla="*/ 699799 w 707548"/>
              <a:gd name="connsiteY160" fmla="*/ 405159 h 543912"/>
              <a:gd name="connsiteX161" fmla="*/ 699799 w 707548"/>
              <a:gd name="connsiteY161" fmla="*/ 410709 h 543912"/>
              <a:gd name="connsiteX162" fmla="*/ 707548 w 707548"/>
              <a:gd name="connsiteY162" fmla="*/ 410709 h 543912"/>
              <a:gd name="connsiteX163" fmla="*/ 707548 w 707548"/>
              <a:gd name="connsiteY163" fmla="*/ 416259 h 543912"/>
              <a:gd name="connsiteX164" fmla="*/ 707548 w 707548"/>
              <a:gd name="connsiteY164" fmla="*/ 421809 h 543912"/>
              <a:gd name="connsiteX165" fmla="*/ 699799 w 707548"/>
              <a:gd name="connsiteY165" fmla="*/ 427359 h 543912"/>
              <a:gd name="connsiteX166" fmla="*/ 699799 w 707548"/>
              <a:gd name="connsiteY166" fmla="*/ 432910 h 543912"/>
              <a:gd name="connsiteX167" fmla="*/ 692050 w 707548"/>
              <a:gd name="connsiteY167" fmla="*/ 432910 h 543912"/>
              <a:gd name="connsiteX168" fmla="*/ 692050 w 707548"/>
              <a:gd name="connsiteY168" fmla="*/ 438460 h 543912"/>
              <a:gd name="connsiteX169" fmla="*/ 692050 w 707548"/>
              <a:gd name="connsiteY169" fmla="*/ 444010 h 543912"/>
              <a:gd name="connsiteX170" fmla="*/ 699799 w 707548"/>
              <a:gd name="connsiteY170" fmla="*/ 444010 h 543912"/>
              <a:gd name="connsiteX171" fmla="*/ 692050 w 707548"/>
              <a:gd name="connsiteY171" fmla="*/ 449560 h 543912"/>
              <a:gd name="connsiteX172" fmla="*/ 692050 w 707548"/>
              <a:gd name="connsiteY172" fmla="*/ 455110 h 543912"/>
              <a:gd name="connsiteX173" fmla="*/ 692050 w 707548"/>
              <a:gd name="connsiteY173" fmla="*/ 460660 h 543912"/>
              <a:gd name="connsiteX174" fmla="*/ 692050 w 707548"/>
              <a:gd name="connsiteY174" fmla="*/ 466210 h 543912"/>
              <a:gd name="connsiteX175" fmla="*/ 684300 w 707548"/>
              <a:gd name="connsiteY175" fmla="*/ 466210 h 543912"/>
              <a:gd name="connsiteX176" fmla="*/ 676551 w 707548"/>
              <a:gd name="connsiteY176" fmla="*/ 466210 h 543912"/>
              <a:gd name="connsiteX177" fmla="*/ 676551 w 707548"/>
              <a:gd name="connsiteY177" fmla="*/ 471760 h 543912"/>
              <a:gd name="connsiteX178" fmla="*/ 676551 w 707548"/>
              <a:gd name="connsiteY178" fmla="*/ 477311 h 543912"/>
              <a:gd name="connsiteX179" fmla="*/ 676551 w 707548"/>
              <a:gd name="connsiteY179" fmla="*/ 482861 h 543912"/>
              <a:gd name="connsiteX180" fmla="*/ 684300 w 707548"/>
              <a:gd name="connsiteY180" fmla="*/ 482861 h 543912"/>
              <a:gd name="connsiteX181" fmla="*/ 684300 w 707548"/>
              <a:gd name="connsiteY181" fmla="*/ 488411 h 543912"/>
              <a:gd name="connsiteX182" fmla="*/ 684300 w 707548"/>
              <a:gd name="connsiteY182" fmla="*/ 493961 h 543912"/>
              <a:gd name="connsiteX183" fmla="*/ 684300 w 707548"/>
              <a:gd name="connsiteY183" fmla="*/ 499511 h 543912"/>
              <a:gd name="connsiteX184" fmla="*/ 699799 w 707548"/>
              <a:gd name="connsiteY184" fmla="*/ 532812 h 543912"/>
              <a:gd name="connsiteX185" fmla="*/ 699799 w 707548"/>
              <a:gd name="connsiteY185" fmla="*/ 538362 h 543912"/>
              <a:gd name="connsiteX186" fmla="*/ 699799 w 707548"/>
              <a:gd name="connsiteY186" fmla="*/ 543912 h 543912"/>
              <a:gd name="connsiteX187" fmla="*/ 631989 w 707548"/>
              <a:gd name="connsiteY187" fmla="*/ 473861 h 543912"/>
              <a:gd name="connsiteX188" fmla="*/ 570077 w 707548"/>
              <a:gd name="connsiteY188" fmla="*/ 469098 h 543912"/>
              <a:gd name="connsiteX189" fmla="*/ 536739 w 707548"/>
              <a:gd name="connsiteY189" fmla="*/ 459573 h 543912"/>
              <a:gd name="connsiteX190" fmla="*/ 503402 w 707548"/>
              <a:gd name="connsiteY190" fmla="*/ 454811 h 543912"/>
              <a:gd name="connsiteX191" fmla="*/ 489114 w 707548"/>
              <a:gd name="connsiteY191" fmla="*/ 450048 h 543912"/>
              <a:gd name="connsiteX192" fmla="*/ 470064 w 707548"/>
              <a:gd name="connsiteY192" fmla="*/ 445286 h 543912"/>
              <a:gd name="connsiteX193" fmla="*/ 412914 w 707548"/>
              <a:gd name="connsiteY193" fmla="*/ 440523 h 543912"/>
              <a:gd name="connsiteX194" fmla="*/ 351002 w 707548"/>
              <a:gd name="connsiteY194" fmla="*/ 430998 h 543912"/>
              <a:gd name="connsiteX195" fmla="*/ 265277 w 707548"/>
              <a:gd name="connsiteY195" fmla="*/ 402423 h 543912"/>
              <a:gd name="connsiteX196" fmla="*/ 246227 w 707548"/>
              <a:gd name="connsiteY196" fmla="*/ 397661 h 543912"/>
              <a:gd name="connsiteX197" fmla="*/ 231939 w 707548"/>
              <a:gd name="connsiteY197" fmla="*/ 392898 h 543912"/>
              <a:gd name="connsiteX198" fmla="*/ 203364 w 707548"/>
              <a:gd name="connsiteY198" fmla="*/ 383373 h 543912"/>
              <a:gd name="connsiteX199" fmla="*/ 174789 w 707548"/>
              <a:gd name="connsiteY199" fmla="*/ 373848 h 543912"/>
              <a:gd name="connsiteX200" fmla="*/ 170027 w 707548"/>
              <a:gd name="connsiteY200" fmla="*/ 359561 h 543912"/>
              <a:gd name="connsiteX201" fmla="*/ 155739 w 707548"/>
              <a:gd name="connsiteY201" fmla="*/ 354798 h 543912"/>
              <a:gd name="connsiteX202" fmla="*/ 136689 w 707548"/>
              <a:gd name="connsiteY202" fmla="*/ 326223 h 543912"/>
              <a:gd name="connsiteX203" fmla="*/ 117639 w 707548"/>
              <a:gd name="connsiteY203" fmla="*/ 297648 h 543912"/>
              <a:gd name="connsiteX204" fmla="*/ 112877 w 707548"/>
              <a:gd name="connsiteY204" fmla="*/ 283361 h 543912"/>
              <a:gd name="connsiteX205" fmla="*/ 103258 w 707548"/>
              <a:gd name="connsiteY205" fmla="*/ 270388 h 543912"/>
              <a:gd name="connsiteX206" fmla="*/ 98770 w 707548"/>
              <a:gd name="connsiteY206" fmla="*/ 268149 h 543912"/>
              <a:gd name="connsiteX207" fmla="*/ 98236 w 707548"/>
              <a:gd name="connsiteY207" fmla="*/ 268565 h 543912"/>
              <a:gd name="connsiteX208" fmla="*/ 93827 w 707548"/>
              <a:gd name="connsiteY208" fmla="*/ 254786 h 543912"/>
              <a:gd name="connsiteX209" fmla="*/ 79539 w 707548"/>
              <a:gd name="connsiteY209" fmla="*/ 240498 h 543912"/>
              <a:gd name="connsiteX210" fmla="*/ 70014 w 707548"/>
              <a:gd name="connsiteY210" fmla="*/ 211923 h 543912"/>
              <a:gd name="connsiteX211" fmla="*/ 70014 w 707548"/>
              <a:gd name="connsiteY211" fmla="*/ 130961 h 543912"/>
              <a:gd name="connsiteX212" fmla="*/ 84302 w 707548"/>
              <a:gd name="connsiteY212" fmla="*/ 121436 h 543912"/>
              <a:gd name="connsiteX213" fmla="*/ 89064 w 707548"/>
              <a:gd name="connsiteY213" fmla="*/ 107148 h 543912"/>
              <a:gd name="connsiteX214" fmla="*/ 96903 w 707548"/>
              <a:gd name="connsiteY214" fmla="*/ 93859 h 543912"/>
              <a:gd name="connsiteX215" fmla="*/ 103352 w 707548"/>
              <a:gd name="connsiteY215" fmla="*/ 69048 h 543912"/>
              <a:gd name="connsiteX216" fmla="*/ 93827 w 707548"/>
              <a:gd name="connsiteY216" fmla="*/ 40473 h 543912"/>
              <a:gd name="connsiteX217" fmla="*/ 84302 w 707548"/>
              <a:gd name="connsiteY217" fmla="*/ 26186 h 543912"/>
              <a:gd name="connsiteX218" fmla="*/ 41439 w 707548"/>
              <a:gd name="connsiteY218" fmla="*/ 16661 h 543912"/>
              <a:gd name="connsiteX219" fmla="*/ 12864 w 707548"/>
              <a:gd name="connsiteY219" fmla="*/ 7136 h 543912"/>
              <a:gd name="connsiteX220" fmla="*/ 0 w 707548"/>
              <a:gd name="connsiteY220" fmla="*/ 11424 h 543912"/>
              <a:gd name="connsiteX221" fmla="*/ 0 w 707548"/>
              <a:gd name="connsiteY221" fmla="*/ 5550 h 543912"/>
              <a:gd name="connsiteX222" fmla="*/ 2364 w 707548"/>
              <a:gd name="connsiteY222" fmla="*/ 5550 h 543912"/>
              <a:gd name="connsiteX223" fmla="*/ 2364 w 707548"/>
              <a:gd name="connsiteY223" fmla="*/ 0 h 543912"/>
              <a:gd name="connsiteX0" fmla="*/ 2364 w 707548"/>
              <a:gd name="connsiteY0" fmla="*/ 0 h 538362"/>
              <a:gd name="connsiteX1" fmla="*/ 10113 w 707548"/>
              <a:gd name="connsiteY1" fmla="*/ 0 h 538362"/>
              <a:gd name="connsiteX2" fmla="*/ 10113 w 707548"/>
              <a:gd name="connsiteY2" fmla="*/ 5550 h 538362"/>
              <a:gd name="connsiteX3" fmla="*/ 17862 w 707548"/>
              <a:gd name="connsiteY3" fmla="*/ 5550 h 538362"/>
              <a:gd name="connsiteX4" fmla="*/ 25612 w 707548"/>
              <a:gd name="connsiteY4" fmla="*/ 5550 h 538362"/>
              <a:gd name="connsiteX5" fmla="*/ 33361 w 707548"/>
              <a:gd name="connsiteY5" fmla="*/ 5550 h 538362"/>
              <a:gd name="connsiteX6" fmla="*/ 33361 w 707548"/>
              <a:gd name="connsiteY6" fmla="*/ 11100 h 538362"/>
              <a:gd name="connsiteX7" fmla="*/ 41110 w 707548"/>
              <a:gd name="connsiteY7" fmla="*/ 5550 h 538362"/>
              <a:gd name="connsiteX8" fmla="*/ 41110 w 707548"/>
              <a:gd name="connsiteY8" fmla="*/ 11100 h 538362"/>
              <a:gd name="connsiteX9" fmla="*/ 48859 w 707548"/>
              <a:gd name="connsiteY9" fmla="*/ 11100 h 538362"/>
              <a:gd name="connsiteX10" fmla="*/ 48859 w 707548"/>
              <a:gd name="connsiteY10" fmla="*/ 16651 h 538362"/>
              <a:gd name="connsiteX11" fmla="*/ 56609 w 707548"/>
              <a:gd name="connsiteY11" fmla="*/ 16651 h 538362"/>
              <a:gd name="connsiteX12" fmla="*/ 64358 w 707548"/>
              <a:gd name="connsiteY12" fmla="*/ 16651 h 538362"/>
              <a:gd name="connsiteX13" fmla="*/ 64358 w 707548"/>
              <a:gd name="connsiteY13" fmla="*/ 22201 h 538362"/>
              <a:gd name="connsiteX14" fmla="*/ 72107 w 707548"/>
              <a:gd name="connsiteY14" fmla="*/ 22201 h 538362"/>
              <a:gd name="connsiteX15" fmla="*/ 72107 w 707548"/>
              <a:gd name="connsiteY15" fmla="*/ 16651 h 538362"/>
              <a:gd name="connsiteX16" fmla="*/ 79857 w 707548"/>
              <a:gd name="connsiteY16" fmla="*/ 16651 h 538362"/>
              <a:gd name="connsiteX17" fmla="*/ 87606 w 707548"/>
              <a:gd name="connsiteY17" fmla="*/ 16651 h 538362"/>
              <a:gd name="connsiteX18" fmla="*/ 95355 w 707548"/>
              <a:gd name="connsiteY18" fmla="*/ 16651 h 538362"/>
              <a:gd name="connsiteX19" fmla="*/ 103104 w 707548"/>
              <a:gd name="connsiteY19" fmla="*/ 22201 h 538362"/>
              <a:gd name="connsiteX20" fmla="*/ 110854 w 707548"/>
              <a:gd name="connsiteY20" fmla="*/ 16651 h 538362"/>
              <a:gd name="connsiteX21" fmla="*/ 110854 w 707548"/>
              <a:gd name="connsiteY21" fmla="*/ 22201 h 538362"/>
              <a:gd name="connsiteX22" fmla="*/ 118603 w 707548"/>
              <a:gd name="connsiteY22" fmla="*/ 22201 h 538362"/>
              <a:gd name="connsiteX23" fmla="*/ 118603 w 707548"/>
              <a:gd name="connsiteY23" fmla="*/ 27751 h 538362"/>
              <a:gd name="connsiteX24" fmla="*/ 126352 w 707548"/>
              <a:gd name="connsiteY24" fmla="*/ 33301 h 538362"/>
              <a:gd name="connsiteX25" fmla="*/ 134102 w 707548"/>
              <a:gd name="connsiteY25" fmla="*/ 33301 h 538362"/>
              <a:gd name="connsiteX26" fmla="*/ 134102 w 707548"/>
              <a:gd name="connsiteY26" fmla="*/ 38851 h 538362"/>
              <a:gd name="connsiteX27" fmla="*/ 141851 w 707548"/>
              <a:gd name="connsiteY27" fmla="*/ 38851 h 538362"/>
              <a:gd name="connsiteX28" fmla="*/ 141851 w 707548"/>
              <a:gd name="connsiteY28" fmla="*/ 44401 h 538362"/>
              <a:gd name="connsiteX29" fmla="*/ 149600 w 707548"/>
              <a:gd name="connsiteY29" fmla="*/ 44401 h 538362"/>
              <a:gd name="connsiteX30" fmla="*/ 157349 w 707548"/>
              <a:gd name="connsiteY30" fmla="*/ 44401 h 538362"/>
              <a:gd name="connsiteX31" fmla="*/ 157349 w 707548"/>
              <a:gd name="connsiteY31" fmla="*/ 49951 h 538362"/>
              <a:gd name="connsiteX32" fmla="*/ 165099 w 707548"/>
              <a:gd name="connsiteY32" fmla="*/ 44401 h 538362"/>
              <a:gd name="connsiteX33" fmla="*/ 165099 w 707548"/>
              <a:gd name="connsiteY33" fmla="*/ 49951 h 538362"/>
              <a:gd name="connsiteX34" fmla="*/ 172848 w 707548"/>
              <a:gd name="connsiteY34" fmla="*/ 55501 h 538362"/>
              <a:gd name="connsiteX35" fmla="*/ 180597 w 707548"/>
              <a:gd name="connsiteY35" fmla="*/ 55501 h 538362"/>
              <a:gd name="connsiteX36" fmla="*/ 180597 w 707548"/>
              <a:gd name="connsiteY36" fmla="*/ 61052 h 538362"/>
              <a:gd name="connsiteX37" fmla="*/ 188347 w 707548"/>
              <a:gd name="connsiteY37" fmla="*/ 61052 h 538362"/>
              <a:gd name="connsiteX38" fmla="*/ 188347 w 707548"/>
              <a:gd name="connsiteY38" fmla="*/ 66602 h 538362"/>
              <a:gd name="connsiteX39" fmla="*/ 196096 w 707548"/>
              <a:gd name="connsiteY39" fmla="*/ 72152 h 538362"/>
              <a:gd name="connsiteX40" fmla="*/ 203845 w 707548"/>
              <a:gd name="connsiteY40" fmla="*/ 77702 h 538362"/>
              <a:gd name="connsiteX41" fmla="*/ 211594 w 707548"/>
              <a:gd name="connsiteY41" fmla="*/ 77702 h 538362"/>
              <a:gd name="connsiteX42" fmla="*/ 219344 w 707548"/>
              <a:gd name="connsiteY42" fmla="*/ 77702 h 538362"/>
              <a:gd name="connsiteX43" fmla="*/ 227093 w 707548"/>
              <a:gd name="connsiteY43" fmla="*/ 77702 h 538362"/>
              <a:gd name="connsiteX44" fmla="*/ 234842 w 707548"/>
              <a:gd name="connsiteY44" fmla="*/ 77702 h 538362"/>
              <a:gd name="connsiteX45" fmla="*/ 234842 w 707548"/>
              <a:gd name="connsiteY45" fmla="*/ 83252 h 538362"/>
              <a:gd name="connsiteX46" fmla="*/ 227093 w 707548"/>
              <a:gd name="connsiteY46" fmla="*/ 83252 h 538362"/>
              <a:gd name="connsiteX47" fmla="*/ 227093 w 707548"/>
              <a:gd name="connsiteY47" fmla="*/ 88802 h 538362"/>
              <a:gd name="connsiteX48" fmla="*/ 234842 w 707548"/>
              <a:gd name="connsiteY48" fmla="*/ 88802 h 538362"/>
              <a:gd name="connsiteX49" fmla="*/ 234842 w 707548"/>
              <a:gd name="connsiteY49" fmla="*/ 94352 h 538362"/>
              <a:gd name="connsiteX50" fmla="*/ 234842 w 707548"/>
              <a:gd name="connsiteY50" fmla="*/ 99902 h 538362"/>
              <a:gd name="connsiteX51" fmla="*/ 250341 w 707548"/>
              <a:gd name="connsiteY51" fmla="*/ 99902 h 538362"/>
              <a:gd name="connsiteX52" fmla="*/ 250341 w 707548"/>
              <a:gd name="connsiteY52" fmla="*/ 105453 h 538362"/>
              <a:gd name="connsiteX53" fmla="*/ 258090 w 707548"/>
              <a:gd name="connsiteY53" fmla="*/ 105453 h 538362"/>
              <a:gd name="connsiteX54" fmla="*/ 258090 w 707548"/>
              <a:gd name="connsiteY54" fmla="*/ 116553 h 538362"/>
              <a:gd name="connsiteX55" fmla="*/ 265839 w 707548"/>
              <a:gd name="connsiteY55" fmla="*/ 116553 h 538362"/>
              <a:gd name="connsiteX56" fmla="*/ 265839 w 707548"/>
              <a:gd name="connsiteY56" fmla="*/ 122103 h 538362"/>
              <a:gd name="connsiteX57" fmla="*/ 273589 w 707548"/>
              <a:gd name="connsiteY57" fmla="*/ 122103 h 538362"/>
              <a:gd name="connsiteX58" fmla="*/ 273589 w 707548"/>
              <a:gd name="connsiteY58" fmla="*/ 127653 h 538362"/>
              <a:gd name="connsiteX59" fmla="*/ 265839 w 707548"/>
              <a:gd name="connsiteY59" fmla="*/ 138753 h 538362"/>
              <a:gd name="connsiteX60" fmla="*/ 273589 w 707548"/>
              <a:gd name="connsiteY60" fmla="*/ 144303 h 538362"/>
              <a:gd name="connsiteX61" fmla="*/ 273589 w 707548"/>
              <a:gd name="connsiteY61" fmla="*/ 149853 h 538362"/>
              <a:gd name="connsiteX62" fmla="*/ 273589 w 707548"/>
              <a:gd name="connsiteY62" fmla="*/ 155404 h 538362"/>
              <a:gd name="connsiteX63" fmla="*/ 265839 w 707548"/>
              <a:gd name="connsiteY63" fmla="*/ 155404 h 538362"/>
              <a:gd name="connsiteX64" fmla="*/ 258090 w 707548"/>
              <a:gd name="connsiteY64" fmla="*/ 155404 h 538362"/>
              <a:gd name="connsiteX65" fmla="*/ 258090 w 707548"/>
              <a:gd name="connsiteY65" fmla="*/ 160954 h 538362"/>
              <a:gd name="connsiteX66" fmla="*/ 265839 w 707548"/>
              <a:gd name="connsiteY66" fmla="*/ 160954 h 538362"/>
              <a:gd name="connsiteX67" fmla="*/ 273589 w 707548"/>
              <a:gd name="connsiteY67" fmla="*/ 166504 h 538362"/>
              <a:gd name="connsiteX68" fmla="*/ 281338 w 707548"/>
              <a:gd name="connsiteY68" fmla="*/ 172054 h 538362"/>
              <a:gd name="connsiteX69" fmla="*/ 289087 w 707548"/>
              <a:gd name="connsiteY69" fmla="*/ 172054 h 538362"/>
              <a:gd name="connsiteX70" fmla="*/ 296836 w 707548"/>
              <a:gd name="connsiteY70" fmla="*/ 177604 h 538362"/>
              <a:gd name="connsiteX71" fmla="*/ 296836 w 707548"/>
              <a:gd name="connsiteY71" fmla="*/ 183154 h 538362"/>
              <a:gd name="connsiteX72" fmla="*/ 304586 w 707548"/>
              <a:gd name="connsiteY72" fmla="*/ 183154 h 538362"/>
              <a:gd name="connsiteX73" fmla="*/ 304586 w 707548"/>
              <a:gd name="connsiteY73" fmla="*/ 188704 h 538362"/>
              <a:gd name="connsiteX74" fmla="*/ 312335 w 707548"/>
              <a:gd name="connsiteY74" fmla="*/ 188704 h 538362"/>
              <a:gd name="connsiteX75" fmla="*/ 320084 w 707548"/>
              <a:gd name="connsiteY75" fmla="*/ 188704 h 538362"/>
              <a:gd name="connsiteX76" fmla="*/ 320084 w 707548"/>
              <a:gd name="connsiteY76" fmla="*/ 194254 h 538362"/>
              <a:gd name="connsiteX77" fmla="*/ 327834 w 707548"/>
              <a:gd name="connsiteY77" fmla="*/ 194254 h 538362"/>
              <a:gd name="connsiteX78" fmla="*/ 335583 w 707548"/>
              <a:gd name="connsiteY78" fmla="*/ 194254 h 538362"/>
              <a:gd name="connsiteX79" fmla="*/ 335583 w 707548"/>
              <a:gd name="connsiteY79" fmla="*/ 199805 h 538362"/>
              <a:gd name="connsiteX80" fmla="*/ 343332 w 707548"/>
              <a:gd name="connsiteY80" fmla="*/ 199805 h 538362"/>
              <a:gd name="connsiteX81" fmla="*/ 343332 w 707548"/>
              <a:gd name="connsiteY81" fmla="*/ 205355 h 538362"/>
              <a:gd name="connsiteX82" fmla="*/ 343332 w 707548"/>
              <a:gd name="connsiteY82" fmla="*/ 210905 h 538362"/>
              <a:gd name="connsiteX83" fmla="*/ 335583 w 707548"/>
              <a:gd name="connsiteY83" fmla="*/ 216455 h 538362"/>
              <a:gd name="connsiteX84" fmla="*/ 343332 w 707548"/>
              <a:gd name="connsiteY84" fmla="*/ 216455 h 538362"/>
              <a:gd name="connsiteX85" fmla="*/ 343332 w 707548"/>
              <a:gd name="connsiteY85" fmla="*/ 222005 h 538362"/>
              <a:gd name="connsiteX86" fmla="*/ 343332 w 707548"/>
              <a:gd name="connsiteY86" fmla="*/ 227555 h 538362"/>
              <a:gd name="connsiteX87" fmla="*/ 351081 w 707548"/>
              <a:gd name="connsiteY87" fmla="*/ 227555 h 538362"/>
              <a:gd name="connsiteX88" fmla="*/ 351081 w 707548"/>
              <a:gd name="connsiteY88" fmla="*/ 233105 h 538362"/>
              <a:gd name="connsiteX89" fmla="*/ 358831 w 707548"/>
              <a:gd name="connsiteY89" fmla="*/ 233105 h 538362"/>
              <a:gd name="connsiteX90" fmla="*/ 358831 w 707548"/>
              <a:gd name="connsiteY90" fmla="*/ 238655 h 538362"/>
              <a:gd name="connsiteX91" fmla="*/ 366580 w 707548"/>
              <a:gd name="connsiteY91" fmla="*/ 238655 h 538362"/>
              <a:gd name="connsiteX92" fmla="*/ 374329 w 707548"/>
              <a:gd name="connsiteY92" fmla="*/ 238655 h 538362"/>
              <a:gd name="connsiteX93" fmla="*/ 374329 w 707548"/>
              <a:gd name="connsiteY93" fmla="*/ 244206 h 538362"/>
              <a:gd name="connsiteX94" fmla="*/ 382078 w 707548"/>
              <a:gd name="connsiteY94" fmla="*/ 244206 h 538362"/>
              <a:gd name="connsiteX95" fmla="*/ 382078 w 707548"/>
              <a:gd name="connsiteY95" fmla="*/ 249756 h 538362"/>
              <a:gd name="connsiteX96" fmla="*/ 389828 w 707548"/>
              <a:gd name="connsiteY96" fmla="*/ 249756 h 538362"/>
              <a:gd name="connsiteX97" fmla="*/ 397577 w 707548"/>
              <a:gd name="connsiteY97" fmla="*/ 249756 h 538362"/>
              <a:gd name="connsiteX98" fmla="*/ 405326 w 707548"/>
              <a:gd name="connsiteY98" fmla="*/ 249756 h 538362"/>
              <a:gd name="connsiteX99" fmla="*/ 413076 w 707548"/>
              <a:gd name="connsiteY99" fmla="*/ 255306 h 538362"/>
              <a:gd name="connsiteX100" fmla="*/ 428574 w 707548"/>
              <a:gd name="connsiteY100" fmla="*/ 255306 h 538362"/>
              <a:gd name="connsiteX101" fmla="*/ 436323 w 707548"/>
              <a:gd name="connsiteY101" fmla="*/ 260856 h 538362"/>
              <a:gd name="connsiteX102" fmla="*/ 444073 w 707548"/>
              <a:gd name="connsiteY102" fmla="*/ 260856 h 538362"/>
              <a:gd name="connsiteX103" fmla="*/ 451822 w 707548"/>
              <a:gd name="connsiteY103" fmla="*/ 260856 h 538362"/>
              <a:gd name="connsiteX104" fmla="*/ 459571 w 707548"/>
              <a:gd name="connsiteY104" fmla="*/ 260856 h 538362"/>
              <a:gd name="connsiteX105" fmla="*/ 467321 w 707548"/>
              <a:gd name="connsiteY105" fmla="*/ 266406 h 538362"/>
              <a:gd name="connsiteX106" fmla="*/ 467321 w 707548"/>
              <a:gd name="connsiteY106" fmla="*/ 271956 h 538362"/>
              <a:gd name="connsiteX107" fmla="*/ 467321 w 707548"/>
              <a:gd name="connsiteY107" fmla="*/ 277506 h 538362"/>
              <a:gd name="connsiteX108" fmla="*/ 475070 w 707548"/>
              <a:gd name="connsiteY108" fmla="*/ 277506 h 538362"/>
              <a:gd name="connsiteX109" fmla="*/ 482819 w 707548"/>
              <a:gd name="connsiteY109" fmla="*/ 277506 h 538362"/>
              <a:gd name="connsiteX110" fmla="*/ 482819 w 707548"/>
              <a:gd name="connsiteY110" fmla="*/ 283056 h 538362"/>
              <a:gd name="connsiteX111" fmla="*/ 490568 w 707548"/>
              <a:gd name="connsiteY111" fmla="*/ 283056 h 538362"/>
              <a:gd name="connsiteX112" fmla="*/ 490568 w 707548"/>
              <a:gd name="connsiteY112" fmla="*/ 288606 h 538362"/>
              <a:gd name="connsiteX113" fmla="*/ 490568 w 707548"/>
              <a:gd name="connsiteY113" fmla="*/ 294157 h 538362"/>
              <a:gd name="connsiteX114" fmla="*/ 498318 w 707548"/>
              <a:gd name="connsiteY114" fmla="*/ 294157 h 538362"/>
              <a:gd name="connsiteX115" fmla="*/ 498318 w 707548"/>
              <a:gd name="connsiteY115" fmla="*/ 299707 h 538362"/>
              <a:gd name="connsiteX116" fmla="*/ 490568 w 707548"/>
              <a:gd name="connsiteY116" fmla="*/ 299707 h 538362"/>
              <a:gd name="connsiteX117" fmla="*/ 490568 w 707548"/>
              <a:gd name="connsiteY117" fmla="*/ 305257 h 538362"/>
              <a:gd name="connsiteX118" fmla="*/ 490568 w 707548"/>
              <a:gd name="connsiteY118" fmla="*/ 310807 h 538362"/>
              <a:gd name="connsiteX119" fmla="*/ 490568 w 707548"/>
              <a:gd name="connsiteY119" fmla="*/ 316357 h 538362"/>
              <a:gd name="connsiteX120" fmla="*/ 490568 w 707548"/>
              <a:gd name="connsiteY120" fmla="*/ 321907 h 538362"/>
              <a:gd name="connsiteX121" fmla="*/ 498318 w 707548"/>
              <a:gd name="connsiteY121" fmla="*/ 321907 h 538362"/>
              <a:gd name="connsiteX122" fmla="*/ 506067 w 707548"/>
              <a:gd name="connsiteY122" fmla="*/ 321907 h 538362"/>
              <a:gd name="connsiteX123" fmla="*/ 513816 w 707548"/>
              <a:gd name="connsiteY123" fmla="*/ 327457 h 538362"/>
              <a:gd name="connsiteX124" fmla="*/ 521565 w 707548"/>
              <a:gd name="connsiteY124" fmla="*/ 327457 h 538362"/>
              <a:gd name="connsiteX125" fmla="*/ 529315 w 707548"/>
              <a:gd name="connsiteY125" fmla="*/ 327457 h 538362"/>
              <a:gd name="connsiteX126" fmla="*/ 529315 w 707548"/>
              <a:gd name="connsiteY126" fmla="*/ 321907 h 538362"/>
              <a:gd name="connsiteX127" fmla="*/ 537064 w 707548"/>
              <a:gd name="connsiteY127" fmla="*/ 321907 h 538362"/>
              <a:gd name="connsiteX128" fmla="*/ 544813 w 707548"/>
              <a:gd name="connsiteY128" fmla="*/ 321907 h 538362"/>
              <a:gd name="connsiteX129" fmla="*/ 544813 w 707548"/>
              <a:gd name="connsiteY129" fmla="*/ 327457 h 538362"/>
              <a:gd name="connsiteX130" fmla="*/ 552562 w 707548"/>
              <a:gd name="connsiteY130" fmla="*/ 333007 h 538362"/>
              <a:gd name="connsiteX131" fmla="*/ 560312 w 707548"/>
              <a:gd name="connsiteY131" fmla="*/ 338558 h 538362"/>
              <a:gd name="connsiteX132" fmla="*/ 568061 w 707548"/>
              <a:gd name="connsiteY132" fmla="*/ 338558 h 538362"/>
              <a:gd name="connsiteX133" fmla="*/ 568061 w 707548"/>
              <a:gd name="connsiteY133" fmla="*/ 344108 h 538362"/>
              <a:gd name="connsiteX134" fmla="*/ 575810 w 707548"/>
              <a:gd name="connsiteY134" fmla="*/ 349658 h 538362"/>
              <a:gd name="connsiteX135" fmla="*/ 575810 w 707548"/>
              <a:gd name="connsiteY135" fmla="*/ 355208 h 538362"/>
              <a:gd name="connsiteX136" fmla="*/ 583560 w 707548"/>
              <a:gd name="connsiteY136" fmla="*/ 355208 h 538362"/>
              <a:gd name="connsiteX137" fmla="*/ 591309 w 707548"/>
              <a:gd name="connsiteY137" fmla="*/ 366308 h 538362"/>
              <a:gd name="connsiteX138" fmla="*/ 599058 w 707548"/>
              <a:gd name="connsiteY138" fmla="*/ 366308 h 538362"/>
              <a:gd name="connsiteX139" fmla="*/ 599058 w 707548"/>
              <a:gd name="connsiteY139" fmla="*/ 371858 h 538362"/>
              <a:gd name="connsiteX140" fmla="*/ 606807 w 707548"/>
              <a:gd name="connsiteY140" fmla="*/ 371858 h 538362"/>
              <a:gd name="connsiteX141" fmla="*/ 606807 w 707548"/>
              <a:gd name="connsiteY141" fmla="*/ 366308 h 538362"/>
              <a:gd name="connsiteX142" fmla="*/ 614557 w 707548"/>
              <a:gd name="connsiteY142" fmla="*/ 366308 h 538362"/>
              <a:gd name="connsiteX143" fmla="*/ 622306 w 707548"/>
              <a:gd name="connsiteY143" fmla="*/ 366308 h 538362"/>
              <a:gd name="connsiteX144" fmla="*/ 630055 w 707548"/>
              <a:gd name="connsiteY144" fmla="*/ 366308 h 538362"/>
              <a:gd name="connsiteX145" fmla="*/ 637804 w 707548"/>
              <a:gd name="connsiteY145" fmla="*/ 366308 h 538362"/>
              <a:gd name="connsiteX146" fmla="*/ 645554 w 707548"/>
              <a:gd name="connsiteY146" fmla="*/ 366308 h 538362"/>
              <a:gd name="connsiteX147" fmla="*/ 645554 w 707548"/>
              <a:gd name="connsiteY147" fmla="*/ 371858 h 538362"/>
              <a:gd name="connsiteX148" fmla="*/ 653303 w 707548"/>
              <a:gd name="connsiteY148" fmla="*/ 371858 h 538362"/>
              <a:gd name="connsiteX149" fmla="*/ 661052 w 707548"/>
              <a:gd name="connsiteY149" fmla="*/ 371858 h 538362"/>
              <a:gd name="connsiteX150" fmla="*/ 661052 w 707548"/>
              <a:gd name="connsiteY150" fmla="*/ 377408 h 538362"/>
              <a:gd name="connsiteX151" fmla="*/ 661052 w 707548"/>
              <a:gd name="connsiteY151" fmla="*/ 382959 h 538362"/>
              <a:gd name="connsiteX152" fmla="*/ 668802 w 707548"/>
              <a:gd name="connsiteY152" fmla="*/ 382959 h 538362"/>
              <a:gd name="connsiteX153" fmla="*/ 676551 w 707548"/>
              <a:gd name="connsiteY153" fmla="*/ 382959 h 538362"/>
              <a:gd name="connsiteX154" fmla="*/ 676551 w 707548"/>
              <a:gd name="connsiteY154" fmla="*/ 388509 h 538362"/>
              <a:gd name="connsiteX155" fmla="*/ 676551 w 707548"/>
              <a:gd name="connsiteY155" fmla="*/ 394059 h 538362"/>
              <a:gd name="connsiteX156" fmla="*/ 676551 w 707548"/>
              <a:gd name="connsiteY156" fmla="*/ 399609 h 538362"/>
              <a:gd name="connsiteX157" fmla="*/ 684300 w 707548"/>
              <a:gd name="connsiteY157" fmla="*/ 399609 h 538362"/>
              <a:gd name="connsiteX158" fmla="*/ 692050 w 707548"/>
              <a:gd name="connsiteY158" fmla="*/ 399609 h 538362"/>
              <a:gd name="connsiteX159" fmla="*/ 692050 w 707548"/>
              <a:gd name="connsiteY159" fmla="*/ 405159 h 538362"/>
              <a:gd name="connsiteX160" fmla="*/ 699799 w 707548"/>
              <a:gd name="connsiteY160" fmla="*/ 405159 h 538362"/>
              <a:gd name="connsiteX161" fmla="*/ 699799 w 707548"/>
              <a:gd name="connsiteY161" fmla="*/ 410709 h 538362"/>
              <a:gd name="connsiteX162" fmla="*/ 707548 w 707548"/>
              <a:gd name="connsiteY162" fmla="*/ 410709 h 538362"/>
              <a:gd name="connsiteX163" fmla="*/ 707548 w 707548"/>
              <a:gd name="connsiteY163" fmla="*/ 416259 h 538362"/>
              <a:gd name="connsiteX164" fmla="*/ 707548 w 707548"/>
              <a:gd name="connsiteY164" fmla="*/ 421809 h 538362"/>
              <a:gd name="connsiteX165" fmla="*/ 699799 w 707548"/>
              <a:gd name="connsiteY165" fmla="*/ 427359 h 538362"/>
              <a:gd name="connsiteX166" fmla="*/ 699799 w 707548"/>
              <a:gd name="connsiteY166" fmla="*/ 432910 h 538362"/>
              <a:gd name="connsiteX167" fmla="*/ 692050 w 707548"/>
              <a:gd name="connsiteY167" fmla="*/ 432910 h 538362"/>
              <a:gd name="connsiteX168" fmla="*/ 692050 w 707548"/>
              <a:gd name="connsiteY168" fmla="*/ 438460 h 538362"/>
              <a:gd name="connsiteX169" fmla="*/ 692050 w 707548"/>
              <a:gd name="connsiteY169" fmla="*/ 444010 h 538362"/>
              <a:gd name="connsiteX170" fmla="*/ 699799 w 707548"/>
              <a:gd name="connsiteY170" fmla="*/ 444010 h 538362"/>
              <a:gd name="connsiteX171" fmla="*/ 692050 w 707548"/>
              <a:gd name="connsiteY171" fmla="*/ 449560 h 538362"/>
              <a:gd name="connsiteX172" fmla="*/ 692050 w 707548"/>
              <a:gd name="connsiteY172" fmla="*/ 455110 h 538362"/>
              <a:gd name="connsiteX173" fmla="*/ 692050 w 707548"/>
              <a:gd name="connsiteY173" fmla="*/ 460660 h 538362"/>
              <a:gd name="connsiteX174" fmla="*/ 692050 w 707548"/>
              <a:gd name="connsiteY174" fmla="*/ 466210 h 538362"/>
              <a:gd name="connsiteX175" fmla="*/ 684300 w 707548"/>
              <a:gd name="connsiteY175" fmla="*/ 466210 h 538362"/>
              <a:gd name="connsiteX176" fmla="*/ 676551 w 707548"/>
              <a:gd name="connsiteY176" fmla="*/ 466210 h 538362"/>
              <a:gd name="connsiteX177" fmla="*/ 676551 w 707548"/>
              <a:gd name="connsiteY177" fmla="*/ 471760 h 538362"/>
              <a:gd name="connsiteX178" fmla="*/ 676551 w 707548"/>
              <a:gd name="connsiteY178" fmla="*/ 477311 h 538362"/>
              <a:gd name="connsiteX179" fmla="*/ 676551 w 707548"/>
              <a:gd name="connsiteY179" fmla="*/ 482861 h 538362"/>
              <a:gd name="connsiteX180" fmla="*/ 684300 w 707548"/>
              <a:gd name="connsiteY180" fmla="*/ 482861 h 538362"/>
              <a:gd name="connsiteX181" fmla="*/ 684300 w 707548"/>
              <a:gd name="connsiteY181" fmla="*/ 488411 h 538362"/>
              <a:gd name="connsiteX182" fmla="*/ 684300 w 707548"/>
              <a:gd name="connsiteY182" fmla="*/ 493961 h 538362"/>
              <a:gd name="connsiteX183" fmla="*/ 684300 w 707548"/>
              <a:gd name="connsiteY183" fmla="*/ 499511 h 538362"/>
              <a:gd name="connsiteX184" fmla="*/ 699799 w 707548"/>
              <a:gd name="connsiteY184" fmla="*/ 532812 h 538362"/>
              <a:gd name="connsiteX185" fmla="*/ 699799 w 707548"/>
              <a:gd name="connsiteY185" fmla="*/ 538362 h 538362"/>
              <a:gd name="connsiteX186" fmla="*/ 631989 w 707548"/>
              <a:gd name="connsiteY186" fmla="*/ 473861 h 538362"/>
              <a:gd name="connsiteX187" fmla="*/ 570077 w 707548"/>
              <a:gd name="connsiteY187" fmla="*/ 469098 h 538362"/>
              <a:gd name="connsiteX188" fmla="*/ 536739 w 707548"/>
              <a:gd name="connsiteY188" fmla="*/ 459573 h 538362"/>
              <a:gd name="connsiteX189" fmla="*/ 503402 w 707548"/>
              <a:gd name="connsiteY189" fmla="*/ 454811 h 538362"/>
              <a:gd name="connsiteX190" fmla="*/ 489114 w 707548"/>
              <a:gd name="connsiteY190" fmla="*/ 450048 h 538362"/>
              <a:gd name="connsiteX191" fmla="*/ 470064 w 707548"/>
              <a:gd name="connsiteY191" fmla="*/ 445286 h 538362"/>
              <a:gd name="connsiteX192" fmla="*/ 412914 w 707548"/>
              <a:gd name="connsiteY192" fmla="*/ 440523 h 538362"/>
              <a:gd name="connsiteX193" fmla="*/ 351002 w 707548"/>
              <a:gd name="connsiteY193" fmla="*/ 430998 h 538362"/>
              <a:gd name="connsiteX194" fmla="*/ 265277 w 707548"/>
              <a:gd name="connsiteY194" fmla="*/ 402423 h 538362"/>
              <a:gd name="connsiteX195" fmla="*/ 246227 w 707548"/>
              <a:gd name="connsiteY195" fmla="*/ 397661 h 538362"/>
              <a:gd name="connsiteX196" fmla="*/ 231939 w 707548"/>
              <a:gd name="connsiteY196" fmla="*/ 392898 h 538362"/>
              <a:gd name="connsiteX197" fmla="*/ 203364 w 707548"/>
              <a:gd name="connsiteY197" fmla="*/ 383373 h 538362"/>
              <a:gd name="connsiteX198" fmla="*/ 174789 w 707548"/>
              <a:gd name="connsiteY198" fmla="*/ 373848 h 538362"/>
              <a:gd name="connsiteX199" fmla="*/ 170027 w 707548"/>
              <a:gd name="connsiteY199" fmla="*/ 359561 h 538362"/>
              <a:gd name="connsiteX200" fmla="*/ 155739 w 707548"/>
              <a:gd name="connsiteY200" fmla="*/ 354798 h 538362"/>
              <a:gd name="connsiteX201" fmla="*/ 136689 w 707548"/>
              <a:gd name="connsiteY201" fmla="*/ 326223 h 538362"/>
              <a:gd name="connsiteX202" fmla="*/ 117639 w 707548"/>
              <a:gd name="connsiteY202" fmla="*/ 297648 h 538362"/>
              <a:gd name="connsiteX203" fmla="*/ 112877 w 707548"/>
              <a:gd name="connsiteY203" fmla="*/ 283361 h 538362"/>
              <a:gd name="connsiteX204" fmla="*/ 103258 w 707548"/>
              <a:gd name="connsiteY204" fmla="*/ 270388 h 538362"/>
              <a:gd name="connsiteX205" fmla="*/ 98770 w 707548"/>
              <a:gd name="connsiteY205" fmla="*/ 268149 h 538362"/>
              <a:gd name="connsiteX206" fmla="*/ 98236 w 707548"/>
              <a:gd name="connsiteY206" fmla="*/ 268565 h 538362"/>
              <a:gd name="connsiteX207" fmla="*/ 93827 w 707548"/>
              <a:gd name="connsiteY207" fmla="*/ 254786 h 538362"/>
              <a:gd name="connsiteX208" fmla="*/ 79539 w 707548"/>
              <a:gd name="connsiteY208" fmla="*/ 240498 h 538362"/>
              <a:gd name="connsiteX209" fmla="*/ 70014 w 707548"/>
              <a:gd name="connsiteY209" fmla="*/ 211923 h 538362"/>
              <a:gd name="connsiteX210" fmla="*/ 70014 w 707548"/>
              <a:gd name="connsiteY210" fmla="*/ 130961 h 538362"/>
              <a:gd name="connsiteX211" fmla="*/ 84302 w 707548"/>
              <a:gd name="connsiteY211" fmla="*/ 121436 h 538362"/>
              <a:gd name="connsiteX212" fmla="*/ 89064 w 707548"/>
              <a:gd name="connsiteY212" fmla="*/ 107148 h 538362"/>
              <a:gd name="connsiteX213" fmla="*/ 96903 w 707548"/>
              <a:gd name="connsiteY213" fmla="*/ 93859 h 538362"/>
              <a:gd name="connsiteX214" fmla="*/ 103352 w 707548"/>
              <a:gd name="connsiteY214" fmla="*/ 69048 h 538362"/>
              <a:gd name="connsiteX215" fmla="*/ 93827 w 707548"/>
              <a:gd name="connsiteY215" fmla="*/ 40473 h 538362"/>
              <a:gd name="connsiteX216" fmla="*/ 84302 w 707548"/>
              <a:gd name="connsiteY216" fmla="*/ 26186 h 538362"/>
              <a:gd name="connsiteX217" fmla="*/ 41439 w 707548"/>
              <a:gd name="connsiteY217" fmla="*/ 16661 h 538362"/>
              <a:gd name="connsiteX218" fmla="*/ 12864 w 707548"/>
              <a:gd name="connsiteY218" fmla="*/ 7136 h 538362"/>
              <a:gd name="connsiteX219" fmla="*/ 0 w 707548"/>
              <a:gd name="connsiteY219" fmla="*/ 11424 h 538362"/>
              <a:gd name="connsiteX220" fmla="*/ 0 w 707548"/>
              <a:gd name="connsiteY220" fmla="*/ 5550 h 538362"/>
              <a:gd name="connsiteX221" fmla="*/ 2364 w 707548"/>
              <a:gd name="connsiteY221" fmla="*/ 5550 h 538362"/>
              <a:gd name="connsiteX222" fmla="*/ 2364 w 707548"/>
              <a:gd name="connsiteY222" fmla="*/ 0 h 538362"/>
              <a:gd name="connsiteX0" fmla="*/ 2364 w 707548"/>
              <a:gd name="connsiteY0" fmla="*/ 0 h 532812"/>
              <a:gd name="connsiteX1" fmla="*/ 10113 w 707548"/>
              <a:gd name="connsiteY1" fmla="*/ 0 h 532812"/>
              <a:gd name="connsiteX2" fmla="*/ 10113 w 707548"/>
              <a:gd name="connsiteY2" fmla="*/ 5550 h 532812"/>
              <a:gd name="connsiteX3" fmla="*/ 17862 w 707548"/>
              <a:gd name="connsiteY3" fmla="*/ 5550 h 532812"/>
              <a:gd name="connsiteX4" fmla="*/ 25612 w 707548"/>
              <a:gd name="connsiteY4" fmla="*/ 5550 h 532812"/>
              <a:gd name="connsiteX5" fmla="*/ 33361 w 707548"/>
              <a:gd name="connsiteY5" fmla="*/ 5550 h 532812"/>
              <a:gd name="connsiteX6" fmla="*/ 33361 w 707548"/>
              <a:gd name="connsiteY6" fmla="*/ 11100 h 532812"/>
              <a:gd name="connsiteX7" fmla="*/ 41110 w 707548"/>
              <a:gd name="connsiteY7" fmla="*/ 5550 h 532812"/>
              <a:gd name="connsiteX8" fmla="*/ 41110 w 707548"/>
              <a:gd name="connsiteY8" fmla="*/ 11100 h 532812"/>
              <a:gd name="connsiteX9" fmla="*/ 48859 w 707548"/>
              <a:gd name="connsiteY9" fmla="*/ 11100 h 532812"/>
              <a:gd name="connsiteX10" fmla="*/ 48859 w 707548"/>
              <a:gd name="connsiteY10" fmla="*/ 16651 h 532812"/>
              <a:gd name="connsiteX11" fmla="*/ 56609 w 707548"/>
              <a:gd name="connsiteY11" fmla="*/ 16651 h 532812"/>
              <a:gd name="connsiteX12" fmla="*/ 64358 w 707548"/>
              <a:gd name="connsiteY12" fmla="*/ 16651 h 532812"/>
              <a:gd name="connsiteX13" fmla="*/ 64358 w 707548"/>
              <a:gd name="connsiteY13" fmla="*/ 22201 h 532812"/>
              <a:gd name="connsiteX14" fmla="*/ 72107 w 707548"/>
              <a:gd name="connsiteY14" fmla="*/ 22201 h 532812"/>
              <a:gd name="connsiteX15" fmla="*/ 72107 w 707548"/>
              <a:gd name="connsiteY15" fmla="*/ 16651 h 532812"/>
              <a:gd name="connsiteX16" fmla="*/ 79857 w 707548"/>
              <a:gd name="connsiteY16" fmla="*/ 16651 h 532812"/>
              <a:gd name="connsiteX17" fmla="*/ 87606 w 707548"/>
              <a:gd name="connsiteY17" fmla="*/ 16651 h 532812"/>
              <a:gd name="connsiteX18" fmla="*/ 95355 w 707548"/>
              <a:gd name="connsiteY18" fmla="*/ 16651 h 532812"/>
              <a:gd name="connsiteX19" fmla="*/ 103104 w 707548"/>
              <a:gd name="connsiteY19" fmla="*/ 22201 h 532812"/>
              <a:gd name="connsiteX20" fmla="*/ 110854 w 707548"/>
              <a:gd name="connsiteY20" fmla="*/ 16651 h 532812"/>
              <a:gd name="connsiteX21" fmla="*/ 110854 w 707548"/>
              <a:gd name="connsiteY21" fmla="*/ 22201 h 532812"/>
              <a:gd name="connsiteX22" fmla="*/ 118603 w 707548"/>
              <a:gd name="connsiteY22" fmla="*/ 22201 h 532812"/>
              <a:gd name="connsiteX23" fmla="*/ 118603 w 707548"/>
              <a:gd name="connsiteY23" fmla="*/ 27751 h 532812"/>
              <a:gd name="connsiteX24" fmla="*/ 126352 w 707548"/>
              <a:gd name="connsiteY24" fmla="*/ 33301 h 532812"/>
              <a:gd name="connsiteX25" fmla="*/ 134102 w 707548"/>
              <a:gd name="connsiteY25" fmla="*/ 33301 h 532812"/>
              <a:gd name="connsiteX26" fmla="*/ 134102 w 707548"/>
              <a:gd name="connsiteY26" fmla="*/ 38851 h 532812"/>
              <a:gd name="connsiteX27" fmla="*/ 141851 w 707548"/>
              <a:gd name="connsiteY27" fmla="*/ 38851 h 532812"/>
              <a:gd name="connsiteX28" fmla="*/ 141851 w 707548"/>
              <a:gd name="connsiteY28" fmla="*/ 44401 h 532812"/>
              <a:gd name="connsiteX29" fmla="*/ 149600 w 707548"/>
              <a:gd name="connsiteY29" fmla="*/ 44401 h 532812"/>
              <a:gd name="connsiteX30" fmla="*/ 157349 w 707548"/>
              <a:gd name="connsiteY30" fmla="*/ 44401 h 532812"/>
              <a:gd name="connsiteX31" fmla="*/ 157349 w 707548"/>
              <a:gd name="connsiteY31" fmla="*/ 49951 h 532812"/>
              <a:gd name="connsiteX32" fmla="*/ 165099 w 707548"/>
              <a:gd name="connsiteY32" fmla="*/ 44401 h 532812"/>
              <a:gd name="connsiteX33" fmla="*/ 165099 w 707548"/>
              <a:gd name="connsiteY33" fmla="*/ 49951 h 532812"/>
              <a:gd name="connsiteX34" fmla="*/ 172848 w 707548"/>
              <a:gd name="connsiteY34" fmla="*/ 55501 h 532812"/>
              <a:gd name="connsiteX35" fmla="*/ 180597 w 707548"/>
              <a:gd name="connsiteY35" fmla="*/ 55501 h 532812"/>
              <a:gd name="connsiteX36" fmla="*/ 180597 w 707548"/>
              <a:gd name="connsiteY36" fmla="*/ 61052 h 532812"/>
              <a:gd name="connsiteX37" fmla="*/ 188347 w 707548"/>
              <a:gd name="connsiteY37" fmla="*/ 61052 h 532812"/>
              <a:gd name="connsiteX38" fmla="*/ 188347 w 707548"/>
              <a:gd name="connsiteY38" fmla="*/ 66602 h 532812"/>
              <a:gd name="connsiteX39" fmla="*/ 196096 w 707548"/>
              <a:gd name="connsiteY39" fmla="*/ 72152 h 532812"/>
              <a:gd name="connsiteX40" fmla="*/ 203845 w 707548"/>
              <a:gd name="connsiteY40" fmla="*/ 77702 h 532812"/>
              <a:gd name="connsiteX41" fmla="*/ 211594 w 707548"/>
              <a:gd name="connsiteY41" fmla="*/ 77702 h 532812"/>
              <a:gd name="connsiteX42" fmla="*/ 219344 w 707548"/>
              <a:gd name="connsiteY42" fmla="*/ 77702 h 532812"/>
              <a:gd name="connsiteX43" fmla="*/ 227093 w 707548"/>
              <a:gd name="connsiteY43" fmla="*/ 77702 h 532812"/>
              <a:gd name="connsiteX44" fmla="*/ 234842 w 707548"/>
              <a:gd name="connsiteY44" fmla="*/ 77702 h 532812"/>
              <a:gd name="connsiteX45" fmla="*/ 234842 w 707548"/>
              <a:gd name="connsiteY45" fmla="*/ 83252 h 532812"/>
              <a:gd name="connsiteX46" fmla="*/ 227093 w 707548"/>
              <a:gd name="connsiteY46" fmla="*/ 83252 h 532812"/>
              <a:gd name="connsiteX47" fmla="*/ 227093 w 707548"/>
              <a:gd name="connsiteY47" fmla="*/ 88802 h 532812"/>
              <a:gd name="connsiteX48" fmla="*/ 234842 w 707548"/>
              <a:gd name="connsiteY48" fmla="*/ 88802 h 532812"/>
              <a:gd name="connsiteX49" fmla="*/ 234842 w 707548"/>
              <a:gd name="connsiteY49" fmla="*/ 94352 h 532812"/>
              <a:gd name="connsiteX50" fmla="*/ 234842 w 707548"/>
              <a:gd name="connsiteY50" fmla="*/ 99902 h 532812"/>
              <a:gd name="connsiteX51" fmla="*/ 250341 w 707548"/>
              <a:gd name="connsiteY51" fmla="*/ 99902 h 532812"/>
              <a:gd name="connsiteX52" fmla="*/ 250341 w 707548"/>
              <a:gd name="connsiteY52" fmla="*/ 105453 h 532812"/>
              <a:gd name="connsiteX53" fmla="*/ 258090 w 707548"/>
              <a:gd name="connsiteY53" fmla="*/ 105453 h 532812"/>
              <a:gd name="connsiteX54" fmla="*/ 258090 w 707548"/>
              <a:gd name="connsiteY54" fmla="*/ 116553 h 532812"/>
              <a:gd name="connsiteX55" fmla="*/ 265839 w 707548"/>
              <a:gd name="connsiteY55" fmla="*/ 116553 h 532812"/>
              <a:gd name="connsiteX56" fmla="*/ 265839 w 707548"/>
              <a:gd name="connsiteY56" fmla="*/ 122103 h 532812"/>
              <a:gd name="connsiteX57" fmla="*/ 273589 w 707548"/>
              <a:gd name="connsiteY57" fmla="*/ 122103 h 532812"/>
              <a:gd name="connsiteX58" fmla="*/ 273589 w 707548"/>
              <a:gd name="connsiteY58" fmla="*/ 127653 h 532812"/>
              <a:gd name="connsiteX59" fmla="*/ 265839 w 707548"/>
              <a:gd name="connsiteY59" fmla="*/ 138753 h 532812"/>
              <a:gd name="connsiteX60" fmla="*/ 273589 w 707548"/>
              <a:gd name="connsiteY60" fmla="*/ 144303 h 532812"/>
              <a:gd name="connsiteX61" fmla="*/ 273589 w 707548"/>
              <a:gd name="connsiteY61" fmla="*/ 149853 h 532812"/>
              <a:gd name="connsiteX62" fmla="*/ 273589 w 707548"/>
              <a:gd name="connsiteY62" fmla="*/ 155404 h 532812"/>
              <a:gd name="connsiteX63" fmla="*/ 265839 w 707548"/>
              <a:gd name="connsiteY63" fmla="*/ 155404 h 532812"/>
              <a:gd name="connsiteX64" fmla="*/ 258090 w 707548"/>
              <a:gd name="connsiteY64" fmla="*/ 155404 h 532812"/>
              <a:gd name="connsiteX65" fmla="*/ 258090 w 707548"/>
              <a:gd name="connsiteY65" fmla="*/ 160954 h 532812"/>
              <a:gd name="connsiteX66" fmla="*/ 265839 w 707548"/>
              <a:gd name="connsiteY66" fmla="*/ 160954 h 532812"/>
              <a:gd name="connsiteX67" fmla="*/ 273589 w 707548"/>
              <a:gd name="connsiteY67" fmla="*/ 166504 h 532812"/>
              <a:gd name="connsiteX68" fmla="*/ 281338 w 707548"/>
              <a:gd name="connsiteY68" fmla="*/ 172054 h 532812"/>
              <a:gd name="connsiteX69" fmla="*/ 289087 w 707548"/>
              <a:gd name="connsiteY69" fmla="*/ 172054 h 532812"/>
              <a:gd name="connsiteX70" fmla="*/ 296836 w 707548"/>
              <a:gd name="connsiteY70" fmla="*/ 177604 h 532812"/>
              <a:gd name="connsiteX71" fmla="*/ 296836 w 707548"/>
              <a:gd name="connsiteY71" fmla="*/ 183154 h 532812"/>
              <a:gd name="connsiteX72" fmla="*/ 304586 w 707548"/>
              <a:gd name="connsiteY72" fmla="*/ 183154 h 532812"/>
              <a:gd name="connsiteX73" fmla="*/ 304586 w 707548"/>
              <a:gd name="connsiteY73" fmla="*/ 188704 h 532812"/>
              <a:gd name="connsiteX74" fmla="*/ 312335 w 707548"/>
              <a:gd name="connsiteY74" fmla="*/ 188704 h 532812"/>
              <a:gd name="connsiteX75" fmla="*/ 320084 w 707548"/>
              <a:gd name="connsiteY75" fmla="*/ 188704 h 532812"/>
              <a:gd name="connsiteX76" fmla="*/ 320084 w 707548"/>
              <a:gd name="connsiteY76" fmla="*/ 194254 h 532812"/>
              <a:gd name="connsiteX77" fmla="*/ 327834 w 707548"/>
              <a:gd name="connsiteY77" fmla="*/ 194254 h 532812"/>
              <a:gd name="connsiteX78" fmla="*/ 335583 w 707548"/>
              <a:gd name="connsiteY78" fmla="*/ 194254 h 532812"/>
              <a:gd name="connsiteX79" fmla="*/ 335583 w 707548"/>
              <a:gd name="connsiteY79" fmla="*/ 199805 h 532812"/>
              <a:gd name="connsiteX80" fmla="*/ 343332 w 707548"/>
              <a:gd name="connsiteY80" fmla="*/ 199805 h 532812"/>
              <a:gd name="connsiteX81" fmla="*/ 343332 w 707548"/>
              <a:gd name="connsiteY81" fmla="*/ 205355 h 532812"/>
              <a:gd name="connsiteX82" fmla="*/ 343332 w 707548"/>
              <a:gd name="connsiteY82" fmla="*/ 210905 h 532812"/>
              <a:gd name="connsiteX83" fmla="*/ 335583 w 707548"/>
              <a:gd name="connsiteY83" fmla="*/ 216455 h 532812"/>
              <a:gd name="connsiteX84" fmla="*/ 343332 w 707548"/>
              <a:gd name="connsiteY84" fmla="*/ 216455 h 532812"/>
              <a:gd name="connsiteX85" fmla="*/ 343332 w 707548"/>
              <a:gd name="connsiteY85" fmla="*/ 222005 h 532812"/>
              <a:gd name="connsiteX86" fmla="*/ 343332 w 707548"/>
              <a:gd name="connsiteY86" fmla="*/ 227555 h 532812"/>
              <a:gd name="connsiteX87" fmla="*/ 351081 w 707548"/>
              <a:gd name="connsiteY87" fmla="*/ 227555 h 532812"/>
              <a:gd name="connsiteX88" fmla="*/ 351081 w 707548"/>
              <a:gd name="connsiteY88" fmla="*/ 233105 h 532812"/>
              <a:gd name="connsiteX89" fmla="*/ 358831 w 707548"/>
              <a:gd name="connsiteY89" fmla="*/ 233105 h 532812"/>
              <a:gd name="connsiteX90" fmla="*/ 358831 w 707548"/>
              <a:gd name="connsiteY90" fmla="*/ 238655 h 532812"/>
              <a:gd name="connsiteX91" fmla="*/ 366580 w 707548"/>
              <a:gd name="connsiteY91" fmla="*/ 238655 h 532812"/>
              <a:gd name="connsiteX92" fmla="*/ 374329 w 707548"/>
              <a:gd name="connsiteY92" fmla="*/ 238655 h 532812"/>
              <a:gd name="connsiteX93" fmla="*/ 374329 w 707548"/>
              <a:gd name="connsiteY93" fmla="*/ 244206 h 532812"/>
              <a:gd name="connsiteX94" fmla="*/ 382078 w 707548"/>
              <a:gd name="connsiteY94" fmla="*/ 244206 h 532812"/>
              <a:gd name="connsiteX95" fmla="*/ 382078 w 707548"/>
              <a:gd name="connsiteY95" fmla="*/ 249756 h 532812"/>
              <a:gd name="connsiteX96" fmla="*/ 389828 w 707548"/>
              <a:gd name="connsiteY96" fmla="*/ 249756 h 532812"/>
              <a:gd name="connsiteX97" fmla="*/ 397577 w 707548"/>
              <a:gd name="connsiteY97" fmla="*/ 249756 h 532812"/>
              <a:gd name="connsiteX98" fmla="*/ 405326 w 707548"/>
              <a:gd name="connsiteY98" fmla="*/ 249756 h 532812"/>
              <a:gd name="connsiteX99" fmla="*/ 413076 w 707548"/>
              <a:gd name="connsiteY99" fmla="*/ 255306 h 532812"/>
              <a:gd name="connsiteX100" fmla="*/ 428574 w 707548"/>
              <a:gd name="connsiteY100" fmla="*/ 255306 h 532812"/>
              <a:gd name="connsiteX101" fmla="*/ 436323 w 707548"/>
              <a:gd name="connsiteY101" fmla="*/ 260856 h 532812"/>
              <a:gd name="connsiteX102" fmla="*/ 444073 w 707548"/>
              <a:gd name="connsiteY102" fmla="*/ 260856 h 532812"/>
              <a:gd name="connsiteX103" fmla="*/ 451822 w 707548"/>
              <a:gd name="connsiteY103" fmla="*/ 260856 h 532812"/>
              <a:gd name="connsiteX104" fmla="*/ 459571 w 707548"/>
              <a:gd name="connsiteY104" fmla="*/ 260856 h 532812"/>
              <a:gd name="connsiteX105" fmla="*/ 467321 w 707548"/>
              <a:gd name="connsiteY105" fmla="*/ 266406 h 532812"/>
              <a:gd name="connsiteX106" fmla="*/ 467321 w 707548"/>
              <a:gd name="connsiteY106" fmla="*/ 271956 h 532812"/>
              <a:gd name="connsiteX107" fmla="*/ 467321 w 707548"/>
              <a:gd name="connsiteY107" fmla="*/ 277506 h 532812"/>
              <a:gd name="connsiteX108" fmla="*/ 475070 w 707548"/>
              <a:gd name="connsiteY108" fmla="*/ 277506 h 532812"/>
              <a:gd name="connsiteX109" fmla="*/ 482819 w 707548"/>
              <a:gd name="connsiteY109" fmla="*/ 277506 h 532812"/>
              <a:gd name="connsiteX110" fmla="*/ 482819 w 707548"/>
              <a:gd name="connsiteY110" fmla="*/ 283056 h 532812"/>
              <a:gd name="connsiteX111" fmla="*/ 490568 w 707548"/>
              <a:gd name="connsiteY111" fmla="*/ 283056 h 532812"/>
              <a:gd name="connsiteX112" fmla="*/ 490568 w 707548"/>
              <a:gd name="connsiteY112" fmla="*/ 288606 h 532812"/>
              <a:gd name="connsiteX113" fmla="*/ 490568 w 707548"/>
              <a:gd name="connsiteY113" fmla="*/ 294157 h 532812"/>
              <a:gd name="connsiteX114" fmla="*/ 498318 w 707548"/>
              <a:gd name="connsiteY114" fmla="*/ 294157 h 532812"/>
              <a:gd name="connsiteX115" fmla="*/ 498318 w 707548"/>
              <a:gd name="connsiteY115" fmla="*/ 299707 h 532812"/>
              <a:gd name="connsiteX116" fmla="*/ 490568 w 707548"/>
              <a:gd name="connsiteY116" fmla="*/ 299707 h 532812"/>
              <a:gd name="connsiteX117" fmla="*/ 490568 w 707548"/>
              <a:gd name="connsiteY117" fmla="*/ 305257 h 532812"/>
              <a:gd name="connsiteX118" fmla="*/ 490568 w 707548"/>
              <a:gd name="connsiteY118" fmla="*/ 310807 h 532812"/>
              <a:gd name="connsiteX119" fmla="*/ 490568 w 707548"/>
              <a:gd name="connsiteY119" fmla="*/ 316357 h 532812"/>
              <a:gd name="connsiteX120" fmla="*/ 490568 w 707548"/>
              <a:gd name="connsiteY120" fmla="*/ 321907 h 532812"/>
              <a:gd name="connsiteX121" fmla="*/ 498318 w 707548"/>
              <a:gd name="connsiteY121" fmla="*/ 321907 h 532812"/>
              <a:gd name="connsiteX122" fmla="*/ 506067 w 707548"/>
              <a:gd name="connsiteY122" fmla="*/ 321907 h 532812"/>
              <a:gd name="connsiteX123" fmla="*/ 513816 w 707548"/>
              <a:gd name="connsiteY123" fmla="*/ 327457 h 532812"/>
              <a:gd name="connsiteX124" fmla="*/ 521565 w 707548"/>
              <a:gd name="connsiteY124" fmla="*/ 327457 h 532812"/>
              <a:gd name="connsiteX125" fmla="*/ 529315 w 707548"/>
              <a:gd name="connsiteY125" fmla="*/ 327457 h 532812"/>
              <a:gd name="connsiteX126" fmla="*/ 529315 w 707548"/>
              <a:gd name="connsiteY126" fmla="*/ 321907 h 532812"/>
              <a:gd name="connsiteX127" fmla="*/ 537064 w 707548"/>
              <a:gd name="connsiteY127" fmla="*/ 321907 h 532812"/>
              <a:gd name="connsiteX128" fmla="*/ 544813 w 707548"/>
              <a:gd name="connsiteY128" fmla="*/ 321907 h 532812"/>
              <a:gd name="connsiteX129" fmla="*/ 544813 w 707548"/>
              <a:gd name="connsiteY129" fmla="*/ 327457 h 532812"/>
              <a:gd name="connsiteX130" fmla="*/ 552562 w 707548"/>
              <a:gd name="connsiteY130" fmla="*/ 333007 h 532812"/>
              <a:gd name="connsiteX131" fmla="*/ 560312 w 707548"/>
              <a:gd name="connsiteY131" fmla="*/ 338558 h 532812"/>
              <a:gd name="connsiteX132" fmla="*/ 568061 w 707548"/>
              <a:gd name="connsiteY132" fmla="*/ 338558 h 532812"/>
              <a:gd name="connsiteX133" fmla="*/ 568061 w 707548"/>
              <a:gd name="connsiteY133" fmla="*/ 344108 h 532812"/>
              <a:gd name="connsiteX134" fmla="*/ 575810 w 707548"/>
              <a:gd name="connsiteY134" fmla="*/ 349658 h 532812"/>
              <a:gd name="connsiteX135" fmla="*/ 575810 w 707548"/>
              <a:gd name="connsiteY135" fmla="*/ 355208 h 532812"/>
              <a:gd name="connsiteX136" fmla="*/ 583560 w 707548"/>
              <a:gd name="connsiteY136" fmla="*/ 355208 h 532812"/>
              <a:gd name="connsiteX137" fmla="*/ 591309 w 707548"/>
              <a:gd name="connsiteY137" fmla="*/ 366308 h 532812"/>
              <a:gd name="connsiteX138" fmla="*/ 599058 w 707548"/>
              <a:gd name="connsiteY138" fmla="*/ 366308 h 532812"/>
              <a:gd name="connsiteX139" fmla="*/ 599058 w 707548"/>
              <a:gd name="connsiteY139" fmla="*/ 371858 h 532812"/>
              <a:gd name="connsiteX140" fmla="*/ 606807 w 707548"/>
              <a:gd name="connsiteY140" fmla="*/ 371858 h 532812"/>
              <a:gd name="connsiteX141" fmla="*/ 606807 w 707548"/>
              <a:gd name="connsiteY141" fmla="*/ 366308 h 532812"/>
              <a:gd name="connsiteX142" fmla="*/ 614557 w 707548"/>
              <a:gd name="connsiteY142" fmla="*/ 366308 h 532812"/>
              <a:gd name="connsiteX143" fmla="*/ 622306 w 707548"/>
              <a:gd name="connsiteY143" fmla="*/ 366308 h 532812"/>
              <a:gd name="connsiteX144" fmla="*/ 630055 w 707548"/>
              <a:gd name="connsiteY144" fmla="*/ 366308 h 532812"/>
              <a:gd name="connsiteX145" fmla="*/ 637804 w 707548"/>
              <a:gd name="connsiteY145" fmla="*/ 366308 h 532812"/>
              <a:gd name="connsiteX146" fmla="*/ 645554 w 707548"/>
              <a:gd name="connsiteY146" fmla="*/ 366308 h 532812"/>
              <a:gd name="connsiteX147" fmla="*/ 645554 w 707548"/>
              <a:gd name="connsiteY147" fmla="*/ 371858 h 532812"/>
              <a:gd name="connsiteX148" fmla="*/ 653303 w 707548"/>
              <a:gd name="connsiteY148" fmla="*/ 371858 h 532812"/>
              <a:gd name="connsiteX149" fmla="*/ 661052 w 707548"/>
              <a:gd name="connsiteY149" fmla="*/ 371858 h 532812"/>
              <a:gd name="connsiteX150" fmla="*/ 661052 w 707548"/>
              <a:gd name="connsiteY150" fmla="*/ 377408 h 532812"/>
              <a:gd name="connsiteX151" fmla="*/ 661052 w 707548"/>
              <a:gd name="connsiteY151" fmla="*/ 382959 h 532812"/>
              <a:gd name="connsiteX152" fmla="*/ 668802 w 707548"/>
              <a:gd name="connsiteY152" fmla="*/ 382959 h 532812"/>
              <a:gd name="connsiteX153" fmla="*/ 676551 w 707548"/>
              <a:gd name="connsiteY153" fmla="*/ 382959 h 532812"/>
              <a:gd name="connsiteX154" fmla="*/ 676551 w 707548"/>
              <a:gd name="connsiteY154" fmla="*/ 388509 h 532812"/>
              <a:gd name="connsiteX155" fmla="*/ 676551 w 707548"/>
              <a:gd name="connsiteY155" fmla="*/ 394059 h 532812"/>
              <a:gd name="connsiteX156" fmla="*/ 676551 w 707548"/>
              <a:gd name="connsiteY156" fmla="*/ 399609 h 532812"/>
              <a:gd name="connsiteX157" fmla="*/ 684300 w 707548"/>
              <a:gd name="connsiteY157" fmla="*/ 399609 h 532812"/>
              <a:gd name="connsiteX158" fmla="*/ 692050 w 707548"/>
              <a:gd name="connsiteY158" fmla="*/ 399609 h 532812"/>
              <a:gd name="connsiteX159" fmla="*/ 692050 w 707548"/>
              <a:gd name="connsiteY159" fmla="*/ 405159 h 532812"/>
              <a:gd name="connsiteX160" fmla="*/ 699799 w 707548"/>
              <a:gd name="connsiteY160" fmla="*/ 405159 h 532812"/>
              <a:gd name="connsiteX161" fmla="*/ 699799 w 707548"/>
              <a:gd name="connsiteY161" fmla="*/ 410709 h 532812"/>
              <a:gd name="connsiteX162" fmla="*/ 707548 w 707548"/>
              <a:gd name="connsiteY162" fmla="*/ 410709 h 532812"/>
              <a:gd name="connsiteX163" fmla="*/ 707548 w 707548"/>
              <a:gd name="connsiteY163" fmla="*/ 416259 h 532812"/>
              <a:gd name="connsiteX164" fmla="*/ 707548 w 707548"/>
              <a:gd name="connsiteY164" fmla="*/ 421809 h 532812"/>
              <a:gd name="connsiteX165" fmla="*/ 699799 w 707548"/>
              <a:gd name="connsiteY165" fmla="*/ 427359 h 532812"/>
              <a:gd name="connsiteX166" fmla="*/ 699799 w 707548"/>
              <a:gd name="connsiteY166" fmla="*/ 432910 h 532812"/>
              <a:gd name="connsiteX167" fmla="*/ 692050 w 707548"/>
              <a:gd name="connsiteY167" fmla="*/ 432910 h 532812"/>
              <a:gd name="connsiteX168" fmla="*/ 692050 w 707548"/>
              <a:gd name="connsiteY168" fmla="*/ 438460 h 532812"/>
              <a:gd name="connsiteX169" fmla="*/ 692050 w 707548"/>
              <a:gd name="connsiteY169" fmla="*/ 444010 h 532812"/>
              <a:gd name="connsiteX170" fmla="*/ 699799 w 707548"/>
              <a:gd name="connsiteY170" fmla="*/ 444010 h 532812"/>
              <a:gd name="connsiteX171" fmla="*/ 692050 w 707548"/>
              <a:gd name="connsiteY171" fmla="*/ 449560 h 532812"/>
              <a:gd name="connsiteX172" fmla="*/ 692050 w 707548"/>
              <a:gd name="connsiteY172" fmla="*/ 455110 h 532812"/>
              <a:gd name="connsiteX173" fmla="*/ 692050 w 707548"/>
              <a:gd name="connsiteY173" fmla="*/ 460660 h 532812"/>
              <a:gd name="connsiteX174" fmla="*/ 692050 w 707548"/>
              <a:gd name="connsiteY174" fmla="*/ 466210 h 532812"/>
              <a:gd name="connsiteX175" fmla="*/ 684300 w 707548"/>
              <a:gd name="connsiteY175" fmla="*/ 466210 h 532812"/>
              <a:gd name="connsiteX176" fmla="*/ 676551 w 707548"/>
              <a:gd name="connsiteY176" fmla="*/ 466210 h 532812"/>
              <a:gd name="connsiteX177" fmla="*/ 676551 w 707548"/>
              <a:gd name="connsiteY177" fmla="*/ 471760 h 532812"/>
              <a:gd name="connsiteX178" fmla="*/ 676551 w 707548"/>
              <a:gd name="connsiteY178" fmla="*/ 477311 h 532812"/>
              <a:gd name="connsiteX179" fmla="*/ 676551 w 707548"/>
              <a:gd name="connsiteY179" fmla="*/ 482861 h 532812"/>
              <a:gd name="connsiteX180" fmla="*/ 684300 w 707548"/>
              <a:gd name="connsiteY180" fmla="*/ 482861 h 532812"/>
              <a:gd name="connsiteX181" fmla="*/ 684300 w 707548"/>
              <a:gd name="connsiteY181" fmla="*/ 488411 h 532812"/>
              <a:gd name="connsiteX182" fmla="*/ 684300 w 707548"/>
              <a:gd name="connsiteY182" fmla="*/ 493961 h 532812"/>
              <a:gd name="connsiteX183" fmla="*/ 684300 w 707548"/>
              <a:gd name="connsiteY183" fmla="*/ 499511 h 532812"/>
              <a:gd name="connsiteX184" fmla="*/ 699799 w 707548"/>
              <a:gd name="connsiteY184" fmla="*/ 532812 h 532812"/>
              <a:gd name="connsiteX185" fmla="*/ 631989 w 707548"/>
              <a:gd name="connsiteY185" fmla="*/ 473861 h 532812"/>
              <a:gd name="connsiteX186" fmla="*/ 570077 w 707548"/>
              <a:gd name="connsiteY186" fmla="*/ 469098 h 532812"/>
              <a:gd name="connsiteX187" fmla="*/ 536739 w 707548"/>
              <a:gd name="connsiteY187" fmla="*/ 459573 h 532812"/>
              <a:gd name="connsiteX188" fmla="*/ 503402 w 707548"/>
              <a:gd name="connsiteY188" fmla="*/ 454811 h 532812"/>
              <a:gd name="connsiteX189" fmla="*/ 489114 w 707548"/>
              <a:gd name="connsiteY189" fmla="*/ 450048 h 532812"/>
              <a:gd name="connsiteX190" fmla="*/ 470064 w 707548"/>
              <a:gd name="connsiteY190" fmla="*/ 445286 h 532812"/>
              <a:gd name="connsiteX191" fmla="*/ 412914 w 707548"/>
              <a:gd name="connsiteY191" fmla="*/ 440523 h 532812"/>
              <a:gd name="connsiteX192" fmla="*/ 351002 w 707548"/>
              <a:gd name="connsiteY192" fmla="*/ 430998 h 532812"/>
              <a:gd name="connsiteX193" fmla="*/ 265277 w 707548"/>
              <a:gd name="connsiteY193" fmla="*/ 402423 h 532812"/>
              <a:gd name="connsiteX194" fmla="*/ 246227 w 707548"/>
              <a:gd name="connsiteY194" fmla="*/ 397661 h 532812"/>
              <a:gd name="connsiteX195" fmla="*/ 231939 w 707548"/>
              <a:gd name="connsiteY195" fmla="*/ 392898 h 532812"/>
              <a:gd name="connsiteX196" fmla="*/ 203364 w 707548"/>
              <a:gd name="connsiteY196" fmla="*/ 383373 h 532812"/>
              <a:gd name="connsiteX197" fmla="*/ 174789 w 707548"/>
              <a:gd name="connsiteY197" fmla="*/ 373848 h 532812"/>
              <a:gd name="connsiteX198" fmla="*/ 170027 w 707548"/>
              <a:gd name="connsiteY198" fmla="*/ 359561 h 532812"/>
              <a:gd name="connsiteX199" fmla="*/ 155739 w 707548"/>
              <a:gd name="connsiteY199" fmla="*/ 354798 h 532812"/>
              <a:gd name="connsiteX200" fmla="*/ 136689 w 707548"/>
              <a:gd name="connsiteY200" fmla="*/ 326223 h 532812"/>
              <a:gd name="connsiteX201" fmla="*/ 117639 w 707548"/>
              <a:gd name="connsiteY201" fmla="*/ 297648 h 532812"/>
              <a:gd name="connsiteX202" fmla="*/ 112877 w 707548"/>
              <a:gd name="connsiteY202" fmla="*/ 283361 h 532812"/>
              <a:gd name="connsiteX203" fmla="*/ 103258 w 707548"/>
              <a:gd name="connsiteY203" fmla="*/ 270388 h 532812"/>
              <a:gd name="connsiteX204" fmla="*/ 98770 w 707548"/>
              <a:gd name="connsiteY204" fmla="*/ 268149 h 532812"/>
              <a:gd name="connsiteX205" fmla="*/ 98236 w 707548"/>
              <a:gd name="connsiteY205" fmla="*/ 268565 h 532812"/>
              <a:gd name="connsiteX206" fmla="*/ 93827 w 707548"/>
              <a:gd name="connsiteY206" fmla="*/ 254786 h 532812"/>
              <a:gd name="connsiteX207" fmla="*/ 79539 w 707548"/>
              <a:gd name="connsiteY207" fmla="*/ 240498 h 532812"/>
              <a:gd name="connsiteX208" fmla="*/ 70014 w 707548"/>
              <a:gd name="connsiteY208" fmla="*/ 211923 h 532812"/>
              <a:gd name="connsiteX209" fmla="*/ 70014 w 707548"/>
              <a:gd name="connsiteY209" fmla="*/ 130961 h 532812"/>
              <a:gd name="connsiteX210" fmla="*/ 84302 w 707548"/>
              <a:gd name="connsiteY210" fmla="*/ 121436 h 532812"/>
              <a:gd name="connsiteX211" fmla="*/ 89064 w 707548"/>
              <a:gd name="connsiteY211" fmla="*/ 107148 h 532812"/>
              <a:gd name="connsiteX212" fmla="*/ 96903 w 707548"/>
              <a:gd name="connsiteY212" fmla="*/ 93859 h 532812"/>
              <a:gd name="connsiteX213" fmla="*/ 103352 w 707548"/>
              <a:gd name="connsiteY213" fmla="*/ 69048 h 532812"/>
              <a:gd name="connsiteX214" fmla="*/ 93827 w 707548"/>
              <a:gd name="connsiteY214" fmla="*/ 40473 h 532812"/>
              <a:gd name="connsiteX215" fmla="*/ 84302 w 707548"/>
              <a:gd name="connsiteY215" fmla="*/ 26186 h 532812"/>
              <a:gd name="connsiteX216" fmla="*/ 41439 w 707548"/>
              <a:gd name="connsiteY216" fmla="*/ 16661 h 532812"/>
              <a:gd name="connsiteX217" fmla="*/ 12864 w 707548"/>
              <a:gd name="connsiteY217" fmla="*/ 7136 h 532812"/>
              <a:gd name="connsiteX218" fmla="*/ 0 w 707548"/>
              <a:gd name="connsiteY218" fmla="*/ 11424 h 532812"/>
              <a:gd name="connsiteX219" fmla="*/ 0 w 707548"/>
              <a:gd name="connsiteY219" fmla="*/ 5550 h 532812"/>
              <a:gd name="connsiteX220" fmla="*/ 2364 w 707548"/>
              <a:gd name="connsiteY220" fmla="*/ 5550 h 532812"/>
              <a:gd name="connsiteX221" fmla="*/ 2364 w 707548"/>
              <a:gd name="connsiteY221" fmla="*/ 0 h 532812"/>
              <a:gd name="connsiteX0" fmla="*/ 2364 w 707548"/>
              <a:gd name="connsiteY0" fmla="*/ 0 h 499511"/>
              <a:gd name="connsiteX1" fmla="*/ 10113 w 707548"/>
              <a:gd name="connsiteY1" fmla="*/ 0 h 499511"/>
              <a:gd name="connsiteX2" fmla="*/ 10113 w 707548"/>
              <a:gd name="connsiteY2" fmla="*/ 5550 h 499511"/>
              <a:gd name="connsiteX3" fmla="*/ 17862 w 707548"/>
              <a:gd name="connsiteY3" fmla="*/ 5550 h 499511"/>
              <a:gd name="connsiteX4" fmla="*/ 25612 w 707548"/>
              <a:gd name="connsiteY4" fmla="*/ 5550 h 499511"/>
              <a:gd name="connsiteX5" fmla="*/ 33361 w 707548"/>
              <a:gd name="connsiteY5" fmla="*/ 5550 h 499511"/>
              <a:gd name="connsiteX6" fmla="*/ 33361 w 707548"/>
              <a:gd name="connsiteY6" fmla="*/ 11100 h 499511"/>
              <a:gd name="connsiteX7" fmla="*/ 41110 w 707548"/>
              <a:gd name="connsiteY7" fmla="*/ 5550 h 499511"/>
              <a:gd name="connsiteX8" fmla="*/ 41110 w 707548"/>
              <a:gd name="connsiteY8" fmla="*/ 11100 h 499511"/>
              <a:gd name="connsiteX9" fmla="*/ 48859 w 707548"/>
              <a:gd name="connsiteY9" fmla="*/ 11100 h 499511"/>
              <a:gd name="connsiteX10" fmla="*/ 48859 w 707548"/>
              <a:gd name="connsiteY10" fmla="*/ 16651 h 499511"/>
              <a:gd name="connsiteX11" fmla="*/ 56609 w 707548"/>
              <a:gd name="connsiteY11" fmla="*/ 16651 h 499511"/>
              <a:gd name="connsiteX12" fmla="*/ 64358 w 707548"/>
              <a:gd name="connsiteY12" fmla="*/ 16651 h 499511"/>
              <a:gd name="connsiteX13" fmla="*/ 64358 w 707548"/>
              <a:gd name="connsiteY13" fmla="*/ 22201 h 499511"/>
              <a:gd name="connsiteX14" fmla="*/ 72107 w 707548"/>
              <a:gd name="connsiteY14" fmla="*/ 22201 h 499511"/>
              <a:gd name="connsiteX15" fmla="*/ 72107 w 707548"/>
              <a:gd name="connsiteY15" fmla="*/ 16651 h 499511"/>
              <a:gd name="connsiteX16" fmla="*/ 79857 w 707548"/>
              <a:gd name="connsiteY16" fmla="*/ 16651 h 499511"/>
              <a:gd name="connsiteX17" fmla="*/ 87606 w 707548"/>
              <a:gd name="connsiteY17" fmla="*/ 16651 h 499511"/>
              <a:gd name="connsiteX18" fmla="*/ 95355 w 707548"/>
              <a:gd name="connsiteY18" fmla="*/ 16651 h 499511"/>
              <a:gd name="connsiteX19" fmla="*/ 103104 w 707548"/>
              <a:gd name="connsiteY19" fmla="*/ 22201 h 499511"/>
              <a:gd name="connsiteX20" fmla="*/ 110854 w 707548"/>
              <a:gd name="connsiteY20" fmla="*/ 16651 h 499511"/>
              <a:gd name="connsiteX21" fmla="*/ 110854 w 707548"/>
              <a:gd name="connsiteY21" fmla="*/ 22201 h 499511"/>
              <a:gd name="connsiteX22" fmla="*/ 118603 w 707548"/>
              <a:gd name="connsiteY22" fmla="*/ 22201 h 499511"/>
              <a:gd name="connsiteX23" fmla="*/ 118603 w 707548"/>
              <a:gd name="connsiteY23" fmla="*/ 27751 h 499511"/>
              <a:gd name="connsiteX24" fmla="*/ 126352 w 707548"/>
              <a:gd name="connsiteY24" fmla="*/ 33301 h 499511"/>
              <a:gd name="connsiteX25" fmla="*/ 134102 w 707548"/>
              <a:gd name="connsiteY25" fmla="*/ 33301 h 499511"/>
              <a:gd name="connsiteX26" fmla="*/ 134102 w 707548"/>
              <a:gd name="connsiteY26" fmla="*/ 38851 h 499511"/>
              <a:gd name="connsiteX27" fmla="*/ 141851 w 707548"/>
              <a:gd name="connsiteY27" fmla="*/ 38851 h 499511"/>
              <a:gd name="connsiteX28" fmla="*/ 141851 w 707548"/>
              <a:gd name="connsiteY28" fmla="*/ 44401 h 499511"/>
              <a:gd name="connsiteX29" fmla="*/ 149600 w 707548"/>
              <a:gd name="connsiteY29" fmla="*/ 44401 h 499511"/>
              <a:gd name="connsiteX30" fmla="*/ 157349 w 707548"/>
              <a:gd name="connsiteY30" fmla="*/ 44401 h 499511"/>
              <a:gd name="connsiteX31" fmla="*/ 157349 w 707548"/>
              <a:gd name="connsiteY31" fmla="*/ 49951 h 499511"/>
              <a:gd name="connsiteX32" fmla="*/ 165099 w 707548"/>
              <a:gd name="connsiteY32" fmla="*/ 44401 h 499511"/>
              <a:gd name="connsiteX33" fmla="*/ 165099 w 707548"/>
              <a:gd name="connsiteY33" fmla="*/ 49951 h 499511"/>
              <a:gd name="connsiteX34" fmla="*/ 172848 w 707548"/>
              <a:gd name="connsiteY34" fmla="*/ 55501 h 499511"/>
              <a:gd name="connsiteX35" fmla="*/ 180597 w 707548"/>
              <a:gd name="connsiteY35" fmla="*/ 55501 h 499511"/>
              <a:gd name="connsiteX36" fmla="*/ 180597 w 707548"/>
              <a:gd name="connsiteY36" fmla="*/ 61052 h 499511"/>
              <a:gd name="connsiteX37" fmla="*/ 188347 w 707548"/>
              <a:gd name="connsiteY37" fmla="*/ 61052 h 499511"/>
              <a:gd name="connsiteX38" fmla="*/ 188347 w 707548"/>
              <a:gd name="connsiteY38" fmla="*/ 66602 h 499511"/>
              <a:gd name="connsiteX39" fmla="*/ 196096 w 707548"/>
              <a:gd name="connsiteY39" fmla="*/ 72152 h 499511"/>
              <a:gd name="connsiteX40" fmla="*/ 203845 w 707548"/>
              <a:gd name="connsiteY40" fmla="*/ 77702 h 499511"/>
              <a:gd name="connsiteX41" fmla="*/ 211594 w 707548"/>
              <a:gd name="connsiteY41" fmla="*/ 77702 h 499511"/>
              <a:gd name="connsiteX42" fmla="*/ 219344 w 707548"/>
              <a:gd name="connsiteY42" fmla="*/ 77702 h 499511"/>
              <a:gd name="connsiteX43" fmla="*/ 227093 w 707548"/>
              <a:gd name="connsiteY43" fmla="*/ 77702 h 499511"/>
              <a:gd name="connsiteX44" fmla="*/ 234842 w 707548"/>
              <a:gd name="connsiteY44" fmla="*/ 77702 h 499511"/>
              <a:gd name="connsiteX45" fmla="*/ 234842 w 707548"/>
              <a:gd name="connsiteY45" fmla="*/ 83252 h 499511"/>
              <a:gd name="connsiteX46" fmla="*/ 227093 w 707548"/>
              <a:gd name="connsiteY46" fmla="*/ 83252 h 499511"/>
              <a:gd name="connsiteX47" fmla="*/ 227093 w 707548"/>
              <a:gd name="connsiteY47" fmla="*/ 88802 h 499511"/>
              <a:gd name="connsiteX48" fmla="*/ 234842 w 707548"/>
              <a:gd name="connsiteY48" fmla="*/ 88802 h 499511"/>
              <a:gd name="connsiteX49" fmla="*/ 234842 w 707548"/>
              <a:gd name="connsiteY49" fmla="*/ 94352 h 499511"/>
              <a:gd name="connsiteX50" fmla="*/ 234842 w 707548"/>
              <a:gd name="connsiteY50" fmla="*/ 99902 h 499511"/>
              <a:gd name="connsiteX51" fmla="*/ 250341 w 707548"/>
              <a:gd name="connsiteY51" fmla="*/ 99902 h 499511"/>
              <a:gd name="connsiteX52" fmla="*/ 250341 w 707548"/>
              <a:gd name="connsiteY52" fmla="*/ 105453 h 499511"/>
              <a:gd name="connsiteX53" fmla="*/ 258090 w 707548"/>
              <a:gd name="connsiteY53" fmla="*/ 105453 h 499511"/>
              <a:gd name="connsiteX54" fmla="*/ 258090 w 707548"/>
              <a:gd name="connsiteY54" fmla="*/ 116553 h 499511"/>
              <a:gd name="connsiteX55" fmla="*/ 265839 w 707548"/>
              <a:gd name="connsiteY55" fmla="*/ 116553 h 499511"/>
              <a:gd name="connsiteX56" fmla="*/ 265839 w 707548"/>
              <a:gd name="connsiteY56" fmla="*/ 122103 h 499511"/>
              <a:gd name="connsiteX57" fmla="*/ 273589 w 707548"/>
              <a:gd name="connsiteY57" fmla="*/ 122103 h 499511"/>
              <a:gd name="connsiteX58" fmla="*/ 273589 w 707548"/>
              <a:gd name="connsiteY58" fmla="*/ 127653 h 499511"/>
              <a:gd name="connsiteX59" fmla="*/ 265839 w 707548"/>
              <a:gd name="connsiteY59" fmla="*/ 138753 h 499511"/>
              <a:gd name="connsiteX60" fmla="*/ 273589 w 707548"/>
              <a:gd name="connsiteY60" fmla="*/ 144303 h 499511"/>
              <a:gd name="connsiteX61" fmla="*/ 273589 w 707548"/>
              <a:gd name="connsiteY61" fmla="*/ 149853 h 499511"/>
              <a:gd name="connsiteX62" fmla="*/ 273589 w 707548"/>
              <a:gd name="connsiteY62" fmla="*/ 155404 h 499511"/>
              <a:gd name="connsiteX63" fmla="*/ 265839 w 707548"/>
              <a:gd name="connsiteY63" fmla="*/ 155404 h 499511"/>
              <a:gd name="connsiteX64" fmla="*/ 258090 w 707548"/>
              <a:gd name="connsiteY64" fmla="*/ 155404 h 499511"/>
              <a:gd name="connsiteX65" fmla="*/ 258090 w 707548"/>
              <a:gd name="connsiteY65" fmla="*/ 160954 h 499511"/>
              <a:gd name="connsiteX66" fmla="*/ 265839 w 707548"/>
              <a:gd name="connsiteY66" fmla="*/ 160954 h 499511"/>
              <a:gd name="connsiteX67" fmla="*/ 273589 w 707548"/>
              <a:gd name="connsiteY67" fmla="*/ 166504 h 499511"/>
              <a:gd name="connsiteX68" fmla="*/ 281338 w 707548"/>
              <a:gd name="connsiteY68" fmla="*/ 172054 h 499511"/>
              <a:gd name="connsiteX69" fmla="*/ 289087 w 707548"/>
              <a:gd name="connsiteY69" fmla="*/ 172054 h 499511"/>
              <a:gd name="connsiteX70" fmla="*/ 296836 w 707548"/>
              <a:gd name="connsiteY70" fmla="*/ 177604 h 499511"/>
              <a:gd name="connsiteX71" fmla="*/ 296836 w 707548"/>
              <a:gd name="connsiteY71" fmla="*/ 183154 h 499511"/>
              <a:gd name="connsiteX72" fmla="*/ 304586 w 707548"/>
              <a:gd name="connsiteY72" fmla="*/ 183154 h 499511"/>
              <a:gd name="connsiteX73" fmla="*/ 304586 w 707548"/>
              <a:gd name="connsiteY73" fmla="*/ 188704 h 499511"/>
              <a:gd name="connsiteX74" fmla="*/ 312335 w 707548"/>
              <a:gd name="connsiteY74" fmla="*/ 188704 h 499511"/>
              <a:gd name="connsiteX75" fmla="*/ 320084 w 707548"/>
              <a:gd name="connsiteY75" fmla="*/ 188704 h 499511"/>
              <a:gd name="connsiteX76" fmla="*/ 320084 w 707548"/>
              <a:gd name="connsiteY76" fmla="*/ 194254 h 499511"/>
              <a:gd name="connsiteX77" fmla="*/ 327834 w 707548"/>
              <a:gd name="connsiteY77" fmla="*/ 194254 h 499511"/>
              <a:gd name="connsiteX78" fmla="*/ 335583 w 707548"/>
              <a:gd name="connsiteY78" fmla="*/ 194254 h 499511"/>
              <a:gd name="connsiteX79" fmla="*/ 335583 w 707548"/>
              <a:gd name="connsiteY79" fmla="*/ 199805 h 499511"/>
              <a:gd name="connsiteX80" fmla="*/ 343332 w 707548"/>
              <a:gd name="connsiteY80" fmla="*/ 199805 h 499511"/>
              <a:gd name="connsiteX81" fmla="*/ 343332 w 707548"/>
              <a:gd name="connsiteY81" fmla="*/ 205355 h 499511"/>
              <a:gd name="connsiteX82" fmla="*/ 343332 w 707548"/>
              <a:gd name="connsiteY82" fmla="*/ 210905 h 499511"/>
              <a:gd name="connsiteX83" fmla="*/ 335583 w 707548"/>
              <a:gd name="connsiteY83" fmla="*/ 216455 h 499511"/>
              <a:gd name="connsiteX84" fmla="*/ 343332 w 707548"/>
              <a:gd name="connsiteY84" fmla="*/ 216455 h 499511"/>
              <a:gd name="connsiteX85" fmla="*/ 343332 w 707548"/>
              <a:gd name="connsiteY85" fmla="*/ 222005 h 499511"/>
              <a:gd name="connsiteX86" fmla="*/ 343332 w 707548"/>
              <a:gd name="connsiteY86" fmla="*/ 227555 h 499511"/>
              <a:gd name="connsiteX87" fmla="*/ 351081 w 707548"/>
              <a:gd name="connsiteY87" fmla="*/ 227555 h 499511"/>
              <a:gd name="connsiteX88" fmla="*/ 351081 w 707548"/>
              <a:gd name="connsiteY88" fmla="*/ 233105 h 499511"/>
              <a:gd name="connsiteX89" fmla="*/ 358831 w 707548"/>
              <a:gd name="connsiteY89" fmla="*/ 233105 h 499511"/>
              <a:gd name="connsiteX90" fmla="*/ 358831 w 707548"/>
              <a:gd name="connsiteY90" fmla="*/ 238655 h 499511"/>
              <a:gd name="connsiteX91" fmla="*/ 366580 w 707548"/>
              <a:gd name="connsiteY91" fmla="*/ 238655 h 499511"/>
              <a:gd name="connsiteX92" fmla="*/ 374329 w 707548"/>
              <a:gd name="connsiteY92" fmla="*/ 238655 h 499511"/>
              <a:gd name="connsiteX93" fmla="*/ 374329 w 707548"/>
              <a:gd name="connsiteY93" fmla="*/ 244206 h 499511"/>
              <a:gd name="connsiteX94" fmla="*/ 382078 w 707548"/>
              <a:gd name="connsiteY94" fmla="*/ 244206 h 499511"/>
              <a:gd name="connsiteX95" fmla="*/ 382078 w 707548"/>
              <a:gd name="connsiteY95" fmla="*/ 249756 h 499511"/>
              <a:gd name="connsiteX96" fmla="*/ 389828 w 707548"/>
              <a:gd name="connsiteY96" fmla="*/ 249756 h 499511"/>
              <a:gd name="connsiteX97" fmla="*/ 397577 w 707548"/>
              <a:gd name="connsiteY97" fmla="*/ 249756 h 499511"/>
              <a:gd name="connsiteX98" fmla="*/ 405326 w 707548"/>
              <a:gd name="connsiteY98" fmla="*/ 249756 h 499511"/>
              <a:gd name="connsiteX99" fmla="*/ 413076 w 707548"/>
              <a:gd name="connsiteY99" fmla="*/ 255306 h 499511"/>
              <a:gd name="connsiteX100" fmla="*/ 428574 w 707548"/>
              <a:gd name="connsiteY100" fmla="*/ 255306 h 499511"/>
              <a:gd name="connsiteX101" fmla="*/ 436323 w 707548"/>
              <a:gd name="connsiteY101" fmla="*/ 260856 h 499511"/>
              <a:gd name="connsiteX102" fmla="*/ 444073 w 707548"/>
              <a:gd name="connsiteY102" fmla="*/ 260856 h 499511"/>
              <a:gd name="connsiteX103" fmla="*/ 451822 w 707548"/>
              <a:gd name="connsiteY103" fmla="*/ 260856 h 499511"/>
              <a:gd name="connsiteX104" fmla="*/ 459571 w 707548"/>
              <a:gd name="connsiteY104" fmla="*/ 260856 h 499511"/>
              <a:gd name="connsiteX105" fmla="*/ 467321 w 707548"/>
              <a:gd name="connsiteY105" fmla="*/ 266406 h 499511"/>
              <a:gd name="connsiteX106" fmla="*/ 467321 w 707548"/>
              <a:gd name="connsiteY106" fmla="*/ 271956 h 499511"/>
              <a:gd name="connsiteX107" fmla="*/ 467321 w 707548"/>
              <a:gd name="connsiteY107" fmla="*/ 277506 h 499511"/>
              <a:gd name="connsiteX108" fmla="*/ 475070 w 707548"/>
              <a:gd name="connsiteY108" fmla="*/ 277506 h 499511"/>
              <a:gd name="connsiteX109" fmla="*/ 482819 w 707548"/>
              <a:gd name="connsiteY109" fmla="*/ 277506 h 499511"/>
              <a:gd name="connsiteX110" fmla="*/ 482819 w 707548"/>
              <a:gd name="connsiteY110" fmla="*/ 283056 h 499511"/>
              <a:gd name="connsiteX111" fmla="*/ 490568 w 707548"/>
              <a:gd name="connsiteY111" fmla="*/ 283056 h 499511"/>
              <a:gd name="connsiteX112" fmla="*/ 490568 w 707548"/>
              <a:gd name="connsiteY112" fmla="*/ 288606 h 499511"/>
              <a:gd name="connsiteX113" fmla="*/ 490568 w 707548"/>
              <a:gd name="connsiteY113" fmla="*/ 294157 h 499511"/>
              <a:gd name="connsiteX114" fmla="*/ 498318 w 707548"/>
              <a:gd name="connsiteY114" fmla="*/ 294157 h 499511"/>
              <a:gd name="connsiteX115" fmla="*/ 498318 w 707548"/>
              <a:gd name="connsiteY115" fmla="*/ 299707 h 499511"/>
              <a:gd name="connsiteX116" fmla="*/ 490568 w 707548"/>
              <a:gd name="connsiteY116" fmla="*/ 299707 h 499511"/>
              <a:gd name="connsiteX117" fmla="*/ 490568 w 707548"/>
              <a:gd name="connsiteY117" fmla="*/ 305257 h 499511"/>
              <a:gd name="connsiteX118" fmla="*/ 490568 w 707548"/>
              <a:gd name="connsiteY118" fmla="*/ 310807 h 499511"/>
              <a:gd name="connsiteX119" fmla="*/ 490568 w 707548"/>
              <a:gd name="connsiteY119" fmla="*/ 316357 h 499511"/>
              <a:gd name="connsiteX120" fmla="*/ 490568 w 707548"/>
              <a:gd name="connsiteY120" fmla="*/ 321907 h 499511"/>
              <a:gd name="connsiteX121" fmla="*/ 498318 w 707548"/>
              <a:gd name="connsiteY121" fmla="*/ 321907 h 499511"/>
              <a:gd name="connsiteX122" fmla="*/ 506067 w 707548"/>
              <a:gd name="connsiteY122" fmla="*/ 321907 h 499511"/>
              <a:gd name="connsiteX123" fmla="*/ 513816 w 707548"/>
              <a:gd name="connsiteY123" fmla="*/ 327457 h 499511"/>
              <a:gd name="connsiteX124" fmla="*/ 521565 w 707548"/>
              <a:gd name="connsiteY124" fmla="*/ 327457 h 499511"/>
              <a:gd name="connsiteX125" fmla="*/ 529315 w 707548"/>
              <a:gd name="connsiteY125" fmla="*/ 327457 h 499511"/>
              <a:gd name="connsiteX126" fmla="*/ 529315 w 707548"/>
              <a:gd name="connsiteY126" fmla="*/ 321907 h 499511"/>
              <a:gd name="connsiteX127" fmla="*/ 537064 w 707548"/>
              <a:gd name="connsiteY127" fmla="*/ 321907 h 499511"/>
              <a:gd name="connsiteX128" fmla="*/ 544813 w 707548"/>
              <a:gd name="connsiteY128" fmla="*/ 321907 h 499511"/>
              <a:gd name="connsiteX129" fmla="*/ 544813 w 707548"/>
              <a:gd name="connsiteY129" fmla="*/ 327457 h 499511"/>
              <a:gd name="connsiteX130" fmla="*/ 552562 w 707548"/>
              <a:gd name="connsiteY130" fmla="*/ 333007 h 499511"/>
              <a:gd name="connsiteX131" fmla="*/ 560312 w 707548"/>
              <a:gd name="connsiteY131" fmla="*/ 338558 h 499511"/>
              <a:gd name="connsiteX132" fmla="*/ 568061 w 707548"/>
              <a:gd name="connsiteY132" fmla="*/ 338558 h 499511"/>
              <a:gd name="connsiteX133" fmla="*/ 568061 w 707548"/>
              <a:gd name="connsiteY133" fmla="*/ 344108 h 499511"/>
              <a:gd name="connsiteX134" fmla="*/ 575810 w 707548"/>
              <a:gd name="connsiteY134" fmla="*/ 349658 h 499511"/>
              <a:gd name="connsiteX135" fmla="*/ 575810 w 707548"/>
              <a:gd name="connsiteY135" fmla="*/ 355208 h 499511"/>
              <a:gd name="connsiteX136" fmla="*/ 583560 w 707548"/>
              <a:gd name="connsiteY136" fmla="*/ 355208 h 499511"/>
              <a:gd name="connsiteX137" fmla="*/ 591309 w 707548"/>
              <a:gd name="connsiteY137" fmla="*/ 366308 h 499511"/>
              <a:gd name="connsiteX138" fmla="*/ 599058 w 707548"/>
              <a:gd name="connsiteY138" fmla="*/ 366308 h 499511"/>
              <a:gd name="connsiteX139" fmla="*/ 599058 w 707548"/>
              <a:gd name="connsiteY139" fmla="*/ 371858 h 499511"/>
              <a:gd name="connsiteX140" fmla="*/ 606807 w 707548"/>
              <a:gd name="connsiteY140" fmla="*/ 371858 h 499511"/>
              <a:gd name="connsiteX141" fmla="*/ 606807 w 707548"/>
              <a:gd name="connsiteY141" fmla="*/ 366308 h 499511"/>
              <a:gd name="connsiteX142" fmla="*/ 614557 w 707548"/>
              <a:gd name="connsiteY142" fmla="*/ 366308 h 499511"/>
              <a:gd name="connsiteX143" fmla="*/ 622306 w 707548"/>
              <a:gd name="connsiteY143" fmla="*/ 366308 h 499511"/>
              <a:gd name="connsiteX144" fmla="*/ 630055 w 707548"/>
              <a:gd name="connsiteY144" fmla="*/ 366308 h 499511"/>
              <a:gd name="connsiteX145" fmla="*/ 637804 w 707548"/>
              <a:gd name="connsiteY145" fmla="*/ 366308 h 499511"/>
              <a:gd name="connsiteX146" fmla="*/ 645554 w 707548"/>
              <a:gd name="connsiteY146" fmla="*/ 366308 h 499511"/>
              <a:gd name="connsiteX147" fmla="*/ 645554 w 707548"/>
              <a:gd name="connsiteY147" fmla="*/ 371858 h 499511"/>
              <a:gd name="connsiteX148" fmla="*/ 653303 w 707548"/>
              <a:gd name="connsiteY148" fmla="*/ 371858 h 499511"/>
              <a:gd name="connsiteX149" fmla="*/ 661052 w 707548"/>
              <a:gd name="connsiteY149" fmla="*/ 371858 h 499511"/>
              <a:gd name="connsiteX150" fmla="*/ 661052 w 707548"/>
              <a:gd name="connsiteY150" fmla="*/ 377408 h 499511"/>
              <a:gd name="connsiteX151" fmla="*/ 661052 w 707548"/>
              <a:gd name="connsiteY151" fmla="*/ 382959 h 499511"/>
              <a:gd name="connsiteX152" fmla="*/ 668802 w 707548"/>
              <a:gd name="connsiteY152" fmla="*/ 382959 h 499511"/>
              <a:gd name="connsiteX153" fmla="*/ 676551 w 707548"/>
              <a:gd name="connsiteY153" fmla="*/ 382959 h 499511"/>
              <a:gd name="connsiteX154" fmla="*/ 676551 w 707548"/>
              <a:gd name="connsiteY154" fmla="*/ 388509 h 499511"/>
              <a:gd name="connsiteX155" fmla="*/ 676551 w 707548"/>
              <a:gd name="connsiteY155" fmla="*/ 394059 h 499511"/>
              <a:gd name="connsiteX156" fmla="*/ 676551 w 707548"/>
              <a:gd name="connsiteY156" fmla="*/ 399609 h 499511"/>
              <a:gd name="connsiteX157" fmla="*/ 684300 w 707548"/>
              <a:gd name="connsiteY157" fmla="*/ 399609 h 499511"/>
              <a:gd name="connsiteX158" fmla="*/ 692050 w 707548"/>
              <a:gd name="connsiteY158" fmla="*/ 399609 h 499511"/>
              <a:gd name="connsiteX159" fmla="*/ 692050 w 707548"/>
              <a:gd name="connsiteY159" fmla="*/ 405159 h 499511"/>
              <a:gd name="connsiteX160" fmla="*/ 699799 w 707548"/>
              <a:gd name="connsiteY160" fmla="*/ 405159 h 499511"/>
              <a:gd name="connsiteX161" fmla="*/ 699799 w 707548"/>
              <a:gd name="connsiteY161" fmla="*/ 410709 h 499511"/>
              <a:gd name="connsiteX162" fmla="*/ 707548 w 707548"/>
              <a:gd name="connsiteY162" fmla="*/ 410709 h 499511"/>
              <a:gd name="connsiteX163" fmla="*/ 707548 w 707548"/>
              <a:gd name="connsiteY163" fmla="*/ 416259 h 499511"/>
              <a:gd name="connsiteX164" fmla="*/ 707548 w 707548"/>
              <a:gd name="connsiteY164" fmla="*/ 421809 h 499511"/>
              <a:gd name="connsiteX165" fmla="*/ 699799 w 707548"/>
              <a:gd name="connsiteY165" fmla="*/ 427359 h 499511"/>
              <a:gd name="connsiteX166" fmla="*/ 699799 w 707548"/>
              <a:gd name="connsiteY166" fmla="*/ 432910 h 499511"/>
              <a:gd name="connsiteX167" fmla="*/ 692050 w 707548"/>
              <a:gd name="connsiteY167" fmla="*/ 432910 h 499511"/>
              <a:gd name="connsiteX168" fmla="*/ 692050 w 707548"/>
              <a:gd name="connsiteY168" fmla="*/ 438460 h 499511"/>
              <a:gd name="connsiteX169" fmla="*/ 692050 w 707548"/>
              <a:gd name="connsiteY169" fmla="*/ 444010 h 499511"/>
              <a:gd name="connsiteX170" fmla="*/ 699799 w 707548"/>
              <a:gd name="connsiteY170" fmla="*/ 444010 h 499511"/>
              <a:gd name="connsiteX171" fmla="*/ 692050 w 707548"/>
              <a:gd name="connsiteY171" fmla="*/ 449560 h 499511"/>
              <a:gd name="connsiteX172" fmla="*/ 692050 w 707548"/>
              <a:gd name="connsiteY172" fmla="*/ 455110 h 499511"/>
              <a:gd name="connsiteX173" fmla="*/ 692050 w 707548"/>
              <a:gd name="connsiteY173" fmla="*/ 460660 h 499511"/>
              <a:gd name="connsiteX174" fmla="*/ 692050 w 707548"/>
              <a:gd name="connsiteY174" fmla="*/ 466210 h 499511"/>
              <a:gd name="connsiteX175" fmla="*/ 684300 w 707548"/>
              <a:gd name="connsiteY175" fmla="*/ 466210 h 499511"/>
              <a:gd name="connsiteX176" fmla="*/ 676551 w 707548"/>
              <a:gd name="connsiteY176" fmla="*/ 466210 h 499511"/>
              <a:gd name="connsiteX177" fmla="*/ 676551 w 707548"/>
              <a:gd name="connsiteY177" fmla="*/ 471760 h 499511"/>
              <a:gd name="connsiteX178" fmla="*/ 676551 w 707548"/>
              <a:gd name="connsiteY178" fmla="*/ 477311 h 499511"/>
              <a:gd name="connsiteX179" fmla="*/ 676551 w 707548"/>
              <a:gd name="connsiteY179" fmla="*/ 482861 h 499511"/>
              <a:gd name="connsiteX180" fmla="*/ 684300 w 707548"/>
              <a:gd name="connsiteY180" fmla="*/ 482861 h 499511"/>
              <a:gd name="connsiteX181" fmla="*/ 684300 w 707548"/>
              <a:gd name="connsiteY181" fmla="*/ 488411 h 499511"/>
              <a:gd name="connsiteX182" fmla="*/ 684300 w 707548"/>
              <a:gd name="connsiteY182" fmla="*/ 493961 h 499511"/>
              <a:gd name="connsiteX183" fmla="*/ 684300 w 707548"/>
              <a:gd name="connsiteY183" fmla="*/ 499511 h 499511"/>
              <a:gd name="connsiteX184" fmla="*/ 631989 w 707548"/>
              <a:gd name="connsiteY184" fmla="*/ 473861 h 499511"/>
              <a:gd name="connsiteX185" fmla="*/ 570077 w 707548"/>
              <a:gd name="connsiteY185" fmla="*/ 469098 h 499511"/>
              <a:gd name="connsiteX186" fmla="*/ 536739 w 707548"/>
              <a:gd name="connsiteY186" fmla="*/ 459573 h 499511"/>
              <a:gd name="connsiteX187" fmla="*/ 503402 w 707548"/>
              <a:gd name="connsiteY187" fmla="*/ 454811 h 499511"/>
              <a:gd name="connsiteX188" fmla="*/ 489114 w 707548"/>
              <a:gd name="connsiteY188" fmla="*/ 450048 h 499511"/>
              <a:gd name="connsiteX189" fmla="*/ 470064 w 707548"/>
              <a:gd name="connsiteY189" fmla="*/ 445286 h 499511"/>
              <a:gd name="connsiteX190" fmla="*/ 412914 w 707548"/>
              <a:gd name="connsiteY190" fmla="*/ 440523 h 499511"/>
              <a:gd name="connsiteX191" fmla="*/ 351002 w 707548"/>
              <a:gd name="connsiteY191" fmla="*/ 430998 h 499511"/>
              <a:gd name="connsiteX192" fmla="*/ 265277 w 707548"/>
              <a:gd name="connsiteY192" fmla="*/ 402423 h 499511"/>
              <a:gd name="connsiteX193" fmla="*/ 246227 w 707548"/>
              <a:gd name="connsiteY193" fmla="*/ 397661 h 499511"/>
              <a:gd name="connsiteX194" fmla="*/ 231939 w 707548"/>
              <a:gd name="connsiteY194" fmla="*/ 392898 h 499511"/>
              <a:gd name="connsiteX195" fmla="*/ 203364 w 707548"/>
              <a:gd name="connsiteY195" fmla="*/ 383373 h 499511"/>
              <a:gd name="connsiteX196" fmla="*/ 174789 w 707548"/>
              <a:gd name="connsiteY196" fmla="*/ 373848 h 499511"/>
              <a:gd name="connsiteX197" fmla="*/ 170027 w 707548"/>
              <a:gd name="connsiteY197" fmla="*/ 359561 h 499511"/>
              <a:gd name="connsiteX198" fmla="*/ 155739 w 707548"/>
              <a:gd name="connsiteY198" fmla="*/ 354798 h 499511"/>
              <a:gd name="connsiteX199" fmla="*/ 136689 w 707548"/>
              <a:gd name="connsiteY199" fmla="*/ 326223 h 499511"/>
              <a:gd name="connsiteX200" fmla="*/ 117639 w 707548"/>
              <a:gd name="connsiteY200" fmla="*/ 297648 h 499511"/>
              <a:gd name="connsiteX201" fmla="*/ 112877 w 707548"/>
              <a:gd name="connsiteY201" fmla="*/ 283361 h 499511"/>
              <a:gd name="connsiteX202" fmla="*/ 103258 w 707548"/>
              <a:gd name="connsiteY202" fmla="*/ 270388 h 499511"/>
              <a:gd name="connsiteX203" fmla="*/ 98770 w 707548"/>
              <a:gd name="connsiteY203" fmla="*/ 268149 h 499511"/>
              <a:gd name="connsiteX204" fmla="*/ 98236 w 707548"/>
              <a:gd name="connsiteY204" fmla="*/ 268565 h 499511"/>
              <a:gd name="connsiteX205" fmla="*/ 93827 w 707548"/>
              <a:gd name="connsiteY205" fmla="*/ 254786 h 499511"/>
              <a:gd name="connsiteX206" fmla="*/ 79539 w 707548"/>
              <a:gd name="connsiteY206" fmla="*/ 240498 h 499511"/>
              <a:gd name="connsiteX207" fmla="*/ 70014 w 707548"/>
              <a:gd name="connsiteY207" fmla="*/ 211923 h 499511"/>
              <a:gd name="connsiteX208" fmla="*/ 70014 w 707548"/>
              <a:gd name="connsiteY208" fmla="*/ 130961 h 499511"/>
              <a:gd name="connsiteX209" fmla="*/ 84302 w 707548"/>
              <a:gd name="connsiteY209" fmla="*/ 121436 h 499511"/>
              <a:gd name="connsiteX210" fmla="*/ 89064 w 707548"/>
              <a:gd name="connsiteY210" fmla="*/ 107148 h 499511"/>
              <a:gd name="connsiteX211" fmla="*/ 96903 w 707548"/>
              <a:gd name="connsiteY211" fmla="*/ 93859 h 499511"/>
              <a:gd name="connsiteX212" fmla="*/ 103352 w 707548"/>
              <a:gd name="connsiteY212" fmla="*/ 69048 h 499511"/>
              <a:gd name="connsiteX213" fmla="*/ 93827 w 707548"/>
              <a:gd name="connsiteY213" fmla="*/ 40473 h 499511"/>
              <a:gd name="connsiteX214" fmla="*/ 84302 w 707548"/>
              <a:gd name="connsiteY214" fmla="*/ 26186 h 499511"/>
              <a:gd name="connsiteX215" fmla="*/ 41439 w 707548"/>
              <a:gd name="connsiteY215" fmla="*/ 16661 h 499511"/>
              <a:gd name="connsiteX216" fmla="*/ 12864 w 707548"/>
              <a:gd name="connsiteY216" fmla="*/ 7136 h 499511"/>
              <a:gd name="connsiteX217" fmla="*/ 0 w 707548"/>
              <a:gd name="connsiteY217" fmla="*/ 11424 h 499511"/>
              <a:gd name="connsiteX218" fmla="*/ 0 w 707548"/>
              <a:gd name="connsiteY218" fmla="*/ 5550 h 499511"/>
              <a:gd name="connsiteX219" fmla="*/ 2364 w 707548"/>
              <a:gd name="connsiteY219" fmla="*/ 5550 h 499511"/>
              <a:gd name="connsiteX220" fmla="*/ 2364 w 707548"/>
              <a:gd name="connsiteY220" fmla="*/ 0 h 4995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</a:cxnLst>
            <a:rect l="l" t="t" r="r" b="b"/>
            <a:pathLst>
              <a:path w="707548" h="499511">
                <a:moveTo>
                  <a:pt x="2364" y="0"/>
                </a:moveTo>
                <a:lnTo>
                  <a:pt x="10113" y="0"/>
                </a:lnTo>
                <a:lnTo>
                  <a:pt x="10113" y="5550"/>
                </a:lnTo>
                <a:lnTo>
                  <a:pt x="17862" y="5550"/>
                </a:lnTo>
                <a:lnTo>
                  <a:pt x="25612" y="5550"/>
                </a:lnTo>
                <a:lnTo>
                  <a:pt x="33361" y="5550"/>
                </a:lnTo>
                <a:lnTo>
                  <a:pt x="33361" y="11100"/>
                </a:lnTo>
                <a:lnTo>
                  <a:pt x="41110" y="5550"/>
                </a:lnTo>
                <a:lnTo>
                  <a:pt x="41110" y="11100"/>
                </a:lnTo>
                <a:lnTo>
                  <a:pt x="48859" y="11100"/>
                </a:lnTo>
                <a:lnTo>
                  <a:pt x="48859" y="16651"/>
                </a:lnTo>
                <a:lnTo>
                  <a:pt x="56609" y="16651"/>
                </a:lnTo>
                <a:lnTo>
                  <a:pt x="64358" y="16651"/>
                </a:lnTo>
                <a:lnTo>
                  <a:pt x="64358" y="22201"/>
                </a:lnTo>
                <a:lnTo>
                  <a:pt x="72107" y="22201"/>
                </a:lnTo>
                <a:lnTo>
                  <a:pt x="72107" y="16651"/>
                </a:lnTo>
                <a:lnTo>
                  <a:pt x="79857" y="16651"/>
                </a:lnTo>
                <a:lnTo>
                  <a:pt x="87606" y="16651"/>
                </a:lnTo>
                <a:lnTo>
                  <a:pt x="95355" y="16651"/>
                </a:lnTo>
                <a:lnTo>
                  <a:pt x="103104" y="22201"/>
                </a:lnTo>
                <a:lnTo>
                  <a:pt x="110854" y="16651"/>
                </a:lnTo>
                <a:lnTo>
                  <a:pt x="110854" y="22201"/>
                </a:lnTo>
                <a:lnTo>
                  <a:pt x="118603" y="22201"/>
                </a:lnTo>
                <a:lnTo>
                  <a:pt x="118603" y="27751"/>
                </a:lnTo>
                <a:lnTo>
                  <a:pt x="126352" y="33301"/>
                </a:lnTo>
                <a:lnTo>
                  <a:pt x="134102" y="33301"/>
                </a:lnTo>
                <a:lnTo>
                  <a:pt x="134102" y="38851"/>
                </a:lnTo>
                <a:lnTo>
                  <a:pt x="141851" y="38851"/>
                </a:lnTo>
                <a:lnTo>
                  <a:pt x="141851" y="44401"/>
                </a:lnTo>
                <a:lnTo>
                  <a:pt x="149600" y="44401"/>
                </a:lnTo>
                <a:lnTo>
                  <a:pt x="157349" y="44401"/>
                </a:lnTo>
                <a:lnTo>
                  <a:pt x="157349" y="49951"/>
                </a:lnTo>
                <a:lnTo>
                  <a:pt x="165099" y="44401"/>
                </a:lnTo>
                <a:lnTo>
                  <a:pt x="165099" y="49951"/>
                </a:lnTo>
                <a:lnTo>
                  <a:pt x="172848" y="55501"/>
                </a:lnTo>
                <a:lnTo>
                  <a:pt x="180597" y="55501"/>
                </a:lnTo>
                <a:lnTo>
                  <a:pt x="180597" y="61052"/>
                </a:lnTo>
                <a:lnTo>
                  <a:pt x="188347" y="61052"/>
                </a:lnTo>
                <a:lnTo>
                  <a:pt x="188347" y="66602"/>
                </a:lnTo>
                <a:lnTo>
                  <a:pt x="196096" y="72152"/>
                </a:lnTo>
                <a:lnTo>
                  <a:pt x="203845" y="77702"/>
                </a:lnTo>
                <a:lnTo>
                  <a:pt x="211594" y="77702"/>
                </a:lnTo>
                <a:lnTo>
                  <a:pt x="219344" y="77702"/>
                </a:lnTo>
                <a:lnTo>
                  <a:pt x="227093" y="77702"/>
                </a:lnTo>
                <a:lnTo>
                  <a:pt x="234842" y="77702"/>
                </a:lnTo>
                <a:lnTo>
                  <a:pt x="234842" y="83252"/>
                </a:lnTo>
                <a:lnTo>
                  <a:pt x="227093" y="83252"/>
                </a:lnTo>
                <a:lnTo>
                  <a:pt x="227093" y="88802"/>
                </a:lnTo>
                <a:lnTo>
                  <a:pt x="234842" y="88802"/>
                </a:lnTo>
                <a:lnTo>
                  <a:pt x="234842" y="94352"/>
                </a:lnTo>
                <a:lnTo>
                  <a:pt x="234842" y="99902"/>
                </a:lnTo>
                <a:lnTo>
                  <a:pt x="250341" y="99902"/>
                </a:lnTo>
                <a:lnTo>
                  <a:pt x="250341" y="105453"/>
                </a:lnTo>
                <a:lnTo>
                  <a:pt x="258090" y="105453"/>
                </a:lnTo>
                <a:lnTo>
                  <a:pt x="258090" y="116553"/>
                </a:lnTo>
                <a:lnTo>
                  <a:pt x="265839" y="116553"/>
                </a:lnTo>
                <a:lnTo>
                  <a:pt x="265839" y="122103"/>
                </a:lnTo>
                <a:lnTo>
                  <a:pt x="273589" y="122103"/>
                </a:lnTo>
                <a:lnTo>
                  <a:pt x="273589" y="127653"/>
                </a:lnTo>
                <a:lnTo>
                  <a:pt x="265839" y="138753"/>
                </a:lnTo>
                <a:lnTo>
                  <a:pt x="273589" y="144303"/>
                </a:lnTo>
                <a:lnTo>
                  <a:pt x="273589" y="149853"/>
                </a:lnTo>
                <a:lnTo>
                  <a:pt x="273589" y="155404"/>
                </a:lnTo>
                <a:lnTo>
                  <a:pt x="265839" y="155404"/>
                </a:lnTo>
                <a:lnTo>
                  <a:pt x="258090" y="155404"/>
                </a:lnTo>
                <a:lnTo>
                  <a:pt x="258090" y="160954"/>
                </a:lnTo>
                <a:lnTo>
                  <a:pt x="265839" y="160954"/>
                </a:lnTo>
                <a:lnTo>
                  <a:pt x="273589" y="166504"/>
                </a:lnTo>
                <a:lnTo>
                  <a:pt x="281338" y="172054"/>
                </a:lnTo>
                <a:lnTo>
                  <a:pt x="289087" y="172054"/>
                </a:lnTo>
                <a:lnTo>
                  <a:pt x="296836" y="177604"/>
                </a:lnTo>
                <a:lnTo>
                  <a:pt x="296836" y="183154"/>
                </a:lnTo>
                <a:lnTo>
                  <a:pt x="304586" y="183154"/>
                </a:lnTo>
                <a:lnTo>
                  <a:pt x="304586" y="188704"/>
                </a:lnTo>
                <a:lnTo>
                  <a:pt x="312335" y="188704"/>
                </a:lnTo>
                <a:lnTo>
                  <a:pt x="320084" y="188704"/>
                </a:lnTo>
                <a:lnTo>
                  <a:pt x="320084" y="194254"/>
                </a:lnTo>
                <a:lnTo>
                  <a:pt x="327834" y="194254"/>
                </a:lnTo>
                <a:lnTo>
                  <a:pt x="335583" y="194254"/>
                </a:lnTo>
                <a:lnTo>
                  <a:pt x="335583" y="199805"/>
                </a:lnTo>
                <a:lnTo>
                  <a:pt x="343332" y="199805"/>
                </a:lnTo>
                <a:lnTo>
                  <a:pt x="343332" y="205355"/>
                </a:lnTo>
                <a:lnTo>
                  <a:pt x="343332" y="210905"/>
                </a:lnTo>
                <a:lnTo>
                  <a:pt x="335583" y="216455"/>
                </a:lnTo>
                <a:lnTo>
                  <a:pt x="343332" y="216455"/>
                </a:lnTo>
                <a:lnTo>
                  <a:pt x="343332" y="222005"/>
                </a:lnTo>
                <a:lnTo>
                  <a:pt x="343332" y="227555"/>
                </a:lnTo>
                <a:lnTo>
                  <a:pt x="351081" y="227555"/>
                </a:lnTo>
                <a:lnTo>
                  <a:pt x="351081" y="233105"/>
                </a:lnTo>
                <a:lnTo>
                  <a:pt x="358831" y="233105"/>
                </a:lnTo>
                <a:lnTo>
                  <a:pt x="358831" y="238655"/>
                </a:lnTo>
                <a:lnTo>
                  <a:pt x="366580" y="238655"/>
                </a:lnTo>
                <a:lnTo>
                  <a:pt x="374329" y="238655"/>
                </a:lnTo>
                <a:lnTo>
                  <a:pt x="374329" y="244206"/>
                </a:lnTo>
                <a:lnTo>
                  <a:pt x="382078" y="244206"/>
                </a:lnTo>
                <a:lnTo>
                  <a:pt x="382078" y="249756"/>
                </a:lnTo>
                <a:lnTo>
                  <a:pt x="389828" y="249756"/>
                </a:lnTo>
                <a:lnTo>
                  <a:pt x="397577" y="249756"/>
                </a:lnTo>
                <a:lnTo>
                  <a:pt x="405326" y="249756"/>
                </a:lnTo>
                <a:lnTo>
                  <a:pt x="413076" y="255306"/>
                </a:lnTo>
                <a:lnTo>
                  <a:pt x="428574" y="255306"/>
                </a:lnTo>
                <a:lnTo>
                  <a:pt x="436323" y="260856"/>
                </a:lnTo>
                <a:lnTo>
                  <a:pt x="444073" y="260856"/>
                </a:lnTo>
                <a:lnTo>
                  <a:pt x="451822" y="260856"/>
                </a:lnTo>
                <a:lnTo>
                  <a:pt x="459571" y="260856"/>
                </a:lnTo>
                <a:lnTo>
                  <a:pt x="467321" y="266406"/>
                </a:lnTo>
                <a:lnTo>
                  <a:pt x="467321" y="271956"/>
                </a:lnTo>
                <a:lnTo>
                  <a:pt x="467321" y="277506"/>
                </a:lnTo>
                <a:lnTo>
                  <a:pt x="475070" y="277506"/>
                </a:lnTo>
                <a:lnTo>
                  <a:pt x="482819" y="277506"/>
                </a:lnTo>
                <a:lnTo>
                  <a:pt x="482819" y="283056"/>
                </a:lnTo>
                <a:lnTo>
                  <a:pt x="490568" y="283056"/>
                </a:lnTo>
                <a:lnTo>
                  <a:pt x="490568" y="288606"/>
                </a:lnTo>
                <a:lnTo>
                  <a:pt x="490568" y="294157"/>
                </a:lnTo>
                <a:lnTo>
                  <a:pt x="498318" y="294157"/>
                </a:lnTo>
                <a:lnTo>
                  <a:pt x="498318" y="299707"/>
                </a:lnTo>
                <a:lnTo>
                  <a:pt x="490568" y="299707"/>
                </a:lnTo>
                <a:lnTo>
                  <a:pt x="490568" y="305257"/>
                </a:lnTo>
                <a:lnTo>
                  <a:pt x="490568" y="310807"/>
                </a:lnTo>
                <a:lnTo>
                  <a:pt x="490568" y="316357"/>
                </a:lnTo>
                <a:lnTo>
                  <a:pt x="490568" y="321907"/>
                </a:lnTo>
                <a:lnTo>
                  <a:pt x="498318" y="321907"/>
                </a:lnTo>
                <a:lnTo>
                  <a:pt x="506067" y="321907"/>
                </a:lnTo>
                <a:lnTo>
                  <a:pt x="513816" y="327457"/>
                </a:lnTo>
                <a:lnTo>
                  <a:pt x="521565" y="327457"/>
                </a:lnTo>
                <a:lnTo>
                  <a:pt x="529315" y="327457"/>
                </a:lnTo>
                <a:lnTo>
                  <a:pt x="529315" y="321907"/>
                </a:lnTo>
                <a:lnTo>
                  <a:pt x="537064" y="321907"/>
                </a:lnTo>
                <a:lnTo>
                  <a:pt x="544813" y="321907"/>
                </a:lnTo>
                <a:lnTo>
                  <a:pt x="544813" y="327457"/>
                </a:lnTo>
                <a:lnTo>
                  <a:pt x="552562" y="333007"/>
                </a:lnTo>
                <a:lnTo>
                  <a:pt x="560312" y="338558"/>
                </a:lnTo>
                <a:lnTo>
                  <a:pt x="568061" y="338558"/>
                </a:lnTo>
                <a:lnTo>
                  <a:pt x="568061" y="344108"/>
                </a:lnTo>
                <a:lnTo>
                  <a:pt x="575810" y="349658"/>
                </a:lnTo>
                <a:lnTo>
                  <a:pt x="575810" y="355208"/>
                </a:lnTo>
                <a:lnTo>
                  <a:pt x="583560" y="355208"/>
                </a:lnTo>
                <a:lnTo>
                  <a:pt x="591309" y="366308"/>
                </a:lnTo>
                <a:lnTo>
                  <a:pt x="599058" y="366308"/>
                </a:lnTo>
                <a:lnTo>
                  <a:pt x="599058" y="371858"/>
                </a:lnTo>
                <a:lnTo>
                  <a:pt x="606807" y="371858"/>
                </a:lnTo>
                <a:lnTo>
                  <a:pt x="606807" y="366308"/>
                </a:lnTo>
                <a:lnTo>
                  <a:pt x="614557" y="366308"/>
                </a:lnTo>
                <a:lnTo>
                  <a:pt x="622306" y="366308"/>
                </a:lnTo>
                <a:lnTo>
                  <a:pt x="630055" y="366308"/>
                </a:lnTo>
                <a:lnTo>
                  <a:pt x="637804" y="366308"/>
                </a:lnTo>
                <a:lnTo>
                  <a:pt x="645554" y="366308"/>
                </a:lnTo>
                <a:lnTo>
                  <a:pt x="645554" y="371858"/>
                </a:lnTo>
                <a:lnTo>
                  <a:pt x="653303" y="371858"/>
                </a:lnTo>
                <a:lnTo>
                  <a:pt x="661052" y="371858"/>
                </a:lnTo>
                <a:lnTo>
                  <a:pt x="661052" y="377408"/>
                </a:lnTo>
                <a:lnTo>
                  <a:pt x="661052" y="382959"/>
                </a:lnTo>
                <a:lnTo>
                  <a:pt x="668802" y="382959"/>
                </a:lnTo>
                <a:lnTo>
                  <a:pt x="676551" y="382959"/>
                </a:lnTo>
                <a:lnTo>
                  <a:pt x="676551" y="388509"/>
                </a:lnTo>
                <a:lnTo>
                  <a:pt x="676551" y="394059"/>
                </a:lnTo>
                <a:lnTo>
                  <a:pt x="676551" y="399609"/>
                </a:lnTo>
                <a:lnTo>
                  <a:pt x="684300" y="399609"/>
                </a:lnTo>
                <a:lnTo>
                  <a:pt x="692050" y="399609"/>
                </a:lnTo>
                <a:lnTo>
                  <a:pt x="692050" y="405159"/>
                </a:lnTo>
                <a:lnTo>
                  <a:pt x="699799" y="405159"/>
                </a:lnTo>
                <a:lnTo>
                  <a:pt x="699799" y="410709"/>
                </a:lnTo>
                <a:lnTo>
                  <a:pt x="707548" y="410709"/>
                </a:lnTo>
                <a:lnTo>
                  <a:pt x="707548" y="416259"/>
                </a:lnTo>
                <a:lnTo>
                  <a:pt x="707548" y="421809"/>
                </a:lnTo>
                <a:lnTo>
                  <a:pt x="699799" y="427359"/>
                </a:lnTo>
                <a:lnTo>
                  <a:pt x="699799" y="432910"/>
                </a:lnTo>
                <a:lnTo>
                  <a:pt x="692050" y="432910"/>
                </a:lnTo>
                <a:lnTo>
                  <a:pt x="692050" y="438460"/>
                </a:lnTo>
                <a:lnTo>
                  <a:pt x="692050" y="444010"/>
                </a:lnTo>
                <a:lnTo>
                  <a:pt x="699799" y="444010"/>
                </a:lnTo>
                <a:lnTo>
                  <a:pt x="692050" y="449560"/>
                </a:lnTo>
                <a:lnTo>
                  <a:pt x="692050" y="455110"/>
                </a:lnTo>
                <a:lnTo>
                  <a:pt x="692050" y="460660"/>
                </a:lnTo>
                <a:lnTo>
                  <a:pt x="692050" y="466210"/>
                </a:lnTo>
                <a:lnTo>
                  <a:pt x="684300" y="466210"/>
                </a:lnTo>
                <a:lnTo>
                  <a:pt x="676551" y="466210"/>
                </a:lnTo>
                <a:lnTo>
                  <a:pt x="676551" y="471760"/>
                </a:lnTo>
                <a:lnTo>
                  <a:pt x="676551" y="477311"/>
                </a:lnTo>
                <a:lnTo>
                  <a:pt x="676551" y="482861"/>
                </a:lnTo>
                <a:lnTo>
                  <a:pt x="684300" y="482861"/>
                </a:lnTo>
                <a:lnTo>
                  <a:pt x="684300" y="488411"/>
                </a:lnTo>
                <a:lnTo>
                  <a:pt x="684300" y="493961"/>
                </a:lnTo>
                <a:lnTo>
                  <a:pt x="684300" y="499511"/>
                </a:lnTo>
                <a:lnTo>
                  <a:pt x="631989" y="473861"/>
                </a:lnTo>
                <a:cubicBezTo>
                  <a:pt x="611352" y="472273"/>
                  <a:pt x="590634" y="471516"/>
                  <a:pt x="570077" y="469098"/>
                </a:cubicBezTo>
                <a:cubicBezTo>
                  <a:pt x="560830" y="468010"/>
                  <a:pt x="545982" y="462654"/>
                  <a:pt x="536739" y="459573"/>
                </a:cubicBezTo>
                <a:cubicBezTo>
                  <a:pt x="525627" y="457986"/>
                  <a:pt x="514409" y="457012"/>
                  <a:pt x="503402" y="454811"/>
                </a:cubicBezTo>
                <a:cubicBezTo>
                  <a:pt x="498479" y="453826"/>
                  <a:pt x="493941" y="451427"/>
                  <a:pt x="489114" y="450048"/>
                </a:cubicBezTo>
                <a:cubicBezTo>
                  <a:pt x="482820" y="448250"/>
                  <a:pt x="476414" y="446873"/>
                  <a:pt x="470064" y="445286"/>
                </a:cubicBezTo>
                <a:cubicBezTo>
                  <a:pt x="451014" y="443698"/>
                  <a:pt x="431925" y="442524"/>
                  <a:pt x="412914" y="440523"/>
                </a:cubicBezTo>
                <a:cubicBezTo>
                  <a:pt x="396264" y="438770"/>
                  <a:pt x="368071" y="433843"/>
                  <a:pt x="351002" y="430998"/>
                </a:cubicBezTo>
                <a:cubicBezTo>
                  <a:pt x="289424" y="420734"/>
                  <a:pt x="296495" y="423236"/>
                  <a:pt x="265277" y="402423"/>
                </a:cubicBezTo>
                <a:lnTo>
                  <a:pt x="246227" y="397661"/>
                </a:lnTo>
                <a:cubicBezTo>
                  <a:pt x="241357" y="396444"/>
                  <a:pt x="236702" y="394486"/>
                  <a:pt x="231939" y="392898"/>
                </a:cubicBezTo>
                <a:lnTo>
                  <a:pt x="203364" y="383373"/>
                </a:lnTo>
                <a:cubicBezTo>
                  <a:pt x="193839" y="380198"/>
                  <a:pt x="182959" y="379684"/>
                  <a:pt x="174789" y="373848"/>
                </a:cubicBezTo>
                <a:cubicBezTo>
                  <a:pt x="170704" y="370930"/>
                  <a:pt x="171614" y="364323"/>
                  <a:pt x="170027" y="359561"/>
                </a:cubicBezTo>
                <a:cubicBezTo>
                  <a:pt x="165264" y="357973"/>
                  <a:pt x="158524" y="358975"/>
                  <a:pt x="155739" y="354798"/>
                </a:cubicBezTo>
                <a:lnTo>
                  <a:pt x="136689" y="326223"/>
                </a:lnTo>
                <a:cubicBezTo>
                  <a:pt x="130339" y="316698"/>
                  <a:pt x="123198" y="307655"/>
                  <a:pt x="117639" y="297648"/>
                </a:cubicBezTo>
                <a:cubicBezTo>
                  <a:pt x="115201" y="293260"/>
                  <a:pt x="115662" y="287538"/>
                  <a:pt x="112877" y="283361"/>
                </a:cubicBezTo>
                <a:lnTo>
                  <a:pt x="103258" y="270388"/>
                </a:lnTo>
                <a:lnTo>
                  <a:pt x="98770" y="268149"/>
                </a:lnTo>
                <a:cubicBezTo>
                  <a:pt x="98432" y="268971"/>
                  <a:pt x="98752" y="270235"/>
                  <a:pt x="98236" y="268565"/>
                </a:cubicBezTo>
                <a:lnTo>
                  <a:pt x="93827" y="254786"/>
                </a:lnTo>
                <a:lnTo>
                  <a:pt x="79539" y="240498"/>
                </a:lnTo>
                <a:cubicBezTo>
                  <a:pt x="72439" y="233398"/>
                  <a:pt x="71580" y="221840"/>
                  <a:pt x="70014" y="211923"/>
                </a:cubicBezTo>
                <a:cubicBezTo>
                  <a:pt x="61354" y="157072"/>
                  <a:pt x="61306" y="165795"/>
                  <a:pt x="70014" y="130961"/>
                </a:cubicBezTo>
                <a:cubicBezTo>
                  <a:pt x="74777" y="127786"/>
                  <a:pt x="80726" y="125906"/>
                  <a:pt x="84302" y="121436"/>
                </a:cubicBezTo>
                <a:cubicBezTo>
                  <a:pt x="87438" y="117516"/>
                  <a:pt x="86819" y="111638"/>
                  <a:pt x="89064" y="107148"/>
                </a:cubicBezTo>
                <a:lnTo>
                  <a:pt x="96903" y="93859"/>
                </a:lnTo>
                <a:cubicBezTo>
                  <a:pt x="99334" y="91345"/>
                  <a:pt x="99906" y="86279"/>
                  <a:pt x="103352" y="69048"/>
                </a:cubicBezTo>
                <a:cubicBezTo>
                  <a:pt x="103342" y="69012"/>
                  <a:pt x="97902" y="49640"/>
                  <a:pt x="93827" y="40473"/>
                </a:cubicBezTo>
                <a:cubicBezTo>
                  <a:pt x="91502" y="35243"/>
                  <a:pt x="87477" y="30948"/>
                  <a:pt x="84302" y="26186"/>
                </a:cubicBezTo>
                <a:cubicBezTo>
                  <a:pt x="50784" y="20599"/>
                  <a:pt x="64884" y="24476"/>
                  <a:pt x="41439" y="16661"/>
                </a:cubicBezTo>
                <a:cubicBezTo>
                  <a:pt x="31914" y="13486"/>
                  <a:pt x="22843" y="8245"/>
                  <a:pt x="12864" y="7136"/>
                </a:cubicBezTo>
                <a:lnTo>
                  <a:pt x="0" y="11424"/>
                </a:lnTo>
                <a:lnTo>
                  <a:pt x="0" y="5550"/>
                </a:lnTo>
                <a:lnTo>
                  <a:pt x="2364" y="5550"/>
                </a:lnTo>
                <a:lnTo>
                  <a:pt x="2364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14" name="Rectangle 79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151262" y="3156487"/>
            <a:ext cx="276638" cy="25152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500" b="1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z="2000" dirty="0"/>
              <a:t>3</a:t>
            </a:r>
          </a:p>
        </p:txBody>
      </p:sp>
      <p:sp>
        <p:nvSpPr>
          <p:cNvPr id="115" name="Freeform 114"/>
          <p:cNvSpPr/>
          <p:nvPr>
            <p:custDataLst>
              <p:tags r:id="rId13"/>
            </p:custDataLst>
          </p:nvPr>
        </p:nvSpPr>
        <p:spPr>
          <a:xfrm>
            <a:off x="3257032" y="2867099"/>
            <a:ext cx="1763634" cy="904757"/>
          </a:xfrm>
          <a:custGeom>
            <a:avLst/>
            <a:gdLst>
              <a:gd name="connsiteX0" fmla="*/ 12700 w 3168764"/>
              <a:gd name="connsiteY0" fmla="*/ 377825 h 1625600"/>
              <a:gd name="connsiteX1" fmla="*/ 12700 w 3168764"/>
              <a:gd name="connsiteY1" fmla="*/ 377825 h 1625600"/>
              <a:gd name="connsiteX2" fmla="*/ 57150 w 3168764"/>
              <a:gd name="connsiteY2" fmla="*/ 393700 h 1625600"/>
              <a:gd name="connsiteX3" fmla="*/ 79375 w 3168764"/>
              <a:gd name="connsiteY3" fmla="*/ 387350 h 1625600"/>
              <a:gd name="connsiteX4" fmla="*/ 82550 w 3168764"/>
              <a:gd name="connsiteY4" fmla="*/ 396875 h 1625600"/>
              <a:gd name="connsiteX5" fmla="*/ 101600 w 3168764"/>
              <a:gd name="connsiteY5" fmla="*/ 396875 h 1625600"/>
              <a:gd name="connsiteX6" fmla="*/ 152400 w 3168764"/>
              <a:gd name="connsiteY6" fmla="*/ 393700 h 1625600"/>
              <a:gd name="connsiteX7" fmla="*/ 158750 w 3168764"/>
              <a:gd name="connsiteY7" fmla="*/ 403225 h 1625600"/>
              <a:gd name="connsiteX8" fmla="*/ 177800 w 3168764"/>
              <a:gd name="connsiteY8" fmla="*/ 409575 h 1625600"/>
              <a:gd name="connsiteX9" fmla="*/ 187325 w 3168764"/>
              <a:gd name="connsiteY9" fmla="*/ 412750 h 1625600"/>
              <a:gd name="connsiteX10" fmla="*/ 206375 w 3168764"/>
              <a:gd name="connsiteY10" fmla="*/ 406400 h 1625600"/>
              <a:gd name="connsiteX11" fmla="*/ 215900 w 3168764"/>
              <a:gd name="connsiteY11" fmla="*/ 403225 h 1625600"/>
              <a:gd name="connsiteX12" fmla="*/ 228600 w 3168764"/>
              <a:gd name="connsiteY12" fmla="*/ 406400 h 1625600"/>
              <a:gd name="connsiteX13" fmla="*/ 238125 w 3168764"/>
              <a:gd name="connsiteY13" fmla="*/ 412750 h 1625600"/>
              <a:gd name="connsiteX14" fmla="*/ 250825 w 3168764"/>
              <a:gd name="connsiteY14" fmla="*/ 409575 h 1625600"/>
              <a:gd name="connsiteX15" fmla="*/ 273050 w 3168764"/>
              <a:gd name="connsiteY15" fmla="*/ 415925 h 1625600"/>
              <a:gd name="connsiteX16" fmla="*/ 282575 w 3168764"/>
              <a:gd name="connsiteY16" fmla="*/ 422275 h 1625600"/>
              <a:gd name="connsiteX17" fmla="*/ 317500 w 3168764"/>
              <a:gd name="connsiteY17" fmla="*/ 422275 h 1625600"/>
              <a:gd name="connsiteX18" fmla="*/ 320675 w 3168764"/>
              <a:gd name="connsiteY18" fmla="*/ 431800 h 1625600"/>
              <a:gd name="connsiteX19" fmla="*/ 330200 w 3168764"/>
              <a:gd name="connsiteY19" fmla="*/ 438150 h 1625600"/>
              <a:gd name="connsiteX20" fmla="*/ 342900 w 3168764"/>
              <a:gd name="connsiteY20" fmla="*/ 454025 h 1625600"/>
              <a:gd name="connsiteX21" fmla="*/ 349250 w 3168764"/>
              <a:gd name="connsiteY21" fmla="*/ 463550 h 1625600"/>
              <a:gd name="connsiteX22" fmla="*/ 358775 w 3168764"/>
              <a:gd name="connsiteY22" fmla="*/ 469900 h 1625600"/>
              <a:gd name="connsiteX23" fmla="*/ 377825 w 3168764"/>
              <a:gd name="connsiteY23" fmla="*/ 482600 h 1625600"/>
              <a:gd name="connsiteX24" fmla="*/ 387350 w 3168764"/>
              <a:gd name="connsiteY24" fmla="*/ 488950 h 1625600"/>
              <a:gd name="connsiteX25" fmla="*/ 393700 w 3168764"/>
              <a:gd name="connsiteY25" fmla="*/ 498475 h 1625600"/>
              <a:gd name="connsiteX26" fmla="*/ 419100 w 3168764"/>
              <a:gd name="connsiteY26" fmla="*/ 504825 h 1625600"/>
              <a:gd name="connsiteX27" fmla="*/ 422275 w 3168764"/>
              <a:gd name="connsiteY27" fmla="*/ 514350 h 1625600"/>
              <a:gd name="connsiteX28" fmla="*/ 431800 w 3168764"/>
              <a:gd name="connsiteY28" fmla="*/ 508000 h 1625600"/>
              <a:gd name="connsiteX29" fmla="*/ 450850 w 3168764"/>
              <a:gd name="connsiteY29" fmla="*/ 504825 h 1625600"/>
              <a:gd name="connsiteX30" fmla="*/ 460375 w 3168764"/>
              <a:gd name="connsiteY30" fmla="*/ 501650 h 1625600"/>
              <a:gd name="connsiteX31" fmla="*/ 463550 w 3168764"/>
              <a:gd name="connsiteY31" fmla="*/ 511175 h 1625600"/>
              <a:gd name="connsiteX32" fmla="*/ 482600 w 3168764"/>
              <a:gd name="connsiteY32" fmla="*/ 523875 h 1625600"/>
              <a:gd name="connsiteX33" fmla="*/ 504825 w 3168764"/>
              <a:gd name="connsiteY33" fmla="*/ 533400 h 1625600"/>
              <a:gd name="connsiteX34" fmla="*/ 501650 w 3168764"/>
              <a:gd name="connsiteY34" fmla="*/ 549275 h 1625600"/>
              <a:gd name="connsiteX35" fmla="*/ 498475 w 3168764"/>
              <a:gd name="connsiteY35" fmla="*/ 558800 h 1625600"/>
              <a:gd name="connsiteX36" fmla="*/ 504825 w 3168764"/>
              <a:gd name="connsiteY36" fmla="*/ 577850 h 1625600"/>
              <a:gd name="connsiteX37" fmla="*/ 508000 w 3168764"/>
              <a:gd name="connsiteY37" fmla="*/ 587375 h 1625600"/>
              <a:gd name="connsiteX38" fmla="*/ 498475 w 3168764"/>
              <a:gd name="connsiteY38" fmla="*/ 593725 h 1625600"/>
              <a:gd name="connsiteX39" fmla="*/ 488950 w 3168764"/>
              <a:gd name="connsiteY39" fmla="*/ 590550 h 1625600"/>
              <a:gd name="connsiteX40" fmla="*/ 485775 w 3168764"/>
              <a:gd name="connsiteY40" fmla="*/ 600075 h 1625600"/>
              <a:gd name="connsiteX41" fmla="*/ 469900 w 3168764"/>
              <a:gd name="connsiteY41" fmla="*/ 603250 h 1625600"/>
              <a:gd name="connsiteX42" fmla="*/ 450850 w 3168764"/>
              <a:gd name="connsiteY42" fmla="*/ 609600 h 1625600"/>
              <a:gd name="connsiteX43" fmla="*/ 457200 w 3168764"/>
              <a:gd name="connsiteY43" fmla="*/ 619125 h 1625600"/>
              <a:gd name="connsiteX44" fmla="*/ 466725 w 3168764"/>
              <a:gd name="connsiteY44" fmla="*/ 638175 h 1625600"/>
              <a:gd name="connsiteX45" fmla="*/ 476250 w 3168764"/>
              <a:gd name="connsiteY45" fmla="*/ 641350 h 1625600"/>
              <a:gd name="connsiteX46" fmla="*/ 495300 w 3168764"/>
              <a:gd name="connsiteY46" fmla="*/ 641350 h 1625600"/>
              <a:gd name="connsiteX47" fmla="*/ 498475 w 3168764"/>
              <a:gd name="connsiteY47" fmla="*/ 650875 h 1625600"/>
              <a:gd name="connsiteX48" fmla="*/ 517525 w 3168764"/>
              <a:gd name="connsiteY48" fmla="*/ 660400 h 1625600"/>
              <a:gd name="connsiteX49" fmla="*/ 520700 w 3168764"/>
              <a:gd name="connsiteY49" fmla="*/ 673100 h 1625600"/>
              <a:gd name="connsiteX50" fmla="*/ 539750 w 3168764"/>
              <a:gd name="connsiteY50" fmla="*/ 682625 h 1625600"/>
              <a:gd name="connsiteX51" fmla="*/ 561975 w 3168764"/>
              <a:gd name="connsiteY51" fmla="*/ 695325 h 1625600"/>
              <a:gd name="connsiteX52" fmla="*/ 571500 w 3168764"/>
              <a:gd name="connsiteY52" fmla="*/ 701675 h 1625600"/>
              <a:gd name="connsiteX53" fmla="*/ 581025 w 3168764"/>
              <a:gd name="connsiteY53" fmla="*/ 704850 h 1625600"/>
              <a:gd name="connsiteX54" fmla="*/ 593725 w 3168764"/>
              <a:gd name="connsiteY54" fmla="*/ 701675 h 1625600"/>
              <a:gd name="connsiteX55" fmla="*/ 615950 w 3168764"/>
              <a:gd name="connsiteY55" fmla="*/ 711200 h 1625600"/>
              <a:gd name="connsiteX56" fmla="*/ 628650 w 3168764"/>
              <a:gd name="connsiteY56" fmla="*/ 717550 h 1625600"/>
              <a:gd name="connsiteX57" fmla="*/ 650875 w 3168764"/>
              <a:gd name="connsiteY57" fmla="*/ 723900 h 1625600"/>
              <a:gd name="connsiteX58" fmla="*/ 660400 w 3168764"/>
              <a:gd name="connsiteY58" fmla="*/ 730250 h 1625600"/>
              <a:gd name="connsiteX59" fmla="*/ 688975 w 3168764"/>
              <a:gd name="connsiteY59" fmla="*/ 733425 h 1625600"/>
              <a:gd name="connsiteX60" fmla="*/ 698500 w 3168764"/>
              <a:gd name="connsiteY60" fmla="*/ 736600 h 1625600"/>
              <a:gd name="connsiteX61" fmla="*/ 711200 w 3168764"/>
              <a:gd name="connsiteY61" fmla="*/ 739775 h 1625600"/>
              <a:gd name="connsiteX62" fmla="*/ 730250 w 3168764"/>
              <a:gd name="connsiteY62" fmla="*/ 746125 h 1625600"/>
              <a:gd name="connsiteX63" fmla="*/ 733425 w 3168764"/>
              <a:gd name="connsiteY63" fmla="*/ 755650 h 1625600"/>
              <a:gd name="connsiteX64" fmla="*/ 746125 w 3168764"/>
              <a:gd name="connsiteY64" fmla="*/ 758825 h 1625600"/>
              <a:gd name="connsiteX65" fmla="*/ 762000 w 3168764"/>
              <a:gd name="connsiteY65" fmla="*/ 762000 h 1625600"/>
              <a:gd name="connsiteX66" fmla="*/ 771525 w 3168764"/>
              <a:gd name="connsiteY66" fmla="*/ 765175 h 1625600"/>
              <a:gd name="connsiteX67" fmla="*/ 777875 w 3168764"/>
              <a:gd name="connsiteY67" fmla="*/ 784225 h 1625600"/>
              <a:gd name="connsiteX68" fmla="*/ 796925 w 3168764"/>
              <a:gd name="connsiteY68" fmla="*/ 777875 h 1625600"/>
              <a:gd name="connsiteX69" fmla="*/ 803275 w 3168764"/>
              <a:gd name="connsiteY69" fmla="*/ 787400 h 1625600"/>
              <a:gd name="connsiteX70" fmla="*/ 806450 w 3168764"/>
              <a:gd name="connsiteY70" fmla="*/ 796925 h 1625600"/>
              <a:gd name="connsiteX71" fmla="*/ 838200 w 3168764"/>
              <a:gd name="connsiteY71" fmla="*/ 800100 h 1625600"/>
              <a:gd name="connsiteX72" fmla="*/ 850900 w 3168764"/>
              <a:gd name="connsiteY72" fmla="*/ 815975 h 1625600"/>
              <a:gd name="connsiteX73" fmla="*/ 854075 w 3168764"/>
              <a:gd name="connsiteY73" fmla="*/ 825500 h 1625600"/>
              <a:gd name="connsiteX74" fmla="*/ 857250 w 3168764"/>
              <a:gd name="connsiteY74" fmla="*/ 847725 h 1625600"/>
              <a:gd name="connsiteX75" fmla="*/ 889000 w 3168764"/>
              <a:gd name="connsiteY75" fmla="*/ 857250 h 1625600"/>
              <a:gd name="connsiteX76" fmla="*/ 904875 w 3168764"/>
              <a:gd name="connsiteY76" fmla="*/ 860425 h 1625600"/>
              <a:gd name="connsiteX77" fmla="*/ 920750 w 3168764"/>
              <a:gd name="connsiteY77" fmla="*/ 876300 h 1625600"/>
              <a:gd name="connsiteX78" fmla="*/ 939800 w 3168764"/>
              <a:gd name="connsiteY78" fmla="*/ 882650 h 1625600"/>
              <a:gd name="connsiteX79" fmla="*/ 949325 w 3168764"/>
              <a:gd name="connsiteY79" fmla="*/ 889000 h 1625600"/>
              <a:gd name="connsiteX80" fmla="*/ 977900 w 3168764"/>
              <a:gd name="connsiteY80" fmla="*/ 895350 h 1625600"/>
              <a:gd name="connsiteX81" fmla="*/ 993775 w 3168764"/>
              <a:gd name="connsiteY81" fmla="*/ 908050 h 1625600"/>
              <a:gd name="connsiteX82" fmla="*/ 1000125 w 3168764"/>
              <a:gd name="connsiteY82" fmla="*/ 917575 h 1625600"/>
              <a:gd name="connsiteX83" fmla="*/ 968375 w 3168764"/>
              <a:gd name="connsiteY83" fmla="*/ 949325 h 1625600"/>
              <a:gd name="connsiteX84" fmla="*/ 949325 w 3168764"/>
              <a:gd name="connsiteY84" fmla="*/ 955675 h 1625600"/>
              <a:gd name="connsiteX85" fmla="*/ 955675 w 3168764"/>
              <a:gd name="connsiteY85" fmla="*/ 971550 h 1625600"/>
              <a:gd name="connsiteX86" fmla="*/ 977900 w 3168764"/>
              <a:gd name="connsiteY86" fmla="*/ 996950 h 1625600"/>
              <a:gd name="connsiteX87" fmla="*/ 987425 w 3168764"/>
              <a:gd name="connsiteY87" fmla="*/ 1016000 h 1625600"/>
              <a:gd name="connsiteX88" fmla="*/ 1009650 w 3168764"/>
              <a:gd name="connsiteY88" fmla="*/ 1012825 h 1625600"/>
              <a:gd name="connsiteX89" fmla="*/ 1019175 w 3168764"/>
              <a:gd name="connsiteY89" fmla="*/ 1019175 h 1625600"/>
              <a:gd name="connsiteX90" fmla="*/ 1031875 w 3168764"/>
              <a:gd name="connsiteY90" fmla="*/ 1022350 h 1625600"/>
              <a:gd name="connsiteX91" fmla="*/ 1028700 w 3168764"/>
              <a:gd name="connsiteY91" fmla="*/ 1031875 h 1625600"/>
              <a:gd name="connsiteX92" fmla="*/ 1035050 w 3168764"/>
              <a:gd name="connsiteY92" fmla="*/ 1041400 h 1625600"/>
              <a:gd name="connsiteX93" fmla="*/ 1044575 w 3168764"/>
              <a:gd name="connsiteY93" fmla="*/ 1038225 h 1625600"/>
              <a:gd name="connsiteX94" fmla="*/ 1050925 w 3168764"/>
              <a:gd name="connsiteY94" fmla="*/ 1047750 h 1625600"/>
              <a:gd name="connsiteX95" fmla="*/ 1044575 w 3168764"/>
              <a:gd name="connsiteY95" fmla="*/ 1057275 h 1625600"/>
              <a:gd name="connsiteX96" fmla="*/ 1028700 w 3168764"/>
              <a:gd name="connsiteY96" fmla="*/ 1073150 h 1625600"/>
              <a:gd name="connsiteX97" fmla="*/ 1025525 w 3168764"/>
              <a:gd name="connsiteY97" fmla="*/ 1082675 h 1625600"/>
              <a:gd name="connsiteX98" fmla="*/ 1047750 w 3168764"/>
              <a:gd name="connsiteY98" fmla="*/ 1076325 h 1625600"/>
              <a:gd name="connsiteX99" fmla="*/ 1060450 w 3168764"/>
              <a:gd name="connsiteY99" fmla="*/ 1095375 h 1625600"/>
              <a:gd name="connsiteX100" fmla="*/ 1069975 w 3168764"/>
              <a:gd name="connsiteY100" fmla="*/ 1098550 h 1625600"/>
              <a:gd name="connsiteX101" fmla="*/ 1085850 w 3168764"/>
              <a:gd name="connsiteY101" fmla="*/ 1101725 h 1625600"/>
              <a:gd name="connsiteX102" fmla="*/ 1098550 w 3168764"/>
              <a:gd name="connsiteY102" fmla="*/ 1104900 h 1625600"/>
              <a:gd name="connsiteX103" fmla="*/ 1117600 w 3168764"/>
              <a:gd name="connsiteY103" fmla="*/ 1095375 h 1625600"/>
              <a:gd name="connsiteX104" fmla="*/ 1130300 w 3168764"/>
              <a:gd name="connsiteY104" fmla="*/ 1098550 h 1625600"/>
              <a:gd name="connsiteX105" fmla="*/ 1149350 w 3168764"/>
              <a:gd name="connsiteY105" fmla="*/ 1101725 h 1625600"/>
              <a:gd name="connsiteX106" fmla="*/ 1152525 w 3168764"/>
              <a:gd name="connsiteY106" fmla="*/ 1092200 h 1625600"/>
              <a:gd name="connsiteX107" fmla="*/ 1171575 w 3168764"/>
              <a:gd name="connsiteY107" fmla="*/ 1079500 h 1625600"/>
              <a:gd name="connsiteX108" fmla="*/ 1190625 w 3168764"/>
              <a:gd name="connsiteY108" fmla="*/ 1073150 h 1625600"/>
              <a:gd name="connsiteX109" fmla="*/ 1238250 w 3168764"/>
              <a:gd name="connsiteY109" fmla="*/ 1076325 h 1625600"/>
              <a:gd name="connsiteX110" fmla="*/ 1247775 w 3168764"/>
              <a:gd name="connsiteY110" fmla="*/ 1079500 h 1625600"/>
              <a:gd name="connsiteX111" fmla="*/ 1260475 w 3168764"/>
              <a:gd name="connsiteY111" fmla="*/ 1082675 h 1625600"/>
              <a:gd name="connsiteX112" fmla="*/ 1270000 w 3168764"/>
              <a:gd name="connsiteY112" fmla="*/ 1085850 h 1625600"/>
              <a:gd name="connsiteX113" fmla="*/ 1308100 w 3168764"/>
              <a:gd name="connsiteY113" fmla="*/ 1089025 h 1625600"/>
              <a:gd name="connsiteX114" fmla="*/ 1352550 w 3168764"/>
              <a:gd name="connsiteY114" fmla="*/ 1095375 h 1625600"/>
              <a:gd name="connsiteX115" fmla="*/ 1368425 w 3168764"/>
              <a:gd name="connsiteY115" fmla="*/ 1098550 h 1625600"/>
              <a:gd name="connsiteX116" fmla="*/ 1400175 w 3168764"/>
              <a:gd name="connsiteY116" fmla="*/ 1101725 h 1625600"/>
              <a:gd name="connsiteX117" fmla="*/ 1416050 w 3168764"/>
              <a:gd name="connsiteY117" fmla="*/ 1104900 h 1625600"/>
              <a:gd name="connsiteX118" fmla="*/ 1425575 w 3168764"/>
              <a:gd name="connsiteY118" fmla="*/ 1108075 h 1625600"/>
              <a:gd name="connsiteX119" fmla="*/ 1454150 w 3168764"/>
              <a:gd name="connsiteY119" fmla="*/ 1111250 h 1625600"/>
              <a:gd name="connsiteX120" fmla="*/ 1485900 w 3168764"/>
              <a:gd name="connsiteY120" fmla="*/ 1117600 h 1625600"/>
              <a:gd name="connsiteX121" fmla="*/ 1508125 w 3168764"/>
              <a:gd name="connsiteY121" fmla="*/ 1127125 h 1625600"/>
              <a:gd name="connsiteX122" fmla="*/ 1520825 w 3168764"/>
              <a:gd name="connsiteY122" fmla="*/ 1130300 h 1625600"/>
              <a:gd name="connsiteX123" fmla="*/ 1530350 w 3168764"/>
              <a:gd name="connsiteY123" fmla="*/ 1133475 h 1625600"/>
              <a:gd name="connsiteX124" fmla="*/ 1543050 w 3168764"/>
              <a:gd name="connsiteY124" fmla="*/ 1146175 h 1625600"/>
              <a:gd name="connsiteX125" fmla="*/ 1562100 w 3168764"/>
              <a:gd name="connsiteY125" fmla="*/ 1158875 h 1625600"/>
              <a:gd name="connsiteX126" fmla="*/ 1581150 w 3168764"/>
              <a:gd name="connsiteY126" fmla="*/ 1171575 h 1625600"/>
              <a:gd name="connsiteX127" fmla="*/ 1600200 w 3168764"/>
              <a:gd name="connsiteY127" fmla="*/ 1177925 h 1625600"/>
              <a:gd name="connsiteX128" fmla="*/ 1606550 w 3168764"/>
              <a:gd name="connsiteY128" fmla="*/ 1187450 h 1625600"/>
              <a:gd name="connsiteX129" fmla="*/ 1616075 w 3168764"/>
              <a:gd name="connsiteY129" fmla="*/ 1190625 h 1625600"/>
              <a:gd name="connsiteX130" fmla="*/ 1619250 w 3168764"/>
              <a:gd name="connsiteY130" fmla="*/ 1200150 h 1625600"/>
              <a:gd name="connsiteX131" fmla="*/ 1638300 w 3168764"/>
              <a:gd name="connsiteY131" fmla="*/ 1212850 h 1625600"/>
              <a:gd name="connsiteX132" fmla="*/ 1647825 w 3168764"/>
              <a:gd name="connsiteY132" fmla="*/ 1222375 h 1625600"/>
              <a:gd name="connsiteX133" fmla="*/ 1663700 w 3168764"/>
              <a:gd name="connsiteY133" fmla="*/ 1231900 h 1625600"/>
              <a:gd name="connsiteX134" fmla="*/ 1673225 w 3168764"/>
              <a:gd name="connsiteY134" fmla="*/ 1238250 h 1625600"/>
              <a:gd name="connsiteX135" fmla="*/ 1698625 w 3168764"/>
              <a:gd name="connsiteY135" fmla="*/ 1254125 h 1625600"/>
              <a:gd name="connsiteX136" fmla="*/ 1727200 w 3168764"/>
              <a:gd name="connsiteY136" fmla="*/ 1266825 h 1625600"/>
              <a:gd name="connsiteX137" fmla="*/ 1736725 w 3168764"/>
              <a:gd name="connsiteY137" fmla="*/ 1270000 h 1625600"/>
              <a:gd name="connsiteX138" fmla="*/ 1746250 w 3168764"/>
              <a:gd name="connsiteY138" fmla="*/ 1273175 h 1625600"/>
              <a:gd name="connsiteX139" fmla="*/ 1755775 w 3168764"/>
              <a:gd name="connsiteY139" fmla="*/ 1279525 h 1625600"/>
              <a:gd name="connsiteX140" fmla="*/ 1774825 w 3168764"/>
              <a:gd name="connsiteY140" fmla="*/ 1289050 h 1625600"/>
              <a:gd name="connsiteX141" fmla="*/ 1797050 w 3168764"/>
              <a:gd name="connsiteY141" fmla="*/ 1304925 h 1625600"/>
              <a:gd name="connsiteX142" fmla="*/ 1819275 w 3168764"/>
              <a:gd name="connsiteY142" fmla="*/ 1311275 h 1625600"/>
              <a:gd name="connsiteX143" fmla="*/ 1866900 w 3168764"/>
              <a:gd name="connsiteY143" fmla="*/ 1320800 h 1625600"/>
              <a:gd name="connsiteX144" fmla="*/ 1876425 w 3168764"/>
              <a:gd name="connsiteY144" fmla="*/ 1323975 h 1625600"/>
              <a:gd name="connsiteX145" fmla="*/ 1952625 w 3168764"/>
              <a:gd name="connsiteY145" fmla="*/ 1330325 h 1625600"/>
              <a:gd name="connsiteX146" fmla="*/ 1990725 w 3168764"/>
              <a:gd name="connsiteY146" fmla="*/ 1336675 h 1625600"/>
              <a:gd name="connsiteX147" fmla="*/ 2000250 w 3168764"/>
              <a:gd name="connsiteY147" fmla="*/ 1343025 h 1625600"/>
              <a:gd name="connsiteX148" fmla="*/ 2009775 w 3168764"/>
              <a:gd name="connsiteY148" fmla="*/ 1346200 h 1625600"/>
              <a:gd name="connsiteX149" fmla="*/ 2016125 w 3168764"/>
              <a:gd name="connsiteY149" fmla="*/ 1355725 h 1625600"/>
              <a:gd name="connsiteX150" fmla="*/ 2044700 w 3168764"/>
              <a:gd name="connsiteY150" fmla="*/ 1368425 h 1625600"/>
              <a:gd name="connsiteX151" fmla="*/ 2054225 w 3168764"/>
              <a:gd name="connsiteY151" fmla="*/ 1371600 h 1625600"/>
              <a:gd name="connsiteX152" fmla="*/ 2085975 w 3168764"/>
              <a:gd name="connsiteY152" fmla="*/ 1381125 h 1625600"/>
              <a:gd name="connsiteX153" fmla="*/ 2108200 w 3168764"/>
              <a:gd name="connsiteY153" fmla="*/ 1387475 h 1625600"/>
              <a:gd name="connsiteX154" fmla="*/ 2120900 w 3168764"/>
              <a:gd name="connsiteY154" fmla="*/ 1393825 h 1625600"/>
              <a:gd name="connsiteX155" fmla="*/ 2130425 w 3168764"/>
              <a:gd name="connsiteY155" fmla="*/ 1397000 h 1625600"/>
              <a:gd name="connsiteX156" fmla="*/ 2155825 w 3168764"/>
              <a:gd name="connsiteY156" fmla="*/ 1403350 h 1625600"/>
              <a:gd name="connsiteX157" fmla="*/ 2324100 w 3168764"/>
              <a:gd name="connsiteY157" fmla="*/ 1397000 h 1625600"/>
              <a:gd name="connsiteX158" fmla="*/ 2406650 w 3168764"/>
              <a:gd name="connsiteY158" fmla="*/ 1400175 h 1625600"/>
              <a:gd name="connsiteX159" fmla="*/ 2416175 w 3168764"/>
              <a:gd name="connsiteY159" fmla="*/ 1403350 h 1625600"/>
              <a:gd name="connsiteX160" fmla="*/ 2435225 w 3168764"/>
              <a:gd name="connsiteY160" fmla="*/ 1406525 h 1625600"/>
              <a:gd name="connsiteX161" fmla="*/ 2447925 w 3168764"/>
              <a:gd name="connsiteY161" fmla="*/ 1412875 h 1625600"/>
              <a:gd name="connsiteX162" fmla="*/ 2466975 w 3168764"/>
              <a:gd name="connsiteY162" fmla="*/ 1419225 h 1625600"/>
              <a:gd name="connsiteX163" fmla="*/ 2489200 w 3168764"/>
              <a:gd name="connsiteY163" fmla="*/ 1422400 h 1625600"/>
              <a:gd name="connsiteX164" fmla="*/ 2501900 w 3168764"/>
              <a:gd name="connsiteY164" fmla="*/ 1425575 h 1625600"/>
              <a:gd name="connsiteX165" fmla="*/ 2520950 w 3168764"/>
              <a:gd name="connsiteY165" fmla="*/ 1428750 h 1625600"/>
              <a:gd name="connsiteX166" fmla="*/ 2552700 w 3168764"/>
              <a:gd name="connsiteY166" fmla="*/ 1438275 h 1625600"/>
              <a:gd name="connsiteX167" fmla="*/ 2562225 w 3168764"/>
              <a:gd name="connsiteY167" fmla="*/ 1441450 h 1625600"/>
              <a:gd name="connsiteX168" fmla="*/ 2574925 w 3168764"/>
              <a:gd name="connsiteY168" fmla="*/ 1444625 h 1625600"/>
              <a:gd name="connsiteX169" fmla="*/ 2593975 w 3168764"/>
              <a:gd name="connsiteY169" fmla="*/ 1454150 h 1625600"/>
              <a:gd name="connsiteX170" fmla="*/ 2603500 w 3168764"/>
              <a:gd name="connsiteY170" fmla="*/ 1460500 h 1625600"/>
              <a:gd name="connsiteX171" fmla="*/ 2632075 w 3168764"/>
              <a:gd name="connsiteY171" fmla="*/ 1466850 h 1625600"/>
              <a:gd name="connsiteX172" fmla="*/ 2641600 w 3168764"/>
              <a:gd name="connsiteY172" fmla="*/ 1470025 h 1625600"/>
              <a:gd name="connsiteX173" fmla="*/ 2660650 w 3168764"/>
              <a:gd name="connsiteY173" fmla="*/ 1482725 h 1625600"/>
              <a:gd name="connsiteX174" fmla="*/ 2689225 w 3168764"/>
              <a:gd name="connsiteY174" fmla="*/ 1504950 h 1625600"/>
              <a:gd name="connsiteX175" fmla="*/ 2708275 w 3168764"/>
              <a:gd name="connsiteY175" fmla="*/ 1514475 h 1625600"/>
              <a:gd name="connsiteX176" fmla="*/ 2727325 w 3168764"/>
              <a:gd name="connsiteY176" fmla="*/ 1530350 h 1625600"/>
              <a:gd name="connsiteX177" fmla="*/ 2752725 w 3168764"/>
              <a:gd name="connsiteY177" fmla="*/ 1536700 h 1625600"/>
              <a:gd name="connsiteX178" fmla="*/ 2771775 w 3168764"/>
              <a:gd name="connsiteY178" fmla="*/ 1543050 h 1625600"/>
              <a:gd name="connsiteX179" fmla="*/ 2800350 w 3168764"/>
              <a:gd name="connsiteY179" fmla="*/ 1558925 h 1625600"/>
              <a:gd name="connsiteX180" fmla="*/ 2813050 w 3168764"/>
              <a:gd name="connsiteY180" fmla="*/ 1574800 h 1625600"/>
              <a:gd name="connsiteX181" fmla="*/ 2822575 w 3168764"/>
              <a:gd name="connsiteY181" fmla="*/ 1581150 h 1625600"/>
              <a:gd name="connsiteX182" fmla="*/ 2828925 w 3168764"/>
              <a:gd name="connsiteY182" fmla="*/ 1590675 h 1625600"/>
              <a:gd name="connsiteX183" fmla="*/ 2838450 w 3168764"/>
              <a:gd name="connsiteY183" fmla="*/ 1593850 h 1625600"/>
              <a:gd name="connsiteX184" fmla="*/ 2857500 w 3168764"/>
              <a:gd name="connsiteY184" fmla="*/ 1603375 h 1625600"/>
              <a:gd name="connsiteX185" fmla="*/ 2867025 w 3168764"/>
              <a:gd name="connsiteY185" fmla="*/ 1609725 h 1625600"/>
              <a:gd name="connsiteX186" fmla="*/ 2876550 w 3168764"/>
              <a:gd name="connsiteY186" fmla="*/ 1619250 h 1625600"/>
              <a:gd name="connsiteX187" fmla="*/ 2898775 w 3168764"/>
              <a:gd name="connsiteY187" fmla="*/ 1625600 h 1625600"/>
              <a:gd name="connsiteX188" fmla="*/ 2943225 w 3168764"/>
              <a:gd name="connsiteY188" fmla="*/ 1612900 h 1625600"/>
              <a:gd name="connsiteX189" fmla="*/ 2952750 w 3168764"/>
              <a:gd name="connsiteY189" fmla="*/ 1609725 h 1625600"/>
              <a:gd name="connsiteX190" fmla="*/ 2962275 w 3168764"/>
              <a:gd name="connsiteY190" fmla="*/ 1600200 h 1625600"/>
              <a:gd name="connsiteX191" fmla="*/ 2968625 w 3168764"/>
              <a:gd name="connsiteY191" fmla="*/ 1590675 h 1625600"/>
              <a:gd name="connsiteX192" fmla="*/ 2987675 w 3168764"/>
              <a:gd name="connsiteY192" fmla="*/ 1581150 h 1625600"/>
              <a:gd name="connsiteX193" fmla="*/ 3000375 w 3168764"/>
              <a:gd name="connsiteY193" fmla="*/ 1562100 h 1625600"/>
              <a:gd name="connsiteX194" fmla="*/ 3009900 w 3168764"/>
              <a:gd name="connsiteY194" fmla="*/ 1552575 h 1625600"/>
              <a:gd name="connsiteX195" fmla="*/ 3016250 w 3168764"/>
              <a:gd name="connsiteY195" fmla="*/ 1543050 h 1625600"/>
              <a:gd name="connsiteX196" fmla="*/ 3025775 w 3168764"/>
              <a:gd name="connsiteY196" fmla="*/ 1539875 h 1625600"/>
              <a:gd name="connsiteX197" fmla="*/ 3054350 w 3168764"/>
              <a:gd name="connsiteY197" fmla="*/ 1524000 h 1625600"/>
              <a:gd name="connsiteX198" fmla="*/ 3063875 w 3168764"/>
              <a:gd name="connsiteY198" fmla="*/ 1517650 h 1625600"/>
              <a:gd name="connsiteX199" fmla="*/ 3073400 w 3168764"/>
              <a:gd name="connsiteY199" fmla="*/ 1514475 h 1625600"/>
              <a:gd name="connsiteX200" fmla="*/ 3082925 w 3168764"/>
              <a:gd name="connsiteY200" fmla="*/ 1504950 h 1625600"/>
              <a:gd name="connsiteX201" fmla="*/ 3114675 w 3168764"/>
              <a:gd name="connsiteY201" fmla="*/ 1495425 h 1625600"/>
              <a:gd name="connsiteX202" fmla="*/ 3136900 w 3168764"/>
              <a:gd name="connsiteY202" fmla="*/ 1489075 h 1625600"/>
              <a:gd name="connsiteX203" fmla="*/ 3146425 w 3168764"/>
              <a:gd name="connsiteY203" fmla="*/ 1482725 h 1625600"/>
              <a:gd name="connsiteX204" fmla="*/ 3152775 w 3168764"/>
              <a:gd name="connsiteY204" fmla="*/ 1473200 h 1625600"/>
              <a:gd name="connsiteX205" fmla="*/ 3162300 w 3168764"/>
              <a:gd name="connsiteY205" fmla="*/ 1463675 h 1625600"/>
              <a:gd name="connsiteX206" fmla="*/ 3168650 w 3168764"/>
              <a:gd name="connsiteY206" fmla="*/ 1444625 h 1625600"/>
              <a:gd name="connsiteX207" fmla="*/ 3162300 w 3168764"/>
              <a:gd name="connsiteY207" fmla="*/ 1412875 h 1625600"/>
              <a:gd name="connsiteX208" fmla="*/ 3155950 w 3168764"/>
              <a:gd name="connsiteY208" fmla="*/ 1403350 h 1625600"/>
              <a:gd name="connsiteX209" fmla="*/ 3152775 w 3168764"/>
              <a:gd name="connsiteY209" fmla="*/ 1393825 h 1625600"/>
              <a:gd name="connsiteX210" fmla="*/ 3133725 w 3168764"/>
              <a:gd name="connsiteY210" fmla="*/ 1381125 h 1625600"/>
              <a:gd name="connsiteX211" fmla="*/ 3124200 w 3168764"/>
              <a:gd name="connsiteY211" fmla="*/ 1371600 h 1625600"/>
              <a:gd name="connsiteX212" fmla="*/ 3114675 w 3168764"/>
              <a:gd name="connsiteY212" fmla="*/ 1368425 h 1625600"/>
              <a:gd name="connsiteX213" fmla="*/ 3101975 w 3168764"/>
              <a:gd name="connsiteY213" fmla="*/ 1349375 h 1625600"/>
              <a:gd name="connsiteX214" fmla="*/ 3095625 w 3168764"/>
              <a:gd name="connsiteY214" fmla="*/ 1339850 h 1625600"/>
              <a:gd name="connsiteX215" fmla="*/ 3086100 w 3168764"/>
              <a:gd name="connsiteY215" fmla="*/ 1330325 h 1625600"/>
              <a:gd name="connsiteX216" fmla="*/ 3063875 w 3168764"/>
              <a:gd name="connsiteY216" fmla="*/ 1298575 h 1625600"/>
              <a:gd name="connsiteX217" fmla="*/ 3054350 w 3168764"/>
              <a:gd name="connsiteY217" fmla="*/ 1295400 h 1625600"/>
              <a:gd name="connsiteX218" fmla="*/ 3044825 w 3168764"/>
              <a:gd name="connsiteY218" fmla="*/ 1285875 h 1625600"/>
              <a:gd name="connsiteX219" fmla="*/ 3035300 w 3168764"/>
              <a:gd name="connsiteY219" fmla="*/ 1282700 h 1625600"/>
              <a:gd name="connsiteX220" fmla="*/ 2987675 w 3168764"/>
              <a:gd name="connsiteY220" fmla="*/ 1273175 h 1625600"/>
              <a:gd name="connsiteX221" fmla="*/ 2965450 w 3168764"/>
              <a:gd name="connsiteY221" fmla="*/ 1266825 h 1625600"/>
              <a:gd name="connsiteX222" fmla="*/ 2952750 w 3168764"/>
              <a:gd name="connsiteY222" fmla="*/ 1247775 h 1625600"/>
              <a:gd name="connsiteX223" fmla="*/ 2930525 w 3168764"/>
              <a:gd name="connsiteY223" fmla="*/ 1219200 h 1625600"/>
              <a:gd name="connsiteX224" fmla="*/ 2911475 w 3168764"/>
              <a:gd name="connsiteY224" fmla="*/ 1209675 h 1625600"/>
              <a:gd name="connsiteX225" fmla="*/ 2895600 w 3168764"/>
              <a:gd name="connsiteY225" fmla="*/ 1196975 h 1625600"/>
              <a:gd name="connsiteX226" fmla="*/ 2876550 w 3168764"/>
              <a:gd name="connsiteY226" fmla="*/ 1181100 h 1625600"/>
              <a:gd name="connsiteX227" fmla="*/ 2863850 w 3168764"/>
              <a:gd name="connsiteY227" fmla="*/ 1177925 h 1625600"/>
              <a:gd name="connsiteX228" fmla="*/ 2854325 w 3168764"/>
              <a:gd name="connsiteY228" fmla="*/ 1174750 h 1625600"/>
              <a:gd name="connsiteX229" fmla="*/ 2844800 w 3168764"/>
              <a:gd name="connsiteY229" fmla="*/ 1165225 h 1625600"/>
              <a:gd name="connsiteX230" fmla="*/ 2835275 w 3168764"/>
              <a:gd name="connsiteY230" fmla="*/ 1162050 h 1625600"/>
              <a:gd name="connsiteX231" fmla="*/ 2806700 w 3168764"/>
              <a:gd name="connsiteY231" fmla="*/ 1149350 h 1625600"/>
              <a:gd name="connsiteX232" fmla="*/ 2784475 w 3168764"/>
              <a:gd name="connsiteY232" fmla="*/ 1139825 h 1625600"/>
              <a:gd name="connsiteX233" fmla="*/ 2755900 w 3168764"/>
              <a:gd name="connsiteY233" fmla="*/ 1133475 h 1625600"/>
              <a:gd name="connsiteX234" fmla="*/ 2746375 w 3168764"/>
              <a:gd name="connsiteY234" fmla="*/ 1130300 h 1625600"/>
              <a:gd name="connsiteX235" fmla="*/ 2724150 w 3168764"/>
              <a:gd name="connsiteY235" fmla="*/ 1127125 h 1625600"/>
              <a:gd name="connsiteX236" fmla="*/ 2705100 w 3168764"/>
              <a:gd name="connsiteY236" fmla="*/ 1114425 h 1625600"/>
              <a:gd name="connsiteX237" fmla="*/ 2695575 w 3168764"/>
              <a:gd name="connsiteY237" fmla="*/ 1108075 h 1625600"/>
              <a:gd name="connsiteX238" fmla="*/ 2682875 w 3168764"/>
              <a:gd name="connsiteY238" fmla="*/ 1104900 h 1625600"/>
              <a:gd name="connsiteX239" fmla="*/ 2673350 w 3168764"/>
              <a:gd name="connsiteY239" fmla="*/ 1101725 h 1625600"/>
              <a:gd name="connsiteX240" fmla="*/ 2644775 w 3168764"/>
              <a:gd name="connsiteY240" fmla="*/ 1095375 h 1625600"/>
              <a:gd name="connsiteX241" fmla="*/ 2587625 w 3168764"/>
              <a:gd name="connsiteY241" fmla="*/ 1092200 h 1625600"/>
              <a:gd name="connsiteX242" fmla="*/ 2520950 w 3168764"/>
              <a:gd name="connsiteY242" fmla="*/ 1089025 h 1625600"/>
              <a:gd name="connsiteX243" fmla="*/ 2492375 w 3168764"/>
              <a:gd name="connsiteY243" fmla="*/ 1069975 h 1625600"/>
              <a:gd name="connsiteX244" fmla="*/ 2482850 w 3168764"/>
              <a:gd name="connsiteY244" fmla="*/ 1063625 h 1625600"/>
              <a:gd name="connsiteX245" fmla="*/ 2470150 w 3168764"/>
              <a:gd name="connsiteY245" fmla="*/ 1060450 h 1625600"/>
              <a:gd name="connsiteX246" fmla="*/ 2460625 w 3168764"/>
              <a:gd name="connsiteY246" fmla="*/ 1054100 h 1625600"/>
              <a:gd name="connsiteX247" fmla="*/ 2447925 w 3168764"/>
              <a:gd name="connsiteY247" fmla="*/ 1050925 h 1625600"/>
              <a:gd name="connsiteX248" fmla="*/ 2432050 w 3168764"/>
              <a:gd name="connsiteY248" fmla="*/ 1038225 h 1625600"/>
              <a:gd name="connsiteX249" fmla="*/ 2409825 w 3168764"/>
              <a:gd name="connsiteY249" fmla="*/ 1028700 h 1625600"/>
              <a:gd name="connsiteX250" fmla="*/ 2378075 w 3168764"/>
              <a:gd name="connsiteY250" fmla="*/ 1019175 h 1625600"/>
              <a:gd name="connsiteX251" fmla="*/ 2359025 w 3168764"/>
              <a:gd name="connsiteY251" fmla="*/ 1012825 h 1625600"/>
              <a:gd name="connsiteX252" fmla="*/ 2349500 w 3168764"/>
              <a:gd name="connsiteY252" fmla="*/ 1009650 h 1625600"/>
              <a:gd name="connsiteX253" fmla="*/ 2333625 w 3168764"/>
              <a:gd name="connsiteY253" fmla="*/ 1003300 h 1625600"/>
              <a:gd name="connsiteX254" fmla="*/ 2314575 w 3168764"/>
              <a:gd name="connsiteY254" fmla="*/ 996950 h 1625600"/>
              <a:gd name="connsiteX255" fmla="*/ 2305050 w 3168764"/>
              <a:gd name="connsiteY255" fmla="*/ 993775 h 1625600"/>
              <a:gd name="connsiteX256" fmla="*/ 2295525 w 3168764"/>
              <a:gd name="connsiteY256" fmla="*/ 987425 h 1625600"/>
              <a:gd name="connsiteX257" fmla="*/ 2286000 w 3168764"/>
              <a:gd name="connsiteY257" fmla="*/ 984250 h 1625600"/>
              <a:gd name="connsiteX258" fmla="*/ 2266950 w 3168764"/>
              <a:gd name="connsiteY258" fmla="*/ 971550 h 1625600"/>
              <a:gd name="connsiteX259" fmla="*/ 2244725 w 3168764"/>
              <a:gd name="connsiteY259" fmla="*/ 965200 h 1625600"/>
              <a:gd name="connsiteX260" fmla="*/ 2225675 w 3168764"/>
              <a:gd name="connsiteY260" fmla="*/ 962025 h 1625600"/>
              <a:gd name="connsiteX261" fmla="*/ 2216150 w 3168764"/>
              <a:gd name="connsiteY261" fmla="*/ 958850 h 1625600"/>
              <a:gd name="connsiteX262" fmla="*/ 2209800 w 3168764"/>
              <a:gd name="connsiteY262" fmla="*/ 949325 h 1625600"/>
              <a:gd name="connsiteX263" fmla="*/ 2190750 w 3168764"/>
              <a:gd name="connsiteY263" fmla="*/ 942975 h 1625600"/>
              <a:gd name="connsiteX264" fmla="*/ 2181225 w 3168764"/>
              <a:gd name="connsiteY264" fmla="*/ 936625 h 1625600"/>
              <a:gd name="connsiteX265" fmla="*/ 2149475 w 3168764"/>
              <a:gd name="connsiteY265" fmla="*/ 927100 h 1625600"/>
              <a:gd name="connsiteX266" fmla="*/ 2139950 w 3168764"/>
              <a:gd name="connsiteY266" fmla="*/ 923925 h 1625600"/>
              <a:gd name="connsiteX267" fmla="*/ 2111375 w 3168764"/>
              <a:gd name="connsiteY267" fmla="*/ 911225 h 1625600"/>
              <a:gd name="connsiteX268" fmla="*/ 2092325 w 3168764"/>
              <a:gd name="connsiteY268" fmla="*/ 904875 h 1625600"/>
              <a:gd name="connsiteX269" fmla="*/ 2082800 w 3168764"/>
              <a:gd name="connsiteY269" fmla="*/ 901700 h 1625600"/>
              <a:gd name="connsiteX270" fmla="*/ 2060575 w 3168764"/>
              <a:gd name="connsiteY270" fmla="*/ 898525 h 1625600"/>
              <a:gd name="connsiteX271" fmla="*/ 2032000 w 3168764"/>
              <a:gd name="connsiteY271" fmla="*/ 885825 h 1625600"/>
              <a:gd name="connsiteX272" fmla="*/ 2022475 w 3168764"/>
              <a:gd name="connsiteY272" fmla="*/ 879475 h 1625600"/>
              <a:gd name="connsiteX273" fmla="*/ 2009775 w 3168764"/>
              <a:gd name="connsiteY273" fmla="*/ 876300 h 1625600"/>
              <a:gd name="connsiteX274" fmla="*/ 1987550 w 3168764"/>
              <a:gd name="connsiteY274" fmla="*/ 863600 h 1625600"/>
              <a:gd name="connsiteX275" fmla="*/ 1955800 w 3168764"/>
              <a:gd name="connsiteY275" fmla="*/ 854075 h 1625600"/>
              <a:gd name="connsiteX276" fmla="*/ 1943100 w 3168764"/>
              <a:gd name="connsiteY276" fmla="*/ 847725 h 1625600"/>
              <a:gd name="connsiteX277" fmla="*/ 1933575 w 3168764"/>
              <a:gd name="connsiteY277" fmla="*/ 844550 h 1625600"/>
              <a:gd name="connsiteX278" fmla="*/ 1917700 w 3168764"/>
              <a:gd name="connsiteY278" fmla="*/ 838200 h 1625600"/>
              <a:gd name="connsiteX279" fmla="*/ 1892300 w 3168764"/>
              <a:gd name="connsiteY279" fmla="*/ 835025 h 1625600"/>
              <a:gd name="connsiteX280" fmla="*/ 1882775 w 3168764"/>
              <a:gd name="connsiteY280" fmla="*/ 831850 h 1625600"/>
              <a:gd name="connsiteX281" fmla="*/ 1863725 w 3168764"/>
              <a:gd name="connsiteY281" fmla="*/ 838200 h 1625600"/>
              <a:gd name="connsiteX282" fmla="*/ 1838325 w 3168764"/>
              <a:gd name="connsiteY282" fmla="*/ 828675 h 1625600"/>
              <a:gd name="connsiteX283" fmla="*/ 1816100 w 3168764"/>
              <a:gd name="connsiteY283" fmla="*/ 815975 h 1625600"/>
              <a:gd name="connsiteX284" fmla="*/ 1793875 w 3168764"/>
              <a:gd name="connsiteY284" fmla="*/ 803275 h 1625600"/>
              <a:gd name="connsiteX285" fmla="*/ 1774825 w 3168764"/>
              <a:gd name="connsiteY285" fmla="*/ 796925 h 1625600"/>
              <a:gd name="connsiteX286" fmla="*/ 1762125 w 3168764"/>
              <a:gd name="connsiteY286" fmla="*/ 790575 h 1625600"/>
              <a:gd name="connsiteX287" fmla="*/ 1746250 w 3168764"/>
              <a:gd name="connsiteY287" fmla="*/ 787400 h 1625600"/>
              <a:gd name="connsiteX288" fmla="*/ 1727200 w 3168764"/>
              <a:gd name="connsiteY288" fmla="*/ 781050 h 1625600"/>
              <a:gd name="connsiteX289" fmla="*/ 1698625 w 3168764"/>
              <a:gd name="connsiteY289" fmla="*/ 771525 h 1625600"/>
              <a:gd name="connsiteX290" fmla="*/ 1689100 w 3168764"/>
              <a:gd name="connsiteY290" fmla="*/ 768350 h 1625600"/>
              <a:gd name="connsiteX291" fmla="*/ 1679575 w 3168764"/>
              <a:gd name="connsiteY291" fmla="*/ 762000 h 1625600"/>
              <a:gd name="connsiteX292" fmla="*/ 1660525 w 3168764"/>
              <a:gd name="connsiteY292" fmla="*/ 755650 h 1625600"/>
              <a:gd name="connsiteX293" fmla="*/ 1651000 w 3168764"/>
              <a:gd name="connsiteY293" fmla="*/ 746125 h 1625600"/>
              <a:gd name="connsiteX294" fmla="*/ 1644650 w 3168764"/>
              <a:gd name="connsiteY294" fmla="*/ 736600 h 1625600"/>
              <a:gd name="connsiteX295" fmla="*/ 1625600 w 3168764"/>
              <a:gd name="connsiteY295" fmla="*/ 723900 h 1625600"/>
              <a:gd name="connsiteX296" fmla="*/ 1606550 w 3168764"/>
              <a:gd name="connsiteY296" fmla="*/ 711200 h 1625600"/>
              <a:gd name="connsiteX297" fmla="*/ 1597025 w 3168764"/>
              <a:gd name="connsiteY297" fmla="*/ 708025 h 1625600"/>
              <a:gd name="connsiteX298" fmla="*/ 1584325 w 3168764"/>
              <a:gd name="connsiteY298" fmla="*/ 698500 h 1625600"/>
              <a:gd name="connsiteX299" fmla="*/ 1558925 w 3168764"/>
              <a:gd name="connsiteY299" fmla="*/ 692150 h 1625600"/>
              <a:gd name="connsiteX300" fmla="*/ 1549400 w 3168764"/>
              <a:gd name="connsiteY300" fmla="*/ 685800 h 1625600"/>
              <a:gd name="connsiteX301" fmla="*/ 1546225 w 3168764"/>
              <a:gd name="connsiteY301" fmla="*/ 676275 h 1625600"/>
              <a:gd name="connsiteX302" fmla="*/ 1536700 w 3168764"/>
              <a:gd name="connsiteY302" fmla="*/ 673100 h 1625600"/>
              <a:gd name="connsiteX303" fmla="*/ 1524000 w 3168764"/>
              <a:gd name="connsiteY303" fmla="*/ 666750 h 1625600"/>
              <a:gd name="connsiteX304" fmla="*/ 1504950 w 3168764"/>
              <a:gd name="connsiteY304" fmla="*/ 654050 h 1625600"/>
              <a:gd name="connsiteX305" fmla="*/ 1495425 w 3168764"/>
              <a:gd name="connsiteY305" fmla="*/ 647700 h 1625600"/>
              <a:gd name="connsiteX306" fmla="*/ 1460500 w 3168764"/>
              <a:gd name="connsiteY306" fmla="*/ 631825 h 1625600"/>
              <a:gd name="connsiteX307" fmla="*/ 1447800 w 3168764"/>
              <a:gd name="connsiteY307" fmla="*/ 628650 h 1625600"/>
              <a:gd name="connsiteX308" fmla="*/ 1419225 w 3168764"/>
              <a:gd name="connsiteY308" fmla="*/ 606425 h 1625600"/>
              <a:gd name="connsiteX309" fmla="*/ 1409700 w 3168764"/>
              <a:gd name="connsiteY309" fmla="*/ 600075 h 1625600"/>
              <a:gd name="connsiteX310" fmla="*/ 1403350 w 3168764"/>
              <a:gd name="connsiteY310" fmla="*/ 590550 h 1625600"/>
              <a:gd name="connsiteX311" fmla="*/ 1393825 w 3168764"/>
              <a:gd name="connsiteY311" fmla="*/ 587375 h 1625600"/>
              <a:gd name="connsiteX312" fmla="*/ 1374775 w 3168764"/>
              <a:gd name="connsiteY312" fmla="*/ 577850 h 1625600"/>
              <a:gd name="connsiteX313" fmla="*/ 1349375 w 3168764"/>
              <a:gd name="connsiteY313" fmla="*/ 568325 h 1625600"/>
              <a:gd name="connsiteX314" fmla="*/ 1330325 w 3168764"/>
              <a:gd name="connsiteY314" fmla="*/ 549275 h 1625600"/>
              <a:gd name="connsiteX315" fmla="*/ 1327150 w 3168764"/>
              <a:gd name="connsiteY315" fmla="*/ 539750 h 1625600"/>
              <a:gd name="connsiteX316" fmla="*/ 1304925 w 3168764"/>
              <a:gd name="connsiteY316" fmla="*/ 530225 h 1625600"/>
              <a:gd name="connsiteX317" fmla="*/ 1285875 w 3168764"/>
              <a:gd name="connsiteY317" fmla="*/ 520700 h 1625600"/>
              <a:gd name="connsiteX318" fmla="*/ 1263650 w 3168764"/>
              <a:gd name="connsiteY318" fmla="*/ 511175 h 1625600"/>
              <a:gd name="connsiteX319" fmla="*/ 1260475 w 3168764"/>
              <a:gd name="connsiteY319" fmla="*/ 501650 h 1625600"/>
              <a:gd name="connsiteX320" fmla="*/ 1241425 w 3168764"/>
              <a:gd name="connsiteY320" fmla="*/ 488950 h 1625600"/>
              <a:gd name="connsiteX321" fmla="*/ 1228725 w 3168764"/>
              <a:gd name="connsiteY321" fmla="*/ 479425 h 1625600"/>
              <a:gd name="connsiteX322" fmla="*/ 1206500 w 3168764"/>
              <a:gd name="connsiteY322" fmla="*/ 466725 h 1625600"/>
              <a:gd name="connsiteX323" fmla="*/ 1190625 w 3168764"/>
              <a:gd name="connsiteY323" fmla="*/ 457200 h 1625600"/>
              <a:gd name="connsiteX324" fmla="*/ 1152525 w 3168764"/>
              <a:gd name="connsiteY324" fmla="*/ 438150 h 1625600"/>
              <a:gd name="connsiteX325" fmla="*/ 1133475 w 3168764"/>
              <a:gd name="connsiteY325" fmla="*/ 425450 h 1625600"/>
              <a:gd name="connsiteX326" fmla="*/ 1111250 w 3168764"/>
              <a:gd name="connsiteY326" fmla="*/ 415925 h 1625600"/>
              <a:gd name="connsiteX327" fmla="*/ 1098550 w 3168764"/>
              <a:gd name="connsiteY327" fmla="*/ 409575 h 1625600"/>
              <a:gd name="connsiteX328" fmla="*/ 1079500 w 3168764"/>
              <a:gd name="connsiteY328" fmla="*/ 403225 h 1625600"/>
              <a:gd name="connsiteX329" fmla="*/ 1069975 w 3168764"/>
              <a:gd name="connsiteY329" fmla="*/ 400050 h 1625600"/>
              <a:gd name="connsiteX330" fmla="*/ 1060450 w 3168764"/>
              <a:gd name="connsiteY330" fmla="*/ 393700 h 1625600"/>
              <a:gd name="connsiteX331" fmla="*/ 1047750 w 3168764"/>
              <a:gd name="connsiteY331" fmla="*/ 387350 h 1625600"/>
              <a:gd name="connsiteX332" fmla="*/ 1028700 w 3168764"/>
              <a:gd name="connsiteY332" fmla="*/ 374650 h 1625600"/>
              <a:gd name="connsiteX333" fmla="*/ 1022350 w 3168764"/>
              <a:gd name="connsiteY333" fmla="*/ 365125 h 1625600"/>
              <a:gd name="connsiteX334" fmla="*/ 1003300 w 3168764"/>
              <a:gd name="connsiteY334" fmla="*/ 355600 h 1625600"/>
              <a:gd name="connsiteX335" fmla="*/ 993775 w 3168764"/>
              <a:gd name="connsiteY335" fmla="*/ 349250 h 1625600"/>
              <a:gd name="connsiteX336" fmla="*/ 984250 w 3168764"/>
              <a:gd name="connsiteY336" fmla="*/ 346075 h 1625600"/>
              <a:gd name="connsiteX337" fmla="*/ 952500 w 3168764"/>
              <a:gd name="connsiteY337" fmla="*/ 307975 h 1625600"/>
              <a:gd name="connsiteX338" fmla="*/ 942975 w 3168764"/>
              <a:gd name="connsiteY338" fmla="*/ 301625 h 1625600"/>
              <a:gd name="connsiteX339" fmla="*/ 936625 w 3168764"/>
              <a:gd name="connsiteY339" fmla="*/ 282575 h 1625600"/>
              <a:gd name="connsiteX340" fmla="*/ 930275 w 3168764"/>
              <a:gd name="connsiteY340" fmla="*/ 273050 h 1625600"/>
              <a:gd name="connsiteX341" fmla="*/ 927100 w 3168764"/>
              <a:gd name="connsiteY341" fmla="*/ 263525 h 1625600"/>
              <a:gd name="connsiteX342" fmla="*/ 939800 w 3168764"/>
              <a:gd name="connsiteY342" fmla="*/ 260350 h 1625600"/>
              <a:gd name="connsiteX343" fmla="*/ 933450 w 3168764"/>
              <a:gd name="connsiteY343" fmla="*/ 250825 h 1625600"/>
              <a:gd name="connsiteX344" fmla="*/ 920750 w 3168764"/>
              <a:gd name="connsiteY344" fmla="*/ 244475 h 1625600"/>
              <a:gd name="connsiteX345" fmla="*/ 911225 w 3168764"/>
              <a:gd name="connsiteY345" fmla="*/ 238125 h 1625600"/>
              <a:gd name="connsiteX346" fmla="*/ 892175 w 3168764"/>
              <a:gd name="connsiteY346" fmla="*/ 222250 h 1625600"/>
              <a:gd name="connsiteX347" fmla="*/ 889000 w 3168764"/>
              <a:gd name="connsiteY347" fmla="*/ 212725 h 1625600"/>
              <a:gd name="connsiteX348" fmla="*/ 869950 w 3168764"/>
              <a:gd name="connsiteY348" fmla="*/ 200025 h 1625600"/>
              <a:gd name="connsiteX349" fmla="*/ 863600 w 3168764"/>
              <a:gd name="connsiteY349" fmla="*/ 190500 h 1625600"/>
              <a:gd name="connsiteX350" fmla="*/ 850900 w 3168764"/>
              <a:gd name="connsiteY350" fmla="*/ 184150 h 1625600"/>
              <a:gd name="connsiteX351" fmla="*/ 831850 w 3168764"/>
              <a:gd name="connsiteY351" fmla="*/ 174625 h 1625600"/>
              <a:gd name="connsiteX352" fmla="*/ 815975 w 3168764"/>
              <a:gd name="connsiteY352" fmla="*/ 168275 h 1625600"/>
              <a:gd name="connsiteX353" fmla="*/ 742950 w 3168764"/>
              <a:gd name="connsiteY353" fmla="*/ 158750 h 1625600"/>
              <a:gd name="connsiteX354" fmla="*/ 714375 w 3168764"/>
              <a:gd name="connsiteY354" fmla="*/ 152400 h 1625600"/>
              <a:gd name="connsiteX355" fmla="*/ 704850 w 3168764"/>
              <a:gd name="connsiteY355" fmla="*/ 149225 h 1625600"/>
              <a:gd name="connsiteX356" fmla="*/ 692150 w 3168764"/>
              <a:gd name="connsiteY356" fmla="*/ 146050 h 1625600"/>
              <a:gd name="connsiteX357" fmla="*/ 669925 w 3168764"/>
              <a:gd name="connsiteY357" fmla="*/ 133350 h 1625600"/>
              <a:gd name="connsiteX358" fmla="*/ 660400 w 3168764"/>
              <a:gd name="connsiteY358" fmla="*/ 127000 h 1625600"/>
              <a:gd name="connsiteX359" fmla="*/ 641350 w 3168764"/>
              <a:gd name="connsiteY359" fmla="*/ 120650 h 1625600"/>
              <a:gd name="connsiteX360" fmla="*/ 631825 w 3168764"/>
              <a:gd name="connsiteY360" fmla="*/ 114300 h 1625600"/>
              <a:gd name="connsiteX361" fmla="*/ 625475 w 3168764"/>
              <a:gd name="connsiteY361" fmla="*/ 104775 h 1625600"/>
              <a:gd name="connsiteX362" fmla="*/ 615950 w 3168764"/>
              <a:gd name="connsiteY362" fmla="*/ 101600 h 1625600"/>
              <a:gd name="connsiteX363" fmla="*/ 568325 w 3168764"/>
              <a:gd name="connsiteY363" fmla="*/ 98425 h 1625600"/>
              <a:gd name="connsiteX364" fmla="*/ 549275 w 3168764"/>
              <a:gd name="connsiteY364" fmla="*/ 92075 h 1625600"/>
              <a:gd name="connsiteX365" fmla="*/ 530225 w 3168764"/>
              <a:gd name="connsiteY365" fmla="*/ 82550 h 1625600"/>
              <a:gd name="connsiteX366" fmla="*/ 508000 w 3168764"/>
              <a:gd name="connsiteY366" fmla="*/ 69850 h 1625600"/>
              <a:gd name="connsiteX367" fmla="*/ 488950 w 3168764"/>
              <a:gd name="connsiteY367" fmla="*/ 63500 h 1625600"/>
              <a:gd name="connsiteX368" fmla="*/ 469900 w 3168764"/>
              <a:gd name="connsiteY368" fmla="*/ 53975 h 1625600"/>
              <a:gd name="connsiteX369" fmla="*/ 450850 w 3168764"/>
              <a:gd name="connsiteY369" fmla="*/ 44450 h 1625600"/>
              <a:gd name="connsiteX370" fmla="*/ 441325 w 3168764"/>
              <a:gd name="connsiteY370" fmla="*/ 38100 h 1625600"/>
              <a:gd name="connsiteX371" fmla="*/ 425450 w 3168764"/>
              <a:gd name="connsiteY371" fmla="*/ 34925 h 1625600"/>
              <a:gd name="connsiteX372" fmla="*/ 412750 w 3168764"/>
              <a:gd name="connsiteY372" fmla="*/ 31750 h 1625600"/>
              <a:gd name="connsiteX373" fmla="*/ 371475 w 3168764"/>
              <a:gd name="connsiteY373" fmla="*/ 19050 h 1625600"/>
              <a:gd name="connsiteX374" fmla="*/ 336550 w 3168764"/>
              <a:gd name="connsiteY374" fmla="*/ 12700 h 1625600"/>
              <a:gd name="connsiteX375" fmla="*/ 307975 w 3168764"/>
              <a:gd name="connsiteY375" fmla="*/ 3175 h 1625600"/>
              <a:gd name="connsiteX376" fmla="*/ 285750 w 3168764"/>
              <a:gd name="connsiteY376" fmla="*/ 0 h 1625600"/>
              <a:gd name="connsiteX377" fmla="*/ 257175 w 3168764"/>
              <a:gd name="connsiteY377" fmla="*/ 9525 h 1625600"/>
              <a:gd name="connsiteX378" fmla="*/ 238125 w 3168764"/>
              <a:gd name="connsiteY378" fmla="*/ 15875 h 1625600"/>
              <a:gd name="connsiteX379" fmla="*/ 228600 w 3168764"/>
              <a:gd name="connsiteY379" fmla="*/ 22225 h 1625600"/>
              <a:gd name="connsiteX380" fmla="*/ 209550 w 3168764"/>
              <a:gd name="connsiteY380" fmla="*/ 28575 h 1625600"/>
              <a:gd name="connsiteX381" fmla="*/ 203200 w 3168764"/>
              <a:gd name="connsiteY381" fmla="*/ 63500 h 1625600"/>
              <a:gd name="connsiteX382" fmla="*/ 196850 w 3168764"/>
              <a:gd name="connsiteY382" fmla="*/ 73025 h 1625600"/>
              <a:gd name="connsiteX383" fmla="*/ 190500 w 3168764"/>
              <a:gd name="connsiteY383" fmla="*/ 101600 h 1625600"/>
              <a:gd name="connsiteX384" fmla="*/ 184150 w 3168764"/>
              <a:gd name="connsiteY384" fmla="*/ 111125 h 1625600"/>
              <a:gd name="connsiteX385" fmla="*/ 180975 w 3168764"/>
              <a:gd name="connsiteY385" fmla="*/ 120650 h 1625600"/>
              <a:gd name="connsiteX386" fmla="*/ 184150 w 3168764"/>
              <a:gd name="connsiteY386" fmla="*/ 155575 h 1625600"/>
              <a:gd name="connsiteX387" fmla="*/ 190500 w 3168764"/>
              <a:gd name="connsiteY387" fmla="*/ 165100 h 1625600"/>
              <a:gd name="connsiteX388" fmla="*/ 193675 w 3168764"/>
              <a:gd name="connsiteY388" fmla="*/ 174625 h 1625600"/>
              <a:gd name="connsiteX389" fmla="*/ 184150 w 3168764"/>
              <a:gd name="connsiteY389" fmla="*/ 180975 h 1625600"/>
              <a:gd name="connsiteX390" fmla="*/ 174625 w 3168764"/>
              <a:gd name="connsiteY390" fmla="*/ 184150 h 1625600"/>
              <a:gd name="connsiteX391" fmla="*/ 171450 w 3168764"/>
              <a:gd name="connsiteY391" fmla="*/ 193675 h 1625600"/>
              <a:gd name="connsiteX392" fmla="*/ 152400 w 3168764"/>
              <a:gd name="connsiteY392" fmla="*/ 203200 h 1625600"/>
              <a:gd name="connsiteX393" fmla="*/ 123825 w 3168764"/>
              <a:gd name="connsiteY393" fmla="*/ 215900 h 1625600"/>
              <a:gd name="connsiteX394" fmla="*/ 114300 w 3168764"/>
              <a:gd name="connsiteY394" fmla="*/ 219075 h 1625600"/>
              <a:gd name="connsiteX395" fmla="*/ 104775 w 3168764"/>
              <a:gd name="connsiteY395" fmla="*/ 222250 h 1625600"/>
              <a:gd name="connsiteX396" fmla="*/ 76200 w 3168764"/>
              <a:gd name="connsiteY396" fmla="*/ 234950 h 1625600"/>
              <a:gd name="connsiteX397" fmla="*/ 66675 w 3168764"/>
              <a:gd name="connsiteY397" fmla="*/ 238125 h 1625600"/>
              <a:gd name="connsiteX398" fmla="*/ 47625 w 3168764"/>
              <a:gd name="connsiteY398" fmla="*/ 254000 h 1625600"/>
              <a:gd name="connsiteX399" fmla="*/ 38100 w 3168764"/>
              <a:gd name="connsiteY399" fmla="*/ 257175 h 1625600"/>
              <a:gd name="connsiteX400" fmla="*/ 41275 w 3168764"/>
              <a:gd name="connsiteY400" fmla="*/ 282575 h 1625600"/>
              <a:gd name="connsiteX401" fmla="*/ 38100 w 3168764"/>
              <a:gd name="connsiteY401" fmla="*/ 298450 h 1625600"/>
              <a:gd name="connsiteX402" fmla="*/ 28575 w 3168764"/>
              <a:gd name="connsiteY402" fmla="*/ 301625 h 1625600"/>
              <a:gd name="connsiteX403" fmla="*/ 15875 w 3168764"/>
              <a:gd name="connsiteY403" fmla="*/ 304800 h 1625600"/>
              <a:gd name="connsiteX404" fmla="*/ 6350 w 3168764"/>
              <a:gd name="connsiteY404" fmla="*/ 311150 h 1625600"/>
              <a:gd name="connsiteX405" fmla="*/ 0 w 3168764"/>
              <a:gd name="connsiteY405" fmla="*/ 330200 h 1625600"/>
              <a:gd name="connsiteX406" fmla="*/ 3175 w 3168764"/>
              <a:gd name="connsiteY406" fmla="*/ 342900 h 1625600"/>
              <a:gd name="connsiteX407" fmla="*/ 15875 w 3168764"/>
              <a:gd name="connsiteY407" fmla="*/ 361950 h 1625600"/>
              <a:gd name="connsiteX408" fmla="*/ 19050 w 3168764"/>
              <a:gd name="connsiteY408" fmla="*/ 371475 h 1625600"/>
              <a:gd name="connsiteX409" fmla="*/ 34925 w 3168764"/>
              <a:gd name="connsiteY409" fmla="*/ 387350 h 1625600"/>
              <a:gd name="connsiteX410" fmla="*/ 82550 w 3168764"/>
              <a:gd name="connsiteY410" fmla="*/ 393700 h 1625600"/>
              <a:gd name="connsiteX411" fmla="*/ 92075 w 3168764"/>
              <a:gd name="connsiteY411" fmla="*/ 396875 h 1625600"/>
              <a:gd name="connsiteX412" fmla="*/ 120650 w 3168764"/>
              <a:gd name="connsiteY412" fmla="*/ 390525 h 1625600"/>
              <a:gd name="connsiteX413" fmla="*/ 149225 w 3168764"/>
              <a:gd name="connsiteY413" fmla="*/ 393700 h 1625600"/>
              <a:gd name="connsiteX414" fmla="*/ 155575 w 3168764"/>
              <a:gd name="connsiteY414" fmla="*/ 403225 h 1625600"/>
              <a:gd name="connsiteX415" fmla="*/ 177800 w 3168764"/>
              <a:gd name="connsiteY415" fmla="*/ 412750 h 1625600"/>
              <a:gd name="connsiteX416" fmla="*/ 187325 w 3168764"/>
              <a:gd name="connsiteY416" fmla="*/ 412750 h 1625600"/>
              <a:gd name="connsiteX417" fmla="*/ 184150 w 3168764"/>
              <a:gd name="connsiteY417" fmla="*/ 412750 h 1625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</a:cxnLst>
            <a:rect l="l" t="t" r="r" b="b"/>
            <a:pathLst>
              <a:path w="3168764" h="1625600">
                <a:moveTo>
                  <a:pt x="12700" y="377825"/>
                </a:moveTo>
                <a:lnTo>
                  <a:pt x="12700" y="377825"/>
                </a:lnTo>
                <a:cubicBezTo>
                  <a:pt x="29944" y="386447"/>
                  <a:pt x="38225" y="393700"/>
                  <a:pt x="57150" y="393700"/>
                </a:cubicBezTo>
                <a:cubicBezTo>
                  <a:pt x="61137" y="393700"/>
                  <a:pt x="74883" y="388847"/>
                  <a:pt x="79375" y="387350"/>
                </a:cubicBezTo>
                <a:cubicBezTo>
                  <a:pt x="80433" y="390525"/>
                  <a:pt x="80183" y="394508"/>
                  <a:pt x="82550" y="396875"/>
                </a:cubicBezTo>
                <a:cubicBezTo>
                  <a:pt x="88900" y="403225"/>
                  <a:pt x="95250" y="398992"/>
                  <a:pt x="101600" y="396875"/>
                </a:cubicBezTo>
                <a:cubicBezTo>
                  <a:pt x="120072" y="384560"/>
                  <a:pt x="116485" y="384123"/>
                  <a:pt x="152400" y="393700"/>
                </a:cubicBezTo>
                <a:cubicBezTo>
                  <a:pt x="156087" y="394683"/>
                  <a:pt x="155514" y="401203"/>
                  <a:pt x="158750" y="403225"/>
                </a:cubicBezTo>
                <a:cubicBezTo>
                  <a:pt x="164426" y="406773"/>
                  <a:pt x="171450" y="407458"/>
                  <a:pt x="177800" y="409575"/>
                </a:cubicBezTo>
                <a:lnTo>
                  <a:pt x="187325" y="412750"/>
                </a:lnTo>
                <a:lnTo>
                  <a:pt x="206375" y="406400"/>
                </a:lnTo>
                <a:lnTo>
                  <a:pt x="215900" y="403225"/>
                </a:lnTo>
                <a:cubicBezTo>
                  <a:pt x="220133" y="404283"/>
                  <a:pt x="224589" y="404681"/>
                  <a:pt x="228600" y="406400"/>
                </a:cubicBezTo>
                <a:cubicBezTo>
                  <a:pt x="232107" y="407903"/>
                  <a:pt x="234347" y="412210"/>
                  <a:pt x="238125" y="412750"/>
                </a:cubicBezTo>
                <a:cubicBezTo>
                  <a:pt x="242445" y="413367"/>
                  <a:pt x="246592" y="410633"/>
                  <a:pt x="250825" y="409575"/>
                </a:cubicBezTo>
                <a:cubicBezTo>
                  <a:pt x="254894" y="410592"/>
                  <a:pt x="268495" y="413648"/>
                  <a:pt x="273050" y="415925"/>
                </a:cubicBezTo>
                <a:cubicBezTo>
                  <a:pt x="276463" y="417632"/>
                  <a:pt x="279400" y="420158"/>
                  <a:pt x="282575" y="422275"/>
                </a:cubicBezTo>
                <a:cubicBezTo>
                  <a:pt x="292126" y="420683"/>
                  <a:pt x="307737" y="415767"/>
                  <a:pt x="317500" y="422275"/>
                </a:cubicBezTo>
                <a:cubicBezTo>
                  <a:pt x="320285" y="424131"/>
                  <a:pt x="318584" y="429187"/>
                  <a:pt x="320675" y="431800"/>
                </a:cubicBezTo>
                <a:cubicBezTo>
                  <a:pt x="323059" y="434780"/>
                  <a:pt x="327025" y="436033"/>
                  <a:pt x="330200" y="438150"/>
                </a:cubicBezTo>
                <a:cubicBezTo>
                  <a:pt x="336381" y="456693"/>
                  <a:pt x="328539" y="439664"/>
                  <a:pt x="342900" y="454025"/>
                </a:cubicBezTo>
                <a:cubicBezTo>
                  <a:pt x="345598" y="456723"/>
                  <a:pt x="346552" y="460852"/>
                  <a:pt x="349250" y="463550"/>
                </a:cubicBezTo>
                <a:cubicBezTo>
                  <a:pt x="351948" y="466248"/>
                  <a:pt x="355844" y="467457"/>
                  <a:pt x="358775" y="469900"/>
                </a:cubicBezTo>
                <a:cubicBezTo>
                  <a:pt x="374630" y="483113"/>
                  <a:pt x="361086" y="477020"/>
                  <a:pt x="377825" y="482600"/>
                </a:cubicBezTo>
                <a:cubicBezTo>
                  <a:pt x="381000" y="484717"/>
                  <a:pt x="384652" y="486252"/>
                  <a:pt x="387350" y="488950"/>
                </a:cubicBezTo>
                <a:cubicBezTo>
                  <a:pt x="390048" y="491648"/>
                  <a:pt x="390720" y="496091"/>
                  <a:pt x="393700" y="498475"/>
                </a:cubicBezTo>
                <a:cubicBezTo>
                  <a:pt x="396954" y="501078"/>
                  <a:pt x="418309" y="504667"/>
                  <a:pt x="419100" y="504825"/>
                </a:cubicBezTo>
                <a:cubicBezTo>
                  <a:pt x="420158" y="508000"/>
                  <a:pt x="419028" y="513538"/>
                  <a:pt x="422275" y="514350"/>
                </a:cubicBezTo>
                <a:cubicBezTo>
                  <a:pt x="425977" y="515275"/>
                  <a:pt x="428180" y="509207"/>
                  <a:pt x="431800" y="508000"/>
                </a:cubicBezTo>
                <a:cubicBezTo>
                  <a:pt x="437907" y="505964"/>
                  <a:pt x="444500" y="505883"/>
                  <a:pt x="450850" y="504825"/>
                </a:cubicBezTo>
                <a:cubicBezTo>
                  <a:pt x="454025" y="503767"/>
                  <a:pt x="457382" y="500153"/>
                  <a:pt x="460375" y="501650"/>
                </a:cubicBezTo>
                <a:cubicBezTo>
                  <a:pt x="463368" y="503147"/>
                  <a:pt x="461183" y="508808"/>
                  <a:pt x="463550" y="511175"/>
                </a:cubicBezTo>
                <a:cubicBezTo>
                  <a:pt x="468946" y="516571"/>
                  <a:pt x="476250" y="519642"/>
                  <a:pt x="482600" y="523875"/>
                </a:cubicBezTo>
                <a:cubicBezTo>
                  <a:pt x="495756" y="532646"/>
                  <a:pt x="488423" y="529300"/>
                  <a:pt x="504825" y="533400"/>
                </a:cubicBezTo>
                <a:cubicBezTo>
                  <a:pt x="503767" y="538692"/>
                  <a:pt x="502959" y="544040"/>
                  <a:pt x="501650" y="549275"/>
                </a:cubicBezTo>
                <a:cubicBezTo>
                  <a:pt x="500838" y="552522"/>
                  <a:pt x="498105" y="555474"/>
                  <a:pt x="498475" y="558800"/>
                </a:cubicBezTo>
                <a:cubicBezTo>
                  <a:pt x="499214" y="565453"/>
                  <a:pt x="502708" y="571500"/>
                  <a:pt x="504825" y="577850"/>
                </a:cubicBezTo>
                <a:lnTo>
                  <a:pt x="508000" y="587375"/>
                </a:lnTo>
                <a:cubicBezTo>
                  <a:pt x="504825" y="589492"/>
                  <a:pt x="502239" y="593098"/>
                  <a:pt x="498475" y="593725"/>
                </a:cubicBezTo>
                <a:cubicBezTo>
                  <a:pt x="495174" y="594275"/>
                  <a:pt x="491943" y="589053"/>
                  <a:pt x="488950" y="590550"/>
                </a:cubicBezTo>
                <a:cubicBezTo>
                  <a:pt x="485957" y="592047"/>
                  <a:pt x="488560" y="598219"/>
                  <a:pt x="485775" y="600075"/>
                </a:cubicBezTo>
                <a:cubicBezTo>
                  <a:pt x="481285" y="603068"/>
                  <a:pt x="475106" y="601830"/>
                  <a:pt x="469900" y="603250"/>
                </a:cubicBezTo>
                <a:cubicBezTo>
                  <a:pt x="463442" y="605011"/>
                  <a:pt x="450850" y="609600"/>
                  <a:pt x="450850" y="609600"/>
                </a:cubicBezTo>
                <a:cubicBezTo>
                  <a:pt x="452967" y="612775"/>
                  <a:pt x="455493" y="615712"/>
                  <a:pt x="457200" y="619125"/>
                </a:cubicBezTo>
                <a:cubicBezTo>
                  <a:pt x="461035" y="626794"/>
                  <a:pt x="459142" y="632109"/>
                  <a:pt x="466725" y="638175"/>
                </a:cubicBezTo>
                <a:cubicBezTo>
                  <a:pt x="469338" y="640266"/>
                  <a:pt x="473075" y="640292"/>
                  <a:pt x="476250" y="641350"/>
                </a:cubicBezTo>
                <a:cubicBezTo>
                  <a:pt x="482600" y="639233"/>
                  <a:pt x="488950" y="635000"/>
                  <a:pt x="495300" y="641350"/>
                </a:cubicBezTo>
                <a:cubicBezTo>
                  <a:pt x="497667" y="643717"/>
                  <a:pt x="496384" y="648262"/>
                  <a:pt x="498475" y="650875"/>
                </a:cubicBezTo>
                <a:cubicBezTo>
                  <a:pt x="502951" y="656470"/>
                  <a:pt x="511250" y="658308"/>
                  <a:pt x="517525" y="660400"/>
                </a:cubicBezTo>
                <a:cubicBezTo>
                  <a:pt x="518583" y="664633"/>
                  <a:pt x="518279" y="669469"/>
                  <a:pt x="520700" y="673100"/>
                </a:cubicBezTo>
                <a:cubicBezTo>
                  <a:pt x="524217" y="678376"/>
                  <a:pt x="534317" y="680814"/>
                  <a:pt x="539750" y="682625"/>
                </a:cubicBezTo>
                <a:cubicBezTo>
                  <a:pt x="551251" y="699877"/>
                  <a:pt x="539307" y="686824"/>
                  <a:pt x="561975" y="695325"/>
                </a:cubicBezTo>
                <a:cubicBezTo>
                  <a:pt x="565548" y="696665"/>
                  <a:pt x="568087" y="699968"/>
                  <a:pt x="571500" y="701675"/>
                </a:cubicBezTo>
                <a:cubicBezTo>
                  <a:pt x="574493" y="703172"/>
                  <a:pt x="577850" y="703792"/>
                  <a:pt x="581025" y="704850"/>
                </a:cubicBezTo>
                <a:cubicBezTo>
                  <a:pt x="585258" y="703792"/>
                  <a:pt x="589361" y="701675"/>
                  <a:pt x="593725" y="701675"/>
                </a:cubicBezTo>
                <a:cubicBezTo>
                  <a:pt x="605458" y="701675"/>
                  <a:pt x="606877" y="706015"/>
                  <a:pt x="615950" y="711200"/>
                </a:cubicBezTo>
                <a:cubicBezTo>
                  <a:pt x="620059" y="713548"/>
                  <a:pt x="624300" y="715686"/>
                  <a:pt x="628650" y="717550"/>
                </a:cubicBezTo>
                <a:cubicBezTo>
                  <a:pt x="635027" y="720283"/>
                  <a:pt x="644430" y="722289"/>
                  <a:pt x="650875" y="723900"/>
                </a:cubicBezTo>
                <a:cubicBezTo>
                  <a:pt x="654050" y="726017"/>
                  <a:pt x="656698" y="729325"/>
                  <a:pt x="660400" y="730250"/>
                </a:cubicBezTo>
                <a:cubicBezTo>
                  <a:pt x="669697" y="732574"/>
                  <a:pt x="679522" y="731849"/>
                  <a:pt x="688975" y="733425"/>
                </a:cubicBezTo>
                <a:cubicBezTo>
                  <a:pt x="692276" y="733975"/>
                  <a:pt x="695282" y="735681"/>
                  <a:pt x="698500" y="736600"/>
                </a:cubicBezTo>
                <a:cubicBezTo>
                  <a:pt x="702696" y="737799"/>
                  <a:pt x="707020" y="738521"/>
                  <a:pt x="711200" y="739775"/>
                </a:cubicBezTo>
                <a:cubicBezTo>
                  <a:pt x="717611" y="741698"/>
                  <a:pt x="730250" y="746125"/>
                  <a:pt x="730250" y="746125"/>
                </a:cubicBezTo>
                <a:cubicBezTo>
                  <a:pt x="731308" y="749300"/>
                  <a:pt x="730812" y="753559"/>
                  <a:pt x="733425" y="755650"/>
                </a:cubicBezTo>
                <a:cubicBezTo>
                  <a:pt x="736832" y="758376"/>
                  <a:pt x="746125" y="758825"/>
                  <a:pt x="746125" y="758825"/>
                </a:cubicBezTo>
                <a:cubicBezTo>
                  <a:pt x="762866" y="747664"/>
                  <a:pt x="749492" y="751994"/>
                  <a:pt x="762000" y="762000"/>
                </a:cubicBezTo>
                <a:cubicBezTo>
                  <a:pt x="764613" y="764091"/>
                  <a:pt x="768350" y="764117"/>
                  <a:pt x="771525" y="765175"/>
                </a:cubicBezTo>
                <a:cubicBezTo>
                  <a:pt x="773642" y="771525"/>
                  <a:pt x="771525" y="786342"/>
                  <a:pt x="777875" y="784225"/>
                </a:cubicBezTo>
                <a:lnTo>
                  <a:pt x="796925" y="777875"/>
                </a:lnTo>
                <a:cubicBezTo>
                  <a:pt x="799042" y="781050"/>
                  <a:pt x="801568" y="783987"/>
                  <a:pt x="803275" y="787400"/>
                </a:cubicBezTo>
                <a:cubicBezTo>
                  <a:pt x="804772" y="790393"/>
                  <a:pt x="803305" y="795781"/>
                  <a:pt x="806450" y="796925"/>
                </a:cubicBezTo>
                <a:cubicBezTo>
                  <a:pt x="816446" y="800560"/>
                  <a:pt x="827617" y="799042"/>
                  <a:pt x="838200" y="800100"/>
                </a:cubicBezTo>
                <a:cubicBezTo>
                  <a:pt x="846180" y="824041"/>
                  <a:pt x="834487" y="795459"/>
                  <a:pt x="850900" y="815975"/>
                </a:cubicBezTo>
                <a:cubicBezTo>
                  <a:pt x="852991" y="818588"/>
                  <a:pt x="853017" y="822325"/>
                  <a:pt x="854075" y="825500"/>
                </a:cubicBezTo>
                <a:cubicBezTo>
                  <a:pt x="855133" y="832908"/>
                  <a:pt x="852656" y="841818"/>
                  <a:pt x="857250" y="847725"/>
                </a:cubicBezTo>
                <a:cubicBezTo>
                  <a:pt x="858904" y="849851"/>
                  <a:pt x="883846" y="856105"/>
                  <a:pt x="889000" y="857250"/>
                </a:cubicBezTo>
                <a:cubicBezTo>
                  <a:pt x="894268" y="858421"/>
                  <a:pt x="899583" y="859367"/>
                  <a:pt x="904875" y="860425"/>
                </a:cubicBezTo>
                <a:cubicBezTo>
                  <a:pt x="909337" y="878274"/>
                  <a:pt x="903588" y="871151"/>
                  <a:pt x="920750" y="876300"/>
                </a:cubicBezTo>
                <a:cubicBezTo>
                  <a:pt x="927161" y="878223"/>
                  <a:pt x="939800" y="882650"/>
                  <a:pt x="939800" y="882650"/>
                </a:cubicBezTo>
                <a:cubicBezTo>
                  <a:pt x="942975" y="884767"/>
                  <a:pt x="945912" y="887293"/>
                  <a:pt x="949325" y="889000"/>
                </a:cubicBezTo>
                <a:cubicBezTo>
                  <a:pt x="957141" y="892908"/>
                  <a:pt x="970583" y="894131"/>
                  <a:pt x="977900" y="895350"/>
                </a:cubicBezTo>
                <a:cubicBezTo>
                  <a:pt x="996098" y="922647"/>
                  <a:pt x="971867" y="890523"/>
                  <a:pt x="993775" y="908050"/>
                </a:cubicBezTo>
                <a:cubicBezTo>
                  <a:pt x="996755" y="910434"/>
                  <a:pt x="998008" y="914400"/>
                  <a:pt x="1000125" y="917575"/>
                </a:cubicBezTo>
                <a:cubicBezTo>
                  <a:pt x="974725" y="934508"/>
                  <a:pt x="985308" y="923925"/>
                  <a:pt x="968375" y="949325"/>
                </a:cubicBezTo>
                <a:cubicBezTo>
                  <a:pt x="964662" y="954894"/>
                  <a:pt x="949325" y="955675"/>
                  <a:pt x="949325" y="955675"/>
                </a:cubicBezTo>
                <a:cubicBezTo>
                  <a:pt x="974481" y="972446"/>
                  <a:pt x="948789" y="950893"/>
                  <a:pt x="955675" y="971550"/>
                </a:cubicBezTo>
                <a:cubicBezTo>
                  <a:pt x="960967" y="987425"/>
                  <a:pt x="966788" y="989542"/>
                  <a:pt x="977900" y="996950"/>
                </a:cubicBezTo>
                <a:cubicBezTo>
                  <a:pt x="978971" y="1000162"/>
                  <a:pt x="982994" y="1015015"/>
                  <a:pt x="987425" y="1016000"/>
                </a:cubicBezTo>
                <a:cubicBezTo>
                  <a:pt x="994730" y="1017623"/>
                  <a:pt x="1002242" y="1013883"/>
                  <a:pt x="1009650" y="1012825"/>
                </a:cubicBezTo>
                <a:cubicBezTo>
                  <a:pt x="1012825" y="1014942"/>
                  <a:pt x="1015668" y="1017672"/>
                  <a:pt x="1019175" y="1019175"/>
                </a:cubicBezTo>
                <a:cubicBezTo>
                  <a:pt x="1023186" y="1020894"/>
                  <a:pt x="1029257" y="1018859"/>
                  <a:pt x="1031875" y="1022350"/>
                </a:cubicBezTo>
                <a:cubicBezTo>
                  <a:pt x="1033883" y="1025027"/>
                  <a:pt x="1029758" y="1028700"/>
                  <a:pt x="1028700" y="1031875"/>
                </a:cubicBezTo>
                <a:cubicBezTo>
                  <a:pt x="1030817" y="1035050"/>
                  <a:pt x="1031507" y="1039983"/>
                  <a:pt x="1035050" y="1041400"/>
                </a:cubicBezTo>
                <a:cubicBezTo>
                  <a:pt x="1038157" y="1042643"/>
                  <a:pt x="1041468" y="1036982"/>
                  <a:pt x="1044575" y="1038225"/>
                </a:cubicBezTo>
                <a:cubicBezTo>
                  <a:pt x="1048118" y="1039642"/>
                  <a:pt x="1048808" y="1044575"/>
                  <a:pt x="1050925" y="1047750"/>
                </a:cubicBezTo>
                <a:cubicBezTo>
                  <a:pt x="1048808" y="1050925"/>
                  <a:pt x="1047273" y="1054577"/>
                  <a:pt x="1044575" y="1057275"/>
                </a:cubicBezTo>
                <a:cubicBezTo>
                  <a:pt x="1031875" y="1069975"/>
                  <a:pt x="1037167" y="1056217"/>
                  <a:pt x="1028700" y="1073150"/>
                </a:cubicBezTo>
                <a:cubicBezTo>
                  <a:pt x="1027203" y="1076143"/>
                  <a:pt x="1022740" y="1080819"/>
                  <a:pt x="1025525" y="1082675"/>
                </a:cubicBezTo>
                <a:cubicBezTo>
                  <a:pt x="1026854" y="1083561"/>
                  <a:pt x="1045297" y="1077143"/>
                  <a:pt x="1047750" y="1076325"/>
                </a:cubicBezTo>
                <a:cubicBezTo>
                  <a:pt x="1051983" y="1082675"/>
                  <a:pt x="1053210" y="1092962"/>
                  <a:pt x="1060450" y="1095375"/>
                </a:cubicBezTo>
                <a:cubicBezTo>
                  <a:pt x="1063625" y="1096433"/>
                  <a:pt x="1066728" y="1097738"/>
                  <a:pt x="1069975" y="1098550"/>
                </a:cubicBezTo>
                <a:cubicBezTo>
                  <a:pt x="1075210" y="1099859"/>
                  <a:pt x="1080582" y="1100554"/>
                  <a:pt x="1085850" y="1101725"/>
                </a:cubicBezTo>
                <a:cubicBezTo>
                  <a:pt x="1090110" y="1102672"/>
                  <a:pt x="1094317" y="1103842"/>
                  <a:pt x="1098550" y="1104900"/>
                </a:cubicBezTo>
                <a:cubicBezTo>
                  <a:pt x="1103366" y="1101689"/>
                  <a:pt x="1111027" y="1095375"/>
                  <a:pt x="1117600" y="1095375"/>
                </a:cubicBezTo>
                <a:cubicBezTo>
                  <a:pt x="1121964" y="1095375"/>
                  <a:pt x="1126067" y="1097492"/>
                  <a:pt x="1130300" y="1098550"/>
                </a:cubicBezTo>
                <a:cubicBezTo>
                  <a:pt x="1136615" y="1102760"/>
                  <a:pt x="1141463" y="1109612"/>
                  <a:pt x="1149350" y="1101725"/>
                </a:cubicBezTo>
                <a:cubicBezTo>
                  <a:pt x="1151717" y="1099358"/>
                  <a:pt x="1150158" y="1094567"/>
                  <a:pt x="1152525" y="1092200"/>
                </a:cubicBezTo>
                <a:cubicBezTo>
                  <a:pt x="1157921" y="1086804"/>
                  <a:pt x="1165225" y="1083733"/>
                  <a:pt x="1171575" y="1079500"/>
                </a:cubicBezTo>
                <a:cubicBezTo>
                  <a:pt x="1177144" y="1075787"/>
                  <a:pt x="1190625" y="1073150"/>
                  <a:pt x="1190625" y="1073150"/>
                </a:cubicBezTo>
                <a:cubicBezTo>
                  <a:pt x="1206500" y="1074208"/>
                  <a:pt x="1222437" y="1074568"/>
                  <a:pt x="1238250" y="1076325"/>
                </a:cubicBezTo>
                <a:cubicBezTo>
                  <a:pt x="1241576" y="1076695"/>
                  <a:pt x="1244557" y="1078581"/>
                  <a:pt x="1247775" y="1079500"/>
                </a:cubicBezTo>
                <a:cubicBezTo>
                  <a:pt x="1251971" y="1080699"/>
                  <a:pt x="1256279" y="1081476"/>
                  <a:pt x="1260475" y="1082675"/>
                </a:cubicBezTo>
                <a:cubicBezTo>
                  <a:pt x="1263693" y="1083594"/>
                  <a:pt x="1266683" y="1085408"/>
                  <a:pt x="1270000" y="1085850"/>
                </a:cubicBezTo>
                <a:cubicBezTo>
                  <a:pt x="1282632" y="1087534"/>
                  <a:pt x="1295419" y="1087757"/>
                  <a:pt x="1308100" y="1089025"/>
                </a:cubicBezTo>
                <a:cubicBezTo>
                  <a:pt x="1323433" y="1090558"/>
                  <a:pt x="1337498" y="1092638"/>
                  <a:pt x="1352550" y="1095375"/>
                </a:cubicBezTo>
                <a:cubicBezTo>
                  <a:pt x="1357859" y="1096340"/>
                  <a:pt x="1363076" y="1097837"/>
                  <a:pt x="1368425" y="1098550"/>
                </a:cubicBezTo>
                <a:cubicBezTo>
                  <a:pt x="1378968" y="1099956"/>
                  <a:pt x="1389632" y="1100319"/>
                  <a:pt x="1400175" y="1101725"/>
                </a:cubicBezTo>
                <a:cubicBezTo>
                  <a:pt x="1405524" y="1102438"/>
                  <a:pt x="1410815" y="1103591"/>
                  <a:pt x="1416050" y="1104900"/>
                </a:cubicBezTo>
                <a:cubicBezTo>
                  <a:pt x="1419297" y="1105712"/>
                  <a:pt x="1422274" y="1107525"/>
                  <a:pt x="1425575" y="1108075"/>
                </a:cubicBezTo>
                <a:cubicBezTo>
                  <a:pt x="1435028" y="1109651"/>
                  <a:pt x="1444625" y="1110192"/>
                  <a:pt x="1454150" y="1111250"/>
                </a:cubicBezTo>
                <a:cubicBezTo>
                  <a:pt x="1475669" y="1118423"/>
                  <a:pt x="1449417" y="1110303"/>
                  <a:pt x="1485900" y="1117600"/>
                </a:cubicBezTo>
                <a:cubicBezTo>
                  <a:pt x="1497163" y="1119853"/>
                  <a:pt x="1496323" y="1122699"/>
                  <a:pt x="1508125" y="1127125"/>
                </a:cubicBezTo>
                <a:cubicBezTo>
                  <a:pt x="1512211" y="1128657"/>
                  <a:pt x="1516629" y="1129101"/>
                  <a:pt x="1520825" y="1130300"/>
                </a:cubicBezTo>
                <a:cubicBezTo>
                  <a:pt x="1524043" y="1131219"/>
                  <a:pt x="1527175" y="1132417"/>
                  <a:pt x="1530350" y="1133475"/>
                </a:cubicBezTo>
                <a:cubicBezTo>
                  <a:pt x="1536398" y="1151618"/>
                  <a:pt x="1528536" y="1136499"/>
                  <a:pt x="1543050" y="1146175"/>
                </a:cubicBezTo>
                <a:cubicBezTo>
                  <a:pt x="1566833" y="1162030"/>
                  <a:pt x="1539452" y="1151326"/>
                  <a:pt x="1562100" y="1158875"/>
                </a:cubicBezTo>
                <a:lnTo>
                  <a:pt x="1581150" y="1171575"/>
                </a:lnTo>
                <a:cubicBezTo>
                  <a:pt x="1586719" y="1175288"/>
                  <a:pt x="1600200" y="1177925"/>
                  <a:pt x="1600200" y="1177925"/>
                </a:cubicBezTo>
                <a:cubicBezTo>
                  <a:pt x="1602317" y="1181100"/>
                  <a:pt x="1603570" y="1185066"/>
                  <a:pt x="1606550" y="1187450"/>
                </a:cubicBezTo>
                <a:cubicBezTo>
                  <a:pt x="1609163" y="1189541"/>
                  <a:pt x="1613708" y="1188258"/>
                  <a:pt x="1616075" y="1190625"/>
                </a:cubicBezTo>
                <a:cubicBezTo>
                  <a:pt x="1618442" y="1192992"/>
                  <a:pt x="1616883" y="1197783"/>
                  <a:pt x="1619250" y="1200150"/>
                </a:cubicBezTo>
                <a:cubicBezTo>
                  <a:pt x="1624646" y="1205546"/>
                  <a:pt x="1631950" y="1208617"/>
                  <a:pt x="1638300" y="1212850"/>
                </a:cubicBezTo>
                <a:cubicBezTo>
                  <a:pt x="1642036" y="1215341"/>
                  <a:pt x="1644233" y="1219681"/>
                  <a:pt x="1647825" y="1222375"/>
                </a:cubicBezTo>
                <a:cubicBezTo>
                  <a:pt x="1652762" y="1226078"/>
                  <a:pt x="1658467" y="1228629"/>
                  <a:pt x="1663700" y="1231900"/>
                </a:cubicBezTo>
                <a:cubicBezTo>
                  <a:pt x="1666936" y="1233922"/>
                  <a:pt x="1670172" y="1235960"/>
                  <a:pt x="1673225" y="1238250"/>
                </a:cubicBezTo>
                <a:cubicBezTo>
                  <a:pt x="1693932" y="1253780"/>
                  <a:pt x="1681575" y="1248442"/>
                  <a:pt x="1698625" y="1254125"/>
                </a:cubicBezTo>
                <a:cubicBezTo>
                  <a:pt x="1713719" y="1264188"/>
                  <a:pt x="1704530" y="1259268"/>
                  <a:pt x="1727200" y="1266825"/>
                </a:cubicBezTo>
                <a:lnTo>
                  <a:pt x="1736725" y="1270000"/>
                </a:lnTo>
                <a:lnTo>
                  <a:pt x="1746250" y="1273175"/>
                </a:lnTo>
                <a:cubicBezTo>
                  <a:pt x="1749425" y="1275292"/>
                  <a:pt x="1752362" y="1277818"/>
                  <a:pt x="1755775" y="1279525"/>
                </a:cubicBezTo>
                <a:cubicBezTo>
                  <a:pt x="1776745" y="1290010"/>
                  <a:pt x="1753594" y="1273885"/>
                  <a:pt x="1774825" y="1289050"/>
                </a:cubicBezTo>
                <a:cubicBezTo>
                  <a:pt x="1775980" y="1289875"/>
                  <a:pt x="1793649" y="1303565"/>
                  <a:pt x="1797050" y="1304925"/>
                </a:cubicBezTo>
                <a:cubicBezTo>
                  <a:pt x="1804204" y="1307786"/>
                  <a:pt x="1811911" y="1309009"/>
                  <a:pt x="1819275" y="1311275"/>
                </a:cubicBezTo>
                <a:cubicBezTo>
                  <a:pt x="1851087" y="1321063"/>
                  <a:pt x="1826417" y="1316302"/>
                  <a:pt x="1866900" y="1320800"/>
                </a:cubicBezTo>
                <a:cubicBezTo>
                  <a:pt x="1870075" y="1321858"/>
                  <a:pt x="1873132" y="1323376"/>
                  <a:pt x="1876425" y="1323975"/>
                </a:cubicBezTo>
                <a:cubicBezTo>
                  <a:pt x="1898548" y="1327997"/>
                  <a:pt x="1933300" y="1329117"/>
                  <a:pt x="1952625" y="1330325"/>
                </a:cubicBezTo>
                <a:cubicBezTo>
                  <a:pt x="1955925" y="1330796"/>
                  <a:pt x="1985011" y="1334532"/>
                  <a:pt x="1990725" y="1336675"/>
                </a:cubicBezTo>
                <a:cubicBezTo>
                  <a:pt x="1994298" y="1338015"/>
                  <a:pt x="1996837" y="1341318"/>
                  <a:pt x="2000250" y="1343025"/>
                </a:cubicBezTo>
                <a:cubicBezTo>
                  <a:pt x="2003243" y="1344522"/>
                  <a:pt x="2006600" y="1345142"/>
                  <a:pt x="2009775" y="1346200"/>
                </a:cubicBezTo>
                <a:cubicBezTo>
                  <a:pt x="2011892" y="1349375"/>
                  <a:pt x="2013427" y="1353027"/>
                  <a:pt x="2016125" y="1355725"/>
                </a:cubicBezTo>
                <a:cubicBezTo>
                  <a:pt x="2023672" y="1363272"/>
                  <a:pt x="2035269" y="1365281"/>
                  <a:pt x="2044700" y="1368425"/>
                </a:cubicBezTo>
                <a:lnTo>
                  <a:pt x="2054225" y="1371600"/>
                </a:lnTo>
                <a:cubicBezTo>
                  <a:pt x="2071042" y="1382811"/>
                  <a:pt x="2057883" y="1376017"/>
                  <a:pt x="2085975" y="1381125"/>
                </a:cubicBezTo>
                <a:cubicBezTo>
                  <a:pt x="2090639" y="1381973"/>
                  <a:pt x="2103189" y="1385327"/>
                  <a:pt x="2108200" y="1387475"/>
                </a:cubicBezTo>
                <a:cubicBezTo>
                  <a:pt x="2112550" y="1389339"/>
                  <a:pt x="2116550" y="1391961"/>
                  <a:pt x="2120900" y="1393825"/>
                </a:cubicBezTo>
                <a:cubicBezTo>
                  <a:pt x="2123976" y="1395143"/>
                  <a:pt x="2127196" y="1396119"/>
                  <a:pt x="2130425" y="1397000"/>
                </a:cubicBezTo>
                <a:cubicBezTo>
                  <a:pt x="2138845" y="1399296"/>
                  <a:pt x="2155825" y="1403350"/>
                  <a:pt x="2155825" y="1403350"/>
                </a:cubicBezTo>
                <a:cubicBezTo>
                  <a:pt x="2224411" y="1398074"/>
                  <a:pt x="2229064" y="1397000"/>
                  <a:pt x="2324100" y="1397000"/>
                </a:cubicBezTo>
                <a:cubicBezTo>
                  <a:pt x="2351637" y="1397000"/>
                  <a:pt x="2379133" y="1399117"/>
                  <a:pt x="2406650" y="1400175"/>
                </a:cubicBezTo>
                <a:cubicBezTo>
                  <a:pt x="2409825" y="1401233"/>
                  <a:pt x="2412908" y="1402624"/>
                  <a:pt x="2416175" y="1403350"/>
                </a:cubicBezTo>
                <a:cubicBezTo>
                  <a:pt x="2422459" y="1404747"/>
                  <a:pt x="2429059" y="1404675"/>
                  <a:pt x="2435225" y="1406525"/>
                </a:cubicBezTo>
                <a:cubicBezTo>
                  <a:pt x="2439758" y="1407885"/>
                  <a:pt x="2443531" y="1411117"/>
                  <a:pt x="2447925" y="1412875"/>
                </a:cubicBezTo>
                <a:cubicBezTo>
                  <a:pt x="2454140" y="1415361"/>
                  <a:pt x="2460625" y="1417108"/>
                  <a:pt x="2466975" y="1419225"/>
                </a:cubicBezTo>
                <a:cubicBezTo>
                  <a:pt x="2474075" y="1421592"/>
                  <a:pt x="2481837" y="1421061"/>
                  <a:pt x="2489200" y="1422400"/>
                </a:cubicBezTo>
                <a:cubicBezTo>
                  <a:pt x="2493493" y="1423181"/>
                  <a:pt x="2497621" y="1424719"/>
                  <a:pt x="2501900" y="1425575"/>
                </a:cubicBezTo>
                <a:cubicBezTo>
                  <a:pt x="2508213" y="1426838"/>
                  <a:pt x="2514637" y="1427487"/>
                  <a:pt x="2520950" y="1428750"/>
                </a:cubicBezTo>
                <a:cubicBezTo>
                  <a:pt x="2532946" y="1431149"/>
                  <a:pt x="2540551" y="1434225"/>
                  <a:pt x="2552700" y="1438275"/>
                </a:cubicBezTo>
                <a:cubicBezTo>
                  <a:pt x="2555875" y="1439333"/>
                  <a:pt x="2558978" y="1440638"/>
                  <a:pt x="2562225" y="1441450"/>
                </a:cubicBezTo>
                <a:lnTo>
                  <a:pt x="2574925" y="1444625"/>
                </a:lnTo>
                <a:cubicBezTo>
                  <a:pt x="2602222" y="1462823"/>
                  <a:pt x="2567685" y="1441005"/>
                  <a:pt x="2593975" y="1454150"/>
                </a:cubicBezTo>
                <a:cubicBezTo>
                  <a:pt x="2597388" y="1455857"/>
                  <a:pt x="2600087" y="1458793"/>
                  <a:pt x="2603500" y="1460500"/>
                </a:cubicBezTo>
                <a:cubicBezTo>
                  <a:pt x="2611316" y="1464408"/>
                  <a:pt x="2624758" y="1465631"/>
                  <a:pt x="2632075" y="1466850"/>
                </a:cubicBezTo>
                <a:cubicBezTo>
                  <a:pt x="2635250" y="1467908"/>
                  <a:pt x="2638815" y="1468169"/>
                  <a:pt x="2641600" y="1470025"/>
                </a:cubicBezTo>
                <a:cubicBezTo>
                  <a:pt x="2665383" y="1485880"/>
                  <a:pt x="2638002" y="1475176"/>
                  <a:pt x="2660650" y="1482725"/>
                </a:cubicBezTo>
                <a:cubicBezTo>
                  <a:pt x="2675571" y="1497646"/>
                  <a:pt x="2666439" y="1489759"/>
                  <a:pt x="2689225" y="1504950"/>
                </a:cubicBezTo>
                <a:cubicBezTo>
                  <a:pt x="2701535" y="1513156"/>
                  <a:pt x="2695130" y="1510093"/>
                  <a:pt x="2708275" y="1514475"/>
                </a:cubicBezTo>
                <a:cubicBezTo>
                  <a:pt x="2715297" y="1521497"/>
                  <a:pt x="2718484" y="1525930"/>
                  <a:pt x="2727325" y="1530350"/>
                </a:cubicBezTo>
                <a:cubicBezTo>
                  <a:pt x="2735032" y="1534203"/>
                  <a:pt x="2744755" y="1534526"/>
                  <a:pt x="2752725" y="1536700"/>
                </a:cubicBezTo>
                <a:cubicBezTo>
                  <a:pt x="2759183" y="1538461"/>
                  <a:pt x="2771775" y="1543050"/>
                  <a:pt x="2771775" y="1543050"/>
                </a:cubicBezTo>
                <a:cubicBezTo>
                  <a:pt x="2793610" y="1557606"/>
                  <a:pt x="2783585" y="1553337"/>
                  <a:pt x="2800350" y="1558925"/>
                </a:cubicBezTo>
                <a:cubicBezTo>
                  <a:pt x="2827647" y="1577123"/>
                  <a:pt x="2795523" y="1552892"/>
                  <a:pt x="2813050" y="1574800"/>
                </a:cubicBezTo>
                <a:cubicBezTo>
                  <a:pt x="2815434" y="1577780"/>
                  <a:pt x="2819400" y="1579033"/>
                  <a:pt x="2822575" y="1581150"/>
                </a:cubicBezTo>
                <a:cubicBezTo>
                  <a:pt x="2824692" y="1584325"/>
                  <a:pt x="2825945" y="1588291"/>
                  <a:pt x="2828925" y="1590675"/>
                </a:cubicBezTo>
                <a:cubicBezTo>
                  <a:pt x="2831538" y="1592766"/>
                  <a:pt x="2835457" y="1592353"/>
                  <a:pt x="2838450" y="1593850"/>
                </a:cubicBezTo>
                <a:cubicBezTo>
                  <a:pt x="2863069" y="1606160"/>
                  <a:pt x="2833559" y="1595395"/>
                  <a:pt x="2857500" y="1603375"/>
                </a:cubicBezTo>
                <a:cubicBezTo>
                  <a:pt x="2860675" y="1605492"/>
                  <a:pt x="2864094" y="1607282"/>
                  <a:pt x="2867025" y="1609725"/>
                </a:cubicBezTo>
                <a:cubicBezTo>
                  <a:pt x="2870474" y="1612600"/>
                  <a:pt x="2872814" y="1616759"/>
                  <a:pt x="2876550" y="1619250"/>
                </a:cubicBezTo>
                <a:cubicBezTo>
                  <a:pt x="2879283" y="1621072"/>
                  <a:pt x="2897081" y="1625177"/>
                  <a:pt x="2898775" y="1625600"/>
                </a:cubicBezTo>
                <a:cubicBezTo>
                  <a:pt x="2930669" y="1617627"/>
                  <a:pt x="2915896" y="1622010"/>
                  <a:pt x="2943225" y="1612900"/>
                </a:cubicBezTo>
                <a:lnTo>
                  <a:pt x="2952750" y="1609725"/>
                </a:lnTo>
                <a:cubicBezTo>
                  <a:pt x="2955925" y="1606550"/>
                  <a:pt x="2959400" y="1603649"/>
                  <a:pt x="2962275" y="1600200"/>
                </a:cubicBezTo>
                <a:cubicBezTo>
                  <a:pt x="2964718" y="1597269"/>
                  <a:pt x="2965927" y="1593373"/>
                  <a:pt x="2968625" y="1590675"/>
                </a:cubicBezTo>
                <a:cubicBezTo>
                  <a:pt x="2974780" y="1584520"/>
                  <a:pt x="2979928" y="1583732"/>
                  <a:pt x="2987675" y="1581150"/>
                </a:cubicBezTo>
                <a:cubicBezTo>
                  <a:pt x="2991908" y="1574800"/>
                  <a:pt x="2994979" y="1567496"/>
                  <a:pt x="3000375" y="1562100"/>
                </a:cubicBezTo>
                <a:cubicBezTo>
                  <a:pt x="3003550" y="1558925"/>
                  <a:pt x="3007025" y="1556024"/>
                  <a:pt x="3009900" y="1552575"/>
                </a:cubicBezTo>
                <a:cubicBezTo>
                  <a:pt x="3012343" y="1549644"/>
                  <a:pt x="3013270" y="1545434"/>
                  <a:pt x="3016250" y="1543050"/>
                </a:cubicBezTo>
                <a:cubicBezTo>
                  <a:pt x="3018863" y="1540959"/>
                  <a:pt x="3022600" y="1540933"/>
                  <a:pt x="3025775" y="1539875"/>
                </a:cubicBezTo>
                <a:cubicBezTo>
                  <a:pt x="3047610" y="1525319"/>
                  <a:pt x="3037585" y="1529588"/>
                  <a:pt x="3054350" y="1524000"/>
                </a:cubicBezTo>
                <a:cubicBezTo>
                  <a:pt x="3057525" y="1521883"/>
                  <a:pt x="3060462" y="1519357"/>
                  <a:pt x="3063875" y="1517650"/>
                </a:cubicBezTo>
                <a:cubicBezTo>
                  <a:pt x="3066868" y="1516153"/>
                  <a:pt x="3070615" y="1516331"/>
                  <a:pt x="3073400" y="1514475"/>
                </a:cubicBezTo>
                <a:cubicBezTo>
                  <a:pt x="3077136" y="1511984"/>
                  <a:pt x="3079000" y="1507131"/>
                  <a:pt x="3082925" y="1504950"/>
                </a:cubicBezTo>
                <a:cubicBezTo>
                  <a:pt x="3090914" y="1500512"/>
                  <a:pt x="3105391" y="1498078"/>
                  <a:pt x="3114675" y="1495425"/>
                </a:cubicBezTo>
                <a:cubicBezTo>
                  <a:pt x="3146559" y="1486315"/>
                  <a:pt x="3097198" y="1499001"/>
                  <a:pt x="3136900" y="1489075"/>
                </a:cubicBezTo>
                <a:cubicBezTo>
                  <a:pt x="3140075" y="1486958"/>
                  <a:pt x="3143727" y="1485423"/>
                  <a:pt x="3146425" y="1482725"/>
                </a:cubicBezTo>
                <a:cubicBezTo>
                  <a:pt x="3149123" y="1480027"/>
                  <a:pt x="3150332" y="1476131"/>
                  <a:pt x="3152775" y="1473200"/>
                </a:cubicBezTo>
                <a:cubicBezTo>
                  <a:pt x="3155650" y="1469751"/>
                  <a:pt x="3159125" y="1466850"/>
                  <a:pt x="3162300" y="1463675"/>
                </a:cubicBezTo>
                <a:cubicBezTo>
                  <a:pt x="3164417" y="1457325"/>
                  <a:pt x="3169597" y="1451251"/>
                  <a:pt x="3168650" y="1444625"/>
                </a:cubicBezTo>
                <a:cubicBezTo>
                  <a:pt x="3167480" y="1436435"/>
                  <a:pt x="3166733" y="1421741"/>
                  <a:pt x="3162300" y="1412875"/>
                </a:cubicBezTo>
                <a:cubicBezTo>
                  <a:pt x="3160593" y="1409462"/>
                  <a:pt x="3157657" y="1406763"/>
                  <a:pt x="3155950" y="1403350"/>
                </a:cubicBezTo>
                <a:cubicBezTo>
                  <a:pt x="3154453" y="1400357"/>
                  <a:pt x="3154631" y="1396610"/>
                  <a:pt x="3152775" y="1393825"/>
                </a:cubicBezTo>
                <a:cubicBezTo>
                  <a:pt x="3145980" y="1383632"/>
                  <a:pt x="3143711" y="1384454"/>
                  <a:pt x="3133725" y="1381125"/>
                </a:cubicBezTo>
                <a:cubicBezTo>
                  <a:pt x="3130550" y="1377950"/>
                  <a:pt x="3127936" y="1374091"/>
                  <a:pt x="3124200" y="1371600"/>
                </a:cubicBezTo>
                <a:cubicBezTo>
                  <a:pt x="3121415" y="1369744"/>
                  <a:pt x="3117042" y="1370792"/>
                  <a:pt x="3114675" y="1368425"/>
                </a:cubicBezTo>
                <a:cubicBezTo>
                  <a:pt x="3109279" y="1363029"/>
                  <a:pt x="3106208" y="1355725"/>
                  <a:pt x="3101975" y="1349375"/>
                </a:cubicBezTo>
                <a:cubicBezTo>
                  <a:pt x="3099858" y="1346200"/>
                  <a:pt x="3098323" y="1342548"/>
                  <a:pt x="3095625" y="1339850"/>
                </a:cubicBezTo>
                <a:cubicBezTo>
                  <a:pt x="3092450" y="1336675"/>
                  <a:pt x="3088857" y="1333869"/>
                  <a:pt x="3086100" y="1330325"/>
                </a:cubicBezTo>
                <a:cubicBezTo>
                  <a:pt x="3085541" y="1329606"/>
                  <a:pt x="3067526" y="1301617"/>
                  <a:pt x="3063875" y="1298575"/>
                </a:cubicBezTo>
                <a:cubicBezTo>
                  <a:pt x="3061304" y="1296432"/>
                  <a:pt x="3057525" y="1296458"/>
                  <a:pt x="3054350" y="1295400"/>
                </a:cubicBezTo>
                <a:cubicBezTo>
                  <a:pt x="3051175" y="1292225"/>
                  <a:pt x="3048561" y="1288366"/>
                  <a:pt x="3044825" y="1285875"/>
                </a:cubicBezTo>
                <a:cubicBezTo>
                  <a:pt x="3042040" y="1284019"/>
                  <a:pt x="3038376" y="1284018"/>
                  <a:pt x="3035300" y="1282700"/>
                </a:cubicBezTo>
                <a:cubicBezTo>
                  <a:pt x="3007246" y="1270677"/>
                  <a:pt x="3039411" y="1277878"/>
                  <a:pt x="2987675" y="1273175"/>
                </a:cubicBezTo>
                <a:cubicBezTo>
                  <a:pt x="2987565" y="1273148"/>
                  <a:pt x="2966968" y="1268343"/>
                  <a:pt x="2965450" y="1266825"/>
                </a:cubicBezTo>
                <a:cubicBezTo>
                  <a:pt x="2960054" y="1261429"/>
                  <a:pt x="2958146" y="1253171"/>
                  <a:pt x="2952750" y="1247775"/>
                </a:cubicBezTo>
                <a:cubicBezTo>
                  <a:pt x="2937829" y="1232854"/>
                  <a:pt x="2945716" y="1241986"/>
                  <a:pt x="2930525" y="1219200"/>
                </a:cubicBezTo>
                <a:cubicBezTo>
                  <a:pt x="2927008" y="1213924"/>
                  <a:pt x="2916908" y="1211486"/>
                  <a:pt x="2911475" y="1209675"/>
                </a:cubicBezTo>
                <a:cubicBezTo>
                  <a:pt x="2897273" y="1188373"/>
                  <a:pt x="2914003" y="1209244"/>
                  <a:pt x="2895600" y="1196975"/>
                </a:cubicBezTo>
                <a:cubicBezTo>
                  <a:pt x="2881868" y="1187821"/>
                  <a:pt x="2891093" y="1187333"/>
                  <a:pt x="2876550" y="1181100"/>
                </a:cubicBezTo>
                <a:cubicBezTo>
                  <a:pt x="2872539" y="1179381"/>
                  <a:pt x="2868046" y="1179124"/>
                  <a:pt x="2863850" y="1177925"/>
                </a:cubicBezTo>
                <a:cubicBezTo>
                  <a:pt x="2860632" y="1177006"/>
                  <a:pt x="2857500" y="1175808"/>
                  <a:pt x="2854325" y="1174750"/>
                </a:cubicBezTo>
                <a:cubicBezTo>
                  <a:pt x="2851150" y="1171575"/>
                  <a:pt x="2848536" y="1167716"/>
                  <a:pt x="2844800" y="1165225"/>
                </a:cubicBezTo>
                <a:cubicBezTo>
                  <a:pt x="2842015" y="1163369"/>
                  <a:pt x="2838268" y="1163547"/>
                  <a:pt x="2835275" y="1162050"/>
                </a:cubicBezTo>
                <a:cubicBezTo>
                  <a:pt x="2805086" y="1146956"/>
                  <a:pt x="2855847" y="1165732"/>
                  <a:pt x="2806700" y="1149350"/>
                </a:cubicBezTo>
                <a:cubicBezTo>
                  <a:pt x="2779440" y="1140263"/>
                  <a:pt x="2806669" y="1145373"/>
                  <a:pt x="2784475" y="1139825"/>
                </a:cubicBezTo>
                <a:cubicBezTo>
                  <a:pt x="2775009" y="1137458"/>
                  <a:pt x="2765366" y="1135842"/>
                  <a:pt x="2755900" y="1133475"/>
                </a:cubicBezTo>
                <a:cubicBezTo>
                  <a:pt x="2752653" y="1132663"/>
                  <a:pt x="2749657" y="1130956"/>
                  <a:pt x="2746375" y="1130300"/>
                </a:cubicBezTo>
                <a:cubicBezTo>
                  <a:pt x="2739037" y="1128832"/>
                  <a:pt x="2731558" y="1128183"/>
                  <a:pt x="2724150" y="1127125"/>
                </a:cubicBezTo>
                <a:cubicBezTo>
                  <a:pt x="2706094" y="1109069"/>
                  <a:pt x="2723480" y="1123615"/>
                  <a:pt x="2705100" y="1114425"/>
                </a:cubicBezTo>
                <a:cubicBezTo>
                  <a:pt x="2701687" y="1112718"/>
                  <a:pt x="2699082" y="1109578"/>
                  <a:pt x="2695575" y="1108075"/>
                </a:cubicBezTo>
                <a:cubicBezTo>
                  <a:pt x="2691564" y="1106356"/>
                  <a:pt x="2687071" y="1106099"/>
                  <a:pt x="2682875" y="1104900"/>
                </a:cubicBezTo>
                <a:cubicBezTo>
                  <a:pt x="2679657" y="1103981"/>
                  <a:pt x="2676568" y="1102644"/>
                  <a:pt x="2673350" y="1101725"/>
                </a:cubicBezTo>
                <a:cubicBezTo>
                  <a:pt x="2667906" y="1100170"/>
                  <a:pt x="2649481" y="1095784"/>
                  <a:pt x="2644775" y="1095375"/>
                </a:cubicBezTo>
                <a:cubicBezTo>
                  <a:pt x="2625767" y="1093722"/>
                  <a:pt x="2606679" y="1093177"/>
                  <a:pt x="2587625" y="1092200"/>
                </a:cubicBezTo>
                <a:lnTo>
                  <a:pt x="2520950" y="1089025"/>
                </a:lnTo>
                <a:lnTo>
                  <a:pt x="2492375" y="1069975"/>
                </a:lnTo>
                <a:cubicBezTo>
                  <a:pt x="2489200" y="1067858"/>
                  <a:pt x="2486552" y="1064550"/>
                  <a:pt x="2482850" y="1063625"/>
                </a:cubicBezTo>
                <a:lnTo>
                  <a:pt x="2470150" y="1060450"/>
                </a:lnTo>
                <a:cubicBezTo>
                  <a:pt x="2466975" y="1058333"/>
                  <a:pt x="2464132" y="1055603"/>
                  <a:pt x="2460625" y="1054100"/>
                </a:cubicBezTo>
                <a:cubicBezTo>
                  <a:pt x="2456614" y="1052381"/>
                  <a:pt x="2451556" y="1053346"/>
                  <a:pt x="2447925" y="1050925"/>
                </a:cubicBezTo>
                <a:cubicBezTo>
                  <a:pt x="2419202" y="1031777"/>
                  <a:pt x="2463189" y="1048605"/>
                  <a:pt x="2432050" y="1038225"/>
                </a:cubicBezTo>
                <a:cubicBezTo>
                  <a:pt x="2408137" y="1022283"/>
                  <a:pt x="2438528" y="1041001"/>
                  <a:pt x="2409825" y="1028700"/>
                </a:cubicBezTo>
                <a:cubicBezTo>
                  <a:pt x="2380947" y="1016324"/>
                  <a:pt x="2429821" y="1026567"/>
                  <a:pt x="2378075" y="1019175"/>
                </a:cubicBezTo>
                <a:lnTo>
                  <a:pt x="2359025" y="1012825"/>
                </a:lnTo>
                <a:cubicBezTo>
                  <a:pt x="2355850" y="1011767"/>
                  <a:pt x="2352607" y="1010893"/>
                  <a:pt x="2349500" y="1009650"/>
                </a:cubicBezTo>
                <a:cubicBezTo>
                  <a:pt x="2344208" y="1007533"/>
                  <a:pt x="2338981" y="1005248"/>
                  <a:pt x="2333625" y="1003300"/>
                </a:cubicBezTo>
                <a:cubicBezTo>
                  <a:pt x="2327335" y="1001013"/>
                  <a:pt x="2320925" y="999067"/>
                  <a:pt x="2314575" y="996950"/>
                </a:cubicBezTo>
                <a:lnTo>
                  <a:pt x="2305050" y="993775"/>
                </a:lnTo>
                <a:cubicBezTo>
                  <a:pt x="2301875" y="991658"/>
                  <a:pt x="2298938" y="989132"/>
                  <a:pt x="2295525" y="987425"/>
                </a:cubicBezTo>
                <a:cubicBezTo>
                  <a:pt x="2292532" y="985928"/>
                  <a:pt x="2288926" y="985875"/>
                  <a:pt x="2286000" y="984250"/>
                </a:cubicBezTo>
                <a:cubicBezTo>
                  <a:pt x="2279329" y="980544"/>
                  <a:pt x="2274190" y="973963"/>
                  <a:pt x="2266950" y="971550"/>
                </a:cubicBezTo>
                <a:cubicBezTo>
                  <a:pt x="2257872" y="968524"/>
                  <a:pt x="2254692" y="967193"/>
                  <a:pt x="2244725" y="965200"/>
                </a:cubicBezTo>
                <a:cubicBezTo>
                  <a:pt x="2238412" y="963937"/>
                  <a:pt x="2232025" y="963083"/>
                  <a:pt x="2225675" y="962025"/>
                </a:cubicBezTo>
                <a:cubicBezTo>
                  <a:pt x="2222500" y="960967"/>
                  <a:pt x="2218763" y="960941"/>
                  <a:pt x="2216150" y="958850"/>
                </a:cubicBezTo>
                <a:cubicBezTo>
                  <a:pt x="2213170" y="956466"/>
                  <a:pt x="2213036" y="951347"/>
                  <a:pt x="2209800" y="949325"/>
                </a:cubicBezTo>
                <a:cubicBezTo>
                  <a:pt x="2204124" y="945777"/>
                  <a:pt x="2190750" y="942975"/>
                  <a:pt x="2190750" y="942975"/>
                </a:cubicBezTo>
                <a:cubicBezTo>
                  <a:pt x="2187575" y="940858"/>
                  <a:pt x="2184712" y="938175"/>
                  <a:pt x="2181225" y="936625"/>
                </a:cubicBezTo>
                <a:cubicBezTo>
                  <a:pt x="2167644" y="930589"/>
                  <a:pt x="2162405" y="930794"/>
                  <a:pt x="2149475" y="927100"/>
                </a:cubicBezTo>
                <a:cubicBezTo>
                  <a:pt x="2146257" y="926181"/>
                  <a:pt x="2143125" y="924983"/>
                  <a:pt x="2139950" y="923925"/>
                </a:cubicBezTo>
                <a:cubicBezTo>
                  <a:pt x="2124856" y="913862"/>
                  <a:pt x="2134045" y="918782"/>
                  <a:pt x="2111375" y="911225"/>
                </a:cubicBezTo>
                <a:lnTo>
                  <a:pt x="2092325" y="904875"/>
                </a:lnTo>
                <a:cubicBezTo>
                  <a:pt x="2089150" y="903817"/>
                  <a:pt x="2086113" y="902173"/>
                  <a:pt x="2082800" y="901700"/>
                </a:cubicBezTo>
                <a:lnTo>
                  <a:pt x="2060575" y="898525"/>
                </a:lnTo>
                <a:cubicBezTo>
                  <a:pt x="2042404" y="880354"/>
                  <a:pt x="2061349" y="895608"/>
                  <a:pt x="2032000" y="885825"/>
                </a:cubicBezTo>
                <a:cubicBezTo>
                  <a:pt x="2028380" y="884618"/>
                  <a:pt x="2025982" y="880978"/>
                  <a:pt x="2022475" y="879475"/>
                </a:cubicBezTo>
                <a:cubicBezTo>
                  <a:pt x="2018464" y="877756"/>
                  <a:pt x="2014008" y="877358"/>
                  <a:pt x="2009775" y="876300"/>
                </a:cubicBezTo>
                <a:cubicBezTo>
                  <a:pt x="2000209" y="869923"/>
                  <a:pt x="1998829" y="868434"/>
                  <a:pt x="1987550" y="863600"/>
                </a:cubicBezTo>
                <a:cubicBezTo>
                  <a:pt x="1977324" y="859217"/>
                  <a:pt x="1966026" y="858458"/>
                  <a:pt x="1955800" y="854075"/>
                </a:cubicBezTo>
                <a:cubicBezTo>
                  <a:pt x="1951450" y="852211"/>
                  <a:pt x="1947450" y="849589"/>
                  <a:pt x="1943100" y="847725"/>
                </a:cubicBezTo>
                <a:cubicBezTo>
                  <a:pt x="1940024" y="846407"/>
                  <a:pt x="1936709" y="845725"/>
                  <a:pt x="1933575" y="844550"/>
                </a:cubicBezTo>
                <a:cubicBezTo>
                  <a:pt x="1928239" y="842549"/>
                  <a:pt x="1923253" y="839482"/>
                  <a:pt x="1917700" y="838200"/>
                </a:cubicBezTo>
                <a:cubicBezTo>
                  <a:pt x="1909386" y="836281"/>
                  <a:pt x="1900767" y="836083"/>
                  <a:pt x="1892300" y="835025"/>
                </a:cubicBezTo>
                <a:cubicBezTo>
                  <a:pt x="1889125" y="833967"/>
                  <a:pt x="1886101" y="831480"/>
                  <a:pt x="1882775" y="831850"/>
                </a:cubicBezTo>
                <a:cubicBezTo>
                  <a:pt x="1876122" y="832589"/>
                  <a:pt x="1863725" y="838200"/>
                  <a:pt x="1863725" y="838200"/>
                </a:cubicBezTo>
                <a:cubicBezTo>
                  <a:pt x="1851536" y="835153"/>
                  <a:pt x="1849394" y="835593"/>
                  <a:pt x="1838325" y="828675"/>
                </a:cubicBezTo>
                <a:cubicBezTo>
                  <a:pt x="1816357" y="814945"/>
                  <a:pt x="1834813" y="822213"/>
                  <a:pt x="1816100" y="815975"/>
                </a:cubicBezTo>
                <a:cubicBezTo>
                  <a:pt x="1807508" y="810247"/>
                  <a:pt x="1803946" y="807303"/>
                  <a:pt x="1793875" y="803275"/>
                </a:cubicBezTo>
                <a:cubicBezTo>
                  <a:pt x="1787660" y="800789"/>
                  <a:pt x="1780812" y="799918"/>
                  <a:pt x="1774825" y="796925"/>
                </a:cubicBezTo>
                <a:cubicBezTo>
                  <a:pt x="1770592" y="794808"/>
                  <a:pt x="1766615" y="792072"/>
                  <a:pt x="1762125" y="790575"/>
                </a:cubicBezTo>
                <a:cubicBezTo>
                  <a:pt x="1757005" y="788868"/>
                  <a:pt x="1751456" y="788820"/>
                  <a:pt x="1746250" y="787400"/>
                </a:cubicBezTo>
                <a:cubicBezTo>
                  <a:pt x="1739792" y="785639"/>
                  <a:pt x="1733550" y="783167"/>
                  <a:pt x="1727200" y="781050"/>
                </a:cubicBezTo>
                <a:lnTo>
                  <a:pt x="1698625" y="771525"/>
                </a:lnTo>
                <a:lnTo>
                  <a:pt x="1689100" y="768350"/>
                </a:lnTo>
                <a:cubicBezTo>
                  <a:pt x="1685925" y="766233"/>
                  <a:pt x="1683062" y="763550"/>
                  <a:pt x="1679575" y="762000"/>
                </a:cubicBezTo>
                <a:cubicBezTo>
                  <a:pt x="1673458" y="759282"/>
                  <a:pt x="1660525" y="755650"/>
                  <a:pt x="1660525" y="755650"/>
                </a:cubicBezTo>
                <a:cubicBezTo>
                  <a:pt x="1657350" y="752475"/>
                  <a:pt x="1653875" y="749574"/>
                  <a:pt x="1651000" y="746125"/>
                </a:cubicBezTo>
                <a:cubicBezTo>
                  <a:pt x="1648557" y="743194"/>
                  <a:pt x="1647522" y="739113"/>
                  <a:pt x="1644650" y="736600"/>
                </a:cubicBezTo>
                <a:cubicBezTo>
                  <a:pt x="1638907" y="731574"/>
                  <a:pt x="1631950" y="728133"/>
                  <a:pt x="1625600" y="723900"/>
                </a:cubicBezTo>
                <a:lnTo>
                  <a:pt x="1606550" y="711200"/>
                </a:lnTo>
                <a:cubicBezTo>
                  <a:pt x="1603765" y="709344"/>
                  <a:pt x="1600200" y="709083"/>
                  <a:pt x="1597025" y="708025"/>
                </a:cubicBezTo>
                <a:cubicBezTo>
                  <a:pt x="1592792" y="704850"/>
                  <a:pt x="1588919" y="701125"/>
                  <a:pt x="1584325" y="698500"/>
                </a:cubicBezTo>
                <a:cubicBezTo>
                  <a:pt x="1579068" y="695496"/>
                  <a:pt x="1562945" y="692954"/>
                  <a:pt x="1558925" y="692150"/>
                </a:cubicBezTo>
                <a:cubicBezTo>
                  <a:pt x="1555750" y="690033"/>
                  <a:pt x="1551784" y="688780"/>
                  <a:pt x="1549400" y="685800"/>
                </a:cubicBezTo>
                <a:cubicBezTo>
                  <a:pt x="1547309" y="683187"/>
                  <a:pt x="1548592" y="678642"/>
                  <a:pt x="1546225" y="676275"/>
                </a:cubicBezTo>
                <a:cubicBezTo>
                  <a:pt x="1543858" y="673908"/>
                  <a:pt x="1539776" y="674418"/>
                  <a:pt x="1536700" y="673100"/>
                </a:cubicBezTo>
                <a:cubicBezTo>
                  <a:pt x="1532350" y="671236"/>
                  <a:pt x="1528059" y="669185"/>
                  <a:pt x="1524000" y="666750"/>
                </a:cubicBezTo>
                <a:cubicBezTo>
                  <a:pt x="1517456" y="662823"/>
                  <a:pt x="1511300" y="658283"/>
                  <a:pt x="1504950" y="654050"/>
                </a:cubicBezTo>
                <a:cubicBezTo>
                  <a:pt x="1501775" y="651933"/>
                  <a:pt x="1498838" y="649407"/>
                  <a:pt x="1495425" y="647700"/>
                </a:cubicBezTo>
                <a:cubicBezTo>
                  <a:pt x="1478663" y="639319"/>
                  <a:pt x="1474893" y="635937"/>
                  <a:pt x="1460500" y="631825"/>
                </a:cubicBezTo>
                <a:cubicBezTo>
                  <a:pt x="1456304" y="630626"/>
                  <a:pt x="1452033" y="629708"/>
                  <a:pt x="1447800" y="628650"/>
                </a:cubicBezTo>
                <a:cubicBezTo>
                  <a:pt x="1432879" y="613729"/>
                  <a:pt x="1442011" y="621616"/>
                  <a:pt x="1419225" y="606425"/>
                </a:cubicBezTo>
                <a:lnTo>
                  <a:pt x="1409700" y="600075"/>
                </a:lnTo>
                <a:cubicBezTo>
                  <a:pt x="1407583" y="596900"/>
                  <a:pt x="1406330" y="592934"/>
                  <a:pt x="1403350" y="590550"/>
                </a:cubicBezTo>
                <a:cubicBezTo>
                  <a:pt x="1400737" y="588459"/>
                  <a:pt x="1396818" y="588872"/>
                  <a:pt x="1393825" y="587375"/>
                </a:cubicBezTo>
                <a:cubicBezTo>
                  <a:pt x="1375272" y="578098"/>
                  <a:pt x="1393396" y="583170"/>
                  <a:pt x="1374775" y="577850"/>
                </a:cubicBezTo>
                <a:cubicBezTo>
                  <a:pt x="1365212" y="575118"/>
                  <a:pt x="1357595" y="574901"/>
                  <a:pt x="1349375" y="568325"/>
                </a:cubicBezTo>
                <a:cubicBezTo>
                  <a:pt x="1342363" y="562715"/>
                  <a:pt x="1330325" y="549275"/>
                  <a:pt x="1330325" y="549275"/>
                </a:cubicBezTo>
                <a:cubicBezTo>
                  <a:pt x="1329267" y="546100"/>
                  <a:pt x="1329517" y="542117"/>
                  <a:pt x="1327150" y="539750"/>
                </a:cubicBezTo>
                <a:cubicBezTo>
                  <a:pt x="1323227" y="535827"/>
                  <a:pt x="1310617" y="532122"/>
                  <a:pt x="1304925" y="530225"/>
                </a:cubicBezTo>
                <a:cubicBezTo>
                  <a:pt x="1277628" y="512027"/>
                  <a:pt x="1312165" y="533845"/>
                  <a:pt x="1285875" y="520700"/>
                </a:cubicBezTo>
                <a:cubicBezTo>
                  <a:pt x="1263949" y="509737"/>
                  <a:pt x="1290081" y="517783"/>
                  <a:pt x="1263650" y="511175"/>
                </a:cubicBezTo>
                <a:cubicBezTo>
                  <a:pt x="1262592" y="508000"/>
                  <a:pt x="1262842" y="504017"/>
                  <a:pt x="1260475" y="501650"/>
                </a:cubicBezTo>
                <a:cubicBezTo>
                  <a:pt x="1255079" y="496254"/>
                  <a:pt x="1247775" y="493183"/>
                  <a:pt x="1241425" y="488950"/>
                </a:cubicBezTo>
                <a:cubicBezTo>
                  <a:pt x="1237022" y="486015"/>
                  <a:pt x="1233031" y="482501"/>
                  <a:pt x="1228725" y="479425"/>
                </a:cubicBezTo>
                <a:cubicBezTo>
                  <a:pt x="1214754" y="469446"/>
                  <a:pt x="1223243" y="476027"/>
                  <a:pt x="1206500" y="466725"/>
                </a:cubicBezTo>
                <a:cubicBezTo>
                  <a:pt x="1201105" y="463728"/>
                  <a:pt x="1196058" y="460126"/>
                  <a:pt x="1190625" y="457200"/>
                </a:cubicBezTo>
                <a:lnTo>
                  <a:pt x="1152525" y="438150"/>
                </a:lnTo>
                <a:cubicBezTo>
                  <a:pt x="1145699" y="434737"/>
                  <a:pt x="1139825" y="429683"/>
                  <a:pt x="1133475" y="425450"/>
                </a:cubicBezTo>
                <a:cubicBezTo>
                  <a:pt x="1114172" y="412581"/>
                  <a:pt x="1134681" y="424712"/>
                  <a:pt x="1111250" y="415925"/>
                </a:cubicBezTo>
                <a:cubicBezTo>
                  <a:pt x="1106818" y="414263"/>
                  <a:pt x="1102944" y="411333"/>
                  <a:pt x="1098550" y="409575"/>
                </a:cubicBezTo>
                <a:cubicBezTo>
                  <a:pt x="1092335" y="407089"/>
                  <a:pt x="1085850" y="405342"/>
                  <a:pt x="1079500" y="403225"/>
                </a:cubicBezTo>
                <a:lnTo>
                  <a:pt x="1069975" y="400050"/>
                </a:lnTo>
                <a:cubicBezTo>
                  <a:pt x="1066800" y="397933"/>
                  <a:pt x="1063763" y="395593"/>
                  <a:pt x="1060450" y="393700"/>
                </a:cubicBezTo>
                <a:cubicBezTo>
                  <a:pt x="1056341" y="391352"/>
                  <a:pt x="1051601" y="390101"/>
                  <a:pt x="1047750" y="387350"/>
                </a:cubicBezTo>
                <a:cubicBezTo>
                  <a:pt x="1026940" y="372486"/>
                  <a:pt x="1049132" y="381461"/>
                  <a:pt x="1028700" y="374650"/>
                </a:cubicBezTo>
                <a:cubicBezTo>
                  <a:pt x="1026583" y="371475"/>
                  <a:pt x="1025048" y="367823"/>
                  <a:pt x="1022350" y="365125"/>
                </a:cubicBezTo>
                <a:cubicBezTo>
                  <a:pt x="1016195" y="358970"/>
                  <a:pt x="1011047" y="358182"/>
                  <a:pt x="1003300" y="355600"/>
                </a:cubicBezTo>
                <a:cubicBezTo>
                  <a:pt x="1000125" y="353483"/>
                  <a:pt x="997188" y="350957"/>
                  <a:pt x="993775" y="349250"/>
                </a:cubicBezTo>
                <a:cubicBezTo>
                  <a:pt x="990782" y="347753"/>
                  <a:pt x="986892" y="348130"/>
                  <a:pt x="984250" y="346075"/>
                </a:cubicBezTo>
                <a:cubicBezTo>
                  <a:pt x="967326" y="332912"/>
                  <a:pt x="963789" y="324908"/>
                  <a:pt x="952500" y="307975"/>
                </a:cubicBezTo>
                <a:cubicBezTo>
                  <a:pt x="950383" y="304800"/>
                  <a:pt x="946150" y="303742"/>
                  <a:pt x="942975" y="301625"/>
                </a:cubicBezTo>
                <a:lnTo>
                  <a:pt x="936625" y="282575"/>
                </a:lnTo>
                <a:cubicBezTo>
                  <a:pt x="935418" y="278955"/>
                  <a:pt x="931982" y="276463"/>
                  <a:pt x="930275" y="273050"/>
                </a:cubicBezTo>
                <a:cubicBezTo>
                  <a:pt x="928778" y="270057"/>
                  <a:pt x="928158" y="266700"/>
                  <a:pt x="927100" y="263525"/>
                </a:cubicBezTo>
                <a:cubicBezTo>
                  <a:pt x="931333" y="262467"/>
                  <a:pt x="937849" y="264253"/>
                  <a:pt x="939800" y="260350"/>
                </a:cubicBezTo>
                <a:cubicBezTo>
                  <a:pt x="941507" y="256937"/>
                  <a:pt x="936381" y="253268"/>
                  <a:pt x="933450" y="250825"/>
                </a:cubicBezTo>
                <a:cubicBezTo>
                  <a:pt x="929814" y="247795"/>
                  <a:pt x="924859" y="246823"/>
                  <a:pt x="920750" y="244475"/>
                </a:cubicBezTo>
                <a:cubicBezTo>
                  <a:pt x="917437" y="242582"/>
                  <a:pt x="914156" y="240568"/>
                  <a:pt x="911225" y="238125"/>
                </a:cubicBezTo>
                <a:cubicBezTo>
                  <a:pt x="886779" y="217753"/>
                  <a:pt x="915824" y="238016"/>
                  <a:pt x="892175" y="222250"/>
                </a:cubicBezTo>
                <a:cubicBezTo>
                  <a:pt x="891117" y="219075"/>
                  <a:pt x="891367" y="215092"/>
                  <a:pt x="889000" y="212725"/>
                </a:cubicBezTo>
                <a:cubicBezTo>
                  <a:pt x="883604" y="207329"/>
                  <a:pt x="869950" y="200025"/>
                  <a:pt x="869950" y="200025"/>
                </a:cubicBezTo>
                <a:cubicBezTo>
                  <a:pt x="867833" y="196850"/>
                  <a:pt x="866531" y="192943"/>
                  <a:pt x="863600" y="190500"/>
                </a:cubicBezTo>
                <a:cubicBezTo>
                  <a:pt x="859964" y="187470"/>
                  <a:pt x="855009" y="186498"/>
                  <a:pt x="850900" y="184150"/>
                </a:cubicBezTo>
                <a:cubicBezTo>
                  <a:pt x="829443" y="171889"/>
                  <a:pt x="853018" y="182563"/>
                  <a:pt x="831850" y="174625"/>
                </a:cubicBezTo>
                <a:cubicBezTo>
                  <a:pt x="826514" y="172624"/>
                  <a:pt x="821523" y="169580"/>
                  <a:pt x="815975" y="168275"/>
                </a:cubicBezTo>
                <a:cubicBezTo>
                  <a:pt x="789934" y="162148"/>
                  <a:pt x="769280" y="161144"/>
                  <a:pt x="742950" y="158750"/>
                </a:cubicBezTo>
                <a:cubicBezTo>
                  <a:pt x="721508" y="151603"/>
                  <a:pt x="747902" y="159850"/>
                  <a:pt x="714375" y="152400"/>
                </a:cubicBezTo>
                <a:cubicBezTo>
                  <a:pt x="711108" y="151674"/>
                  <a:pt x="708068" y="150144"/>
                  <a:pt x="704850" y="149225"/>
                </a:cubicBezTo>
                <a:cubicBezTo>
                  <a:pt x="700654" y="148026"/>
                  <a:pt x="696383" y="147108"/>
                  <a:pt x="692150" y="146050"/>
                </a:cubicBezTo>
                <a:cubicBezTo>
                  <a:pt x="668944" y="130579"/>
                  <a:pt x="698123" y="149463"/>
                  <a:pt x="669925" y="133350"/>
                </a:cubicBezTo>
                <a:cubicBezTo>
                  <a:pt x="666612" y="131457"/>
                  <a:pt x="663887" y="128550"/>
                  <a:pt x="660400" y="127000"/>
                </a:cubicBezTo>
                <a:cubicBezTo>
                  <a:pt x="654283" y="124282"/>
                  <a:pt x="641350" y="120650"/>
                  <a:pt x="641350" y="120650"/>
                </a:cubicBezTo>
                <a:cubicBezTo>
                  <a:pt x="638175" y="118533"/>
                  <a:pt x="634523" y="116998"/>
                  <a:pt x="631825" y="114300"/>
                </a:cubicBezTo>
                <a:cubicBezTo>
                  <a:pt x="629127" y="111602"/>
                  <a:pt x="628455" y="107159"/>
                  <a:pt x="625475" y="104775"/>
                </a:cubicBezTo>
                <a:cubicBezTo>
                  <a:pt x="622862" y="102684"/>
                  <a:pt x="619276" y="101970"/>
                  <a:pt x="615950" y="101600"/>
                </a:cubicBezTo>
                <a:cubicBezTo>
                  <a:pt x="600137" y="99843"/>
                  <a:pt x="584200" y="99483"/>
                  <a:pt x="568325" y="98425"/>
                </a:cubicBezTo>
                <a:cubicBezTo>
                  <a:pt x="561975" y="96308"/>
                  <a:pt x="554844" y="95788"/>
                  <a:pt x="549275" y="92075"/>
                </a:cubicBezTo>
                <a:cubicBezTo>
                  <a:pt x="536965" y="83869"/>
                  <a:pt x="543370" y="86932"/>
                  <a:pt x="530225" y="82550"/>
                </a:cubicBezTo>
                <a:cubicBezTo>
                  <a:pt x="521633" y="76822"/>
                  <a:pt x="518071" y="73878"/>
                  <a:pt x="508000" y="69850"/>
                </a:cubicBezTo>
                <a:cubicBezTo>
                  <a:pt x="501785" y="67364"/>
                  <a:pt x="488950" y="63500"/>
                  <a:pt x="488950" y="63500"/>
                </a:cubicBezTo>
                <a:cubicBezTo>
                  <a:pt x="461653" y="45302"/>
                  <a:pt x="496190" y="67120"/>
                  <a:pt x="469900" y="53975"/>
                </a:cubicBezTo>
                <a:cubicBezTo>
                  <a:pt x="445281" y="41665"/>
                  <a:pt x="474791" y="52430"/>
                  <a:pt x="450850" y="44450"/>
                </a:cubicBezTo>
                <a:cubicBezTo>
                  <a:pt x="447675" y="42333"/>
                  <a:pt x="444898" y="39440"/>
                  <a:pt x="441325" y="38100"/>
                </a:cubicBezTo>
                <a:cubicBezTo>
                  <a:pt x="436272" y="36205"/>
                  <a:pt x="430718" y="36096"/>
                  <a:pt x="425450" y="34925"/>
                </a:cubicBezTo>
                <a:cubicBezTo>
                  <a:pt x="421190" y="33978"/>
                  <a:pt x="416930" y="33004"/>
                  <a:pt x="412750" y="31750"/>
                </a:cubicBezTo>
                <a:cubicBezTo>
                  <a:pt x="399046" y="27639"/>
                  <a:pt x="385649" y="21627"/>
                  <a:pt x="371475" y="19050"/>
                </a:cubicBezTo>
                <a:cubicBezTo>
                  <a:pt x="350662" y="15266"/>
                  <a:pt x="353168" y="17685"/>
                  <a:pt x="336550" y="12700"/>
                </a:cubicBezTo>
                <a:cubicBezTo>
                  <a:pt x="326933" y="9815"/>
                  <a:pt x="317500" y="6350"/>
                  <a:pt x="307975" y="3175"/>
                </a:cubicBezTo>
                <a:cubicBezTo>
                  <a:pt x="300875" y="808"/>
                  <a:pt x="293158" y="1058"/>
                  <a:pt x="285750" y="0"/>
                </a:cubicBezTo>
                <a:lnTo>
                  <a:pt x="257175" y="9525"/>
                </a:lnTo>
                <a:lnTo>
                  <a:pt x="238125" y="15875"/>
                </a:lnTo>
                <a:cubicBezTo>
                  <a:pt x="234950" y="17992"/>
                  <a:pt x="232087" y="20675"/>
                  <a:pt x="228600" y="22225"/>
                </a:cubicBezTo>
                <a:cubicBezTo>
                  <a:pt x="222483" y="24943"/>
                  <a:pt x="209550" y="28575"/>
                  <a:pt x="209550" y="28575"/>
                </a:cubicBezTo>
                <a:cubicBezTo>
                  <a:pt x="189398" y="42010"/>
                  <a:pt x="206268" y="26690"/>
                  <a:pt x="203200" y="63500"/>
                </a:cubicBezTo>
                <a:cubicBezTo>
                  <a:pt x="202883" y="67303"/>
                  <a:pt x="198557" y="69612"/>
                  <a:pt x="196850" y="73025"/>
                </a:cubicBezTo>
                <a:cubicBezTo>
                  <a:pt x="191040" y="84645"/>
                  <a:pt x="195378" y="86967"/>
                  <a:pt x="190500" y="101600"/>
                </a:cubicBezTo>
                <a:cubicBezTo>
                  <a:pt x="189293" y="105220"/>
                  <a:pt x="185857" y="107712"/>
                  <a:pt x="184150" y="111125"/>
                </a:cubicBezTo>
                <a:cubicBezTo>
                  <a:pt x="182653" y="114118"/>
                  <a:pt x="182033" y="117475"/>
                  <a:pt x="180975" y="120650"/>
                </a:cubicBezTo>
                <a:cubicBezTo>
                  <a:pt x="182033" y="132292"/>
                  <a:pt x="181701" y="144145"/>
                  <a:pt x="184150" y="155575"/>
                </a:cubicBezTo>
                <a:cubicBezTo>
                  <a:pt x="184950" y="159306"/>
                  <a:pt x="188793" y="161687"/>
                  <a:pt x="190500" y="165100"/>
                </a:cubicBezTo>
                <a:cubicBezTo>
                  <a:pt x="191997" y="168093"/>
                  <a:pt x="192617" y="171450"/>
                  <a:pt x="193675" y="174625"/>
                </a:cubicBezTo>
                <a:cubicBezTo>
                  <a:pt x="190500" y="176742"/>
                  <a:pt x="187563" y="179268"/>
                  <a:pt x="184150" y="180975"/>
                </a:cubicBezTo>
                <a:cubicBezTo>
                  <a:pt x="181157" y="182472"/>
                  <a:pt x="176992" y="181783"/>
                  <a:pt x="174625" y="184150"/>
                </a:cubicBezTo>
                <a:cubicBezTo>
                  <a:pt x="172258" y="186517"/>
                  <a:pt x="173541" y="191062"/>
                  <a:pt x="171450" y="193675"/>
                </a:cubicBezTo>
                <a:cubicBezTo>
                  <a:pt x="166974" y="199270"/>
                  <a:pt x="158675" y="201108"/>
                  <a:pt x="152400" y="203200"/>
                </a:cubicBezTo>
                <a:cubicBezTo>
                  <a:pt x="137306" y="213263"/>
                  <a:pt x="146495" y="208343"/>
                  <a:pt x="123825" y="215900"/>
                </a:cubicBezTo>
                <a:lnTo>
                  <a:pt x="114300" y="219075"/>
                </a:lnTo>
                <a:lnTo>
                  <a:pt x="104775" y="222250"/>
                </a:lnTo>
                <a:cubicBezTo>
                  <a:pt x="89681" y="232313"/>
                  <a:pt x="98870" y="227393"/>
                  <a:pt x="76200" y="234950"/>
                </a:cubicBezTo>
                <a:lnTo>
                  <a:pt x="66675" y="238125"/>
                </a:lnTo>
                <a:cubicBezTo>
                  <a:pt x="59653" y="245147"/>
                  <a:pt x="56466" y="249580"/>
                  <a:pt x="47625" y="254000"/>
                </a:cubicBezTo>
                <a:cubicBezTo>
                  <a:pt x="44632" y="255497"/>
                  <a:pt x="41275" y="256117"/>
                  <a:pt x="38100" y="257175"/>
                </a:cubicBezTo>
                <a:cubicBezTo>
                  <a:pt x="30543" y="279845"/>
                  <a:pt x="26181" y="272512"/>
                  <a:pt x="41275" y="282575"/>
                </a:cubicBezTo>
                <a:cubicBezTo>
                  <a:pt x="40217" y="287867"/>
                  <a:pt x="41093" y="293960"/>
                  <a:pt x="38100" y="298450"/>
                </a:cubicBezTo>
                <a:cubicBezTo>
                  <a:pt x="36244" y="301235"/>
                  <a:pt x="31793" y="300706"/>
                  <a:pt x="28575" y="301625"/>
                </a:cubicBezTo>
                <a:cubicBezTo>
                  <a:pt x="24379" y="302824"/>
                  <a:pt x="20108" y="303742"/>
                  <a:pt x="15875" y="304800"/>
                </a:cubicBezTo>
                <a:cubicBezTo>
                  <a:pt x="12700" y="306917"/>
                  <a:pt x="8372" y="307914"/>
                  <a:pt x="6350" y="311150"/>
                </a:cubicBezTo>
                <a:cubicBezTo>
                  <a:pt x="2802" y="316826"/>
                  <a:pt x="0" y="330200"/>
                  <a:pt x="0" y="330200"/>
                </a:cubicBezTo>
                <a:cubicBezTo>
                  <a:pt x="1058" y="334433"/>
                  <a:pt x="1224" y="338997"/>
                  <a:pt x="3175" y="342900"/>
                </a:cubicBezTo>
                <a:cubicBezTo>
                  <a:pt x="6588" y="349726"/>
                  <a:pt x="11642" y="355600"/>
                  <a:pt x="15875" y="361950"/>
                </a:cubicBezTo>
                <a:cubicBezTo>
                  <a:pt x="17731" y="364735"/>
                  <a:pt x="17553" y="368482"/>
                  <a:pt x="19050" y="371475"/>
                </a:cubicBezTo>
                <a:cubicBezTo>
                  <a:pt x="22632" y="378639"/>
                  <a:pt x="27110" y="384419"/>
                  <a:pt x="34925" y="387350"/>
                </a:cubicBezTo>
                <a:cubicBezTo>
                  <a:pt x="44490" y="390937"/>
                  <a:pt x="78422" y="393287"/>
                  <a:pt x="82550" y="393700"/>
                </a:cubicBezTo>
                <a:cubicBezTo>
                  <a:pt x="85725" y="394758"/>
                  <a:pt x="88728" y="396875"/>
                  <a:pt x="92075" y="396875"/>
                </a:cubicBezTo>
                <a:cubicBezTo>
                  <a:pt x="103251" y="396875"/>
                  <a:pt x="110828" y="393799"/>
                  <a:pt x="120650" y="390525"/>
                </a:cubicBezTo>
                <a:cubicBezTo>
                  <a:pt x="130175" y="391583"/>
                  <a:pt x="140218" y="390425"/>
                  <a:pt x="149225" y="393700"/>
                </a:cubicBezTo>
                <a:cubicBezTo>
                  <a:pt x="152811" y="395004"/>
                  <a:pt x="152644" y="400782"/>
                  <a:pt x="155575" y="403225"/>
                </a:cubicBezTo>
                <a:cubicBezTo>
                  <a:pt x="158467" y="405635"/>
                  <a:pt x="172837" y="411923"/>
                  <a:pt x="177800" y="412750"/>
                </a:cubicBezTo>
                <a:cubicBezTo>
                  <a:pt x="180932" y="413272"/>
                  <a:pt x="184150" y="412750"/>
                  <a:pt x="187325" y="412750"/>
                </a:cubicBezTo>
                <a:lnTo>
                  <a:pt x="184150" y="412750"/>
                </a:lnTo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sp>
        <p:nvSpPr>
          <p:cNvPr id="116" name="Freeform 7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4885779" y="2387320"/>
            <a:ext cx="832410" cy="747544"/>
          </a:xfrm>
          <a:custGeom>
            <a:avLst/>
            <a:gdLst>
              <a:gd name="T0" fmla="*/ 846 w 1158"/>
              <a:gd name="T1" fmla="*/ 78 h 1452"/>
              <a:gd name="T2" fmla="*/ 870 w 1158"/>
              <a:gd name="T3" fmla="*/ 480 h 1452"/>
              <a:gd name="T4" fmla="*/ 1032 w 1158"/>
              <a:gd name="T5" fmla="*/ 648 h 1452"/>
              <a:gd name="T6" fmla="*/ 1098 w 1158"/>
              <a:gd name="T7" fmla="*/ 720 h 1452"/>
              <a:gd name="T8" fmla="*/ 1104 w 1158"/>
              <a:gd name="T9" fmla="*/ 786 h 1452"/>
              <a:gd name="T10" fmla="*/ 1074 w 1158"/>
              <a:gd name="T11" fmla="*/ 870 h 1452"/>
              <a:gd name="T12" fmla="*/ 1074 w 1158"/>
              <a:gd name="T13" fmla="*/ 936 h 1452"/>
              <a:gd name="T14" fmla="*/ 1152 w 1158"/>
              <a:gd name="T15" fmla="*/ 1014 h 1452"/>
              <a:gd name="T16" fmla="*/ 1152 w 1158"/>
              <a:gd name="T17" fmla="*/ 1050 h 1452"/>
              <a:gd name="T18" fmla="*/ 1158 w 1158"/>
              <a:gd name="T19" fmla="*/ 1098 h 1452"/>
              <a:gd name="T20" fmla="*/ 1158 w 1158"/>
              <a:gd name="T21" fmla="*/ 1164 h 1452"/>
              <a:gd name="T22" fmla="*/ 1158 w 1158"/>
              <a:gd name="T23" fmla="*/ 1200 h 1452"/>
              <a:gd name="T24" fmla="*/ 1158 w 1158"/>
              <a:gd name="T25" fmla="*/ 1242 h 1452"/>
              <a:gd name="T26" fmla="*/ 1140 w 1158"/>
              <a:gd name="T27" fmla="*/ 1260 h 1452"/>
              <a:gd name="T28" fmla="*/ 1116 w 1158"/>
              <a:gd name="T29" fmla="*/ 1278 h 1452"/>
              <a:gd name="T30" fmla="*/ 1086 w 1158"/>
              <a:gd name="T31" fmla="*/ 1278 h 1452"/>
              <a:gd name="T32" fmla="*/ 1062 w 1158"/>
              <a:gd name="T33" fmla="*/ 1296 h 1452"/>
              <a:gd name="T34" fmla="*/ 1044 w 1158"/>
              <a:gd name="T35" fmla="*/ 1308 h 1452"/>
              <a:gd name="T36" fmla="*/ 1026 w 1158"/>
              <a:gd name="T37" fmla="*/ 1320 h 1452"/>
              <a:gd name="T38" fmla="*/ 1002 w 1158"/>
              <a:gd name="T39" fmla="*/ 1314 h 1452"/>
              <a:gd name="T40" fmla="*/ 990 w 1158"/>
              <a:gd name="T41" fmla="*/ 1290 h 1452"/>
              <a:gd name="T42" fmla="*/ 972 w 1158"/>
              <a:gd name="T43" fmla="*/ 1296 h 1452"/>
              <a:gd name="T44" fmla="*/ 942 w 1158"/>
              <a:gd name="T45" fmla="*/ 1284 h 1452"/>
              <a:gd name="T46" fmla="*/ 918 w 1158"/>
              <a:gd name="T47" fmla="*/ 1296 h 1452"/>
              <a:gd name="T48" fmla="*/ 900 w 1158"/>
              <a:gd name="T49" fmla="*/ 1302 h 1452"/>
              <a:gd name="T50" fmla="*/ 870 w 1158"/>
              <a:gd name="T51" fmla="*/ 1290 h 1452"/>
              <a:gd name="T52" fmla="*/ 852 w 1158"/>
              <a:gd name="T53" fmla="*/ 1296 h 1452"/>
              <a:gd name="T54" fmla="*/ 840 w 1158"/>
              <a:gd name="T55" fmla="*/ 1308 h 1452"/>
              <a:gd name="T56" fmla="*/ 828 w 1158"/>
              <a:gd name="T57" fmla="*/ 1320 h 1452"/>
              <a:gd name="T58" fmla="*/ 828 w 1158"/>
              <a:gd name="T59" fmla="*/ 1332 h 1452"/>
              <a:gd name="T60" fmla="*/ 828 w 1158"/>
              <a:gd name="T61" fmla="*/ 1350 h 1452"/>
              <a:gd name="T62" fmla="*/ 834 w 1158"/>
              <a:gd name="T63" fmla="*/ 1374 h 1452"/>
              <a:gd name="T64" fmla="*/ 828 w 1158"/>
              <a:gd name="T65" fmla="*/ 1398 h 1452"/>
              <a:gd name="T66" fmla="*/ 810 w 1158"/>
              <a:gd name="T67" fmla="*/ 1410 h 1452"/>
              <a:gd name="T68" fmla="*/ 804 w 1158"/>
              <a:gd name="T69" fmla="*/ 1422 h 1452"/>
              <a:gd name="T70" fmla="*/ 792 w 1158"/>
              <a:gd name="T71" fmla="*/ 1440 h 1452"/>
              <a:gd name="T72" fmla="*/ 708 w 1158"/>
              <a:gd name="T73" fmla="*/ 1452 h 1452"/>
              <a:gd name="T74" fmla="*/ 600 w 1158"/>
              <a:gd name="T75" fmla="*/ 1140 h 1452"/>
              <a:gd name="T76" fmla="*/ 522 w 1158"/>
              <a:gd name="T77" fmla="*/ 1110 h 1452"/>
              <a:gd name="T78" fmla="*/ 396 w 1158"/>
              <a:gd name="T79" fmla="*/ 1182 h 1452"/>
              <a:gd name="T80" fmla="*/ 360 w 1158"/>
              <a:gd name="T81" fmla="*/ 1140 h 1452"/>
              <a:gd name="T82" fmla="*/ 348 w 1158"/>
              <a:gd name="T83" fmla="*/ 1110 h 1452"/>
              <a:gd name="T84" fmla="*/ 336 w 1158"/>
              <a:gd name="T85" fmla="*/ 1068 h 1452"/>
              <a:gd name="T86" fmla="*/ 318 w 1158"/>
              <a:gd name="T87" fmla="*/ 1038 h 1452"/>
              <a:gd name="T88" fmla="*/ 270 w 1158"/>
              <a:gd name="T89" fmla="*/ 1014 h 1452"/>
              <a:gd name="T90" fmla="*/ 90 w 1158"/>
              <a:gd name="T91" fmla="*/ 936 h 1452"/>
              <a:gd name="T92" fmla="*/ 66 w 1158"/>
              <a:gd name="T93" fmla="*/ 924 h 1452"/>
              <a:gd name="T94" fmla="*/ 42 w 1158"/>
              <a:gd name="T95" fmla="*/ 930 h 1452"/>
              <a:gd name="T96" fmla="*/ 12 w 1158"/>
              <a:gd name="T97" fmla="*/ 930 h 1452"/>
              <a:gd name="T98" fmla="*/ 48 w 1158"/>
              <a:gd name="T99" fmla="*/ 846 h 1452"/>
              <a:gd name="T100" fmla="*/ 270 w 1158"/>
              <a:gd name="T101" fmla="*/ 750 h 1452"/>
              <a:gd name="T102" fmla="*/ 480 w 1158"/>
              <a:gd name="T103" fmla="*/ 510 h 1452"/>
              <a:gd name="T104" fmla="*/ 480 w 1158"/>
              <a:gd name="T105" fmla="*/ 108 h 1452"/>
              <a:gd name="T106" fmla="*/ 672 w 1158"/>
              <a:gd name="T107" fmla="*/ 90 h 1452"/>
              <a:gd name="T108" fmla="*/ 678 w 1158"/>
              <a:gd name="T109" fmla="*/ 60 h 1452"/>
              <a:gd name="T110" fmla="*/ 672 w 1158"/>
              <a:gd name="T111" fmla="*/ 36 h 1452"/>
              <a:gd name="T112" fmla="*/ 672 w 1158"/>
              <a:gd name="T113" fmla="*/ 6 h 14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158" h="1452">
                <a:moveTo>
                  <a:pt x="672" y="0"/>
                </a:moveTo>
                <a:lnTo>
                  <a:pt x="852" y="6"/>
                </a:lnTo>
                <a:lnTo>
                  <a:pt x="870" y="6"/>
                </a:lnTo>
                <a:lnTo>
                  <a:pt x="852" y="24"/>
                </a:lnTo>
                <a:lnTo>
                  <a:pt x="846" y="78"/>
                </a:lnTo>
                <a:lnTo>
                  <a:pt x="834" y="162"/>
                </a:lnTo>
                <a:lnTo>
                  <a:pt x="828" y="168"/>
                </a:lnTo>
                <a:lnTo>
                  <a:pt x="810" y="216"/>
                </a:lnTo>
                <a:lnTo>
                  <a:pt x="858" y="438"/>
                </a:lnTo>
                <a:lnTo>
                  <a:pt x="870" y="480"/>
                </a:lnTo>
                <a:lnTo>
                  <a:pt x="852" y="516"/>
                </a:lnTo>
                <a:lnTo>
                  <a:pt x="930" y="540"/>
                </a:lnTo>
                <a:lnTo>
                  <a:pt x="984" y="606"/>
                </a:lnTo>
                <a:lnTo>
                  <a:pt x="996" y="618"/>
                </a:lnTo>
                <a:lnTo>
                  <a:pt x="1032" y="648"/>
                </a:lnTo>
                <a:lnTo>
                  <a:pt x="1056" y="684"/>
                </a:lnTo>
                <a:lnTo>
                  <a:pt x="1068" y="702"/>
                </a:lnTo>
                <a:lnTo>
                  <a:pt x="1092" y="702"/>
                </a:lnTo>
                <a:lnTo>
                  <a:pt x="1092" y="708"/>
                </a:lnTo>
                <a:lnTo>
                  <a:pt x="1098" y="720"/>
                </a:lnTo>
                <a:lnTo>
                  <a:pt x="1098" y="726"/>
                </a:lnTo>
                <a:lnTo>
                  <a:pt x="1104" y="750"/>
                </a:lnTo>
                <a:lnTo>
                  <a:pt x="1104" y="756"/>
                </a:lnTo>
                <a:lnTo>
                  <a:pt x="1104" y="774"/>
                </a:lnTo>
                <a:lnTo>
                  <a:pt x="1104" y="786"/>
                </a:lnTo>
                <a:lnTo>
                  <a:pt x="1098" y="798"/>
                </a:lnTo>
                <a:lnTo>
                  <a:pt x="1092" y="834"/>
                </a:lnTo>
                <a:lnTo>
                  <a:pt x="1086" y="840"/>
                </a:lnTo>
                <a:lnTo>
                  <a:pt x="1080" y="846"/>
                </a:lnTo>
                <a:lnTo>
                  <a:pt x="1074" y="870"/>
                </a:lnTo>
                <a:lnTo>
                  <a:pt x="1068" y="882"/>
                </a:lnTo>
                <a:lnTo>
                  <a:pt x="1068" y="894"/>
                </a:lnTo>
                <a:lnTo>
                  <a:pt x="1068" y="900"/>
                </a:lnTo>
                <a:lnTo>
                  <a:pt x="1068" y="918"/>
                </a:lnTo>
                <a:lnTo>
                  <a:pt x="1074" y="936"/>
                </a:lnTo>
                <a:lnTo>
                  <a:pt x="1146" y="936"/>
                </a:lnTo>
                <a:lnTo>
                  <a:pt x="1146" y="948"/>
                </a:lnTo>
                <a:lnTo>
                  <a:pt x="1152" y="990"/>
                </a:lnTo>
                <a:lnTo>
                  <a:pt x="1152" y="996"/>
                </a:lnTo>
                <a:lnTo>
                  <a:pt x="1152" y="1014"/>
                </a:lnTo>
                <a:lnTo>
                  <a:pt x="1152" y="1020"/>
                </a:lnTo>
                <a:lnTo>
                  <a:pt x="1152" y="1032"/>
                </a:lnTo>
                <a:lnTo>
                  <a:pt x="1152" y="1038"/>
                </a:lnTo>
                <a:lnTo>
                  <a:pt x="1152" y="1044"/>
                </a:lnTo>
                <a:lnTo>
                  <a:pt x="1152" y="1050"/>
                </a:lnTo>
                <a:lnTo>
                  <a:pt x="1158" y="1062"/>
                </a:lnTo>
                <a:lnTo>
                  <a:pt x="1158" y="1080"/>
                </a:lnTo>
                <a:lnTo>
                  <a:pt x="1158" y="1086"/>
                </a:lnTo>
                <a:lnTo>
                  <a:pt x="1158" y="1092"/>
                </a:lnTo>
                <a:lnTo>
                  <a:pt x="1158" y="1098"/>
                </a:lnTo>
                <a:lnTo>
                  <a:pt x="1158" y="1110"/>
                </a:lnTo>
                <a:lnTo>
                  <a:pt x="1158" y="1116"/>
                </a:lnTo>
                <a:lnTo>
                  <a:pt x="1158" y="1122"/>
                </a:lnTo>
                <a:lnTo>
                  <a:pt x="1158" y="1134"/>
                </a:lnTo>
                <a:lnTo>
                  <a:pt x="1158" y="1164"/>
                </a:lnTo>
                <a:lnTo>
                  <a:pt x="1158" y="1170"/>
                </a:lnTo>
                <a:lnTo>
                  <a:pt x="1158" y="1182"/>
                </a:lnTo>
                <a:lnTo>
                  <a:pt x="1158" y="1188"/>
                </a:lnTo>
                <a:lnTo>
                  <a:pt x="1158" y="1194"/>
                </a:lnTo>
                <a:lnTo>
                  <a:pt x="1158" y="1200"/>
                </a:lnTo>
                <a:lnTo>
                  <a:pt x="1158" y="1206"/>
                </a:lnTo>
                <a:lnTo>
                  <a:pt x="1158" y="1218"/>
                </a:lnTo>
                <a:lnTo>
                  <a:pt x="1158" y="1230"/>
                </a:lnTo>
                <a:lnTo>
                  <a:pt x="1158" y="1236"/>
                </a:lnTo>
                <a:lnTo>
                  <a:pt x="1158" y="1242"/>
                </a:lnTo>
                <a:lnTo>
                  <a:pt x="1152" y="1242"/>
                </a:lnTo>
                <a:lnTo>
                  <a:pt x="1152" y="1248"/>
                </a:lnTo>
                <a:lnTo>
                  <a:pt x="1146" y="1254"/>
                </a:lnTo>
                <a:lnTo>
                  <a:pt x="1140" y="1254"/>
                </a:lnTo>
                <a:lnTo>
                  <a:pt x="1140" y="1260"/>
                </a:lnTo>
                <a:lnTo>
                  <a:pt x="1134" y="1260"/>
                </a:lnTo>
                <a:lnTo>
                  <a:pt x="1128" y="1266"/>
                </a:lnTo>
                <a:lnTo>
                  <a:pt x="1122" y="1272"/>
                </a:lnTo>
                <a:lnTo>
                  <a:pt x="1116" y="1272"/>
                </a:lnTo>
                <a:lnTo>
                  <a:pt x="1116" y="1278"/>
                </a:lnTo>
                <a:lnTo>
                  <a:pt x="1110" y="1278"/>
                </a:lnTo>
                <a:lnTo>
                  <a:pt x="1104" y="1278"/>
                </a:lnTo>
                <a:lnTo>
                  <a:pt x="1098" y="1278"/>
                </a:lnTo>
                <a:lnTo>
                  <a:pt x="1092" y="1278"/>
                </a:lnTo>
                <a:lnTo>
                  <a:pt x="1086" y="1278"/>
                </a:lnTo>
                <a:lnTo>
                  <a:pt x="1080" y="1278"/>
                </a:lnTo>
                <a:lnTo>
                  <a:pt x="1074" y="1278"/>
                </a:lnTo>
                <a:lnTo>
                  <a:pt x="1074" y="1284"/>
                </a:lnTo>
                <a:lnTo>
                  <a:pt x="1068" y="1290"/>
                </a:lnTo>
                <a:lnTo>
                  <a:pt x="1062" y="1296"/>
                </a:lnTo>
                <a:lnTo>
                  <a:pt x="1068" y="1296"/>
                </a:lnTo>
                <a:lnTo>
                  <a:pt x="1062" y="1296"/>
                </a:lnTo>
                <a:lnTo>
                  <a:pt x="1056" y="1296"/>
                </a:lnTo>
                <a:lnTo>
                  <a:pt x="1050" y="1302"/>
                </a:lnTo>
                <a:lnTo>
                  <a:pt x="1044" y="1308"/>
                </a:lnTo>
                <a:lnTo>
                  <a:pt x="1038" y="1308"/>
                </a:lnTo>
                <a:lnTo>
                  <a:pt x="1038" y="1314"/>
                </a:lnTo>
                <a:lnTo>
                  <a:pt x="1032" y="1314"/>
                </a:lnTo>
                <a:lnTo>
                  <a:pt x="1032" y="1320"/>
                </a:lnTo>
                <a:lnTo>
                  <a:pt x="1026" y="1320"/>
                </a:lnTo>
                <a:lnTo>
                  <a:pt x="1020" y="1320"/>
                </a:lnTo>
                <a:lnTo>
                  <a:pt x="1014" y="1320"/>
                </a:lnTo>
                <a:lnTo>
                  <a:pt x="1008" y="1320"/>
                </a:lnTo>
                <a:lnTo>
                  <a:pt x="1002" y="1320"/>
                </a:lnTo>
                <a:lnTo>
                  <a:pt x="1002" y="1314"/>
                </a:lnTo>
                <a:lnTo>
                  <a:pt x="1002" y="1308"/>
                </a:lnTo>
                <a:lnTo>
                  <a:pt x="996" y="1302"/>
                </a:lnTo>
                <a:lnTo>
                  <a:pt x="996" y="1296"/>
                </a:lnTo>
                <a:lnTo>
                  <a:pt x="996" y="1290"/>
                </a:lnTo>
                <a:lnTo>
                  <a:pt x="990" y="1290"/>
                </a:lnTo>
                <a:lnTo>
                  <a:pt x="984" y="1290"/>
                </a:lnTo>
                <a:lnTo>
                  <a:pt x="984" y="1284"/>
                </a:lnTo>
                <a:lnTo>
                  <a:pt x="978" y="1284"/>
                </a:lnTo>
                <a:lnTo>
                  <a:pt x="972" y="1290"/>
                </a:lnTo>
                <a:lnTo>
                  <a:pt x="972" y="1296"/>
                </a:lnTo>
                <a:lnTo>
                  <a:pt x="960" y="1290"/>
                </a:lnTo>
                <a:lnTo>
                  <a:pt x="960" y="1284"/>
                </a:lnTo>
                <a:lnTo>
                  <a:pt x="954" y="1284"/>
                </a:lnTo>
                <a:lnTo>
                  <a:pt x="948" y="1284"/>
                </a:lnTo>
                <a:lnTo>
                  <a:pt x="942" y="1284"/>
                </a:lnTo>
                <a:lnTo>
                  <a:pt x="936" y="1284"/>
                </a:lnTo>
                <a:lnTo>
                  <a:pt x="930" y="1284"/>
                </a:lnTo>
                <a:lnTo>
                  <a:pt x="930" y="1290"/>
                </a:lnTo>
                <a:lnTo>
                  <a:pt x="924" y="1290"/>
                </a:lnTo>
                <a:lnTo>
                  <a:pt x="918" y="1296"/>
                </a:lnTo>
                <a:lnTo>
                  <a:pt x="912" y="1296"/>
                </a:lnTo>
                <a:lnTo>
                  <a:pt x="912" y="1290"/>
                </a:lnTo>
                <a:lnTo>
                  <a:pt x="912" y="1296"/>
                </a:lnTo>
                <a:lnTo>
                  <a:pt x="906" y="1296"/>
                </a:lnTo>
                <a:lnTo>
                  <a:pt x="900" y="1302"/>
                </a:lnTo>
                <a:lnTo>
                  <a:pt x="894" y="1296"/>
                </a:lnTo>
                <a:lnTo>
                  <a:pt x="888" y="1296"/>
                </a:lnTo>
                <a:lnTo>
                  <a:pt x="882" y="1296"/>
                </a:lnTo>
                <a:lnTo>
                  <a:pt x="876" y="1290"/>
                </a:lnTo>
                <a:lnTo>
                  <a:pt x="870" y="1290"/>
                </a:lnTo>
                <a:lnTo>
                  <a:pt x="870" y="1296"/>
                </a:lnTo>
                <a:lnTo>
                  <a:pt x="864" y="1296"/>
                </a:lnTo>
                <a:lnTo>
                  <a:pt x="858" y="1290"/>
                </a:lnTo>
                <a:lnTo>
                  <a:pt x="852" y="1290"/>
                </a:lnTo>
                <a:lnTo>
                  <a:pt x="852" y="1296"/>
                </a:lnTo>
                <a:lnTo>
                  <a:pt x="846" y="1302"/>
                </a:lnTo>
                <a:lnTo>
                  <a:pt x="840" y="1302"/>
                </a:lnTo>
                <a:lnTo>
                  <a:pt x="840" y="1296"/>
                </a:lnTo>
                <a:lnTo>
                  <a:pt x="840" y="1302"/>
                </a:lnTo>
                <a:lnTo>
                  <a:pt x="840" y="1308"/>
                </a:lnTo>
                <a:lnTo>
                  <a:pt x="834" y="1308"/>
                </a:lnTo>
                <a:lnTo>
                  <a:pt x="828" y="1308"/>
                </a:lnTo>
                <a:lnTo>
                  <a:pt x="834" y="1314"/>
                </a:lnTo>
                <a:lnTo>
                  <a:pt x="828" y="1314"/>
                </a:lnTo>
                <a:lnTo>
                  <a:pt x="828" y="1320"/>
                </a:lnTo>
                <a:lnTo>
                  <a:pt x="834" y="1326"/>
                </a:lnTo>
                <a:lnTo>
                  <a:pt x="840" y="1326"/>
                </a:lnTo>
                <a:lnTo>
                  <a:pt x="840" y="1332"/>
                </a:lnTo>
                <a:lnTo>
                  <a:pt x="834" y="1332"/>
                </a:lnTo>
                <a:lnTo>
                  <a:pt x="828" y="1332"/>
                </a:lnTo>
                <a:lnTo>
                  <a:pt x="834" y="1338"/>
                </a:lnTo>
                <a:lnTo>
                  <a:pt x="834" y="1344"/>
                </a:lnTo>
                <a:lnTo>
                  <a:pt x="828" y="1344"/>
                </a:lnTo>
                <a:lnTo>
                  <a:pt x="822" y="1344"/>
                </a:lnTo>
                <a:lnTo>
                  <a:pt x="828" y="1350"/>
                </a:lnTo>
                <a:lnTo>
                  <a:pt x="822" y="1356"/>
                </a:lnTo>
                <a:lnTo>
                  <a:pt x="828" y="1362"/>
                </a:lnTo>
                <a:lnTo>
                  <a:pt x="834" y="1362"/>
                </a:lnTo>
                <a:lnTo>
                  <a:pt x="834" y="1368"/>
                </a:lnTo>
                <a:lnTo>
                  <a:pt x="834" y="1374"/>
                </a:lnTo>
                <a:lnTo>
                  <a:pt x="828" y="1374"/>
                </a:lnTo>
                <a:lnTo>
                  <a:pt x="822" y="1380"/>
                </a:lnTo>
                <a:lnTo>
                  <a:pt x="828" y="1386"/>
                </a:lnTo>
                <a:lnTo>
                  <a:pt x="828" y="1392"/>
                </a:lnTo>
                <a:lnTo>
                  <a:pt x="828" y="1398"/>
                </a:lnTo>
                <a:lnTo>
                  <a:pt x="828" y="1404"/>
                </a:lnTo>
                <a:lnTo>
                  <a:pt x="822" y="1404"/>
                </a:lnTo>
                <a:lnTo>
                  <a:pt x="822" y="1410"/>
                </a:lnTo>
                <a:lnTo>
                  <a:pt x="816" y="1410"/>
                </a:lnTo>
                <a:lnTo>
                  <a:pt x="810" y="1410"/>
                </a:lnTo>
                <a:lnTo>
                  <a:pt x="804" y="1410"/>
                </a:lnTo>
                <a:lnTo>
                  <a:pt x="804" y="1416"/>
                </a:lnTo>
                <a:lnTo>
                  <a:pt x="804" y="1422"/>
                </a:lnTo>
                <a:lnTo>
                  <a:pt x="804" y="1428"/>
                </a:lnTo>
                <a:lnTo>
                  <a:pt x="804" y="1422"/>
                </a:lnTo>
                <a:lnTo>
                  <a:pt x="798" y="1422"/>
                </a:lnTo>
                <a:lnTo>
                  <a:pt x="792" y="1422"/>
                </a:lnTo>
                <a:lnTo>
                  <a:pt x="792" y="1428"/>
                </a:lnTo>
                <a:lnTo>
                  <a:pt x="792" y="1434"/>
                </a:lnTo>
                <a:lnTo>
                  <a:pt x="792" y="1440"/>
                </a:lnTo>
                <a:lnTo>
                  <a:pt x="786" y="1440"/>
                </a:lnTo>
                <a:lnTo>
                  <a:pt x="780" y="1440"/>
                </a:lnTo>
                <a:lnTo>
                  <a:pt x="780" y="1446"/>
                </a:lnTo>
                <a:lnTo>
                  <a:pt x="774" y="1452"/>
                </a:lnTo>
                <a:lnTo>
                  <a:pt x="708" y="1452"/>
                </a:lnTo>
                <a:lnTo>
                  <a:pt x="738" y="1350"/>
                </a:lnTo>
                <a:lnTo>
                  <a:pt x="642" y="1296"/>
                </a:lnTo>
                <a:lnTo>
                  <a:pt x="630" y="1236"/>
                </a:lnTo>
                <a:lnTo>
                  <a:pt x="606" y="1152"/>
                </a:lnTo>
                <a:lnTo>
                  <a:pt x="600" y="1140"/>
                </a:lnTo>
                <a:lnTo>
                  <a:pt x="594" y="1134"/>
                </a:lnTo>
                <a:lnTo>
                  <a:pt x="588" y="1134"/>
                </a:lnTo>
                <a:lnTo>
                  <a:pt x="576" y="1128"/>
                </a:lnTo>
                <a:lnTo>
                  <a:pt x="558" y="1122"/>
                </a:lnTo>
                <a:lnTo>
                  <a:pt x="522" y="1110"/>
                </a:lnTo>
                <a:lnTo>
                  <a:pt x="516" y="1122"/>
                </a:lnTo>
                <a:lnTo>
                  <a:pt x="510" y="1128"/>
                </a:lnTo>
                <a:lnTo>
                  <a:pt x="450" y="1158"/>
                </a:lnTo>
                <a:lnTo>
                  <a:pt x="414" y="1200"/>
                </a:lnTo>
                <a:lnTo>
                  <a:pt x="396" y="1182"/>
                </a:lnTo>
                <a:lnTo>
                  <a:pt x="390" y="1176"/>
                </a:lnTo>
                <a:lnTo>
                  <a:pt x="378" y="1170"/>
                </a:lnTo>
                <a:lnTo>
                  <a:pt x="366" y="1158"/>
                </a:lnTo>
                <a:lnTo>
                  <a:pt x="366" y="1146"/>
                </a:lnTo>
                <a:lnTo>
                  <a:pt x="360" y="1140"/>
                </a:lnTo>
                <a:lnTo>
                  <a:pt x="360" y="1134"/>
                </a:lnTo>
                <a:lnTo>
                  <a:pt x="354" y="1128"/>
                </a:lnTo>
                <a:lnTo>
                  <a:pt x="354" y="1122"/>
                </a:lnTo>
                <a:lnTo>
                  <a:pt x="348" y="1116"/>
                </a:lnTo>
                <a:lnTo>
                  <a:pt x="348" y="1110"/>
                </a:lnTo>
                <a:lnTo>
                  <a:pt x="348" y="1098"/>
                </a:lnTo>
                <a:lnTo>
                  <a:pt x="342" y="1092"/>
                </a:lnTo>
                <a:lnTo>
                  <a:pt x="342" y="1086"/>
                </a:lnTo>
                <a:lnTo>
                  <a:pt x="336" y="1080"/>
                </a:lnTo>
                <a:lnTo>
                  <a:pt x="336" y="1068"/>
                </a:lnTo>
                <a:lnTo>
                  <a:pt x="336" y="1062"/>
                </a:lnTo>
                <a:lnTo>
                  <a:pt x="330" y="1062"/>
                </a:lnTo>
                <a:lnTo>
                  <a:pt x="324" y="1056"/>
                </a:lnTo>
                <a:lnTo>
                  <a:pt x="318" y="1044"/>
                </a:lnTo>
                <a:lnTo>
                  <a:pt x="318" y="1038"/>
                </a:lnTo>
                <a:lnTo>
                  <a:pt x="318" y="1026"/>
                </a:lnTo>
                <a:lnTo>
                  <a:pt x="312" y="1020"/>
                </a:lnTo>
                <a:lnTo>
                  <a:pt x="312" y="1014"/>
                </a:lnTo>
                <a:lnTo>
                  <a:pt x="300" y="1014"/>
                </a:lnTo>
                <a:lnTo>
                  <a:pt x="270" y="1014"/>
                </a:lnTo>
                <a:lnTo>
                  <a:pt x="258" y="1014"/>
                </a:lnTo>
                <a:lnTo>
                  <a:pt x="120" y="960"/>
                </a:lnTo>
                <a:lnTo>
                  <a:pt x="96" y="942"/>
                </a:lnTo>
                <a:lnTo>
                  <a:pt x="96" y="936"/>
                </a:lnTo>
                <a:lnTo>
                  <a:pt x="90" y="936"/>
                </a:lnTo>
                <a:lnTo>
                  <a:pt x="84" y="936"/>
                </a:lnTo>
                <a:lnTo>
                  <a:pt x="78" y="930"/>
                </a:lnTo>
                <a:lnTo>
                  <a:pt x="72" y="930"/>
                </a:lnTo>
                <a:lnTo>
                  <a:pt x="66" y="930"/>
                </a:lnTo>
                <a:lnTo>
                  <a:pt x="66" y="924"/>
                </a:lnTo>
                <a:lnTo>
                  <a:pt x="60" y="924"/>
                </a:lnTo>
                <a:lnTo>
                  <a:pt x="54" y="924"/>
                </a:lnTo>
                <a:lnTo>
                  <a:pt x="54" y="930"/>
                </a:lnTo>
                <a:lnTo>
                  <a:pt x="48" y="930"/>
                </a:lnTo>
                <a:lnTo>
                  <a:pt x="42" y="930"/>
                </a:lnTo>
                <a:lnTo>
                  <a:pt x="36" y="930"/>
                </a:lnTo>
                <a:lnTo>
                  <a:pt x="30" y="930"/>
                </a:lnTo>
                <a:lnTo>
                  <a:pt x="24" y="930"/>
                </a:lnTo>
                <a:lnTo>
                  <a:pt x="18" y="930"/>
                </a:lnTo>
                <a:lnTo>
                  <a:pt x="12" y="930"/>
                </a:lnTo>
                <a:lnTo>
                  <a:pt x="6" y="930"/>
                </a:lnTo>
                <a:lnTo>
                  <a:pt x="0" y="930"/>
                </a:lnTo>
                <a:lnTo>
                  <a:pt x="6" y="846"/>
                </a:lnTo>
                <a:lnTo>
                  <a:pt x="24" y="858"/>
                </a:lnTo>
                <a:lnTo>
                  <a:pt x="48" y="846"/>
                </a:lnTo>
                <a:lnTo>
                  <a:pt x="174" y="846"/>
                </a:lnTo>
                <a:lnTo>
                  <a:pt x="192" y="840"/>
                </a:lnTo>
                <a:lnTo>
                  <a:pt x="198" y="840"/>
                </a:lnTo>
                <a:lnTo>
                  <a:pt x="258" y="762"/>
                </a:lnTo>
                <a:lnTo>
                  <a:pt x="270" y="750"/>
                </a:lnTo>
                <a:lnTo>
                  <a:pt x="324" y="690"/>
                </a:lnTo>
                <a:lnTo>
                  <a:pt x="354" y="654"/>
                </a:lnTo>
                <a:lnTo>
                  <a:pt x="372" y="636"/>
                </a:lnTo>
                <a:lnTo>
                  <a:pt x="420" y="546"/>
                </a:lnTo>
                <a:lnTo>
                  <a:pt x="480" y="510"/>
                </a:lnTo>
                <a:lnTo>
                  <a:pt x="582" y="408"/>
                </a:lnTo>
                <a:lnTo>
                  <a:pt x="564" y="372"/>
                </a:lnTo>
                <a:lnTo>
                  <a:pt x="558" y="348"/>
                </a:lnTo>
                <a:lnTo>
                  <a:pt x="558" y="180"/>
                </a:lnTo>
                <a:lnTo>
                  <a:pt x="480" y="108"/>
                </a:lnTo>
                <a:lnTo>
                  <a:pt x="576" y="108"/>
                </a:lnTo>
                <a:lnTo>
                  <a:pt x="672" y="108"/>
                </a:lnTo>
                <a:lnTo>
                  <a:pt x="672" y="102"/>
                </a:lnTo>
                <a:lnTo>
                  <a:pt x="672" y="96"/>
                </a:lnTo>
                <a:lnTo>
                  <a:pt x="672" y="90"/>
                </a:lnTo>
                <a:lnTo>
                  <a:pt x="672" y="84"/>
                </a:lnTo>
                <a:lnTo>
                  <a:pt x="678" y="78"/>
                </a:lnTo>
                <a:lnTo>
                  <a:pt x="678" y="72"/>
                </a:lnTo>
                <a:lnTo>
                  <a:pt x="678" y="66"/>
                </a:lnTo>
                <a:lnTo>
                  <a:pt x="678" y="60"/>
                </a:lnTo>
                <a:lnTo>
                  <a:pt x="678" y="54"/>
                </a:lnTo>
                <a:lnTo>
                  <a:pt x="678" y="48"/>
                </a:lnTo>
                <a:lnTo>
                  <a:pt x="672" y="48"/>
                </a:lnTo>
                <a:lnTo>
                  <a:pt x="672" y="42"/>
                </a:lnTo>
                <a:lnTo>
                  <a:pt x="672" y="36"/>
                </a:lnTo>
                <a:lnTo>
                  <a:pt x="672" y="30"/>
                </a:lnTo>
                <a:lnTo>
                  <a:pt x="672" y="24"/>
                </a:lnTo>
                <a:lnTo>
                  <a:pt x="672" y="18"/>
                </a:lnTo>
                <a:lnTo>
                  <a:pt x="672" y="12"/>
                </a:lnTo>
                <a:lnTo>
                  <a:pt x="672" y="6"/>
                </a:lnTo>
                <a:lnTo>
                  <a:pt x="672" y="0"/>
                </a:ln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 w="317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 dirty="0">
              <a:latin typeface="+mn-lt"/>
            </a:endParaRPr>
          </a:p>
        </p:txBody>
      </p:sp>
      <p:sp>
        <p:nvSpPr>
          <p:cNvPr id="117" name="Freeform 8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4376847" y="2727112"/>
            <a:ext cx="513246" cy="568381"/>
          </a:xfrm>
          <a:custGeom>
            <a:avLst/>
            <a:gdLst>
              <a:gd name="T0" fmla="*/ 498 w 714"/>
              <a:gd name="T1" fmla="*/ 36 h 1104"/>
              <a:gd name="T2" fmla="*/ 708 w 714"/>
              <a:gd name="T3" fmla="*/ 180 h 1104"/>
              <a:gd name="T4" fmla="*/ 696 w 714"/>
              <a:gd name="T5" fmla="*/ 282 h 1104"/>
              <a:gd name="T6" fmla="*/ 666 w 714"/>
              <a:gd name="T7" fmla="*/ 270 h 1104"/>
              <a:gd name="T8" fmla="*/ 636 w 714"/>
              <a:gd name="T9" fmla="*/ 270 h 1104"/>
              <a:gd name="T10" fmla="*/ 612 w 714"/>
              <a:gd name="T11" fmla="*/ 270 h 1104"/>
              <a:gd name="T12" fmla="*/ 594 w 714"/>
              <a:gd name="T13" fmla="*/ 276 h 1104"/>
              <a:gd name="T14" fmla="*/ 576 w 714"/>
              <a:gd name="T15" fmla="*/ 300 h 1104"/>
              <a:gd name="T16" fmla="*/ 564 w 714"/>
              <a:gd name="T17" fmla="*/ 318 h 1104"/>
              <a:gd name="T18" fmla="*/ 564 w 714"/>
              <a:gd name="T19" fmla="*/ 336 h 1104"/>
              <a:gd name="T20" fmla="*/ 570 w 714"/>
              <a:gd name="T21" fmla="*/ 360 h 1104"/>
              <a:gd name="T22" fmla="*/ 552 w 714"/>
              <a:gd name="T23" fmla="*/ 384 h 1104"/>
              <a:gd name="T24" fmla="*/ 546 w 714"/>
              <a:gd name="T25" fmla="*/ 408 h 1104"/>
              <a:gd name="T26" fmla="*/ 528 w 714"/>
              <a:gd name="T27" fmla="*/ 426 h 1104"/>
              <a:gd name="T28" fmla="*/ 510 w 714"/>
              <a:gd name="T29" fmla="*/ 438 h 1104"/>
              <a:gd name="T30" fmla="*/ 516 w 714"/>
              <a:gd name="T31" fmla="*/ 462 h 1104"/>
              <a:gd name="T32" fmla="*/ 522 w 714"/>
              <a:gd name="T33" fmla="*/ 492 h 1104"/>
              <a:gd name="T34" fmla="*/ 534 w 714"/>
              <a:gd name="T35" fmla="*/ 510 h 1104"/>
              <a:gd name="T36" fmla="*/ 522 w 714"/>
              <a:gd name="T37" fmla="*/ 528 h 1104"/>
              <a:gd name="T38" fmla="*/ 534 w 714"/>
              <a:gd name="T39" fmla="*/ 546 h 1104"/>
              <a:gd name="T40" fmla="*/ 552 w 714"/>
              <a:gd name="T41" fmla="*/ 558 h 1104"/>
              <a:gd name="T42" fmla="*/ 540 w 714"/>
              <a:gd name="T43" fmla="*/ 576 h 1104"/>
              <a:gd name="T44" fmla="*/ 540 w 714"/>
              <a:gd name="T45" fmla="*/ 582 h 1104"/>
              <a:gd name="T46" fmla="*/ 546 w 714"/>
              <a:gd name="T47" fmla="*/ 606 h 1104"/>
              <a:gd name="T48" fmla="*/ 558 w 714"/>
              <a:gd name="T49" fmla="*/ 624 h 1104"/>
              <a:gd name="T50" fmla="*/ 570 w 714"/>
              <a:gd name="T51" fmla="*/ 642 h 1104"/>
              <a:gd name="T52" fmla="*/ 552 w 714"/>
              <a:gd name="T53" fmla="*/ 654 h 1104"/>
              <a:gd name="T54" fmla="*/ 558 w 714"/>
              <a:gd name="T55" fmla="*/ 678 h 1104"/>
              <a:gd name="T56" fmla="*/ 558 w 714"/>
              <a:gd name="T57" fmla="*/ 696 h 1104"/>
              <a:gd name="T58" fmla="*/ 552 w 714"/>
              <a:gd name="T59" fmla="*/ 708 h 1104"/>
              <a:gd name="T60" fmla="*/ 552 w 714"/>
              <a:gd name="T61" fmla="*/ 726 h 1104"/>
              <a:gd name="T62" fmla="*/ 558 w 714"/>
              <a:gd name="T63" fmla="*/ 744 h 1104"/>
              <a:gd name="T64" fmla="*/ 576 w 714"/>
              <a:gd name="T65" fmla="*/ 744 h 1104"/>
              <a:gd name="T66" fmla="*/ 582 w 714"/>
              <a:gd name="T67" fmla="*/ 768 h 1104"/>
              <a:gd name="T68" fmla="*/ 594 w 714"/>
              <a:gd name="T69" fmla="*/ 786 h 1104"/>
              <a:gd name="T70" fmla="*/ 606 w 714"/>
              <a:gd name="T71" fmla="*/ 804 h 1104"/>
              <a:gd name="T72" fmla="*/ 618 w 714"/>
              <a:gd name="T73" fmla="*/ 834 h 1104"/>
              <a:gd name="T74" fmla="*/ 624 w 714"/>
              <a:gd name="T75" fmla="*/ 846 h 1104"/>
              <a:gd name="T76" fmla="*/ 630 w 714"/>
              <a:gd name="T77" fmla="*/ 864 h 1104"/>
              <a:gd name="T78" fmla="*/ 618 w 714"/>
              <a:gd name="T79" fmla="*/ 888 h 1104"/>
              <a:gd name="T80" fmla="*/ 618 w 714"/>
              <a:gd name="T81" fmla="*/ 906 h 1104"/>
              <a:gd name="T82" fmla="*/ 630 w 714"/>
              <a:gd name="T83" fmla="*/ 924 h 1104"/>
              <a:gd name="T84" fmla="*/ 642 w 714"/>
              <a:gd name="T85" fmla="*/ 948 h 1104"/>
              <a:gd name="T86" fmla="*/ 636 w 714"/>
              <a:gd name="T87" fmla="*/ 966 h 1104"/>
              <a:gd name="T88" fmla="*/ 654 w 714"/>
              <a:gd name="T89" fmla="*/ 978 h 1104"/>
              <a:gd name="T90" fmla="*/ 666 w 714"/>
              <a:gd name="T91" fmla="*/ 996 h 1104"/>
              <a:gd name="T92" fmla="*/ 672 w 714"/>
              <a:gd name="T93" fmla="*/ 1026 h 1104"/>
              <a:gd name="T94" fmla="*/ 684 w 714"/>
              <a:gd name="T95" fmla="*/ 1050 h 1104"/>
              <a:gd name="T96" fmla="*/ 438 w 714"/>
              <a:gd name="T97" fmla="*/ 906 h 1104"/>
              <a:gd name="T98" fmla="*/ 342 w 714"/>
              <a:gd name="T99" fmla="*/ 828 h 1104"/>
              <a:gd name="T100" fmla="*/ 336 w 714"/>
              <a:gd name="T101" fmla="*/ 798 h 1104"/>
              <a:gd name="T102" fmla="*/ 306 w 714"/>
              <a:gd name="T103" fmla="*/ 630 h 1104"/>
              <a:gd name="T104" fmla="*/ 0 w 714"/>
              <a:gd name="T105" fmla="*/ 432 h 1104"/>
              <a:gd name="T106" fmla="*/ 30 w 714"/>
              <a:gd name="T107" fmla="*/ 378 h 1104"/>
              <a:gd name="T108" fmla="*/ 72 w 714"/>
              <a:gd name="T109" fmla="*/ 330 h 1104"/>
              <a:gd name="T110" fmla="*/ 30 w 714"/>
              <a:gd name="T111" fmla="*/ 282 h 1104"/>
              <a:gd name="T112" fmla="*/ 120 w 714"/>
              <a:gd name="T113" fmla="*/ 192 h 1104"/>
              <a:gd name="T114" fmla="*/ 402 w 714"/>
              <a:gd name="T115" fmla="*/ 12 h 1104"/>
              <a:gd name="connsiteX0" fmla="*/ 5798 w 10000"/>
              <a:gd name="connsiteY0" fmla="*/ 0 h 10000"/>
              <a:gd name="connsiteX1" fmla="*/ 5966 w 10000"/>
              <a:gd name="connsiteY1" fmla="*/ 0 h 10000"/>
              <a:gd name="connsiteX2" fmla="*/ 6218 w 10000"/>
              <a:gd name="connsiteY2" fmla="*/ 0 h 10000"/>
              <a:gd name="connsiteX3" fmla="*/ 6555 w 10000"/>
              <a:gd name="connsiteY3" fmla="*/ 109 h 10000"/>
              <a:gd name="connsiteX4" fmla="*/ 6975 w 10000"/>
              <a:gd name="connsiteY4" fmla="*/ 326 h 10000"/>
              <a:gd name="connsiteX5" fmla="*/ 7395 w 10000"/>
              <a:gd name="connsiteY5" fmla="*/ 489 h 10000"/>
              <a:gd name="connsiteX6" fmla="*/ 7563 w 10000"/>
              <a:gd name="connsiteY6" fmla="*/ 543 h 10000"/>
              <a:gd name="connsiteX7" fmla="*/ 8319 w 10000"/>
              <a:gd name="connsiteY7" fmla="*/ 870 h 10000"/>
              <a:gd name="connsiteX8" fmla="*/ 9076 w 10000"/>
              <a:gd name="connsiteY8" fmla="*/ 1141 h 10000"/>
              <a:gd name="connsiteX9" fmla="*/ 9916 w 10000"/>
              <a:gd name="connsiteY9" fmla="*/ 1630 h 10000"/>
              <a:gd name="connsiteX10" fmla="*/ 10000 w 10000"/>
              <a:gd name="connsiteY10" fmla="*/ 1685 h 10000"/>
              <a:gd name="connsiteX11" fmla="*/ 9916 w 10000"/>
              <a:gd name="connsiteY11" fmla="*/ 2446 h 10000"/>
              <a:gd name="connsiteX12" fmla="*/ 9832 w 10000"/>
              <a:gd name="connsiteY12" fmla="*/ 2446 h 10000"/>
              <a:gd name="connsiteX13" fmla="*/ 9832 w 10000"/>
              <a:gd name="connsiteY13" fmla="*/ 2554 h 10000"/>
              <a:gd name="connsiteX14" fmla="*/ 9748 w 10000"/>
              <a:gd name="connsiteY14" fmla="*/ 2554 h 10000"/>
              <a:gd name="connsiteX15" fmla="*/ 9664 w 10000"/>
              <a:gd name="connsiteY15" fmla="*/ 2500 h 10000"/>
              <a:gd name="connsiteX16" fmla="*/ 9580 w 10000"/>
              <a:gd name="connsiteY16" fmla="*/ 2500 h 10000"/>
              <a:gd name="connsiteX17" fmla="*/ 9580 w 10000"/>
              <a:gd name="connsiteY17" fmla="*/ 2446 h 10000"/>
              <a:gd name="connsiteX18" fmla="*/ 9496 w 10000"/>
              <a:gd name="connsiteY18" fmla="*/ 2446 h 10000"/>
              <a:gd name="connsiteX19" fmla="*/ 9328 w 10000"/>
              <a:gd name="connsiteY19" fmla="*/ 2446 h 10000"/>
              <a:gd name="connsiteX20" fmla="*/ 9244 w 10000"/>
              <a:gd name="connsiteY20" fmla="*/ 2446 h 10000"/>
              <a:gd name="connsiteX21" fmla="*/ 9160 w 10000"/>
              <a:gd name="connsiteY21" fmla="*/ 2446 h 10000"/>
              <a:gd name="connsiteX22" fmla="*/ 9076 w 10000"/>
              <a:gd name="connsiteY22" fmla="*/ 2446 h 10000"/>
              <a:gd name="connsiteX23" fmla="*/ 8992 w 10000"/>
              <a:gd name="connsiteY23" fmla="*/ 2446 h 10000"/>
              <a:gd name="connsiteX24" fmla="*/ 8908 w 10000"/>
              <a:gd name="connsiteY24" fmla="*/ 2446 h 10000"/>
              <a:gd name="connsiteX25" fmla="*/ 8824 w 10000"/>
              <a:gd name="connsiteY25" fmla="*/ 2446 h 10000"/>
              <a:gd name="connsiteX26" fmla="*/ 8739 w 10000"/>
              <a:gd name="connsiteY26" fmla="*/ 2391 h 10000"/>
              <a:gd name="connsiteX27" fmla="*/ 8655 w 10000"/>
              <a:gd name="connsiteY27" fmla="*/ 2391 h 10000"/>
              <a:gd name="connsiteX28" fmla="*/ 8655 w 10000"/>
              <a:gd name="connsiteY28" fmla="*/ 2446 h 10000"/>
              <a:gd name="connsiteX29" fmla="*/ 8571 w 10000"/>
              <a:gd name="connsiteY29" fmla="*/ 2446 h 10000"/>
              <a:gd name="connsiteX30" fmla="*/ 8487 w 10000"/>
              <a:gd name="connsiteY30" fmla="*/ 2500 h 10000"/>
              <a:gd name="connsiteX31" fmla="*/ 8487 w 10000"/>
              <a:gd name="connsiteY31" fmla="*/ 2446 h 10000"/>
              <a:gd name="connsiteX32" fmla="*/ 8403 w 10000"/>
              <a:gd name="connsiteY32" fmla="*/ 2446 h 10000"/>
              <a:gd name="connsiteX33" fmla="*/ 8403 w 10000"/>
              <a:gd name="connsiteY33" fmla="*/ 2500 h 10000"/>
              <a:gd name="connsiteX34" fmla="*/ 8319 w 10000"/>
              <a:gd name="connsiteY34" fmla="*/ 2500 h 10000"/>
              <a:gd name="connsiteX35" fmla="*/ 8235 w 10000"/>
              <a:gd name="connsiteY35" fmla="*/ 2554 h 10000"/>
              <a:gd name="connsiteX36" fmla="*/ 8151 w 10000"/>
              <a:gd name="connsiteY36" fmla="*/ 2609 h 10000"/>
              <a:gd name="connsiteX37" fmla="*/ 8151 w 10000"/>
              <a:gd name="connsiteY37" fmla="*/ 2663 h 10000"/>
              <a:gd name="connsiteX38" fmla="*/ 8151 w 10000"/>
              <a:gd name="connsiteY38" fmla="*/ 2717 h 10000"/>
              <a:gd name="connsiteX39" fmla="*/ 8067 w 10000"/>
              <a:gd name="connsiteY39" fmla="*/ 2717 h 10000"/>
              <a:gd name="connsiteX40" fmla="*/ 7983 w 10000"/>
              <a:gd name="connsiteY40" fmla="*/ 2717 h 10000"/>
              <a:gd name="connsiteX41" fmla="*/ 7983 w 10000"/>
              <a:gd name="connsiteY41" fmla="*/ 2772 h 10000"/>
              <a:gd name="connsiteX42" fmla="*/ 7983 w 10000"/>
              <a:gd name="connsiteY42" fmla="*/ 2826 h 10000"/>
              <a:gd name="connsiteX43" fmla="*/ 7983 w 10000"/>
              <a:gd name="connsiteY43" fmla="*/ 2880 h 10000"/>
              <a:gd name="connsiteX44" fmla="*/ 7899 w 10000"/>
              <a:gd name="connsiteY44" fmla="*/ 2880 h 10000"/>
              <a:gd name="connsiteX45" fmla="*/ 7815 w 10000"/>
              <a:gd name="connsiteY45" fmla="*/ 2880 h 10000"/>
              <a:gd name="connsiteX46" fmla="*/ 7815 w 10000"/>
              <a:gd name="connsiteY46" fmla="*/ 2935 h 10000"/>
              <a:gd name="connsiteX47" fmla="*/ 7815 w 10000"/>
              <a:gd name="connsiteY47" fmla="*/ 2989 h 10000"/>
              <a:gd name="connsiteX48" fmla="*/ 7815 w 10000"/>
              <a:gd name="connsiteY48" fmla="*/ 3043 h 10000"/>
              <a:gd name="connsiteX49" fmla="*/ 7899 w 10000"/>
              <a:gd name="connsiteY49" fmla="*/ 3043 h 10000"/>
              <a:gd name="connsiteX50" fmla="*/ 7983 w 10000"/>
              <a:gd name="connsiteY50" fmla="*/ 3043 h 10000"/>
              <a:gd name="connsiteX51" fmla="*/ 7983 w 10000"/>
              <a:gd name="connsiteY51" fmla="*/ 3098 h 10000"/>
              <a:gd name="connsiteX52" fmla="*/ 7983 w 10000"/>
              <a:gd name="connsiteY52" fmla="*/ 3152 h 10000"/>
              <a:gd name="connsiteX53" fmla="*/ 7983 w 10000"/>
              <a:gd name="connsiteY53" fmla="*/ 3207 h 10000"/>
              <a:gd name="connsiteX54" fmla="*/ 7983 w 10000"/>
              <a:gd name="connsiteY54" fmla="*/ 3261 h 10000"/>
              <a:gd name="connsiteX55" fmla="*/ 7983 w 10000"/>
              <a:gd name="connsiteY55" fmla="*/ 3315 h 10000"/>
              <a:gd name="connsiteX56" fmla="*/ 7899 w 10000"/>
              <a:gd name="connsiteY56" fmla="*/ 3370 h 10000"/>
              <a:gd name="connsiteX57" fmla="*/ 7899 w 10000"/>
              <a:gd name="connsiteY57" fmla="*/ 3424 h 10000"/>
              <a:gd name="connsiteX58" fmla="*/ 7815 w 10000"/>
              <a:gd name="connsiteY58" fmla="*/ 3424 h 10000"/>
              <a:gd name="connsiteX59" fmla="*/ 7731 w 10000"/>
              <a:gd name="connsiteY59" fmla="*/ 3478 h 10000"/>
              <a:gd name="connsiteX60" fmla="*/ 7731 w 10000"/>
              <a:gd name="connsiteY60" fmla="*/ 3533 h 10000"/>
              <a:gd name="connsiteX61" fmla="*/ 7731 w 10000"/>
              <a:gd name="connsiteY61" fmla="*/ 3587 h 10000"/>
              <a:gd name="connsiteX62" fmla="*/ 7731 w 10000"/>
              <a:gd name="connsiteY62" fmla="*/ 3641 h 10000"/>
              <a:gd name="connsiteX63" fmla="*/ 7731 w 10000"/>
              <a:gd name="connsiteY63" fmla="*/ 3696 h 10000"/>
              <a:gd name="connsiteX64" fmla="*/ 7647 w 10000"/>
              <a:gd name="connsiteY64" fmla="*/ 3696 h 10000"/>
              <a:gd name="connsiteX65" fmla="*/ 7563 w 10000"/>
              <a:gd name="connsiteY65" fmla="*/ 3750 h 10000"/>
              <a:gd name="connsiteX66" fmla="*/ 7479 w 10000"/>
              <a:gd name="connsiteY66" fmla="*/ 3750 h 10000"/>
              <a:gd name="connsiteX67" fmla="*/ 7479 w 10000"/>
              <a:gd name="connsiteY67" fmla="*/ 3804 h 10000"/>
              <a:gd name="connsiteX68" fmla="*/ 7479 w 10000"/>
              <a:gd name="connsiteY68" fmla="*/ 3859 h 10000"/>
              <a:gd name="connsiteX69" fmla="*/ 7395 w 10000"/>
              <a:gd name="connsiteY69" fmla="*/ 3859 h 10000"/>
              <a:gd name="connsiteX70" fmla="*/ 7395 w 10000"/>
              <a:gd name="connsiteY70" fmla="*/ 3913 h 10000"/>
              <a:gd name="connsiteX71" fmla="*/ 7311 w 10000"/>
              <a:gd name="connsiteY71" fmla="*/ 3913 h 10000"/>
              <a:gd name="connsiteX72" fmla="*/ 7227 w 10000"/>
              <a:gd name="connsiteY72" fmla="*/ 3913 h 10000"/>
              <a:gd name="connsiteX73" fmla="*/ 7227 w 10000"/>
              <a:gd name="connsiteY73" fmla="*/ 3967 h 10000"/>
              <a:gd name="connsiteX74" fmla="*/ 7143 w 10000"/>
              <a:gd name="connsiteY74" fmla="*/ 3967 h 10000"/>
              <a:gd name="connsiteX75" fmla="*/ 7143 w 10000"/>
              <a:gd name="connsiteY75" fmla="*/ 4022 h 10000"/>
              <a:gd name="connsiteX76" fmla="*/ 7143 w 10000"/>
              <a:gd name="connsiteY76" fmla="*/ 4076 h 10000"/>
              <a:gd name="connsiteX77" fmla="*/ 7143 w 10000"/>
              <a:gd name="connsiteY77" fmla="*/ 4130 h 10000"/>
              <a:gd name="connsiteX78" fmla="*/ 7227 w 10000"/>
              <a:gd name="connsiteY78" fmla="*/ 4130 h 10000"/>
              <a:gd name="connsiteX79" fmla="*/ 7227 w 10000"/>
              <a:gd name="connsiteY79" fmla="*/ 4185 h 10000"/>
              <a:gd name="connsiteX80" fmla="*/ 7227 w 10000"/>
              <a:gd name="connsiteY80" fmla="*/ 4239 h 10000"/>
              <a:gd name="connsiteX81" fmla="*/ 7227 w 10000"/>
              <a:gd name="connsiteY81" fmla="*/ 4293 h 10000"/>
              <a:gd name="connsiteX82" fmla="*/ 7227 w 10000"/>
              <a:gd name="connsiteY82" fmla="*/ 4348 h 10000"/>
              <a:gd name="connsiteX83" fmla="*/ 7311 w 10000"/>
              <a:gd name="connsiteY83" fmla="*/ 4402 h 10000"/>
              <a:gd name="connsiteX84" fmla="*/ 7311 w 10000"/>
              <a:gd name="connsiteY84" fmla="*/ 4457 h 10000"/>
              <a:gd name="connsiteX85" fmla="*/ 7311 w 10000"/>
              <a:gd name="connsiteY85" fmla="*/ 4511 h 10000"/>
              <a:gd name="connsiteX86" fmla="*/ 7311 w 10000"/>
              <a:gd name="connsiteY86" fmla="*/ 4565 h 10000"/>
              <a:gd name="connsiteX87" fmla="*/ 7311 w 10000"/>
              <a:gd name="connsiteY87" fmla="*/ 4620 h 10000"/>
              <a:gd name="connsiteX88" fmla="*/ 7395 w 10000"/>
              <a:gd name="connsiteY88" fmla="*/ 4620 h 10000"/>
              <a:gd name="connsiteX89" fmla="*/ 7479 w 10000"/>
              <a:gd name="connsiteY89" fmla="*/ 4620 h 10000"/>
              <a:gd name="connsiteX90" fmla="*/ 7479 w 10000"/>
              <a:gd name="connsiteY90" fmla="*/ 4674 h 10000"/>
              <a:gd name="connsiteX91" fmla="*/ 7395 w 10000"/>
              <a:gd name="connsiteY91" fmla="*/ 4674 h 10000"/>
              <a:gd name="connsiteX92" fmla="*/ 7395 w 10000"/>
              <a:gd name="connsiteY92" fmla="*/ 4728 h 10000"/>
              <a:gd name="connsiteX93" fmla="*/ 7311 w 10000"/>
              <a:gd name="connsiteY93" fmla="*/ 4728 h 10000"/>
              <a:gd name="connsiteX94" fmla="*/ 7311 w 10000"/>
              <a:gd name="connsiteY94" fmla="*/ 4783 h 10000"/>
              <a:gd name="connsiteX95" fmla="*/ 7311 w 10000"/>
              <a:gd name="connsiteY95" fmla="*/ 4837 h 10000"/>
              <a:gd name="connsiteX96" fmla="*/ 7395 w 10000"/>
              <a:gd name="connsiteY96" fmla="*/ 4837 h 10000"/>
              <a:gd name="connsiteX97" fmla="*/ 7395 w 10000"/>
              <a:gd name="connsiteY97" fmla="*/ 4891 h 10000"/>
              <a:gd name="connsiteX98" fmla="*/ 7479 w 10000"/>
              <a:gd name="connsiteY98" fmla="*/ 4891 h 10000"/>
              <a:gd name="connsiteX99" fmla="*/ 7479 w 10000"/>
              <a:gd name="connsiteY99" fmla="*/ 4946 h 10000"/>
              <a:gd name="connsiteX100" fmla="*/ 7563 w 10000"/>
              <a:gd name="connsiteY100" fmla="*/ 4946 h 10000"/>
              <a:gd name="connsiteX101" fmla="*/ 7647 w 10000"/>
              <a:gd name="connsiteY101" fmla="*/ 4946 h 10000"/>
              <a:gd name="connsiteX102" fmla="*/ 7647 w 10000"/>
              <a:gd name="connsiteY102" fmla="*/ 5000 h 10000"/>
              <a:gd name="connsiteX103" fmla="*/ 7731 w 10000"/>
              <a:gd name="connsiteY103" fmla="*/ 5000 h 10000"/>
              <a:gd name="connsiteX104" fmla="*/ 7731 w 10000"/>
              <a:gd name="connsiteY104" fmla="*/ 5054 h 10000"/>
              <a:gd name="connsiteX105" fmla="*/ 7647 w 10000"/>
              <a:gd name="connsiteY105" fmla="*/ 5054 h 10000"/>
              <a:gd name="connsiteX106" fmla="*/ 7647 w 10000"/>
              <a:gd name="connsiteY106" fmla="*/ 5109 h 10000"/>
              <a:gd name="connsiteX107" fmla="*/ 7563 w 10000"/>
              <a:gd name="connsiteY107" fmla="*/ 5109 h 10000"/>
              <a:gd name="connsiteX108" fmla="*/ 7563 w 10000"/>
              <a:gd name="connsiteY108" fmla="*/ 5163 h 10000"/>
              <a:gd name="connsiteX109" fmla="*/ 7563 w 10000"/>
              <a:gd name="connsiteY109" fmla="*/ 5217 h 10000"/>
              <a:gd name="connsiteX110" fmla="*/ 7563 w 10000"/>
              <a:gd name="connsiteY110" fmla="*/ 5272 h 10000"/>
              <a:gd name="connsiteX111" fmla="*/ 7479 w 10000"/>
              <a:gd name="connsiteY111" fmla="*/ 5272 h 10000"/>
              <a:gd name="connsiteX112" fmla="*/ 7479 w 10000"/>
              <a:gd name="connsiteY112" fmla="*/ 5326 h 10000"/>
              <a:gd name="connsiteX113" fmla="*/ 7563 w 10000"/>
              <a:gd name="connsiteY113" fmla="*/ 5326 h 10000"/>
              <a:gd name="connsiteX114" fmla="*/ 7563 w 10000"/>
              <a:gd name="connsiteY114" fmla="*/ 5272 h 10000"/>
              <a:gd name="connsiteX115" fmla="*/ 7563 w 10000"/>
              <a:gd name="connsiteY115" fmla="*/ 5326 h 10000"/>
              <a:gd name="connsiteX116" fmla="*/ 7563 w 10000"/>
              <a:gd name="connsiteY116" fmla="*/ 5380 h 10000"/>
              <a:gd name="connsiteX117" fmla="*/ 7563 w 10000"/>
              <a:gd name="connsiteY117" fmla="*/ 5435 h 10000"/>
              <a:gd name="connsiteX118" fmla="*/ 7647 w 10000"/>
              <a:gd name="connsiteY118" fmla="*/ 5435 h 10000"/>
              <a:gd name="connsiteX119" fmla="*/ 7647 w 10000"/>
              <a:gd name="connsiteY119" fmla="*/ 5489 h 10000"/>
              <a:gd name="connsiteX120" fmla="*/ 7647 w 10000"/>
              <a:gd name="connsiteY120" fmla="*/ 5543 h 10000"/>
              <a:gd name="connsiteX121" fmla="*/ 7731 w 10000"/>
              <a:gd name="connsiteY121" fmla="*/ 5543 h 10000"/>
              <a:gd name="connsiteX122" fmla="*/ 7815 w 10000"/>
              <a:gd name="connsiteY122" fmla="*/ 5543 h 10000"/>
              <a:gd name="connsiteX123" fmla="*/ 7815 w 10000"/>
              <a:gd name="connsiteY123" fmla="*/ 5598 h 10000"/>
              <a:gd name="connsiteX124" fmla="*/ 7815 w 10000"/>
              <a:gd name="connsiteY124" fmla="*/ 5652 h 10000"/>
              <a:gd name="connsiteX125" fmla="*/ 7899 w 10000"/>
              <a:gd name="connsiteY125" fmla="*/ 5652 h 10000"/>
              <a:gd name="connsiteX126" fmla="*/ 7983 w 10000"/>
              <a:gd name="connsiteY126" fmla="*/ 5652 h 10000"/>
              <a:gd name="connsiteX127" fmla="*/ 7983 w 10000"/>
              <a:gd name="connsiteY127" fmla="*/ 5707 h 10000"/>
              <a:gd name="connsiteX128" fmla="*/ 7983 w 10000"/>
              <a:gd name="connsiteY128" fmla="*/ 5761 h 10000"/>
              <a:gd name="connsiteX129" fmla="*/ 7983 w 10000"/>
              <a:gd name="connsiteY129" fmla="*/ 5815 h 10000"/>
              <a:gd name="connsiteX130" fmla="*/ 7899 w 10000"/>
              <a:gd name="connsiteY130" fmla="*/ 5815 h 10000"/>
              <a:gd name="connsiteX131" fmla="*/ 7899 w 10000"/>
              <a:gd name="connsiteY131" fmla="*/ 5870 h 10000"/>
              <a:gd name="connsiteX132" fmla="*/ 7815 w 10000"/>
              <a:gd name="connsiteY132" fmla="*/ 5870 h 10000"/>
              <a:gd name="connsiteX133" fmla="*/ 7815 w 10000"/>
              <a:gd name="connsiteY133" fmla="*/ 5924 h 10000"/>
              <a:gd name="connsiteX134" fmla="*/ 7731 w 10000"/>
              <a:gd name="connsiteY134" fmla="*/ 5924 h 10000"/>
              <a:gd name="connsiteX135" fmla="*/ 7731 w 10000"/>
              <a:gd name="connsiteY135" fmla="*/ 5978 h 10000"/>
              <a:gd name="connsiteX136" fmla="*/ 7815 w 10000"/>
              <a:gd name="connsiteY136" fmla="*/ 5978 h 10000"/>
              <a:gd name="connsiteX137" fmla="*/ 7815 w 10000"/>
              <a:gd name="connsiteY137" fmla="*/ 6033 h 10000"/>
              <a:gd name="connsiteX138" fmla="*/ 7815 w 10000"/>
              <a:gd name="connsiteY138" fmla="*/ 6087 h 10000"/>
              <a:gd name="connsiteX139" fmla="*/ 7815 w 10000"/>
              <a:gd name="connsiteY139" fmla="*/ 6141 h 10000"/>
              <a:gd name="connsiteX140" fmla="*/ 7815 w 10000"/>
              <a:gd name="connsiteY140" fmla="*/ 6196 h 10000"/>
              <a:gd name="connsiteX141" fmla="*/ 7731 w 10000"/>
              <a:gd name="connsiteY141" fmla="*/ 6196 h 10000"/>
              <a:gd name="connsiteX142" fmla="*/ 7731 w 10000"/>
              <a:gd name="connsiteY142" fmla="*/ 6250 h 10000"/>
              <a:gd name="connsiteX143" fmla="*/ 7815 w 10000"/>
              <a:gd name="connsiteY143" fmla="*/ 6250 h 10000"/>
              <a:gd name="connsiteX144" fmla="*/ 7815 w 10000"/>
              <a:gd name="connsiteY144" fmla="*/ 6304 h 10000"/>
              <a:gd name="connsiteX145" fmla="*/ 7899 w 10000"/>
              <a:gd name="connsiteY145" fmla="*/ 6304 h 10000"/>
              <a:gd name="connsiteX146" fmla="*/ 7815 w 10000"/>
              <a:gd name="connsiteY146" fmla="*/ 6304 h 10000"/>
              <a:gd name="connsiteX147" fmla="*/ 7815 w 10000"/>
              <a:gd name="connsiteY147" fmla="*/ 6359 h 10000"/>
              <a:gd name="connsiteX148" fmla="*/ 7731 w 10000"/>
              <a:gd name="connsiteY148" fmla="*/ 6359 h 10000"/>
              <a:gd name="connsiteX149" fmla="*/ 7731 w 10000"/>
              <a:gd name="connsiteY149" fmla="*/ 6413 h 10000"/>
              <a:gd name="connsiteX150" fmla="*/ 7815 w 10000"/>
              <a:gd name="connsiteY150" fmla="*/ 6413 h 10000"/>
              <a:gd name="connsiteX151" fmla="*/ 7815 w 10000"/>
              <a:gd name="connsiteY151" fmla="*/ 6467 h 10000"/>
              <a:gd name="connsiteX152" fmla="*/ 7731 w 10000"/>
              <a:gd name="connsiteY152" fmla="*/ 6467 h 10000"/>
              <a:gd name="connsiteX153" fmla="*/ 7731 w 10000"/>
              <a:gd name="connsiteY153" fmla="*/ 6522 h 10000"/>
              <a:gd name="connsiteX154" fmla="*/ 7731 w 10000"/>
              <a:gd name="connsiteY154" fmla="*/ 6576 h 10000"/>
              <a:gd name="connsiteX155" fmla="*/ 7731 w 10000"/>
              <a:gd name="connsiteY155" fmla="*/ 6630 h 10000"/>
              <a:gd name="connsiteX156" fmla="*/ 7731 w 10000"/>
              <a:gd name="connsiteY156" fmla="*/ 6685 h 10000"/>
              <a:gd name="connsiteX157" fmla="*/ 7731 w 10000"/>
              <a:gd name="connsiteY157" fmla="*/ 6739 h 10000"/>
              <a:gd name="connsiteX158" fmla="*/ 7815 w 10000"/>
              <a:gd name="connsiteY158" fmla="*/ 6793 h 10000"/>
              <a:gd name="connsiteX159" fmla="*/ 7815 w 10000"/>
              <a:gd name="connsiteY159" fmla="*/ 6739 h 10000"/>
              <a:gd name="connsiteX160" fmla="*/ 7899 w 10000"/>
              <a:gd name="connsiteY160" fmla="*/ 6739 h 10000"/>
              <a:gd name="connsiteX161" fmla="*/ 7899 w 10000"/>
              <a:gd name="connsiteY161" fmla="*/ 6793 h 10000"/>
              <a:gd name="connsiteX162" fmla="*/ 7983 w 10000"/>
              <a:gd name="connsiteY162" fmla="*/ 6793 h 10000"/>
              <a:gd name="connsiteX163" fmla="*/ 7983 w 10000"/>
              <a:gd name="connsiteY163" fmla="*/ 6739 h 10000"/>
              <a:gd name="connsiteX164" fmla="*/ 8067 w 10000"/>
              <a:gd name="connsiteY164" fmla="*/ 6739 h 10000"/>
              <a:gd name="connsiteX165" fmla="*/ 8067 w 10000"/>
              <a:gd name="connsiteY165" fmla="*/ 6793 h 10000"/>
              <a:gd name="connsiteX166" fmla="*/ 8067 w 10000"/>
              <a:gd name="connsiteY166" fmla="*/ 6848 h 10000"/>
              <a:gd name="connsiteX167" fmla="*/ 8067 w 10000"/>
              <a:gd name="connsiteY167" fmla="*/ 6902 h 10000"/>
              <a:gd name="connsiteX168" fmla="*/ 8151 w 10000"/>
              <a:gd name="connsiteY168" fmla="*/ 6902 h 10000"/>
              <a:gd name="connsiteX169" fmla="*/ 8151 w 10000"/>
              <a:gd name="connsiteY169" fmla="*/ 6957 h 10000"/>
              <a:gd name="connsiteX170" fmla="*/ 8151 w 10000"/>
              <a:gd name="connsiteY170" fmla="*/ 7011 h 10000"/>
              <a:gd name="connsiteX171" fmla="*/ 8235 w 10000"/>
              <a:gd name="connsiteY171" fmla="*/ 7011 h 10000"/>
              <a:gd name="connsiteX172" fmla="*/ 8235 w 10000"/>
              <a:gd name="connsiteY172" fmla="*/ 7065 h 10000"/>
              <a:gd name="connsiteX173" fmla="*/ 8319 w 10000"/>
              <a:gd name="connsiteY173" fmla="*/ 7065 h 10000"/>
              <a:gd name="connsiteX174" fmla="*/ 8319 w 10000"/>
              <a:gd name="connsiteY174" fmla="*/ 7120 h 10000"/>
              <a:gd name="connsiteX175" fmla="*/ 8235 w 10000"/>
              <a:gd name="connsiteY175" fmla="*/ 7174 h 10000"/>
              <a:gd name="connsiteX176" fmla="*/ 8319 w 10000"/>
              <a:gd name="connsiteY176" fmla="*/ 7174 h 10000"/>
              <a:gd name="connsiteX177" fmla="*/ 8403 w 10000"/>
              <a:gd name="connsiteY177" fmla="*/ 7228 h 10000"/>
              <a:gd name="connsiteX178" fmla="*/ 8403 w 10000"/>
              <a:gd name="connsiteY178" fmla="*/ 7283 h 10000"/>
              <a:gd name="connsiteX179" fmla="*/ 8487 w 10000"/>
              <a:gd name="connsiteY179" fmla="*/ 7283 h 10000"/>
              <a:gd name="connsiteX180" fmla="*/ 8487 w 10000"/>
              <a:gd name="connsiteY180" fmla="*/ 7337 h 10000"/>
              <a:gd name="connsiteX181" fmla="*/ 8571 w 10000"/>
              <a:gd name="connsiteY181" fmla="*/ 7391 h 10000"/>
              <a:gd name="connsiteX182" fmla="*/ 8571 w 10000"/>
              <a:gd name="connsiteY182" fmla="*/ 7446 h 10000"/>
              <a:gd name="connsiteX183" fmla="*/ 8655 w 10000"/>
              <a:gd name="connsiteY183" fmla="*/ 7500 h 10000"/>
              <a:gd name="connsiteX184" fmla="*/ 8655 w 10000"/>
              <a:gd name="connsiteY184" fmla="*/ 7554 h 10000"/>
              <a:gd name="connsiteX185" fmla="*/ 8655 w 10000"/>
              <a:gd name="connsiteY185" fmla="*/ 7609 h 10000"/>
              <a:gd name="connsiteX186" fmla="*/ 8739 w 10000"/>
              <a:gd name="connsiteY186" fmla="*/ 7609 h 10000"/>
              <a:gd name="connsiteX187" fmla="*/ 8739 w 10000"/>
              <a:gd name="connsiteY187" fmla="*/ 7663 h 10000"/>
              <a:gd name="connsiteX188" fmla="*/ 8824 w 10000"/>
              <a:gd name="connsiteY188" fmla="*/ 7663 h 10000"/>
              <a:gd name="connsiteX189" fmla="*/ 8739 w 10000"/>
              <a:gd name="connsiteY189" fmla="*/ 7663 h 10000"/>
              <a:gd name="connsiteX190" fmla="*/ 8739 w 10000"/>
              <a:gd name="connsiteY190" fmla="*/ 7717 h 10000"/>
              <a:gd name="connsiteX191" fmla="*/ 8824 w 10000"/>
              <a:gd name="connsiteY191" fmla="*/ 7717 h 10000"/>
              <a:gd name="connsiteX192" fmla="*/ 8824 w 10000"/>
              <a:gd name="connsiteY192" fmla="*/ 7772 h 10000"/>
              <a:gd name="connsiteX193" fmla="*/ 8739 w 10000"/>
              <a:gd name="connsiteY193" fmla="*/ 7772 h 10000"/>
              <a:gd name="connsiteX194" fmla="*/ 8824 w 10000"/>
              <a:gd name="connsiteY194" fmla="*/ 7826 h 10000"/>
              <a:gd name="connsiteX195" fmla="*/ 8739 w 10000"/>
              <a:gd name="connsiteY195" fmla="*/ 7880 h 10000"/>
              <a:gd name="connsiteX196" fmla="*/ 8655 w 10000"/>
              <a:gd name="connsiteY196" fmla="*/ 7880 h 10000"/>
              <a:gd name="connsiteX197" fmla="*/ 8655 w 10000"/>
              <a:gd name="connsiteY197" fmla="*/ 7935 h 10000"/>
              <a:gd name="connsiteX198" fmla="*/ 8655 w 10000"/>
              <a:gd name="connsiteY198" fmla="*/ 7989 h 10000"/>
              <a:gd name="connsiteX199" fmla="*/ 8655 w 10000"/>
              <a:gd name="connsiteY199" fmla="*/ 8043 h 10000"/>
              <a:gd name="connsiteX200" fmla="*/ 8655 w 10000"/>
              <a:gd name="connsiteY200" fmla="*/ 8098 h 10000"/>
              <a:gd name="connsiteX201" fmla="*/ 8655 w 10000"/>
              <a:gd name="connsiteY201" fmla="*/ 8152 h 10000"/>
              <a:gd name="connsiteX202" fmla="*/ 8571 w 10000"/>
              <a:gd name="connsiteY202" fmla="*/ 8152 h 10000"/>
              <a:gd name="connsiteX203" fmla="*/ 8571 w 10000"/>
              <a:gd name="connsiteY203" fmla="*/ 8207 h 10000"/>
              <a:gd name="connsiteX204" fmla="*/ 8655 w 10000"/>
              <a:gd name="connsiteY204" fmla="*/ 8207 h 10000"/>
              <a:gd name="connsiteX205" fmla="*/ 8655 w 10000"/>
              <a:gd name="connsiteY205" fmla="*/ 8261 h 10000"/>
              <a:gd name="connsiteX206" fmla="*/ 8739 w 10000"/>
              <a:gd name="connsiteY206" fmla="*/ 8261 h 10000"/>
              <a:gd name="connsiteX207" fmla="*/ 8739 w 10000"/>
              <a:gd name="connsiteY207" fmla="*/ 8315 h 10000"/>
              <a:gd name="connsiteX208" fmla="*/ 8739 w 10000"/>
              <a:gd name="connsiteY208" fmla="*/ 8370 h 10000"/>
              <a:gd name="connsiteX209" fmla="*/ 8824 w 10000"/>
              <a:gd name="connsiteY209" fmla="*/ 8370 h 10000"/>
              <a:gd name="connsiteX210" fmla="*/ 8824 w 10000"/>
              <a:gd name="connsiteY210" fmla="*/ 8424 h 10000"/>
              <a:gd name="connsiteX211" fmla="*/ 8908 w 10000"/>
              <a:gd name="connsiteY211" fmla="*/ 8424 h 10000"/>
              <a:gd name="connsiteX212" fmla="*/ 8908 w 10000"/>
              <a:gd name="connsiteY212" fmla="*/ 8478 h 10000"/>
              <a:gd name="connsiteX213" fmla="*/ 8992 w 10000"/>
              <a:gd name="connsiteY213" fmla="*/ 8533 h 10000"/>
              <a:gd name="connsiteX214" fmla="*/ 8992 w 10000"/>
              <a:gd name="connsiteY214" fmla="*/ 8587 h 10000"/>
              <a:gd name="connsiteX215" fmla="*/ 8908 w 10000"/>
              <a:gd name="connsiteY215" fmla="*/ 8641 h 10000"/>
              <a:gd name="connsiteX216" fmla="*/ 8824 w 10000"/>
              <a:gd name="connsiteY216" fmla="*/ 8641 h 10000"/>
              <a:gd name="connsiteX217" fmla="*/ 8824 w 10000"/>
              <a:gd name="connsiteY217" fmla="*/ 8696 h 10000"/>
              <a:gd name="connsiteX218" fmla="*/ 8908 w 10000"/>
              <a:gd name="connsiteY218" fmla="*/ 8696 h 10000"/>
              <a:gd name="connsiteX219" fmla="*/ 8908 w 10000"/>
              <a:gd name="connsiteY219" fmla="*/ 8750 h 10000"/>
              <a:gd name="connsiteX220" fmla="*/ 8992 w 10000"/>
              <a:gd name="connsiteY220" fmla="*/ 8750 h 10000"/>
              <a:gd name="connsiteX221" fmla="*/ 8992 w 10000"/>
              <a:gd name="connsiteY221" fmla="*/ 8804 h 10000"/>
              <a:gd name="connsiteX222" fmla="*/ 9076 w 10000"/>
              <a:gd name="connsiteY222" fmla="*/ 8804 h 10000"/>
              <a:gd name="connsiteX223" fmla="*/ 9076 w 10000"/>
              <a:gd name="connsiteY223" fmla="*/ 8859 h 10000"/>
              <a:gd name="connsiteX224" fmla="*/ 9160 w 10000"/>
              <a:gd name="connsiteY224" fmla="*/ 8859 h 10000"/>
              <a:gd name="connsiteX225" fmla="*/ 9160 w 10000"/>
              <a:gd name="connsiteY225" fmla="*/ 8913 h 10000"/>
              <a:gd name="connsiteX226" fmla="*/ 9160 w 10000"/>
              <a:gd name="connsiteY226" fmla="*/ 8967 h 10000"/>
              <a:gd name="connsiteX227" fmla="*/ 9244 w 10000"/>
              <a:gd name="connsiteY227" fmla="*/ 8967 h 10000"/>
              <a:gd name="connsiteX228" fmla="*/ 9244 w 10000"/>
              <a:gd name="connsiteY228" fmla="*/ 9022 h 10000"/>
              <a:gd name="connsiteX229" fmla="*/ 9328 w 10000"/>
              <a:gd name="connsiteY229" fmla="*/ 9022 h 10000"/>
              <a:gd name="connsiteX230" fmla="*/ 9328 w 10000"/>
              <a:gd name="connsiteY230" fmla="*/ 9076 h 10000"/>
              <a:gd name="connsiteX231" fmla="*/ 9328 w 10000"/>
              <a:gd name="connsiteY231" fmla="*/ 9130 h 10000"/>
              <a:gd name="connsiteX232" fmla="*/ 9328 w 10000"/>
              <a:gd name="connsiteY232" fmla="*/ 9185 h 10000"/>
              <a:gd name="connsiteX233" fmla="*/ 9328 w 10000"/>
              <a:gd name="connsiteY233" fmla="*/ 9239 h 10000"/>
              <a:gd name="connsiteX234" fmla="*/ 9412 w 10000"/>
              <a:gd name="connsiteY234" fmla="*/ 9293 h 10000"/>
              <a:gd name="connsiteX235" fmla="*/ 9496 w 10000"/>
              <a:gd name="connsiteY235" fmla="*/ 9348 h 10000"/>
              <a:gd name="connsiteX236" fmla="*/ 9496 w 10000"/>
              <a:gd name="connsiteY236" fmla="*/ 9402 h 10000"/>
              <a:gd name="connsiteX237" fmla="*/ 9496 w 10000"/>
              <a:gd name="connsiteY237" fmla="*/ 9457 h 10000"/>
              <a:gd name="connsiteX238" fmla="*/ 9580 w 10000"/>
              <a:gd name="connsiteY238" fmla="*/ 9457 h 10000"/>
              <a:gd name="connsiteX239" fmla="*/ 9580 w 10000"/>
              <a:gd name="connsiteY239" fmla="*/ 9511 h 10000"/>
              <a:gd name="connsiteX240" fmla="*/ 9664 w 10000"/>
              <a:gd name="connsiteY240" fmla="*/ 9511 h 10000"/>
              <a:gd name="connsiteX241" fmla="*/ 9244 w 10000"/>
              <a:gd name="connsiteY241" fmla="*/ 9620 h 10000"/>
              <a:gd name="connsiteX242" fmla="*/ 8824 w 10000"/>
              <a:gd name="connsiteY242" fmla="*/ 10000 h 10000"/>
              <a:gd name="connsiteX243" fmla="*/ 7395 w 10000"/>
              <a:gd name="connsiteY243" fmla="*/ 9946 h 10000"/>
              <a:gd name="connsiteX244" fmla="*/ 6134 w 10000"/>
              <a:gd name="connsiteY244" fmla="*/ 8207 h 10000"/>
              <a:gd name="connsiteX245" fmla="*/ 5882 w 10000"/>
              <a:gd name="connsiteY245" fmla="*/ 7717 h 10000"/>
              <a:gd name="connsiteX246" fmla="*/ 4790 w 10000"/>
              <a:gd name="connsiteY246" fmla="*/ 7663 h 10000"/>
              <a:gd name="connsiteX247" fmla="*/ 4790 w 10000"/>
              <a:gd name="connsiteY247" fmla="*/ 7609 h 10000"/>
              <a:gd name="connsiteX248" fmla="*/ 4790 w 10000"/>
              <a:gd name="connsiteY248" fmla="*/ 7554 h 10000"/>
              <a:gd name="connsiteX249" fmla="*/ 4790 w 10000"/>
              <a:gd name="connsiteY249" fmla="*/ 7500 h 10000"/>
              <a:gd name="connsiteX250" fmla="*/ 4790 w 10000"/>
              <a:gd name="connsiteY250" fmla="*/ 7446 h 10000"/>
              <a:gd name="connsiteX251" fmla="*/ 4790 w 10000"/>
              <a:gd name="connsiteY251" fmla="*/ 7391 h 10000"/>
              <a:gd name="connsiteX252" fmla="*/ 4706 w 10000"/>
              <a:gd name="connsiteY252" fmla="*/ 7337 h 10000"/>
              <a:gd name="connsiteX253" fmla="*/ 4706 w 10000"/>
              <a:gd name="connsiteY253" fmla="*/ 7283 h 10000"/>
              <a:gd name="connsiteX254" fmla="*/ 4706 w 10000"/>
              <a:gd name="connsiteY254" fmla="*/ 7228 h 10000"/>
              <a:gd name="connsiteX255" fmla="*/ 4706 w 10000"/>
              <a:gd name="connsiteY255" fmla="*/ 7174 h 10000"/>
              <a:gd name="connsiteX256" fmla="*/ 4706 w 10000"/>
              <a:gd name="connsiteY256" fmla="*/ 7120 h 10000"/>
              <a:gd name="connsiteX257" fmla="*/ 4706 w 10000"/>
              <a:gd name="connsiteY257" fmla="*/ 7065 h 10000"/>
              <a:gd name="connsiteX258" fmla="*/ 4538 w 10000"/>
              <a:gd name="connsiteY258" fmla="*/ 5870 h 10000"/>
              <a:gd name="connsiteX259" fmla="*/ 4286 w 10000"/>
              <a:gd name="connsiteY259" fmla="*/ 5707 h 10000"/>
              <a:gd name="connsiteX260" fmla="*/ 3025 w 10000"/>
              <a:gd name="connsiteY260" fmla="*/ 5217 h 10000"/>
              <a:gd name="connsiteX261" fmla="*/ 2857 w 10000"/>
              <a:gd name="connsiteY261" fmla="*/ 5109 h 10000"/>
              <a:gd name="connsiteX262" fmla="*/ 2773 w 10000"/>
              <a:gd name="connsiteY262" fmla="*/ 5000 h 10000"/>
              <a:gd name="connsiteX263" fmla="*/ 1849 w 10000"/>
              <a:gd name="connsiteY263" fmla="*/ 3913 h 10000"/>
              <a:gd name="connsiteX264" fmla="*/ 0 w 10000"/>
              <a:gd name="connsiteY264" fmla="*/ 3913 h 10000"/>
              <a:gd name="connsiteX265" fmla="*/ 252 w 10000"/>
              <a:gd name="connsiteY265" fmla="*/ 3750 h 10000"/>
              <a:gd name="connsiteX266" fmla="*/ 336 w 10000"/>
              <a:gd name="connsiteY266" fmla="*/ 3750 h 10000"/>
              <a:gd name="connsiteX267" fmla="*/ 420 w 10000"/>
              <a:gd name="connsiteY267" fmla="*/ 3696 h 10000"/>
              <a:gd name="connsiteX268" fmla="*/ 336 w 10000"/>
              <a:gd name="connsiteY268" fmla="*/ 3587 h 10000"/>
              <a:gd name="connsiteX269" fmla="*/ 420 w 10000"/>
              <a:gd name="connsiteY269" fmla="*/ 3424 h 10000"/>
              <a:gd name="connsiteX270" fmla="*/ 504 w 10000"/>
              <a:gd name="connsiteY270" fmla="*/ 3370 h 10000"/>
              <a:gd name="connsiteX271" fmla="*/ 756 w 10000"/>
              <a:gd name="connsiteY271" fmla="*/ 3315 h 10000"/>
              <a:gd name="connsiteX272" fmla="*/ 840 w 10000"/>
              <a:gd name="connsiteY272" fmla="*/ 3370 h 10000"/>
              <a:gd name="connsiteX273" fmla="*/ 1092 w 10000"/>
              <a:gd name="connsiteY273" fmla="*/ 3098 h 10000"/>
              <a:gd name="connsiteX274" fmla="*/ 1008 w 10000"/>
              <a:gd name="connsiteY274" fmla="*/ 2989 h 10000"/>
              <a:gd name="connsiteX275" fmla="*/ 924 w 10000"/>
              <a:gd name="connsiteY275" fmla="*/ 2935 h 10000"/>
              <a:gd name="connsiteX276" fmla="*/ 840 w 10000"/>
              <a:gd name="connsiteY276" fmla="*/ 2935 h 10000"/>
              <a:gd name="connsiteX277" fmla="*/ 336 w 10000"/>
              <a:gd name="connsiteY277" fmla="*/ 2772 h 10000"/>
              <a:gd name="connsiteX278" fmla="*/ 420 w 10000"/>
              <a:gd name="connsiteY278" fmla="*/ 2554 h 10000"/>
              <a:gd name="connsiteX279" fmla="*/ 588 w 10000"/>
              <a:gd name="connsiteY279" fmla="*/ 2446 h 10000"/>
              <a:gd name="connsiteX280" fmla="*/ 1092 w 10000"/>
              <a:gd name="connsiteY280" fmla="*/ 2174 h 10000"/>
              <a:gd name="connsiteX281" fmla="*/ 1429 w 10000"/>
              <a:gd name="connsiteY281" fmla="*/ 1848 h 10000"/>
              <a:gd name="connsiteX282" fmla="*/ 1513 w 10000"/>
              <a:gd name="connsiteY282" fmla="*/ 1793 h 10000"/>
              <a:gd name="connsiteX283" fmla="*/ 1681 w 10000"/>
              <a:gd name="connsiteY283" fmla="*/ 1739 h 10000"/>
              <a:gd name="connsiteX284" fmla="*/ 1765 w 10000"/>
              <a:gd name="connsiteY284" fmla="*/ 1739 h 10000"/>
              <a:gd name="connsiteX285" fmla="*/ 2773 w 10000"/>
              <a:gd name="connsiteY285" fmla="*/ 1739 h 10000"/>
              <a:gd name="connsiteX286" fmla="*/ 3950 w 10000"/>
              <a:gd name="connsiteY286" fmla="*/ 1739 h 10000"/>
              <a:gd name="connsiteX287" fmla="*/ 3950 w 10000"/>
              <a:gd name="connsiteY287" fmla="*/ 707 h 10000"/>
              <a:gd name="connsiteX288" fmla="*/ 5630 w 10000"/>
              <a:gd name="connsiteY288" fmla="*/ 109 h 10000"/>
              <a:gd name="connsiteX289" fmla="*/ 5798 w 10000"/>
              <a:gd name="connsiteY289" fmla="*/ 0 h 10000"/>
              <a:gd name="connsiteX0" fmla="*/ 5798 w 10000"/>
              <a:gd name="connsiteY0" fmla="*/ 0 h 10000"/>
              <a:gd name="connsiteX1" fmla="*/ 5966 w 10000"/>
              <a:gd name="connsiteY1" fmla="*/ 0 h 10000"/>
              <a:gd name="connsiteX2" fmla="*/ 6218 w 10000"/>
              <a:gd name="connsiteY2" fmla="*/ 0 h 10000"/>
              <a:gd name="connsiteX3" fmla="*/ 6555 w 10000"/>
              <a:gd name="connsiteY3" fmla="*/ 109 h 10000"/>
              <a:gd name="connsiteX4" fmla="*/ 6975 w 10000"/>
              <a:gd name="connsiteY4" fmla="*/ 326 h 10000"/>
              <a:gd name="connsiteX5" fmla="*/ 7395 w 10000"/>
              <a:gd name="connsiteY5" fmla="*/ 489 h 10000"/>
              <a:gd name="connsiteX6" fmla="*/ 7563 w 10000"/>
              <a:gd name="connsiteY6" fmla="*/ 543 h 10000"/>
              <a:gd name="connsiteX7" fmla="*/ 8319 w 10000"/>
              <a:gd name="connsiteY7" fmla="*/ 870 h 10000"/>
              <a:gd name="connsiteX8" fmla="*/ 9076 w 10000"/>
              <a:gd name="connsiteY8" fmla="*/ 1141 h 10000"/>
              <a:gd name="connsiteX9" fmla="*/ 9916 w 10000"/>
              <a:gd name="connsiteY9" fmla="*/ 1630 h 10000"/>
              <a:gd name="connsiteX10" fmla="*/ 10000 w 10000"/>
              <a:gd name="connsiteY10" fmla="*/ 1685 h 10000"/>
              <a:gd name="connsiteX11" fmla="*/ 9916 w 10000"/>
              <a:gd name="connsiteY11" fmla="*/ 2446 h 10000"/>
              <a:gd name="connsiteX12" fmla="*/ 9832 w 10000"/>
              <a:gd name="connsiteY12" fmla="*/ 2446 h 10000"/>
              <a:gd name="connsiteX13" fmla="*/ 9832 w 10000"/>
              <a:gd name="connsiteY13" fmla="*/ 2554 h 10000"/>
              <a:gd name="connsiteX14" fmla="*/ 9748 w 10000"/>
              <a:gd name="connsiteY14" fmla="*/ 2554 h 10000"/>
              <a:gd name="connsiteX15" fmla="*/ 9664 w 10000"/>
              <a:gd name="connsiteY15" fmla="*/ 2500 h 10000"/>
              <a:gd name="connsiteX16" fmla="*/ 9580 w 10000"/>
              <a:gd name="connsiteY16" fmla="*/ 2500 h 10000"/>
              <a:gd name="connsiteX17" fmla="*/ 9580 w 10000"/>
              <a:gd name="connsiteY17" fmla="*/ 2446 h 10000"/>
              <a:gd name="connsiteX18" fmla="*/ 9496 w 10000"/>
              <a:gd name="connsiteY18" fmla="*/ 2446 h 10000"/>
              <a:gd name="connsiteX19" fmla="*/ 9328 w 10000"/>
              <a:gd name="connsiteY19" fmla="*/ 2446 h 10000"/>
              <a:gd name="connsiteX20" fmla="*/ 9244 w 10000"/>
              <a:gd name="connsiteY20" fmla="*/ 2446 h 10000"/>
              <a:gd name="connsiteX21" fmla="*/ 9160 w 10000"/>
              <a:gd name="connsiteY21" fmla="*/ 2446 h 10000"/>
              <a:gd name="connsiteX22" fmla="*/ 9076 w 10000"/>
              <a:gd name="connsiteY22" fmla="*/ 2446 h 10000"/>
              <a:gd name="connsiteX23" fmla="*/ 8992 w 10000"/>
              <a:gd name="connsiteY23" fmla="*/ 2446 h 10000"/>
              <a:gd name="connsiteX24" fmla="*/ 8908 w 10000"/>
              <a:gd name="connsiteY24" fmla="*/ 2446 h 10000"/>
              <a:gd name="connsiteX25" fmla="*/ 8824 w 10000"/>
              <a:gd name="connsiteY25" fmla="*/ 2446 h 10000"/>
              <a:gd name="connsiteX26" fmla="*/ 8739 w 10000"/>
              <a:gd name="connsiteY26" fmla="*/ 2391 h 10000"/>
              <a:gd name="connsiteX27" fmla="*/ 8655 w 10000"/>
              <a:gd name="connsiteY27" fmla="*/ 2391 h 10000"/>
              <a:gd name="connsiteX28" fmla="*/ 8655 w 10000"/>
              <a:gd name="connsiteY28" fmla="*/ 2446 h 10000"/>
              <a:gd name="connsiteX29" fmla="*/ 8571 w 10000"/>
              <a:gd name="connsiteY29" fmla="*/ 2446 h 10000"/>
              <a:gd name="connsiteX30" fmla="*/ 8487 w 10000"/>
              <a:gd name="connsiteY30" fmla="*/ 2500 h 10000"/>
              <a:gd name="connsiteX31" fmla="*/ 8487 w 10000"/>
              <a:gd name="connsiteY31" fmla="*/ 2446 h 10000"/>
              <a:gd name="connsiteX32" fmla="*/ 8403 w 10000"/>
              <a:gd name="connsiteY32" fmla="*/ 2446 h 10000"/>
              <a:gd name="connsiteX33" fmla="*/ 8403 w 10000"/>
              <a:gd name="connsiteY33" fmla="*/ 2500 h 10000"/>
              <a:gd name="connsiteX34" fmla="*/ 8319 w 10000"/>
              <a:gd name="connsiteY34" fmla="*/ 2500 h 10000"/>
              <a:gd name="connsiteX35" fmla="*/ 8235 w 10000"/>
              <a:gd name="connsiteY35" fmla="*/ 2554 h 10000"/>
              <a:gd name="connsiteX36" fmla="*/ 8151 w 10000"/>
              <a:gd name="connsiteY36" fmla="*/ 2609 h 10000"/>
              <a:gd name="connsiteX37" fmla="*/ 8151 w 10000"/>
              <a:gd name="connsiteY37" fmla="*/ 2663 h 10000"/>
              <a:gd name="connsiteX38" fmla="*/ 8151 w 10000"/>
              <a:gd name="connsiteY38" fmla="*/ 2717 h 10000"/>
              <a:gd name="connsiteX39" fmla="*/ 8067 w 10000"/>
              <a:gd name="connsiteY39" fmla="*/ 2717 h 10000"/>
              <a:gd name="connsiteX40" fmla="*/ 7983 w 10000"/>
              <a:gd name="connsiteY40" fmla="*/ 2717 h 10000"/>
              <a:gd name="connsiteX41" fmla="*/ 7983 w 10000"/>
              <a:gd name="connsiteY41" fmla="*/ 2772 h 10000"/>
              <a:gd name="connsiteX42" fmla="*/ 7983 w 10000"/>
              <a:gd name="connsiteY42" fmla="*/ 2826 h 10000"/>
              <a:gd name="connsiteX43" fmla="*/ 7983 w 10000"/>
              <a:gd name="connsiteY43" fmla="*/ 2880 h 10000"/>
              <a:gd name="connsiteX44" fmla="*/ 7899 w 10000"/>
              <a:gd name="connsiteY44" fmla="*/ 2880 h 10000"/>
              <a:gd name="connsiteX45" fmla="*/ 7815 w 10000"/>
              <a:gd name="connsiteY45" fmla="*/ 2880 h 10000"/>
              <a:gd name="connsiteX46" fmla="*/ 7815 w 10000"/>
              <a:gd name="connsiteY46" fmla="*/ 2935 h 10000"/>
              <a:gd name="connsiteX47" fmla="*/ 7815 w 10000"/>
              <a:gd name="connsiteY47" fmla="*/ 2989 h 10000"/>
              <a:gd name="connsiteX48" fmla="*/ 7815 w 10000"/>
              <a:gd name="connsiteY48" fmla="*/ 3043 h 10000"/>
              <a:gd name="connsiteX49" fmla="*/ 7899 w 10000"/>
              <a:gd name="connsiteY49" fmla="*/ 3043 h 10000"/>
              <a:gd name="connsiteX50" fmla="*/ 7983 w 10000"/>
              <a:gd name="connsiteY50" fmla="*/ 3043 h 10000"/>
              <a:gd name="connsiteX51" fmla="*/ 7983 w 10000"/>
              <a:gd name="connsiteY51" fmla="*/ 3098 h 10000"/>
              <a:gd name="connsiteX52" fmla="*/ 7983 w 10000"/>
              <a:gd name="connsiteY52" fmla="*/ 3152 h 10000"/>
              <a:gd name="connsiteX53" fmla="*/ 7983 w 10000"/>
              <a:gd name="connsiteY53" fmla="*/ 3207 h 10000"/>
              <a:gd name="connsiteX54" fmla="*/ 7983 w 10000"/>
              <a:gd name="connsiteY54" fmla="*/ 3261 h 10000"/>
              <a:gd name="connsiteX55" fmla="*/ 7983 w 10000"/>
              <a:gd name="connsiteY55" fmla="*/ 3315 h 10000"/>
              <a:gd name="connsiteX56" fmla="*/ 7899 w 10000"/>
              <a:gd name="connsiteY56" fmla="*/ 3370 h 10000"/>
              <a:gd name="connsiteX57" fmla="*/ 7899 w 10000"/>
              <a:gd name="connsiteY57" fmla="*/ 3424 h 10000"/>
              <a:gd name="connsiteX58" fmla="*/ 7815 w 10000"/>
              <a:gd name="connsiteY58" fmla="*/ 3424 h 10000"/>
              <a:gd name="connsiteX59" fmla="*/ 7731 w 10000"/>
              <a:gd name="connsiteY59" fmla="*/ 3478 h 10000"/>
              <a:gd name="connsiteX60" fmla="*/ 7731 w 10000"/>
              <a:gd name="connsiteY60" fmla="*/ 3533 h 10000"/>
              <a:gd name="connsiteX61" fmla="*/ 7731 w 10000"/>
              <a:gd name="connsiteY61" fmla="*/ 3587 h 10000"/>
              <a:gd name="connsiteX62" fmla="*/ 7731 w 10000"/>
              <a:gd name="connsiteY62" fmla="*/ 3641 h 10000"/>
              <a:gd name="connsiteX63" fmla="*/ 7731 w 10000"/>
              <a:gd name="connsiteY63" fmla="*/ 3696 h 10000"/>
              <a:gd name="connsiteX64" fmla="*/ 7647 w 10000"/>
              <a:gd name="connsiteY64" fmla="*/ 3696 h 10000"/>
              <a:gd name="connsiteX65" fmla="*/ 7563 w 10000"/>
              <a:gd name="connsiteY65" fmla="*/ 3750 h 10000"/>
              <a:gd name="connsiteX66" fmla="*/ 7479 w 10000"/>
              <a:gd name="connsiteY66" fmla="*/ 3750 h 10000"/>
              <a:gd name="connsiteX67" fmla="*/ 7479 w 10000"/>
              <a:gd name="connsiteY67" fmla="*/ 3804 h 10000"/>
              <a:gd name="connsiteX68" fmla="*/ 7479 w 10000"/>
              <a:gd name="connsiteY68" fmla="*/ 3859 h 10000"/>
              <a:gd name="connsiteX69" fmla="*/ 7395 w 10000"/>
              <a:gd name="connsiteY69" fmla="*/ 3859 h 10000"/>
              <a:gd name="connsiteX70" fmla="*/ 7395 w 10000"/>
              <a:gd name="connsiteY70" fmla="*/ 3913 h 10000"/>
              <a:gd name="connsiteX71" fmla="*/ 7311 w 10000"/>
              <a:gd name="connsiteY71" fmla="*/ 3913 h 10000"/>
              <a:gd name="connsiteX72" fmla="*/ 7227 w 10000"/>
              <a:gd name="connsiteY72" fmla="*/ 3913 h 10000"/>
              <a:gd name="connsiteX73" fmla="*/ 7227 w 10000"/>
              <a:gd name="connsiteY73" fmla="*/ 3967 h 10000"/>
              <a:gd name="connsiteX74" fmla="*/ 7143 w 10000"/>
              <a:gd name="connsiteY74" fmla="*/ 3967 h 10000"/>
              <a:gd name="connsiteX75" fmla="*/ 7143 w 10000"/>
              <a:gd name="connsiteY75" fmla="*/ 4022 h 10000"/>
              <a:gd name="connsiteX76" fmla="*/ 7143 w 10000"/>
              <a:gd name="connsiteY76" fmla="*/ 4076 h 10000"/>
              <a:gd name="connsiteX77" fmla="*/ 7143 w 10000"/>
              <a:gd name="connsiteY77" fmla="*/ 4130 h 10000"/>
              <a:gd name="connsiteX78" fmla="*/ 7227 w 10000"/>
              <a:gd name="connsiteY78" fmla="*/ 4130 h 10000"/>
              <a:gd name="connsiteX79" fmla="*/ 7227 w 10000"/>
              <a:gd name="connsiteY79" fmla="*/ 4185 h 10000"/>
              <a:gd name="connsiteX80" fmla="*/ 7227 w 10000"/>
              <a:gd name="connsiteY80" fmla="*/ 4239 h 10000"/>
              <a:gd name="connsiteX81" fmla="*/ 7227 w 10000"/>
              <a:gd name="connsiteY81" fmla="*/ 4293 h 10000"/>
              <a:gd name="connsiteX82" fmla="*/ 7227 w 10000"/>
              <a:gd name="connsiteY82" fmla="*/ 4348 h 10000"/>
              <a:gd name="connsiteX83" fmla="*/ 7311 w 10000"/>
              <a:gd name="connsiteY83" fmla="*/ 4402 h 10000"/>
              <a:gd name="connsiteX84" fmla="*/ 7311 w 10000"/>
              <a:gd name="connsiteY84" fmla="*/ 4457 h 10000"/>
              <a:gd name="connsiteX85" fmla="*/ 7311 w 10000"/>
              <a:gd name="connsiteY85" fmla="*/ 4511 h 10000"/>
              <a:gd name="connsiteX86" fmla="*/ 7311 w 10000"/>
              <a:gd name="connsiteY86" fmla="*/ 4565 h 10000"/>
              <a:gd name="connsiteX87" fmla="*/ 7311 w 10000"/>
              <a:gd name="connsiteY87" fmla="*/ 4620 h 10000"/>
              <a:gd name="connsiteX88" fmla="*/ 7395 w 10000"/>
              <a:gd name="connsiteY88" fmla="*/ 4620 h 10000"/>
              <a:gd name="connsiteX89" fmla="*/ 7479 w 10000"/>
              <a:gd name="connsiteY89" fmla="*/ 4620 h 10000"/>
              <a:gd name="connsiteX90" fmla="*/ 7479 w 10000"/>
              <a:gd name="connsiteY90" fmla="*/ 4674 h 10000"/>
              <a:gd name="connsiteX91" fmla="*/ 7395 w 10000"/>
              <a:gd name="connsiteY91" fmla="*/ 4674 h 10000"/>
              <a:gd name="connsiteX92" fmla="*/ 7395 w 10000"/>
              <a:gd name="connsiteY92" fmla="*/ 4728 h 10000"/>
              <a:gd name="connsiteX93" fmla="*/ 7311 w 10000"/>
              <a:gd name="connsiteY93" fmla="*/ 4728 h 10000"/>
              <a:gd name="connsiteX94" fmla="*/ 7311 w 10000"/>
              <a:gd name="connsiteY94" fmla="*/ 4783 h 10000"/>
              <a:gd name="connsiteX95" fmla="*/ 7311 w 10000"/>
              <a:gd name="connsiteY95" fmla="*/ 4837 h 10000"/>
              <a:gd name="connsiteX96" fmla="*/ 7395 w 10000"/>
              <a:gd name="connsiteY96" fmla="*/ 4837 h 10000"/>
              <a:gd name="connsiteX97" fmla="*/ 7395 w 10000"/>
              <a:gd name="connsiteY97" fmla="*/ 4891 h 10000"/>
              <a:gd name="connsiteX98" fmla="*/ 7479 w 10000"/>
              <a:gd name="connsiteY98" fmla="*/ 4891 h 10000"/>
              <a:gd name="connsiteX99" fmla="*/ 7479 w 10000"/>
              <a:gd name="connsiteY99" fmla="*/ 4946 h 10000"/>
              <a:gd name="connsiteX100" fmla="*/ 7563 w 10000"/>
              <a:gd name="connsiteY100" fmla="*/ 4946 h 10000"/>
              <a:gd name="connsiteX101" fmla="*/ 7647 w 10000"/>
              <a:gd name="connsiteY101" fmla="*/ 4946 h 10000"/>
              <a:gd name="connsiteX102" fmla="*/ 7647 w 10000"/>
              <a:gd name="connsiteY102" fmla="*/ 5000 h 10000"/>
              <a:gd name="connsiteX103" fmla="*/ 7731 w 10000"/>
              <a:gd name="connsiteY103" fmla="*/ 5000 h 10000"/>
              <a:gd name="connsiteX104" fmla="*/ 7731 w 10000"/>
              <a:gd name="connsiteY104" fmla="*/ 5054 h 10000"/>
              <a:gd name="connsiteX105" fmla="*/ 7647 w 10000"/>
              <a:gd name="connsiteY105" fmla="*/ 5054 h 10000"/>
              <a:gd name="connsiteX106" fmla="*/ 7647 w 10000"/>
              <a:gd name="connsiteY106" fmla="*/ 5109 h 10000"/>
              <a:gd name="connsiteX107" fmla="*/ 7563 w 10000"/>
              <a:gd name="connsiteY107" fmla="*/ 5109 h 10000"/>
              <a:gd name="connsiteX108" fmla="*/ 7563 w 10000"/>
              <a:gd name="connsiteY108" fmla="*/ 5163 h 10000"/>
              <a:gd name="connsiteX109" fmla="*/ 7563 w 10000"/>
              <a:gd name="connsiteY109" fmla="*/ 5217 h 10000"/>
              <a:gd name="connsiteX110" fmla="*/ 7563 w 10000"/>
              <a:gd name="connsiteY110" fmla="*/ 5272 h 10000"/>
              <a:gd name="connsiteX111" fmla="*/ 7479 w 10000"/>
              <a:gd name="connsiteY111" fmla="*/ 5272 h 10000"/>
              <a:gd name="connsiteX112" fmla="*/ 7479 w 10000"/>
              <a:gd name="connsiteY112" fmla="*/ 5326 h 10000"/>
              <a:gd name="connsiteX113" fmla="*/ 7563 w 10000"/>
              <a:gd name="connsiteY113" fmla="*/ 5326 h 10000"/>
              <a:gd name="connsiteX114" fmla="*/ 7563 w 10000"/>
              <a:gd name="connsiteY114" fmla="*/ 5272 h 10000"/>
              <a:gd name="connsiteX115" fmla="*/ 7563 w 10000"/>
              <a:gd name="connsiteY115" fmla="*/ 5326 h 10000"/>
              <a:gd name="connsiteX116" fmla="*/ 7563 w 10000"/>
              <a:gd name="connsiteY116" fmla="*/ 5380 h 10000"/>
              <a:gd name="connsiteX117" fmla="*/ 7563 w 10000"/>
              <a:gd name="connsiteY117" fmla="*/ 5435 h 10000"/>
              <a:gd name="connsiteX118" fmla="*/ 7647 w 10000"/>
              <a:gd name="connsiteY118" fmla="*/ 5435 h 10000"/>
              <a:gd name="connsiteX119" fmla="*/ 7647 w 10000"/>
              <a:gd name="connsiteY119" fmla="*/ 5489 h 10000"/>
              <a:gd name="connsiteX120" fmla="*/ 7647 w 10000"/>
              <a:gd name="connsiteY120" fmla="*/ 5543 h 10000"/>
              <a:gd name="connsiteX121" fmla="*/ 7731 w 10000"/>
              <a:gd name="connsiteY121" fmla="*/ 5543 h 10000"/>
              <a:gd name="connsiteX122" fmla="*/ 7815 w 10000"/>
              <a:gd name="connsiteY122" fmla="*/ 5543 h 10000"/>
              <a:gd name="connsiteX123" fmla="*/ 7815 w 10000"/>
              <a:gd name="connsiteY123" fmla="*/ 5598 h 10000"/>
              <a:gd name="connsiteX124" fmla="*/ 7815 w 10000"/>
              <a:gd name="connsiteY124" fmla="*/ 5652 h 10000"/>
              <a:gd name="connsiteX125" fmla="*/ 7899 w 10000"/>
              <a:gd name="connsiteY125" fmla="*/ 5652 h 10000"/>
              <a:gd name="connsiteX126" fmla="*/ 7983 w 10000"/>
              <a:gd name="connsiteY126" fmla="*/ 5652 h 10000"/>
              <a:gd name="connsiteX127" fmla="*/ 7983 w 10000"/>
              <a:gd name="connsiteY127" fmla="*/ 5707 h 10000"/>
              <a:gd name="connsiteX128" fmla="*/ 7983 w 10000"/>
              <a:gd name="connsiteY128" fmla="*/ 5761 h 10000"/>
              <a:gd name="connsiteX129" fmla="*/ 7983 w 10000"/>
              <a:gd name="connsiteY129" fmla="*/ 5815 h 10000"/>
              <a:gd name="connsiteX130" fmla="*/ 7899 w 10000"/>
              <a:gd name="connsiteY130" fmla="*/ 5815 h 10000"/>
              <a:gd name="connsiteX131" fmla="*/ 7899 w 10000"/>
              <a:gd name="connsiteY131" fmla="*/ 5870 h 10000"/>
              <a:gd name="connsiteX132" fmla="*/ 7815 w 10000"/>
              <a:gd name="connsiteY132" fmla="*/ 5870 h 10000"/>
              <a:gd name="connsiteX133" fmla="*/ 7815 w 10000"/>
              <a:gd name="connsiteY133" fmla="*/ 5924 h 10000"/>
              <a:gd name="connsiteX134" fmla="*/ 7731 w 10000"/>
              <a:gd name="connsiteY134" fmla="*/ 5924 h 10000"/>
              <a:gd name="connsiteX135" fmla="*/ 7731 w 10000"/>
              <a:gd name="connsiteY135" fmla="*/ 5978 h 10000"/>
              <a:gd name="connsiteX136" fmla="*/ 7815 w 10000"/>
              <a:gd name="connsiteY136" fmla="*/ 5978 h 10000"/>
              <a:gd name="connsiteX137" fmla="*/ 7815 w 10000"/>
              <a:gd name="connsiteY137" fmla="*/ 6033 h 10000"/>
              <a:gd name="connsiteX138" fmla="*/ 7815 w 10000"/>
              <a:gd name="connsiteY138" fmla="*/ 6087 h 10000"/>
              <a:gd name="connsiteX139" fmla="*/ 7815 w 10000"/>
              <a:gd name="connsiteY139" fmla="*/ 6141 h 10000"/>
              <a:gd name="connsiteX140" fmla="*/ 7815 w 10000"/>
              <a:gd name="connsiteY140" fmla="*/ 6196 h 10000"/>
              <a:gd name="connsiteX141" fmla="*/ 7731 w 10000"/>
              <a:gd name="connsiteY141" fmla="*/ 6196 h 10000"/>
              <a:gd name="connsiteX142" fmla="*/ 7731 w 10000"/>
              <a:gd name="connsiteY142" fmla="*/ 6250 h 10000"/>
              <a:gd name="connsiteX143" fmla="*/ 7815 w 10000"/>
              <a:gd name="connsiteY143" fmla="*/ 6250 h 10000"/>
              <a:gd name="connsiteX144" fmla="*/ 7815 w 10000"/>
              <a:gd name="connsiteY144" fmla="*/ 6304 h 10000"/>
              <a:gd name="connsiteX145" fmla="*/ 7899 w 10000"/>
              <a:gd name="connsiteY145" fmla="*/ 6304 h 10000"/>
              <a:gd name="connsiteX146" fmla="*/ 7815 w 10000"/>
              <a:gd name="connsiteY146" fmla="*/ 6304 h 10000"/>
              <a:gd name="connsiteX147" fmla="*/ 7815 w 10000"/>
              <a:gd name="connsiteY147" fmla="*/ 6359 h 10000"/>
              <a:gd name="connsiteX148" fmla="*/ 7731 w 10000"/>
              <a:gd name="connsiteY148" fmla="*/ 6359 h 10000"/>
              <a:gd name="connsiteX149" fmla="*/ 7731 w 10000"/>
              <a:gd name="connsiteY149" fmla="*/ 6413 h 10000"/>
              <a:gd name="connsiteX150" fmla="*/ 7815 w 10000"/>
              <a:gd name="connsiteY150" fmla="*/ 6413 h 10000"/>
              <a:gd name="connsiteX151" fmla="*/ 7815 w 10000"/>
              <a:gd name="connsiteY151" fmla="*/ 6467 h 10000"/>
              <a:gd name="connsiteX152" fmla="*/ 7731 w 10000"/>
              <a:gd name="connsiteY152" fmla="*/ 6467 h 10000"/>
              <a:gd name="connsiteX153" fmla="*/ 7731 w 10000"/>
              <a:gd name="connsiteY153" fmla="*/ 6522 h 10000"/>
              <a:gd name="connsiteX154" fmla="*/ 7731 w 10000"/>
              <a:gd name="connsiteY154" fmla="*/ 6576 h 10000"/>
              <a:gd name="connsiteX155" fmla="*/ 7731 w 10000"/>
              <a:gd name="connsiteY155" fmla="*/ 6630 h 10000"/>
              <a:gd name="connsiteX156" fmla="*/ 7731 w 10000"/>
              <a:gd name="connsiteY156" fmla="*/ 6685 h 10000"/>
              <a:gd name="connsiteX157" fmla="*/ 7731 w 10000"/>
              <a:gd name="connsiteY157" fmla="*/ 6739 h 10000"/>
              <a:gd name="connsiteX158" fmla="*/ 7815 w 10000"/>
              <a:gd name="connsiteY158" fmla="*/ 6793 h 10000"/>
              <a:gd name="connsiteX159" fmla="*/ 7815 w 10000"/>
              <a:gd name="connsiteY159" fmla="*/ 6739 h 10000"/>
              <a:gd name="connsiteX160" fmla="*/ 7899 w 10000"/>
              <a:gd name="connsiteY160" fmla="*/ 6739 h 10000"/>
              <a:gd name="connsiteX161" fmla="*/ 7899 w 10000"/>
              <a:gd name="connsiteY161" fmla="*/ 6793 h 10000"/>
              <a:gd name="connsiteX162" fmla="*/ 7983 w 10000"/>
              <a:gd name="connsiteY162" fmla="*/ 6793 h 10000"/>
              <a:gd name="connsiteX163" fmla="*/ 7983 w 10000"/>
              <a:gd name="connsiteY163" fmla="*/ 6739 h 10000"/>
              <a:gd name="connsiteX164" fmla="*/ 8067 w 10000"/>
              <a:gd name="connsiteY164" fmla="*/ 6739 h 10000"/>
              <a:gd name="connsiteX165" fmla="*/ 8067 w 10000"/>
              <a:gd name="connsiteY165" fmla="*/ 6793 h 10000"/>
              <a:gd name="connsiteX166" fmla="*/ 8067 w 10000"/>
              <a:gd name="connsiteY166" fmla="*/ 6848 h 10000"/>
              <a:gd name="connsiteX167" fmla="*/ 8067 w 10000"/>
              <a:gd name="connsiteY167" fmla="*/ 6902 h 10000"/>
              <a:gd name="connsiteX168" fmla="*/ 8151 w 10000"/>
              <a:gd name="connsiteY168" fmla="*/ 6902 h 10000"/>
              <a:gd name="connsiteX169" fmla="*/ 8151 w 10000"/>
              <a:gd name="connsiteY169" fmla="*/ 6957 h 10000"/>
              <a:gd name="connsiteX170" fmla="*/ 8151 w 10000"/>
              <a:gd name="connsiteY170" fmla="*/ 7011 h 10000"/>
              <a:gd name="connsiteX171" fmla="*/ 8235 w 10000"/>
              <a:gd name="connsiteY171" fmla="*/ 7011 h 10000"/>
              <a:gd name="connsiteX172" fmla="*/ 8235 w 10000"/>
              <a:gd name="connsiteY172" fmla="*/ 7065 h 10000"/>
              <a:gd name="connsiteX173" fmla="*/ 8319 w 10000"/>
              <a:gd name="connsiteY173" fmla="*/ 7065 h 10000"/>
              <a:gd name="connsiteX174" fmla="*/ 8319 w 10000"/>
              <a:gd name="connsiteY174" fmla="*/ 7120 h 10000"/>
              <a:gd name="connsiteX175" fmla="*/ 8235 w 10000"/>
              <a:gd name="connsiteY175" fmla="*/ 7174 h 10000"/>
              <a:gd name="connsiteX176" fmla="*/ 8319 w 10000"/>
              <a:gd name="connsiteY176" fmla="*/ 7174 h 10000"/>
              <a:gd name="connsiteX177" fmla="*/ 8403 w 10000"/>
              <a:gd name="connsiteY177" fmla="*/ 7228 h 10000"/>
              <a:gd name="connsiteX178" fmla="*/ 8403 w 10000"/>
              <a:gd name="connsiteY178" fmla="*/ 7283 h 10000"/>
              <a:gd name="connsiteX179" fmla="*/ 8487 w 10000"/>
              <a:gd name="connsiteY179" fmla="*/ 7283 h 10000"/>
              <a:gd name="connsiteX180" fmla="*/ 8487 w 10000"/>
              <a:gd name="connsiteY180" fmla="*/ 7337 h 10000"/>
              <a:gd name="connsiteX181" fmla="*/ 8571 w 10000"/>
              <a:gd name="connsiteY181" fmla="*/ 7391 h 10000"/>
              <a:gd name="connsiteX182" fmla="*/ 8571 w 10000"/>
              <a:gd name="connsiteY182" fmla="*/ 7446 h 10000"/>
              <a:gd name="connsiteX183" fmla="*/ 8655 w 10000"/>
              <a:gd name="connsiteY183" fmla="*/ 7500 h 10000"/>
              <a:gd name="connsiteX184" fmla="*/ 8655 w 10000"/>
              <a:gd name="connsiteY184" fmla="*/ 7554 h 10000"/>
              <a:gd name="connsiteX185" fmla="*/ 8655 w 10000"/>
              <a:gd name="connsiteY185" fmla="*/ 7609 h 10000"/>
              <a:gd name="connsiteX186" fmla="*/ 8739 w 10000"/>
              <a:gd name="connsiteY186" fmla="*/ 7609 h 10000"/>
              <a:gd name="connsiteX187" fmla="*/ 8739 w 10000"/>
              <a:gd name="connsiteY187" fmla="*/ 7663 h 10000"/>
              <a:gd name="connsiteX188" fmla="*/ 8824 w 10000"/>
              <a:gd name="connsiteY188" fmla="*/ 7663 h 10000"/>
              <a:gd name="connsiteX189" fmla="*/ 8739 w 10000"/>
              <a:gd name="connsiteY189" fmla="*/ 7663 h 10000"/>
              <a:gd name="connsiteX190" fmla="*/ 8739 w 10000"/>
              <a:gd name="connsiteY190" fmla="*/ 7717 h 10000"/>
              <a:gd name="connsiteX191" fmla="*/ 8824 w 10000"/>
              <a:gd name="connsiteY191" fmla="*/ 7717 h 10000"/>
              <a:gd name="connsiteX192" fmla="*/ 8824 w 10000"/>
              <a:gd name="connsiteY192" fmla="*/ 7772 h 10000"/>
              <a:gd name="connsiteX193" fmla="*/ 8739 w 10000"/>
              <a:gd name="connsiteY193" fmla="*/ 7772 h 10000"/>
              <a:gd name="connsiteX194" fmla="*/ 8824 w 10000"/>
              <a:gd name="connsiteY194" fmla="*/ 7826 h 10000"/>
              <a:gd name="connsiteX195" fmla="*/ 8739 w 10000"/>
              <a:gd name="connsiteY195" fmla="*/ 7880 h 10000"/>
              <a:gd name="connsiteX196" fmla="*/ 8655 w 10000"/>
              <a:gd name="connsiteY196" fmla="*/ 7880 h 10000"/>
              <a:gd name="connsiteX197" fmla="*/ 8655 w 10000"/>
              <a:gd name="connsiteY197" fmla="*/ 7935 h 10000"/>
              <a:gd name="connsiteX198" fmla="*/ 8655 w 10000"/>
              <a:gd name="connsiteY198" fmla="*/ 7989 h 10000"/>
              <a:gd name="connsiteX199" fmla="*/ 8655 w 10000"/>
              <a:gd name="connsiteY199" fmla="*/ 8043 h 10000"/>
              <a:gd name="connsiteX200" fmla="*/ 8655 w 10000"/>
              <a:gd name="connsiteY200" fmla="*/ 8098 h 10000"/>
              <a:gd name="connsiteX201" fmla="*/ 8655 w 10000"/>
              <a:gd name="connsiteY201" fmla="*/ 8152 h 10000"/>
              <a:gd name="connsiteX202" fmla="*/ 8571 w 10000"/>
              <a:gd name="connsiteY202" fmla="*/ 8152 h 10000"/>
              <a:gd name="connsiteX203" fmla="*/ 8571 w 10000"/>
              <a:gd name="connsiteY203" fmla="*/ 8207 h 10000"/>
              <a:gd name="connsiteX204" fmla="*/ 8655 w 10000"/>
              <a:gd name="connsiteY204" fmla="*/ 8207 h 10000"/>
              <a:gd name="connsiteX205" fmla="*/ 8655 w 10000"/>
              <a:gd name="connsiteY205" fmla="*/ 8261 h 10000"/>
              <a:gd name="connsiteX206" fmla="*/ 8739 w 10000"/>
              <a:gd name="connsiteY206" fmla="*/ 8261 h 10000"/>
              <a:gd name="connsiteX207" fmla="*/ 8739 w 10000"/>
              <a:gd name="connsiteY207" fmla="*/ 8315 h 10000"/>
              <a:gd name="connsiteX208" fmla="*/ 8739 w 10000"/>
              <a:gd name="connsiteY208" fmla="*/ 8370 h 10000"/>
              <a:gd name="connsiteX209" fmla="*/ 8824 w 10000"/>
              <a:gd name="connsiteY209" fmla="*/ 8370 h 10000"/>
              <a:gd name="connsiteX210" fmla="*/ 8824 w 10000"/>
              <a:gd name="connsiteY210" fmla="*/ 8424 h 10000"/>
              <a:gd name="connsiteX211" fmla="*/ 8908 w 10000"/>
              <a:gd name="connsiteY211" fmla="*/ 8424 h 10000"/>
              <a:gd name="connsiteX212" fmla="*/ 8908 w 10000"/>
              <a:gd name="connsiteY212" fmla="*/ 8478 h 10000"/>
              <a:gd name="connsiteX213" fmla="*/ 8992 w 10000"/>
              <a:gd name="connsiteY213" fmla="*/ 8533 h 10000"/>
              <a:gd name="connsiteX214" fmla="*/ 8992 w 10000"/>
              <a:gd name="connsiteY214" fmla="*/ 8587 h 10000"/>
              <a:gd name="connsiteX215" fmla="*/ 8908 w 10000"/>
              <a:gd name="connsiteY215" fmla="*/ 8641 h 10000"/>
              <a:gd name="connsiteX216" fmla="*/ 8824 w 10000"/>
              <a:gd name="connsiteY216" fmla="*/ 8641 h 10000"/>
              <a:gd name="connsiteX217" fmla="*/ 8824 w 10000"/>
              <a:gd name="connsiteY217" fmla="*/ 8696 h 10000"/>
              <a:gd name="connsiteX218" fmla="*/ 8908 w 10000"/>
              <a:gd name="connsiteY218" fmla="*/ 8696 h 10000"/>
              <a:gd name="connsiteX219" fmla="*/ 8908 w 10000"/>
              <a:gd name="connsiteY219" fmla="*/ 8750 h 10000"/>
              <a:gd name="connsiteX220" fmla="*/ 8992 w 10000"/>
              <a:gd name="connsiteY220" fmla="*/ 8750 h 10000"/>
              <a:gd name="connsiteX221" fmla="*/ 8992 w 10000"/>
              <a:gd name="connsiteY221" fmla="*/ 8804 h 10000"/>
              <a:gd name="connsiteX222" fmla="*/ 9076 w 10000"/>
              <a:gd name="connsiteY222" fmla="*/ 8804 h 10000"/>
              <a:gd name="connsiteX223" fmla="*/ 9076 w 10000"/>
              <a:gd name="connsiteY223" fmla="*/ 8859 h 10000"/>
              <a:gd name="connsiteX224" fmla="*/ 9160 w 10000"/>
              <a:gd name="connsiteY224" fmla="*/ 8859 h 10000"/>
              <a:gd name="connsiteX225" fmla="*/ 9160 w 10000"/>
              <a:gd name="connsiteY225" fmla="*/ 8913 h 10000"/>
              <a:gd name="connsiteX226" fmla="*/ 9160 w 10000"/>
              <a:gd name="connsiteY226" fmla="*/ 8967 h 10000"/>
              <a:gd name="connsiteX227" fmla="*/ 9244 w 10000"/>
              <a:gd name="connsiteY227" fmla="*/ 8967 h 10000"/>
              <a:gd name="connsiteX228" fmla="*/ 9244 w 10000"/>
              <a:gd name="connsiteY228" fmla="*/ 9022 h 10000"/>
              <a:gd name="connsiteX229" fmla="*/ 9328 w 10000"/>
              <a:gd name="connsiteY229" fmla="*/ 9022 h 10000"/>
              <a:gd name="connsiteX230" fmla="*/ 9328 w 10000"/>
              <a:gd name="connsiteY230" fmla="*/ 9076 h 10000"/>
              <a:gd name="connsiteX231" fmla="*/ 9328 w 10000"/>
              <a:gd name="connsiteY231" fmla="*/ 9130 h 10000"/>
              <a:gd name="connsiteX232" fmla="*/ 9328 w 10000"/>
              <a:gd name="connsiteY232" fmla="*/ 9185 h 10000"/>
              <a:gd name="connsiteX233" fmla="*/ 9328 w 10000"/>
              <a:gd name="connsiteY233" fmla="*/ 9239 h 10000"/>
              <a:gd name="connsiteX234" fmla="*/ 9412 w 10000"/>
              <a:gd name="connsiteY234" fmla="*/ 9293 h 10000"/>
              <a:gd name="connsiteX235" fmla="*/ 9496 w 10000"/>
              <a:gd name="connsiteY235" fmla="*/ 9348 h 10000"/>
              <a:gd name="connsiteX236" fmla="*/ 9496 w 10000"/>
              <a:gd name="connsiteY236" fmla="*/ 9402 h 10000"/>
              <a:gd name="connsiteX237" fmla="*/ 9496 w 10000"/>
              <a:gd name="connsiteY237" fmla="*/ 9457 h 10000"/>
              <a:gd name="connsiteX238" fmla="*/ 9580 w 10000"/>
              <a:gd name="connsiteY238" fmla="*/ 9457 h 10000"/>
              <a:gd name="connsiteX239" fmla="*/ 9580 w 10000"/>
              <a:gd name="connsiteY239" fmla="*/ 9511 h 10000"/>
              <a:gd name="connsiteX240" fmla="*/ 9664 w 10000"/>
              <a:gd name="connsiteY240" fmla="*/ 9511 h 10000"/>
              <a:gd name="connsiteX241" fmla="*/ 9244 w 10000"/>
              <a:gd name="connsiteY241" fmla="*/ 9620 h 10000"/>
              <a:gd name="connsiteX242" fmla="*/ 8824 w 10000"/>
              <a:gd name="connsiteY242" fmla="*/ 10000 h 10000"/>
              <a:gd name="connsiteX243" fmla="*/ 7395 w 10000"/>
              <a:gd name="connsiteY243" fmla="*/ 9946 h 10000"/>
              <a:gd name="connsiteX244" fmla="*/ 6134 w 10000"/>
              <a:gd name="connsiteY244" fmla="*/ 8207 h 10000"/>
              <a:gd name="connsiteX245" fmla="*/ 5882 w 10000"/>
              <a:gd name="connsiteY245" fmla="*/ 7717 h 10000"/>
              <a:gd name="connsiteX246" fmla="*/ 4790 w 10000"/>
              <a:gd name="connsiteY246" fmla="*/ 7663 h 10000"/>
              <a:gd name="connsiteX247" fmla="*/ 4790 w 10000"/>
              <a:gd name="connsiteY247" fmla="*/ 7609 h 10000"/>
              <a:gd name="connsiteX248" fmla="*/ 4790 w 10000"/>
              <a:gd name="connsiteY248" fmla="*/ 7554 h 10000"/>
              <a:gd name="connsiteX249" fmla="*/ 4790 w 10000"/>
              <a:gd name="connsiteY249" fmla="*/ 7500 h 10000"/>
              <a:gd name="connsiteX250" fmla="*/ 4790 w 10000"/>
              <a:gd name="connsiteY250" fmla="*/ 7446 h 10000"/>
              <a:gd name="connsiteX251" fmla="*/ 4790 w 10000"/>
              <a:gd name="connsiteY251" fmla="*/ 7391 h 10000"/>
              <a:gd name="connsiteX252" fmla="*/ 4706 w 10000"/>
              <a:gd name="connsiteY252" fmla="*/ 7337 h 10000"/>
              <a:gd name="connsiteX253" fmla="*/ 4706 w 10000"/>
              <a:gd name="connsiteY253" fmla="*/ 7283 h 10000"/>
              <a:gd name="connsiteX254" fmla="*/ 4706 w 10000"/>
              <a:gd name="connsiteY254" fmla="*/ 7228 h 10000"/>
              <a:gd name="connsiteX255" fmla="*/ 4706 w 10000"/>
              <a:gd name="connsiteY255" fmla="*/ 7174 h 10000"/>
              <a:gd name="connsiteX256" fmla="*/ 4706 w 10000"/>
              <a:gd name="connsiteY256" fmla="*/ 7120 h 10000"/>
              <a:gd name="connsiteX257" fmla="*/ 4706 w 10000"/>
              <a:gd name="connsiteY257" fmla="*/ 7065 h 10000"/>
              <a:gd name="connsiteX258" fmla="*/ 4538 w 10000"/>
              <a:gd name="connsiteY258" fmla="*/ 5870 h 10000"/>
              <a:gd name="connsiteX259" fmla="*/ 4286 w 10000"/>
              <a:gd name="connsiteY259" fmla="*/ 5707 h 10000"/>
              <a:gd name="connsiteX260" fmla="*/ 3025 w 10000"/>
              <a:gd name="connsiteY260" fmla="*/ 5217 h 10000"/>
              <a:gd name="connsiteX261" fmla="*/ 2857 w 10000"/>
              <a:gd name="connsiteY261" fmla="*/ 5109 h 10000"/>
              <a:gd name="connsiteX262" fmla="*/ 2773 w 10000"/>
              <a:gd name="connsiteY262" fmla="*/ 5000 h 10000"/>
              <a:gd name="connsiteX263" fmla="*/ 1849 w 10000"/>
              <a:gd name="connsiteY263" fmla="*/ 3913 h 10000"/>
              <a:gd name="connsiteX264" fmla="*/ 0 w 10000"/>
              <a:gd name="connsiteY264" fmla="*/ 3913 h 10000"/>
              <a:gd name="connsiteX265" fmla="*/ 252 w 10000"/>
              <a:gd name="connsiteY265" fmla="*/ 3750 h 10000"/>
              <a:gd name="connsiteX266" fmla="*/ 336 w 10000"/>
              <a:gd name="connsiteY266" fmla="*/ 3750 h 10000"/>
              <a:gd name="connsiteX267" fmla="*/ 420 w 10000"/>
              <a:gd name="connsiteY267" fmla="*/ 3696 h 10000"/>
              <a:gd name="connsiteX268" fmla="*/ 336 w 10000"/>
              <a:gd name="connsiteY268" fmla="*/ 3587 h 10000"/>
              <a:gd name="connsiteX269" fmla="*/ 420 w 10000"/>
              <a:gd name="connsiteY269" fmla="*/ 3424 h 10000"/>
              <a:gd name="connsiteX270" fmla="*/ 504 w 10000"/>
              <a:gd name="connsiteY270" fmla="*/ 3370 h 10000"/>
              <a:gd name="connsiteX271" fmla="*/ 756 w 10000"/>
              <a:gd name="connsiteY271" fmla="*/ 3315 h 10000"/>
              <a:gd name="connsiteX272" fmla="*/ 840 w 10000"/>
              <a:gd name="connsiteY272" fmla="*/ 3370 h 10000"/>
              <a:gd name="connsiteX273" fmla="*/ 1092 w 10000"/>
              <a:gd name="connsiteY273" fmla="*/ 3098 h 10000"/>
              <a:gd name="connsiteX274" fmla="*/ 1008 w 10000"/>
              <a:gd name="connsiteY274" fmla="*/ 2989 h 10000"/>
              <a:gd name="connsiteX275" fmla="*/ 924 w 10000"/>
              <a:gd name="connsiteY275" fmla="*/ 2935 h 10000"/>
              <a:gd name="connsiteX276" fmla="*/ 840 w 10000"/>
              <a:gd name="connsiteY276" fmla="*/ 2935 h 10000"/>
              <a:gd name="connsiteX277" fmla="*/ 336 w 10000"/>
              <a:gd name="connsiteY277" fmla="*/ 2772 h 10000"/>
              <a:gd name="connsiteX278" fmla="*/ 420 w 10000"/>
              <a:gd name="connsiteY278" fmla="*/ 2554 h 10000"/>
              <a:gd name="connsiteX279" fmla="*/ 1092 w 10000"/>
              <a:gd name="connsiteY279" fmla="*/ 2174 h 10000"/>
              <a:gd name="connsiteX280" fmla="*/ 1429 w 10000"/>
              <a:gd name="connsiteY280" fmla="*/ 1848 h 10000"/>
              <a:gd name="connsiteX281" fmla="*/ 1513 w 10000"/>
              <a:gd name="connsiteY281" fmla="*/ 1793 h 10000"/>
              <a:gd name="connsiteX282" fmla="*/ 1681 w 10000"/>
              <a:gd name="connsiteY282" fmla="*/ 1739 h 10000"/>
              <a:gd name="connsiteX283" fmla="*/ 1765 w 10000"/>
              <a:gd name="connsiteY283" fmla="*/ 1739 h 10000"/>
              <a:gd name="connsiteX284" fmla="*/ 2773 w 10000"/>
              <a:gd name="connsiteY284" fmla="*/ 1739 h 10000"/>
              <a:gd name="connsiteX285" fmla="*/ 3950 w 10000"/>
              <a:gd name="connsiteY285" fmla="*/ 1739 h 10000"/>
              <a:gd name="connsiteX286" fmla="*/ 3950 w 10000"/>
              <a:gd name="connsiteY286" fmla="*/ 707 h 10000"/>
              <a:gd name="connsiteX287" fmla="*/ 5630 w 10000"/>
              <a:gd name="connsiteY287" fmla="*/ 109 h 10000"/>
              <a:gd name="connsiteX288" fmla="*/ 5798 w 10000"/>
              <a:gd name="connsiteY288" fmla="*/ 0 h 10000"/>
              <a:gd name="connsiteX0" fmla="*/ 5798 w 10000"/>
              <a:gd name="connsiteY0" fmla="*/ 0 h 10000"/>
              <a:gd name="connsiteX1" fmla="*/ 5966 w 10000"/>
              <a:gd name="connsiteY1" fmla="*/ 0 h 10000"/>
              <a:gd name="connsiteX2" fmla="*/ 6218 w 10000"/>
              <a:gd name="connsiteY2" fmla="*/ 0 h 10000"/>
              <a:gd name="connsiteX3" fmla="*/ 6555 w 10000"/>
              <a:gd name="connsiteY3" fmla="*/ 109 h 10000"/>
              <a:gd name="connsiteX4" fmla="*/ 6975 w 10000"/>
              <a:gd name="connsiteY4" fmla="*/ 326 h 10000"/>
              <a:gd name="connsiteX5" fmla="*/ 7395 w 10000"/>
              <a:gd name="connsiteY5" fmla="*/ 489 h 10000"/>
              <a:gd name="connsiteX6" fmla="*/ 7563 w 10000"/>
              <a:gd name="connsiteY6" fmla="*/ 543 h 10000"/>
              <a:gd name="connsiteX7" fmla="*/ 8319 w 10000"/>
              <a:gd name="connsiteY7" fmla="*/ 870 h 10000"/>
              <a:gd name="connsiteX8" fmla="*/ 9076 w 10000"/>
              <a:gd name="connsiteY8" fmla="*/ 1141 h 10000"/>
              <a:gd name="connsiteX9" fmla="*/ 9916 w 10000"/>
              <a:gd name="connsiteY9" fmla="*/ 1630 h 10000"/>
              <a:gd name="connsiteX10" fmla="*/ 10000 w 10000"/>
              <a:gd name="connsiteY10" fmla="*/ 1685 h 10000"/>
              <a:gd name="connsiteX11" fmla="*/ 9916 w 10000"/>
              <a:gd name="connsiteY11" fmla="*/ 2446 h 10000"/>
              <a:gd name="connsiteX12" fmla="*/ 9832 w 10000"/>
              <a:gd name="connsiteY12" fmla="*/ 2446 h 10000"/>
              <a:gd name="connsiteX13" fmla="*/ 9832 w 10000"/>
              <a:gd name="connsiteY13" fmla="*/ 2554 h 10000"/>
              <a:gd name="connsiteX14" fmla="*/ 9748 w 10000"/>
              <a:gd name="connsiteY14" fmla="*/ 2554 h 10000"/>
              <a:gd name="connsiteX15" fmla="*/ 9664 w 10000"/>
              <a:gd name="connsiteY15" fmla="*/ 2500 h 10000"/>
              <a:gd name="connsiteX16" fmla="*/ 9580 w 10000"/>
              <a:gd name="connsiteY16" fmla="*/ 2500 h 10000"/>
              <a:gd name="connsiteX17" fmla="*/ 9580 w 10000"/>
              <a:gd name="connsiteY17" fmla="*/ 2446 h 10000"/>
              <a:gd name="connsiteX18" fmla="*/ 9496 w 10000"/>
              <a:gd name="connsiteY18" fmla="*/ 2446 h 10000"/>
              <a:gd name="connsiteX19" fmla="*/ 9328 w 10000"/>
              <a:gd name="connsiteY19" fmla="*/ 2446 h 10000"/>
              <a:gd name="connsiteX20" fmla="*/ 9244 w 10000"/>
              <a:gd name="connsiteY20" fmla="*/ 2446 h 10000"/>
              <a:gd name="connsiteX21" fmla="*/ 9160 w 10000"/>
              <a:gd name="connsiteY21" fmla="*/ 2446 h 10000"/>
              <a:gd name="connsiteX22" fmla="*/ 9076 w 10000"/>
              <a:gd name="connsiteY22" fmla="*/ 2446 h 10000"/>
              <a:gd name="connsiteX23" fmla="*/ 8992 w 10000"/>
              <a:gd name="connsiteY23" fmla="*/ 2446 h 10000"/>
              <a:gd name="connsiteX24" fmla="*/ 8908 w 10000"/>
              <a:gd name="connsiteY24" fmla="*/ 2446 h 10000"/>
              <a:gd name="connsiteX25" fmla="*/ 8824 w 10000"/>
              <a:gd name="connsiteY25" fmla="*/ 2446 h 10000"/>
              <a:gd name="connsiteX26" fmla="*/ 8739 w 10000"/>
              <a:gd name="connsiteY26" fmla="*/ 2391 h 10000"/>
              <a:gd name="connsiteX27" fmla="*/ 8655 w 10000"/>
              <a:gd name="connsiteY27" fmla="*/ 2391 h 10000"/>
              <a:gd name="connsiteX28" fmla="*/ 8655 w 10000"/>
              <a:gd name="connsiteY28" fmla="*/ 2446 h 10000"/>
              <a:gd name="connsiteX29" fmla="*/ 8571 w 10000"/>
              <a:gd name="connsiteY29" fmla="*/ 2446 h 10000"/>
              <a:gd name="connsiteX30" fmla="*/ 8487 w 10000"/>
              <a:gd name="connsiteY30" fmla="*/ 2500 h 10000"/>
              <a:gd name="connsiteX31" fmla="*/ 8487 w 10000"/>
              <a:gd name="connsiteY31" fmla="*/ 2446 h 10000"/>
              <a:gd name="connsiteX32" fmla="*/ 8403 w 10000"/>
              <a:gd name="connsiteY32" fmla="*/ 2446 h 10000"/>
              <a:gd name="connsiteX33" fmla="*/ 8403 w 10000"/>
              <a:gd name="connsiteY33" fmla="*/ 2500 h 10000"/>
              <a:gd name="connsiteX34" fmla="*/ 8319 w 10000"/>
              <a:gd name="connsiteY34" fmla="*/ 2500 h 10000"/>
              <a:gd name="connsiteX35" fmla="*/ 8235 w 10000"/>
              <a:gd name="connsiteY35" fmla="*/ 2554 h 10000"/>
              <a:gd name="connsiteX36" fmla="*/ 8151 w 10000"/>
              <a:gd name="connsiteY36" fmla="*/ 2609 h 10000"/>
              <a:gd name="connsiteX37" fmla="*/ 8151 w 10000"/>
              <a:gd name="connsiteY37" fmla="*/ 2663 h 10000"/>
              <a:gd name="connsiteX38" fmla="*/ 8151 w 10000"/>
              <a:gd name="connsiteY38" fmla="*/ 2717 h 10000"/>
              <a:gd name="connsiteX39" fmla="*/ 8067 w 10000"/>
              <a:gd name="connsiteY39" fmla="*/ 2717 h 10000"/>
              <a:gd name="connsiteX40" fmla="*/ 7983 w 10000"/>
              <a:gd name="connsiteY40" fmla="*/ 2717 h 10000"/>
              <a:gd name="connsiteX41" fmla="*/ 7983 w 10000"/>
              <a:gd name="connsiteY41" fmla="*/ 2772 h 10000"/>
              <a:gd name="connsiteX42" fmla="*/ 7983 w 10000"/>
              <a:gd name="connsiteY42" fmla="*/ 2826 h 10000"/>
              <a:gd name="connsiteX43" fmla="*/ 7983 w 10000"/>
              <a:gd name="connsiteY43" fmla="*/ 2880 h 10000"/>
              <a:gd name="connsiteX44" fmla="*/ 7899 w 10000"/>
              <a:gd name="connsiteY44" fmla="*/ 2880 h 10000"/>
              <a:gd name="connsiteX45" fmla="*/ 7815 w 10000"/>
              <a:gd name="connsiteY45" fmla="*/ 2880 h 10000"/>
              <a:gd name="connsiteX46" fmla="*/ 7815 w 10000"/>
              <a:gd name="connsiteY46" fmla="*/ 2935 h 10000"/>
              <a:gd name="connsiteX47" fmla="*/ 7815 w 10000"/>
              <a:gd name="connsiteY47" fmla="*/ 2989 h 10000"/>
              <a:gd name="connsiteX48" fmla="*/ 7815 w 10000"/>
              <a:gd name="connsiteY48" fmla="*/ 3043 h 10000"/>
              <a:gd name="connsiteX49" fmla="*/ 7899 w 10000"/>
              <a:gd name="connsiteY49" fmla="*/ 3043 h 10000"/>
              <a:gd name="connsiteX50" fmla="*/ 7983 w 10000"/>
              <a:gd name="connsiteY50" fmla="*/ 3043 h 10000"/>
              <a:gd name="connsiteX51" fmla="*/ 7983 w 10000"/>
              <a:gd name="connsiteY51" fmla="*/ 3098 h 10000"/>
              <a:gd name="connsiteX52" fmla="*/ 7983 w 10000"/>
              <a:gd name="connsiteY52" fmla="*/ 3152 h 10000"/>
              <a:gd name="connsiteX53" fmla="*/ 7983 w 10000"/>
              <a:gd name="connsiteY53" fmla="*/ 3207 h 10000"/>
              <a:gd name="connsiteX54" fmla="*/ 7983 w 10000"/>
              <a:gd name="connsiteY54" fmla="*/ 3261 h 10000"/>
              <a:gd name="connsiteX55" fmla="*/ 7983 w 10000"/>
              <a:gd name="connsiteY55" fmla="*/ 3315 h 10000"/>
              <a:gd name="connsiteX56" fmla="*/ 7899 w 10000"/>
              <a:gd name="connsiteY56" fmla="*/ 3370 h 10000"/>
              <a:gd name="connsiteX57" fmla="*/ 7899 w 10000"/>
              <a:gd name="connsiteY57" fmla="*/ 3424 h 10000"/>
              <a:gd name="connsiteX58" fmla="*/ 7815 w 10000"/>
              <a:gd name="connsiteY58" fmla="*/ 3424 h 10000"/>
              <a:gd name="connsiteX59" fmla="*/ 7731 w 10000"/>
              <a:gd name="connsiteY59" fmla="*/ 3478 h 10000"/>
              <a:gd name="connsiteX60" fmla="*/ 7731 w 10000"/>
              <a:gd name="connsiteY60" fmla="*/ 3533 h 10000"/>
              <a:gd name="connsiteX61" fmla="*/ 7731 w 10000"/>
              <a:gd name="connsiteY61" fmla="*/ 3587 h 10000"/>
              <a:gd name="connsiteX62" fmla="*/ 7731 w 10000"/>
              <a:gd name="connsiteY62" fmla="*/ 3641 h 10000"/>
              <a:gd name="connsiteX63" fmla="*/ 7731 w 10000"/>
              <a:gd name="connsiteY63" fmla="*/ 3696 h 10000"/>
              <a:gd name="connsiteX64" fmla="*/ 7647 w 10000"/>
              <a:gd name="connsiteY64" fmla="*/ 3696 h 10000"/>
              <a:gd name="connsiteX65" fmla="*/ 7563 w 10000"/>
              <a:gd name="connsiteY65" fmla="*/ 3750 h 10000"/>
              <a:gd name="connsiteX66" fmla="*/ 7479 w 10000"/>
              <a:gd name="connsiteY66" fmla="*/ 3750 h 10000"/>
              <a:gd name="connsiteX67" fmla="*/ 7479 w 10000"/>
              <a:gd name="connsiteY67" fmla="*/ 3804 h 10000"/>
              <a:gd name="connsiteX68" fmla="*/ 7479 w 10000"/>
              <a:gd name="connsiteY68" fmla="*/ 3859 h 10000"/>
              <a:gd name="connsiteX69" fmla="*/ 7395 w 10000"/>
              <a:gd name="connsiteY69" fmla="*/ 3859 h 10000"/>
              <a:gd name="connsiteX70" fmla="*/ 7395 w 10000"/>
              <a:gd name="connsiteY70" fmla="*/ 3913 h 10000"/>
              <a:gd name="connsiteX71" fmla="*/ 7311 w 10000"/>
              <a:gd name="connsiteY71" fmla="*/ 3913 h 10000"/>
              <a:gd name="connsiteX72" fmla="*/ 7227 w 10000"/>
              <a:gd name="connsiteY72" fmla="*/ 3913 h 10000"/>
              <a:gd name="connsiteX73" fmla="*/ 7227 w 10000"/>
              <a:gd name="connsiteY73" fmla="*/ 3967 h 10000"/>
              <a:gd name="connsiteX74" fmla="*/ 7143 w 10000"/>
              <a:gd name="connsiteY74" fmla="*/ 3967 h 10000"/>
              <a:gd name="connsiteX75" fmla="*/ 7143 w 10000"/>
              <a:gd name="connsiteY75" fmla="*/ 4022 h 10000"/>
              <a:gd name="connsiteX76" fmla="*/ 7143 w 10000"/>
              <a:gd name="connsiteY76" fmla="*/ 4076 h 10000"/>
              <a:gd name="connsiteX77" fmla="*/ 7143 w 10000"/>
              <a:gd name="connsiteY77" fmla="*/ 4130 h 10000"/>
              <a:gd name="connsiteX78" fmla="*/ 7227 w 10000"/>
              <a:gd name="connsiteY78" fmla="*/ 4130 h 10000"/>
              <a:gd name="connsiteX79" fmla="*/ 7227 w 10000"/>
              <a:gd name="connsiteY79" fmla="*/ 4185 h 10000"/>
              <a:gd name="connsiteX80" fmla="*/ 7227 w 10000"/>
              <a:gd name="connsiteY80" fmla="*/ 4239 h 10000"/>
              <a:gd name="connsiteX81" fmla="*/ 7227 w 10000"/>
              <a:gd name="connsiteY81" fmla="*/ 4293 h 10000"/>
              <a:gd name="connsiteX82" fmla="*/ 7227 w 10000"/>
              <a:gd name="connsiteY82" fmla="*/ 4348 h 10000"/>
              <a:gd name="connsiteX83" fmla="*/ 7311 w 10000"/>
              <a:gd name="connsiteY83" fmla="*/ 4402 h 10000"/>
              <a:gd name="connsiteX84" fmla="*/ 7311 w 10000"/>
              <a:gd name="connsiteY84" fmla="*/ 4457 h 10000"/>
              <a:gd name="connsiteX85" fmla="*/ 7311 w 10000"/>
              <a:gd name="connsiteY85" fmla="*/ 4511 h 10000"/>
              <a:gd name="connsiteX86" fmla="*/ 7311 w 10000"/>
              <a:gd name="connsiteY86" fmla="*/ 4565 h 10000"/>
              <a:gd name="connsiteX87" fmla="*/ 7311 w 10000"/>
              <a:gd name="connsiteY87" fmla="*/ 4620 h 10000"/>
              <a:gd name="connsiteX88" fmla="*/ 7395 w 10000"/>
              <a:gd name="connsiteY88" fmla="*/ 4620 h 10000"/>
              <a:gd name="connsiteX89" fmla="*/ 7479 w 10000"/>
              <a:gd name="connsiteY89" fmla="*/ 4620 h 10000"/>
              <a:gd name="connsiteX90" fmla="*/ 7479 w 10000"/>
              <a:gd name="connsiteY90" fmla="*/ 4674 h 10000"/>
              <a:gd name="connsiteX91" fmla="*/ 7395 w 10000"/>
              <a:gd name="connsiteY91" fmla="*/ 4674 h 10000"/>
              <a:gd name="connsiteX92" fmla="*/ 7395 w 10000"/>
              <a:gd name="connsiteY92" fmla="*/ 4728 h 10000"/>
              <a:gd name="connsiteX93" fmla="*/ 7311 w 10000"/>
              <a:gd name="connsiteY93" fmla="*/ 4728 h 10000"/>
              <a:gd name="connsiteX94" fmla="*/ 7311 w 10000"/>
              <a:gd name="connsiteY94" fmla="*/ 4783 h 10000"/>
              <a:gd name="connsiteX95" fmla="*/ 7311 w 10000"/>
              <a:gd name="connsiteY95" fmla="*/ 4837 h 10000"/>
              <a:gd name="connsiteX96" fmla="*/ 7395 w 10000"/>
              <a:gd name="connsiteY96" fmla="*/ 4837 h 10000"/>
              <a:gd name="connsiteX97" fmla="*/ 7395 w 10000"/>
              <a:gd name="connsiteY97" fmla="*/ 4891 h 10000"/>
              <a:gd name="connsiteX98" fmla="*/ 7479 w 10000"/>
              <a:gd name="connsiteY98" fmla="*/ 4891 h 10000"/>
              <a:gd name="connsiteX99" fmla="*/ 7479 w 10000"/>
              <a:gd name="connsiteY99" fmla="*/ 4946 h 10000"/>
              <a:gd name="connsiteX100" fmla="*/ 7563 w 10000"/>
              <a:gd name="connsiteY100" fmla="*/ 4946 h 10000"/>
              <a:gd name="connsiteX101" fmla="*/ 7647 w 10000"/>
              <a:gd name="connsiteY101" fmla="*/ 4946 h 10000"/>
              <a:gd name="connsiteX102" fmla="*/ 7647 w 10000"/>
              <a:gd name="connsiteY102" fmla="*/ 5000 h 10000"/>
              <a:gd name="connsiteX103" fmla="*/ 7731 w 10000"/>
              <a:gd name="connsiteY103" fmla="*/ 5000 h 10000"/>
              <a:gd name="connsiteX104" fmla="*/ 7731 w 10000"/>
              <a:gd name="connsiteY104" fmla="*/ 5054 h 10000"/>
              <a:gd name="connsiteX105" fmla="*/ 7647 w 10000"/>
              <a:gd name="connsiteY105" fmla="*/ 5054 h 10000"/>
              <a:gd name="connsiteX106" fmla="*/ 7647 w 10000"/>
              <a:gd name="connsiteY106" fmla="*/ 5109 h 10000"/>
              <a:gd name="connsiteX107" fmla="*/ 7563 w 10000"/>
              <a:gd name="connsiteY107" fmla="*/ 5109 h 10000"/>
              <a:gd name="connsiteX108" fmla="*/ 7563 w 10000"/>
              <a:gd name="connsiteY108" fmla="*/ 5163 h 10000"/>
              <a:gd name="connsiteX109" fmla="*/ 7563 w 10000"/>
              <a:gd name="connsiteY109" fmla="*/ 5217 h 10000"/>
              <a:gd name="connsiteX110" fmla="*/ 7563 w 10000"/>
              <a:gd name="connsiteY110" fmla="*/ 5272 h 10000"/>
              <a:gd name="connsiteX111" fmla="*/ 7479 w 10000"/>
              <a:gd name="connsiteY111" fmla="*/ 5272 h 10000"/>
              <a:gd name="connsiteX112" fmla="*/ 7479 w 10000"/>
              <a:gd name="connsiteY112" fmla="*/ 5326 h 10000"/>
              <a:gd name="connsiteX113" fmla="*/ 7563 w 10000"/>
              <a:gd name="connsiteY113" fmla="*/ 5326 h 10000"/>
              <a:gd name="connsiteX114" fmla="*/ 7563 w 10000"/>
              <a:gd name="connsiteY114" fmla="*/ 5272 h 10000"/>
              <a:gd name="connsiteX115" fmla="*/ 7563 w 10000"/>
              <a:gd name="connsiteY115" fmla="*/ 5326 h 10000"/>
              <a:gd name="connsiteX116" fmla="*/ 7563 w 10000"/>
              <a:gd name="connsiteY116" fmla="*/ 5380 h 10000"/>
              <a:gd name="connsiteX117" fmla="*/ 7563 w 10000"/>
              <a:gd name="connsiteY117" fmla="*/ 5435 h 10000"/>
              <a:gd name="connsiteX118" fmla="*/ 7647 w 10000"/>
              <a:gd name="connsiteY118" fmla="*/ 5435 h 10000"/>
              <a:gd name="connsiteX119" fmla="*/ 7647 w 10000"/>
              <a:gd name="connsiteY119" fmla="*/ 5489 h 10000"/>
              <a:gd name="connsiteX120" fmla="*/ 7647 w 10000"/>
              <a:gd name="connsiteY120" fmla="*/ 5543 h 10000"/>
              <a:gd name="connsiteX121" fmla="*/ 7731 w 10000"/>
              <a:gd name="connsiteY121" fmla="*/ 5543 h 10000"/>
              <a:gd name="connsiteX122" fmla="*/ 7815 w 10000"/>
              <a:gd name="connsiteY122" fmla="*/ 5543 h 10000"/>
              <a:gd name="connsiteX123" fmla="*/ 7815 w 10000"/>
              <a:gd name="connsiteY123" fmla="*/ 5598 h 10000"/>
              <a:gd name="connsiteX124" fmla="*/ 7815 w 10000"/>
              <a:gd name="connsiteY124" fmla="*/ 5652 h 10000"/>
              <a:gd name="connsiteX125" fmla="*/ 7899 w 10000"/>
              <a:gd name="connsiteY125" fmla="*/ 5652 h 10000"/>
              <a:gd name="connsiteX126" fmla="*/ 7983 w 10000"/>
              <a:gd name="connsiteY126" fmla="*/ 5652 h 10000"/>
              <a:gd name="connsiteX127" fmla="*/ 7983 w 10000"/>
              <a:gd name="connsiteY127" fmla="*/ 5707 h 10000"/>
              <a:gd name="connsiteX128" fmla="*/ 7983 w 10000"/>
              <a:gd name="connsiteY128" fmla="*/ 5761 h 10000"/>
              <a:gd name="connsiteX129" fmla="*/ 7983 w 10000"/>
              <a:gd name="connsiteY129" fmla="*/ 5815 h 10000"/>
              <a:gd name="connsiteX130" fmla="*/ 7899 w 10000"/>
              <a:gd name="connsiteY130" fmla="*/ 5815 h 10000"/>
              <a:gd name="connsiteX131" fmla="*/ 7899 w 10000"/>
              <a:gd name="connsiteY131" fmla="*/ 5870 h 10000"/>
              <a:gd name="connsiteX132" fmla="*/ 7815 w 10000"/>
              <a:gd name="connsiteY132" fmla="*/ 5870 h 10000"/>
              <a:gd name="connsiteX133" fmla="*/ 7815 w 10000"/>
              <a:gd name="connsiteY133" fmla="*/ 5924 h 10000"/>
              <a:gd name="connsiteX134" fmla="*/ 7731 w 10000"/>
              <a:gd name="connsiteY134" fmla="*/ 5924 h 10000"/>
              <a:gd name="connsiteX135" fmla="*/ 7731 w 10000"/>
              <a:gd name="connsiteY135" fmla="*/ 5978 h 10000"/>
              <a:gd name="connsiteX136" fmla="*/ 7815 w 10000"/>
              <a:gd name="connsiteY136" fmla="*/ 5978 h 10000"/>
              <a:gd name="connsiteX137" fmla="*/ 7815 w 10000"/>
              <a:gd name="connsiteY137" fmla="*/ 6033 h 10000"/>
              <a:gd name="connsiteX138" fmla="*/ 7815 w 10000"/>
              <a:gd name="connsiteY138" fmla="*/ 6087 h 10000"/>
              <a:gd name="connsiteX139" fmla="*/ 7815 w 10000"/>
              <a:gd name="connsiteY139" fmla="*/ 6141 h 10000"/>
              <a:gd name="connsiteX140" fmla="*/ 7815 w 10000"/>
              <a:gd name="connsiteY140" fmla="*/ 6196 h 10000"/>
              <a:gd name="connsiteX141" fmla="*/ 7731 w 10000"/>
              <a:gd name="connsiteY141" fmla="*/ 6196 h 10000"/>
              <a:gd name="connsiteX142" fmla="*/ 7731 w 10000"/>
              <a:gd name="connsiteY142" fmla="*/ 6250 h 10000"/>
              <a:gd name="connsiteX143" fmla="*/ 7815 w 10000"/>
              <a:gd name="connsiteY143" fmla="*/ 6250 h 10000"/>
              <a:gd name="connsiteX144" fmla="*/ 7815 w 10000"/>
              <a:gd name="connsiteY144" fmla="*/ 6304 h 10000"/>
              <a:gd name="connsiteX145" fmla="*/ 7899 w 10000"/>
              <a:gd name="connsiteY145" fmla="*/ 6304 h 10000"/>
              <a:gd name="connsiteX146" fmla="*/ 7815 w 10000"/>
              <a:gd name="connsiteY146" fmla="*/ 6304 h 10000"/>
              <a:gd name="connsiteX147" fmla="*/ 7815 w 10000"/>
              <a:gd name="connsiteY147" fmla="*/ 6359 h 10000"/>
              <a:gd name="connsiteX148" fmla="*/ 7731 w 10000"/>
              <a:gd name="connsiteY148" fmla="*/ 6359 h 10000"/>
              <a:gd name="connsiteX149" fmla="*/ 7731 w 10000"/>
              <a:gd name="connsiteY149" fmla="*/ 6413 h 10000"/>
              <a:gd name="connsiteX150" fmla="*/ 7815 w 10000"/>
              <a:gd name="connsiteY150" fmla="*/ 6413 h 10000"/>
              <a:gd name="connsiteX151" fmla="*/ 7815 w 10000"/>
              <a:gd name="connsiteY151" fmla="*/ 6467 h 10000"/>
              <a:gd name="connsiteX152" fmla="*/ 7731 w 10000"/>
              <a:gd name="connsiteY152" fmla="*/ 6467 h 10000"/>
              <a:gd name="connsiteX153" fmla="*/ 7731 w 10000"/>
              <a:gd name="connsiteY153" fmla="*/ 6522 h 10000"/>
              <a:gd name="connsiteX154" fmla="*/ 7731 w 10000"/>
              <a:gd name="connsiteY154" fmla="*/ 6576 h 10000"/>
              <a:gd name="connsiteX155" fmla="*/ 7731 w 10000"/>
              <a:gd name="connsiteY155" fmla="*/ 6630 h 10000"/>
              <a:gd name="connsiteX156" fmla="*/ 7731 w 10000"/>
              <a:gd name="connsiteY156" fmla="*/ 6685 h 10000"/>
              <a:gd name="connsiteX157" fmla="*/ 7731 w 10000"/>
              <a:gd name="connsiteY157" fmla="*/ 6739 h 10000"/>
              <a:gd name="connsiteX158" fmla="*/ 7815 w 10000"/>
              <a:gd name="connsiteY158" fmla="*/ 6793 h 10000"/>
              <a:gd name="connsiteX159" fmla="*/ 7815 w 10000"/>
              <a:gd name="connsiteY159" fmla="*/ 6739 h 10000"/>
              <a:gd name="connsiteX160" fmla="*/ 7899 w 10000"/>
              <a:gd name="connsiteY160" fmla="*/ 6739 h 10000"/>
              <a:gd name="connsiteX161" fmla="*/ 7899 w 10000"/>
              <a:gd name="connsiteY161" fmla="*/ 6793 h 10000"/>
              <a:gd name="connsiteX162" fmla="*/ 7983 w 10000"/>
              <a:gd name="connsiteY162" fmla="*/ 6793 h 10000"/>
              <a:gd name="connsiteX163" fmla="*/ 7983 w 10000"/>
              <a:gd name="connsiteY163" fmla="*/ 6739 h 10000"/>
              <a:gd name="connsiteX164" fmla="*/ 8067 w 10000"/>
              <a:gd name="connsiteY164" fmla="*/ 6739 h 10000"/>
              <a:gd name="connsiteX165" fmla="*/ 8067 w 10000"/>
              <a:gd name="connsiteY165" fmla="*/ 6793 h 10000"/>
              <a:gd name="connsiteX166" fmla="*/ 8067 w 10000"/>
              <a:gd name="connsiteY166" fmla="*/ 6848 h 10000"/>
              <a:gd name="connsiteX167" fmla="*/ 8067 w 10000"/>
              <a:gd name="connsiteY167" fmla="*/ 6902 h 10000"/>
              <a:gd name="connsiteX168" fmla="*/ 8151 w 10000"/>
              <a:gd name="connsiteY168" fmla="*/ 6902 h 10000"/>
              <a:gd name="connsiteX169" fmla="*/ 8151 w 10000"/>
              <a:gd name="connsiteY169" fmla="*/ 6957 h 10000"/>
              <a:gd name="connsiteX170" fmla="*/ 8151 w 10000"/>
              <a:gd name="connsiteY170" fmla="*/ 7011 h 10000"/>
              <a:gd name="connsiteX171" fmla="*/ 8235 w 10000"/>
              <a:gd name="connsiteY171" fmla="*/ 7011 h 10000"/>
              <a:gd name="connsiteX172" fmla="*/ 8235 w 10000"/>
              <a:gd name="connsiteY172" fmla="*/ 7065 h 10000"/>
              <a:gd name="connsiteX173" fmla="*/ 8319 w 10000"/>
              <a:gd name="connsiteY173" fmla="*/ 7065 h 10000"/>
              <a:gd name="connsiteX174" fmla="*/ 8319 w 10000"/>
              <a:gd name="connsiteY174" fmla="*/ 7120 h 10000"/>
              <a:gd name="connsiteX175" fmla="*/ 8235 w 10000"/>
              <a:gd name="connsiteY175" fmla="*/ 7174 h 10000"/>
              <a:gd name="connsiteX176" fmla="*/ 8319 w 10000"/>
              <a:gd name="connsiteY176" fmla="*/ 7174 h 10000"/>
              <a:gd name="connsiteX177" fmla="*/ 8403 w 10000"/>
              <a:gd name="connsiteY177" fmla="*/ 7228 h 10000"/>
              <a:gd name="connsiteX178" fmla="*/ 8403 w 10000"/>
              <a:gd name="connsiteY178" fmla="*/ 7283 h 10000"/>
              <a:gd name="connsiteX179" fmla="*/ 8487 w 10000"/>
              <a:gd name="connsiteY179" fmla="*/ 7283 h 10000"/>
              <a:gd name="connsiteX180" fmla="*/ 8487 w 10000"/>
              <a:gd name="connsiteY180" fmla="*/ 7337 h 10000"/>
              <a:gd name="connsiteX181" fmla="*/ 8571 w 10000"/>
              <a:gd name="connsiteY181" fmla="*/ 7391 h 10000"/>
              <a:gd name="connsiteX182" fmla="*/ 8571 w 10000"/>
              <a:gd name="connsiteY182" fmla="*/ 7446 h 10000"/>
              <a:gd name="connsiteX183" fmla="*/ 8655 w 10000"/>
              <a:gd name="connsiteY183" fmla="*/ 7500 h 10000"/>
              <a:gd name="connsiteX184" fmla="*/ 8655 w 10000"/>
              <a:gd name="connsiteY184" fmla="*/ 7554 h 10000"/>
              <a:gd name="connsiteX185" fmla="*/ 8655 w 10000"/>
              <a:gd name="connsiteY185" fmla="*/ 7609 h 10000"/>
              <a:gd name="connsiteX186" fmla="*/ 8739 w 10000"/>
              <a:gd name="connsiteY186" fmla="*/ 7609 h 10000"/>
              <a:gd name="connsiteX187" fmla="*/ 8739 w 10000"/>
              <a:gd name="connsiteY187" fmla="*/ 7663 h 10000"/>
              <a:gd name="connsiteX188" fmla="*/ 8824 w 10000"/>
              <a:gd name="connsiteY188" fmla="*/ 7663 h 10000"/>
              <a:gd name="connsiteX189" fmla="*/ 8739 w 10000"/>
              <a:gd name="connsiteY189" fmla="*/ 7663 h 10000"/>
              <a:gd name="connsiteX190" fmla="*/ 8739 w 10000"/>
              <a:gd name="connsiteY190" fmla="*/ 7717 h 10000"/>
              <a:gd name="connsiteX191" fmla="*/ 8824 w 10000"/>
              <a:gd name="connsiteY191" fmla="*/ 7717 h 10000"/>
              <a:gd name="connsiteX192" fmla="*/ 8824 w 10000"/>
              <a:gd name="connsiteY192" fmla="*/ 7772 h 10000"/>
              <a:gd name="connsiteX193" fmla="*/ 8739 w 10000"/>
              <a:gd name="connsiteY193" fmla="*/ 7772 h 10000"/>
              <a:gd name="connsiteX194" fmla="*/ 8824 w 10000"/>
              <a:gd name="connsiteY194" fmla="*/ 7826 h 10000"/>
              <a:gd name="connsiteX195" fmla="*/ 8739 w 10000"/>
              <a:gd name="connsiteY195" fmla="*/ 7880 h 10000"/>
              <a:gd name="connsiteX196" fmla="*/ 8655 w 10000"/>
              <a:gd name="connsiteY196" fmla="*/ 7880 h 10000"/>
              <a:gd name="connsiteX197" fmla="*/ 8655 w 10000"/>
              <a:gd name="connsiteY197" fmla="*/ 7935 h 10000"/>
              <a:gd name="connsiteX198" fmla="*/ 8655 w 10000"/>
              <a:gd name="connsiteY198" fmla="*/ 7989 h 10000"/>
              <a:gd name="connsiteX199" fmla="*/ 8655 w 10000"/>
              <a:gd name="connsiteY199" fmla="*/ 8043 h 10000"/>
              <a:gd name="connsiteX200" fmla="*/ 8655 w 10000"/>
              <a:gd name="connsiteY200" fmla="*/ 8098 h 10000"/>
              <a:gd name="connsiteX201" fmla="*/ 8655 w 10000"/>
              <a:gd name="connsiteY201" fmla="*/ 8152 h 10000"/>
              <a:gd name="connsiteX202" fmla="*/ 8571 w 10000"/>
              <a:gd name="connsiteY202" fmla="*/ 8152 h 10000"/>
              <a:gd name="connsiteX203" fmla="*/ 8571 w 10000"/>
              <a:gd name="connsiteY203" fmla="*/ 8207 h 10000"/>
              <a:gd name="connsiteX204" fmla="*/ 8655 w 10000"/>
              <a:gd name="connsiteY204" fmla="*/ 8207 h 10000"/>
              <a:gd name="connsiteX205" fmla="*/ 8655 w 10000"/>
              <a:gd name="connsiteY205" fmla="*/ 8261 h 10000"/>
              <a:gd name="connsiteX206" fmla="*/ 8739 w 10000"/>
              <a:gd name="connsiteY206" fmla="*/ 8261 h 10000"/>
              <a:gd name="connsiteX207" fmla="*/ 8739 w 10000"/>
              <a:gd name="connsiteY207" fmla="*/ 8315 h 10000"/>
              <a:gd name="connsiteX208" fmla="*/ 8739 w 10000"/>
              <a:gd name="connsiteY208" fmla="*/ 8370 h 10000"/>
              <a:gd name="connsiteX209" fmla="*/ 8824 w 10000"/>
              <a:gd name="connsiteY209" fmla="*/ 8370 h 10000"/>
              <a:gd name="connsiteX210" fmla="*/ 8824 w 10000"/>
              <a:gd name="connsiteY210" fmla="*/ 8424 h 10000"/>
              <a:gd name="connsiteX211" fmla="*/ 8908 w 10000"/>
              <a:gd name="connsiteY211" fmla="*/ 8424 h 10000"/>
              <a:gd name="connsiteX212" fmla="*/ 8908 w 10000"/>
              <a:gd name="connsiteY212" fmla="*/ 8478 h 10000"/>
              <a:gd name="connsiteX213" fmla="*/ 8992 w 10000"/>
              <a:gd name="connsiteY213" fmla="*/ 8533 h 10000"/>
              <a:gd name="connsiteX214" fmla="*/ 8992 w 10000"/>
              <a:gd name="connsiteY214" fmla="*/ 8587 h 10000"/>
              <a:gd name="connsiteX215" fmla="*/ 8908 w 10000"/>
              <a:gd name="connsiteY215" fmla="*/ 8641 h 10000"/>
              <a:gd name="connsiteX216" fmla="*/ 8824 w 10000"/>
              <a:gd name="connsiteY216" fmla="*/ 8641 h 10000"/>
              <a:gd name="connsiteX217" fmla="*/ 8824 w 10000"/>
              <a:gd name="connsiteY217" fmla="*/ 8696 h 10000"/>
              <a:gd name="connsiteX218" fmla="*/ 8908 w 10000"/>
              <a:gd name="connsiteY218" fmla="*/ 8696 h 10000"/>
              <a:gd name="connsiteX219" fmla="*/ 8908 w 10000"/>
              <a:gd name="connsiteY219" fmla="*/ 8750 h 10000"/>
              <a:gd name="connsiteX220" fmla="*/ 8992 w 10000"/>
              <a:gd name="connsiteY220" fmla="*/ 8750 h 10000"/>
              <a:gd name="connsiteX221" fmla="*/ 8992 w 10000"/>
              <a:gd name="connsiteY221" fmla="*/ 8804 h 10000"/>
              <a:gd name="connsiteX222" fmla="*/ 9076 w 10000"/>
              <a:gd name="connsiteY222" fmla="*/ 8804 h 10000"/>
              <a:gd name="connsiteX223" fmla="*/ 9076 w 10000"/>
              <a:gd name="connsiteY223" fmla="*/ 8859 h 10000"/>
              <a:gd name="connsiteX224" fmla="*/ 9160 w 10000"/>
              <a:gd name="connsiteY224" fmla="*/ 8859 h 10000"/>
              <a:gd name="connsiteX225" fmla="*/ 9160 w 10000"/>
              <a:gd name="connsiteY225" fmla="*/ 8913 h 10000"/>
              <a:gd name="connsiteX226" fmla="*/ 9160 w 10000"/>
              <a:gd name="connsiteY226" fmla="*/ 8967 h 10000"/>
              <a:gd name="connsiteX227" fmla="*/ 9244 w 10000"/>
              <a:gd name="connsiteY227" fmla="*/ 8967 h 10000"/>
              <a:gd name="connsiteX228" fmla="*/ 9244 w 10000"/>
              <a:gd name="connsiteY228" fmla="*/ 9022 h 10000"/>
              <a:gd name="connsiteX229" fmla="*/ 9328 w 10000"/>
              <a:gd name="connsiteY229" fmla="*/ 9022 h 10000"/>
              <a:gd name="connsiteX230" fmla="*/ 9328 w 10000"/>
              <a:gd name="connsiteY230" fmla="*/ 9076 h 10000"/>
              <a:gd name="connsiteX231" fmla="*/ 9328 w 10000"/>
              <a:gd name="connsiteY231" fmla="*/ 9130 h 10000"/>
              <a:gd name="connsiteX232" fmla="*/ 9328 w 10000"/>
              <a:gd name="connsiteY232" fmla="*/ 9185 h 10000"/>
              <a:gd name="connsiteX233" fmla="*/ 9328 w 10000"/>
              <a:gd name="connsiteY233" fmla="*/ 9239 h 10000"/>
              <a:gd name="connsiteX234" fmla="*/ 9412 w 10000"/>
              <a:gd name="connsiteY234" fmla="*/ 9293 h 10000"/>
              <a:gd name="connsiteX235" fmla="*/ 9496 w 10000"/>
              <a:gd name="connsiteY235" fmla="*/ 9348 h 10000"/>
              <a:gd name="connsiteX236" fmla="*/ 9496 w 10000"/>
              <a:gd name="connsiteY236" fmla="*/ 9402 h 10000"/>
              <a:gd name="connsiteX237" fmla="*/ 9496 w 10000"/>
              <a:gd name="connsiteY237" fmla="*/ 9457 h 10000"/>
              <a:gd name="connsiteX238" fmla="*/ 9580 w 10000"/>
              <a:gd name="connsiteY238" fmla="*/ 9457 h 10000"/>
              <a:gd name="connsiteX239" fmla="*/ 9580 w 10000"/>
              <a:gd name="connsiteY239" fmla="*/ 9511 h 10000"/>
              <a:gd name="connsiteX240" fmla="*/ 9664 w 10000"/>
              <a:gd name="connsiteY240" fmla="*/ 9511 h 10000"/>
              <a:gd name="connsiteX241" fmla="*/ 9244 w 10000"/>
              <a:gd name="connsiteY241" fmla="*/ 9620 h 10000"/>
              <a:gd name="connsiteX242" fmla="*/ 8824 w 10000"/>
              <a:gd name="connsiteY242" fmla="*/ 10000 h 10000"/>
              <a:gd name="connsiteX243" fmla="*/ 7395 w 10000"/>
              <a:gd name="connsiteY243" fmla="*/ 9946 h 10000"/>
              <a:gd name="connsiteX244" fmla="*/ 6134 w 10000"/>
              <a:gd name="connsiteY244" fmla="*/ 8207 h 10000"/>
              <a:gd name="connsiteX245" fmla="*/ 5882 w 10000"/>
              <a:gd name="connsiteY245" fmla="*/ 7717 h 10000"/>
              <a:gd name="connsiteX246" fmla="*/ 4790 w 10000"/>
              <a:gd name="connsiteY246" fmla="*/ 7663 h 10000"/>
              <a:gd name="connsiteX247" fmla="*/ 4790 w 10000"/>
              <a:gd name="connsiteY247" fmla="*/ 7609 h 10000"/>
              <a:gd name="connsiteX248" fmla="*/ 4790 w 10000"/>
              <a:gd name="connsiteY248" fmla="*/ 7554 h 10000"/>
              <a:gd name="connsiteX249" fmla="*/ 4790 w 10000"/>
              <a:gd name="connsiteY249" fmla="*/ 7500 h 10000"/>
              <a:gd name="connsiteX250" fmla="*/ 4790 w 10000"/>
              <a:gd name="connsiteY250" fmla="*/ 7446 h 10000"/>
              <a:gd name="connsiteX251" fmla="*/ 4790 w 10000"/>
              <a:gd name="connsiteY251" fmla="*/ 7391 h 10000"/>
              <a:gd name="connsiteX252" fmla="*/ 4706 w 10000"/>
              <a:gd name="connsiteY252" fmla="*/ 7337 h 10000"/>
              <a:gd name="connsiteX253" fmla="*/ 4706 w 10000"/>
              <a:gd name="connsiteY253" fmla="*/ 7283 h 10000"/>
              <a:gd name="connsiteX254" fmla="*/ 4706 w 10000"/>
              <a:gd name="connsiteY254" fmla="*/ 7228 h 10000"/>
              <a:gd name="connsiteX255" fmla="*/ 4706 w 10000"/>
              <a:gd name="connsiteY255" fmla="*/ 7174 h 10000"/>
              <a:gd name="connsiteX256" fmla="*/ 4706 w 10000"/>
              <a:gd name="connsiteY256" fmla="*/ 7120 h 10000"/>
              <a:gd name="connsiteX257" fmla="*/ 4706 w 10000"/>
              <a:gd name="connsiteY257" fmla="*/ 7065 h 10000"/>
              <a:gd name="connsiteX258" fmla="*/ 4538 w 10000"/>
              <a:gd name="connsiteY258" fmla="*/ 5870 h 10000"/>
              <a:gd name="connsiteX259" fmla="*/ 4286 w 10000"/>
              <a:gd name="connsiteY259" fmla="*/ 5707 h 10000"/>
              <a:gd name="connsiteX260" fmla="*/ 3025 w 10000"/>
              <a:gd name="connsiteY260" fmla="*/ 5217 h 10000"/>
              <a:gd name="connsiteX261" fmla="*/ 2857 w 10000"/>
              <a:gd name="connsiteY261" fmla="*/ 5109 h 10000"/>
              <a:gd name="connsiteX262" fmla="*/ 2773 w 10000"/>
              <a:gd name="connsiteY262" fmla="*/ 5000 h 10000"/>
              <a:gd name="connsiteX263" fmla="*/ 1849 w 10000"/>
              <a:gd name="connsiteY263" fmla="*/ 3913 h 10000"/>
              <a:gd name="connsiteX264" fmla="*/ 0 w 10000"/>
              <a:gd name="connsiteY264" fmla="*/ 3913 h 10000"/>
              <a:gd name="connsiteX265" fmla="*/ 252 w 10000"/>
              <a:gd name="connsiteY265" fmla="*/ 3750 h 10000"/>
              <a:gd name="connsiteX266" fmla="*/ 336 w 10000"/>
              <a:gd name="connsiteY266" fmla="*/ 3750 h 10000"/>
              <a:gd name="connsiteX267" fmla="*/ 420 w 10000"/>
              <a:gd name="connsiteY267" fmla="*/ 3696 h 10000"/>
              <a:gd name="connsiteX268" fmla="*/ 336 w 10000"/>
              <a:gd name="connsiteY268" fmla="*/ 3587 h 10000"/>
              <a:gd name="connsiteX269" fmla="*/ 420 w 10000"/>
              <a:gd name="connsiteY269" fmla="*/ 3424 h 10000"/>
              <a:gd name="connsiteX270" fmla="*/ 504 w 10000"/>
              <a:gd name="connsiteY270" fmla="*/ 3370 h 10000"/>
              <a:gd name="connsiteX271" fmla="*/ 756 w 10000"/>
              <a:gd name="connsiteY271" fmla="*/ 3315 h 10000"/>
              <a:gd name="connsiteX272" fmla="*/ 840 w 10000"/>
              <a:gd name="connsiteY272" fmla="*/ 3370 h 10000"/>
              <a:gd name="connsiteX273" fmla="*/ 1092 w 10000"/>
              <a:gd name="connsiteY273" fmla="*/ 3098 h 10000"/>
              <a:gd name="connsiteX274" fmla="*/ 1008 w 10000"/>
              <a:gd name="connsiteY274" fmla="*/ 2989 h 10000"/>
              <a:gd name="connsiteX275" fmla="*/ 924 w 10000"/>
              <a:gd name="connsiteY275" fmla="*/ 2935 h 10000"/>
              <a:gd name="connsiteX276" fmla="*/ 840 w 10000"/>
              <a:gd name="connsiteY276" fmla="*/ 2935 h 10000"/>
              <a:gd name="connsiteX277" fmla="*/ 336 w 10000"/>
              <a:gd name="connsiteY277" fmla="*/ 2772 h 10000"/>
              <a:gd name="connsiteX278" fmla="*/ 1092 w 10000"/>
              <a:gd name="connsiteY278" fmla="*/ 2174 h 10000"/>
              <a:gd name="connsiteX279" fmla="*/ 1429 w 10000"/>
              <a:gd name="connsiteY279" fmla="*/ 1848 h 10000"/>
              <a:gd name="connsiteX280" fmla="*/ 1513 w 10000"/>
              <a:gd name="connsiteY280" fmla="*/ 1793 h 10000"/>
              <a:gd name="connsiteX281" fmla="*/ 1681 w 10000"/>
              <a:gd name="connsiteY281" fmla="*/ 1739 h 10000"/>
              <a:gd name="connsiteX282" fmla="*/ 1765 w 10000"/>
              <a:gd name="connsiteY282" fmla="*/ 1739 h 10000"/>
              <a:gd name="connsiteX283" fmla="*/ 2773 w 10000"/>
              <a:gd name="connsiteY283" fmla="*/ 1739 h 10000"/>
              <a:gd name="connsiteX284" fmla="*/ 3950 w 10000"/>
              <a:gd name="connsiteY284" fmla="*/ 1739 h 10000"/>
              <a:gd name="connsiteX285" fmla="*/ 3950 w 10000"/>
              <a:gd name="connsiteY285" fmla="*/ 707 h 10000"/>
              <a:gd name="connsiteX286" fmla="*/ 5630 w 10000"/>
              <a:gd name="connsiteY286" fmla="*/ 109 h 10000"/>
              <a:gd name="connsiteX287" fmla="*/ 5798 w 10000"/>
              <a:gd name="connsiteY287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</a:cxnLst>
            <a:rect l="l" t="t" r="r" b="b"/>
            <a:pathLst>
              <a:path w="10000" h="10000">
                <a:moveTo>
                  <a:pt x="5798" y="0"/>
                </a:moveTo>
                <a:lnTo>
                  <a:pt x="5966" y="0"/>
                </a:lnTo>
                <a:lnTo>
                  <a:pt x="6218" y="0"/>
                </a:lnTo>
                <a:lnTo>
                  <a:pt x="6555" y="109"/>
                </a:lnTo>
                <a:lnTo>
                  <a:pt x="6975" y="326"/>
                </a:lnTo>
                <a:lnTo>
                  <a:pt x="7395" y="489"/>
                </a:lnTo>
                <a:lnTo>
                  <a:pt x="7563" y="543"/>
                </a:lnTo>
                <a:lnTo>
                  <a:pt x="8319" y="870"/>
                </a:lnTo>
                <a:lnTo>
                  <a:pt x="9076" y="1141"/>
                </a:lnTo>
                <a:lnTo>
                  <a:pt x="9916" y="1630"/>
                </a:lnTo>
                <a:cubicBezTo>
                  <a:pt x="9944" y="1648"/>
                  <a:pt x="9972" y="1667"/>
                  <a:pt x="10000" y="1685"/>
                </a:cubicBezTo>
                <a:cubicBezTo>
                  <a:pt x="9972" y="1939"/>
                  <a:pt x="9944" y="2192"/>
                  <a:pt x="9916" y="2446"/>
                </a:cubicBezTo>
                <a:lnTo>
                  <a:pt x="9832" y="2446"/>
                </a:lnTo>
                <a:lnTo>
                  <a:pt x="9832" y="2554"/>
                </a:lnTo>
                <a:lnTo>
                  <a:pt x="9748" y="2554"/>
                </a:lnTo>
                <a:lnTo>
                  <a:pt x="9664" y="2500"/>
                </a:lnTo>
                <a:lnTo>
                  <a:pt x="9580" y="2500"/>
                </a:lnTo>
                <a:lnTo>
                  <a:pt x="9580" y="2446"/>
                </a:lnTo>
                <a:lnTo>
                  <a:pt x="9496" y="2446"/>
                </a:lnTo>
                <a:lnTo>
                  <a:pt x="9328" y="2446"/>
                </a:lnTo>
                <a:lnTo>
                  <a:pt x="9244" y="2446"/>
                </a:lnTo>
                <a:lnTo>
                  <a:pt x="9160" y="2446"/>
                </a:lnTo>
                <a:lnTo>
                  <a:pt x="9076" y="2446"/>
                </a:lnTo>
                <a:lnTo>
                  <a:pt x="8992" y="2446"/>
                </a:lnTo>
                <a:lnTo>
                  <a:pt x="8908" y="2446"/>
                </a:lnTo>
                <a:lnTo>
                  <a:pt x="8824" y="2446"/>
                </a:lnTo>
                <a:lnTo>
                  <a:pt x="8739" y="2391"/>
                </a:lnTo>
                <a:lnTo>
                  <a:pt x="8655" y="2391"/>
                </a:lnTo>
                <a:lnTo>
                  <a:pt x="8655" y="2446"/>
                </a:lnTo>
                <a:lnTo>
                  <a:pt x="8571" y="2446"/>
                </a:lnTo>
                <a:lnTo>
                  <a:pt x="8487" y="2500"/>
                </a:lnTo>
                <a:lnTo>
                  <a:pt x="8487" y="2446"/>
                </a:lnTo>
                <a:lnTo>
                  <a:pt x="8403" y="2446"/>
                </a:lnTo>
                <a:lnTo>
                  <a:pt x="8403" y="2500"/>
                </a:lnTo>
                <a:lnTo>
                  <a:pt x="8319" y="2500"/>
                </a:lnTo>
                <a:lnTo>
                  <a:pt x="8235" y="2554"/>
                </a:lnTo>
                <a:cubicBezTo>
                  <a:pt x="8207" y="2572"/>
                  <a:pt x="8179" y="2591"/>
                  <a:pt x="8151" y="2609"/>
                </a:cubicBezTo>
                <a:lnTo>
                  <a:pt x="8151" y="2663"/>
                </a:lnTo>
                <a:lnTo>
                  <a:pt x="8151" y="2717"/>
                </a:lnTo>
                <a:lnTo>
                  <a:pt x="8067" y="2717"/>
                </a:lnTo>
                <a:lnTo>
                  <a:pt x="7983" y="2717"/>
                </a:lnTo>
                <a:lnTo>
                  <a:pt x="7983" y="2772"/>
                </a:lnTo>
                <a:lnTo>
                  <a:pt x="7983" y="2826"/>
                </a:lnTo>
                <a:lnTo>
                  <a:pt x="7983" y="2880"/>
                </a:lnTo>
                <a:lnTo>
                  <a:pt x="7899" y="2880"/>
                </a:lnTo>
                <a:lnTo>
                  <a:pt x="7815" y="2880"/>
                </a:lnTo>
                <a:lnTo>
                  <a:pt x="7815" y="2935"/>
                </a:lnTo>
                <a:lnTo>
                  <a:pt x="7815" y="2989"/>
                </a:lnTo>
                <a:lnTo>
                  <a:pt x="7815" y="3043"/>
                </a:lnTo>
                <a:lnTo>
                  <a:pt x="7899" y="3043"/>
                </a:lnTo>
                <a:lnTo>
                  <a:pt x="7983" y="3043"/>
                </a:lnTo>
                <a:lnTo>
                  <a:pt x="7983" y="3098"/>
                </a:lnTo>
                <a:lnTo>
                  <a:pt x="7983" y="3152"/>
                </a:lnTo>
                <a:lnTo>
                  <a:pt x="7983" y="3207"/>
                </a:lnTo>
                <a:lnTo>
                  <a:pt x="7983" y="3261"/>
                </a:lnTo>
                <a:lnTo>
                  <a:pt x="7983" y="3315"/>
                </a:lnTo>
                <a:cubicBezTo>
                  <a:pt x="7955" y="3333"/>
                  <a:pt x="7927" y="3352"/>
                  <a:pt x="7899" y="3370"/>
                </a:cubicBezTo>
                <a:lnTo>
                  <a:pt x="7899" y="3424"/>
                </a:lnTo>
                <a:lnTo>
                  <a:pt x="7815" y="3424"/>
                </a:lnTo>
                <a:lnTo>
                  <a:pt x="7731" y="3478"/>
                </a:lnTo>
                <a:lnTo>
                  <a:pt x="7731" y="3533"/>
                </a:lnTo>
                <a:lnTo>
                  <a:pt x="7731" y="3587"/>
                </a:lnTo>
                <a:lnTo>
                  <a:pt x="7731" y="3641"/>
                </a:lnTo>
                <a:lnTo>
                  <a:pt x="7731" y="3696"/>
                </a:lnTo>
                <a:lnTo>
                  <a:pt x="7647" y="3696"/>
                </a:lnTo>
                <a:lnTo>
                  <a:pt x="7563" y="3750"/>
                </a:lnTo>
                <a:lnTo>
                  <a:pt x="7479" y="3750"/>
                </a:lnTo>
                <a:lnTo>
                  <a:pt x="7479" y="3804"/>
                </a:lnTo>
                <a:lnTo>
                  <a:pt x="7479" y="3859"/>
                </a:lnTo>
                <a:lnTo>
                  <a:pt x="7395" y="3859"/>
                </a:lnTo>
                <a:lnTo>
                  <a:pt x="7395" y="3913"/>
                </a:lnTo>
                <a:lnTo>
                  <a:pt x="7311" y="3913"/>
                </a:lnTo>
                <a:lnTo>
                  <a:pt x="7227" y="3913"/>
                </a:lnTo>
                <a:lnTo>
                  <a:pt x="7227" y="3967"/>
                </a:lnTo>
                <a:lnTo>
                  <a:pt x="7143" y="3967"/>
                </a:lnTo>
                <a:lnTo>
                  <a:pt x="7143" y="4022"/>
                </a:lnTo>
                <a:lnTo>
                  <a:pt x="7143" y="4076"/>
                </a:lnTo>
                <a:lnTo>
                  <a:pt x="7143" y="4130"/>
                </a:lnTo>
                <a:lnTo>
                  <a:pt x="7227" y="4130"/>
                </a:lnTo>
                <a:lnTo>
                  <a:pt x="7227" y="4185"/>
                </a:lnTo>
                <a:lnTo>
                  <a:pt x="7227" y="4239"/>
                </a:lnTo>
                <a:lnTo>
                  <a:pt x="7227" y="4293"/>
                </a:lnTo>
                <a:lnTo>
                  <a:pt x="7227" y="4348"/>
                </a:lnTo>
                <a:lnTo>
                  <a:pt x="7311" y="4402"/>
                </a:lnTo>
                <a:lnTo>
                  <a:pt x="7311" y="4457"/>
                </a:lnTo>
                <a:lnTo>
                  <a:pt x="7311" y="4511"/>
                </a:lnTo>
                <a:lnTo>
                  <a:pt x="7311" y="4565"/>
                </a:lnTo>
                <a:lnTo>
                  <a:pt x="7311" y="4620"/>
                </a:lnTo>
                <a:lnTo>
                  <a:pt x="7395" y="4620"/>
                </a:lnTo>
                <a:lnTo>
                  <a:pt x="7479" y="4620"/>
                </a:lnTo>
                <a:lnTo>
                  <a:pt x="7479" y="4674"/>
                </a:lnTo>
                <a:lnTo>
                  <a:pt x="7395" y="4674"/>
                </a:lnTo>
                <a:lnTo>
                  <a:pt x="7395" y="4728"/>
                </a:lnTo>
                <a:lnTo>
                  <a:pt x="7311" y="4728"/>
                </a:lnTo>
                <a:lnTo>
                  <a:pt x="7311" y="4783"/>
                </a:lnTo>
                <a:lnTo>
                  <a:pt x="7311" y="4837"/>
                </a:lnTo>
                <a:lnTo>
                  <a:pt x="7395" y="4837"/>
                </a:lnTo>
                <a:lnTo>
                  <a:pt x="7395" y="4891"/>
                </a:lnTo>
                <a:lnTo>
                  <a:pt x="7479" y="4891"/>
                </a:lnTo>
                <a:lnTo>
                  <a:pt x="7479" y="4946"/>
                </a:lnTo>
                <a:lnTo>
                  <a:pt x="7563" y="4946"/>
                </a:lnTo>
                <a:lnTo>
                  <a:pt x="7647" y="4946"/>
                </a:lnTo>
                <a:lnTo>
                  <a:pt x="7647" y="5000"/>
                </a:lnTo>
                <a:lnTo>
                  <a:pt x="7731" y="5000"/>
                </a:lnTo>
                <a:lnTo>
                  <a:pt x="7731" y="5054"/>
                </a:lnTo>
                <a:lnTo>
                  <a:pt x="7647" y="5054"/>
                </a:lnTo>
                <a:lnTo>
                  <a:pt x="7647" y="5109"/>
                </a:lnTo>
                <a:lnTo>
                  <a:pt x="7563" y="5109"/>
                </a:lnTo>
                <a:lnTo>
                  <a:pt x="7563" y="5163"/>
                </a:lnTo>
                <a:lnTo>
                  <a:pt x="7563" y="5217"/>
                </a:lnTo>
                <a:lnTo>
                  <a:pt x="7563" y="5272"/>
                </a:lnTo>
                <a:lnTo>
                  <a:pt x="7479" y="5272"/>
                </a:lnTo>
                <a:lnTo>
                  <a:pt x="7479" y="5326"/>
                </a:lnTo>
                <a:lnTo>
                  <a:pt x="7563" y="5326"/>
                </a:lnTo>
                <a:lnTo>
                  <a:pt x="7563" y="5272"/>
                </a:lnTo>
                <a:lnTo>
                  <a:pt x="7563" y="5326"/>
                </a:lnTo>
                <a:lnTo>
                  <a:pt x="7563" y="5380"/>
                </a:lnTo>
                <a:lnTo>
                  <a:pt x="7563" y="5435"/>
                </a:lnTo>
                <a:lnTo>
                  <a:pt x="7647" y="5435"/>
                </a:lnTo>
                <a:lnTo>
                  <a:pt x="7647" y="5489"/>
                </a:lnTo>
                <a:lnTo>
                  <a:pt x="7647" y="5543"/>
                </a:lnTo>
                <a:lnTo>
                  <a:pt x="7731" y="5543"/>
                </a:lnTo>
                <a:lnTo>
                  <a:pt x="7815" y="5543"/>
                </a:lnTo>
                <a:lnTo>
                  <a:pt x="7815" y="5598"/>
                </a:lnTo>
                <a:lnTo>
                  <a:pt x="7815" y="5652"/>
                </a:lnTo>
                <a:lnTo>
                  <a:pt x="7899" y="5652"/>
                </a:lnTo>
                <a:lnTo>
                  <a:pt x="7983" y="5652"/>
                </a:lnTo>
                <a:lnTo>
                  <a:pt x="7983" y="5707"/>
                </a:lnTo>
                <a:lnTo>
                  <a:pt x="7983" y="5761"/>
                </a:lnTo>
                <a:lnTo>
                  <a:pt x="7983" y="5815"/>
                </a:lnTo>
                <a:lnTo>
                  <a:pt x="7899" y="5815"/>
                </a:lnTo>
                <a:lnTo>
                  <a:pt x="7899" y="5870"/>
                </a:lnTo>
                <a:lnTo>
                  <a:pt x="7815" y="5870"/>
                </a:lnTo>
                <a:lnTo>
                  <a:pt x="7815" y="5924"/>
                </a:lnTo>
                <a:lnTo>
                  <a:pt x="7731" y="5924"/>
                </a:lnTo>
                <a:lnTo>
                  <a:pt x="7731" y="5978"/>
                </a:lnTo>
                <a:lnTo>
                  <a:pt x="7815" y="5978"/>
                </a:lnTo>
                <a:lnTo>
                  <a:pt x="7815" y="6033"/>
                </a:lnTo>
                <a:lnTo>
                  <a:pt x="7815" y="6087"/>
                </a:lnTo>
                <a:lnTo>
                  <a:pt x="7815" y="6141"/>
                </a:lnTo>
                <a:lnTo>
                  <a:pt x="7815" y="6196"/>
                </a:lnTo>
                <a:lnTo>
                  <a:pt x="7731" y="6196"/>
                </a:lnTo>
                <a:lnTo>
                  <a:pt x="7731" y="6250"/>
                </a:lnTo>
                <a:lnTo>
                  <a:pt x="7815" y="6250"/>
                </a:lnTo>
                <a:lnTo>
                  <a:pt x="7815" y="6304"/>
                </a:lnTo>
                <a:lnTo>
                  <a:pt x="7899" y="6304"/>
                </a:lnTo>
                <a:lnTo>
                  <a:pt x="7815" y="6304"/>
                </a:lnTo>
                <a:lnTo>
                  <a:pt x="7815" y="6359"/>
                </a:lnTo>
                <a:lnTo>
                  <a:pt x="7731" y="6359"/>
                </a:lnTo>
                <a:lnTo>
                  <a:pt x="7731" y="6413"/>
                </a:lnTo>
                <a:lnTo>
                  <a:pt x="7815" y="6413"/>
                </a:lnTo>
                <a:lnTo>
                  <a:pt x="7815" y="6467"/>
                </a:lnTo>
                <a:lnTo>
                  <a:pt x="7731" y="6467"/>
                </a:lnTo>
                <a:lnTo>
                  <a:pt x="7731" y="6522"/>
                </a:lnTo>
                <a:lnTo>
                  <a:pt x="7731" y="6576"/>
                </a:lnTo>
                <a:lnTo>
                  <a:pt x="7731" y="6630"/>
                </a:lnTo>
                <a:lnTo>
                  <a:pt x="7731" y="6685"/>
                </a:lnTo>
                <a:lnTo>
                  <a:pt x="7731" y="6739"/>
                </a:lnTo>
                <a:lnTo>
                  <a:pt x="7815" y="6793"/>
                </a:lnTo>
                <a:lnTo>
                  <a:pt x="7815" y="6739"/>
                </a:lnTo>
                <a:lnTo>
                  <a:pt x="7899" y="6739"/>
                </a:lnTo>
                <a:lnTo>
                  <a:pt x="7899" y="6793"/>
                </a:lnTo>
                <a:lnTo>
                  <a:pt x="7983" y="6793"/>
                </a:lnTo>
                <a:lnTo>
                  <a:pt x="7983" y="6739"/>
                </a:lnTo>
                <a:lnTo>
                  <a:pt x="8067" y="6739"/>
                </a:lnTo>
                <a:lnTo>
                  <a:pt x="8067" y="6793"/>
                </a:lnTo>
                <a:lnTo>
                  <a:pt x="8067" y="6848"/>
                </a:lnTo>
                <a:lnTo>
                  <a:pt x="8067" y="6902"/>
                </a:lnTo>
                <a:lnTo>
                  <a:pt x="8151" y="6902"/>
                </a:lnTo>
                <a:lnTo>
                  <a:pt x="8151" y="6957"/>
                </a:lnTo>
                <a:lnTo>
                  <a:pt x="8151" y="7011"/>
                </a:lnTo>
                <a:lnTo>
                  <a:pt x="8235" y="7011"/>
                </a:lnTo>
                <a:lnTo>
                  <a:pt x="8235" y="7065"/>
                </a:lnTo>
                <a:lnTo>
                  <a:pt x="8319" y="7065"/>
                </a:lnTo>
                <a:lnTo>
                  <a:pt x="8319" y="7120"/>
                </a:lnTo>
                <a:lnTo>
                  <a:pt x="8235" y="7174"/>
                </a:lnTo>
                <a:lnTo>
                  <a:pt x="8319" y="7174"/>
                </a:lnTo>
                <a:lnTo>
                  <a:pt x="8403" y="7228"/>
                </a:lnTo>
                <a:lnTo>
                  <a:pt x="8403" y="7283"/>
                </a:lnTo>
                <a:lnTo>
                  <a:pt x="8487" y="7283"/>
                </a:lnTo>
                <a:lnTo>
                  <a:pt x="8487" y="7337"/>
                </a:lnTo>
                <a:lnTo>
                  <a:pt x="8571" y="7391"/>
                </a:lnTo>
                <a:lnTo>
                  <a:pt x="8571" y="7446"/>
                </a:lnTo>
                <a:lnTo>
                  <a:pt x="8655" y="7500"/>
                </a:lnTo>
                <a:lnTo>
                  <a:pt x="8655" y="7554"/>
                </a:lnTo>
                <a:lnTo>
                  <a:pt x="8655" y="7609"/>
                </a:lnTo>
                <a:lnTo>
                  <a:pt x="8739" y="7609"/>
                </a:lnTo>
                <a:lnTo>
                  <a:pt x="8739" y="7663"/>
                </a:lnTo>
                <a:lnTo>
                  <a:pt x="8824" y="7663"/>
                </a:lnTo>
                <a:lnTo>
                  <a:pt x="8739" y="7663"/>
                </a:lnTo>
                <a:lnTo>
                  <a:pt x="8739" y="7717"/>
                </a:lnTo>
                <a:lnTo>
                  <a:pt x="8824" y="7717"/>
                </a:lnTo>
                <a:lnTo>
                  <a:pt x="8824" y="7772"/>
                </a:lnTo>
                <a:lnTo>
                  <a:pt x="8739" y="7772"/>
                </a:lnTo>
                <a:lnTo>
                  <a:pt x="8824" y="7826"/>
                </a:lnTo>
                <a:lnTo>
                  <a:pt x="8739" y="7880"/>
                </a:lnTo>
                <a:lnTo>
                  <a:pt x="8655" y="7880"/>
                </a:lnTo>
                <a:lnTo>
                  <a:pt x="8655" y="7935"/>
                </a:lnTo>
                <a:lnTo>
                  <a:pt x="8655" y="7989"/>
                </a:lnTo>
                <a:lnTo>
                  <a:pt x="8655" y="8043"/>
                </a:lnTo>
                <a:lnTo>
                  <a:pt x="8655" y="8098"/>
                </a:lnTo>
                <a:lnTo>
                  <a:pt x="8655" y="8152"/>
                </a:lnTo>
                <a:lnTo>
                  <a:pt x="8571" y="8152"/>
                </a:lnTo>
                <a:lnTo>
                  <a:pt x="8571" y="8207"/>
                </a:lnTo>
                <a:lnTo>
                  <a:pt x="8655" y="8207"/>
                </a:lnTo>
                <a:lnTo>
                  <a:pt x="8655" y="8261"/>
                </a:lnTo>
                <a:lnTo>
                  <a:pt x="8739" y="8261"/>
                </a:lnTo>
                <a:lnTo>
                  <a:pt x="8739" y="8315"/>
                </a:lnTo>
                <a:lnTo>
                  <a:pt x="8739" y="8370"/>
                </a:lnTo>
                <a:lnTo>
                  <a:pt x="8824" y="8370"/>
                </a:lnTo>
                <a:lnTo>
                  <a:pt x="8824" y="8424"/>
                </a:lnTo>
                <a:lnTo>
                  <a:pt x="8908" y="8424"/>
                </a:lnTo>
                <a:lnTo>
                  <a:pt x="8908" y="8478"/>
                </a:lnTo>
                <a:cubicBezTo>
                  <a:pt x="8936" y="8496"/>
                  <a:pt x="8964" y="8515"/>
                  <a:pt x="8992" y="8533"/>
                </a:cubicBezTo>
                <a:lnTo>
                  <a:pt x="8992" y="8587"/>
                </a:lnTo>
                <a:lnTo>
                  <a:pt x="8908" y="8641"/>
                </a:lnTo>
                <a:lnTo>
                  <a:pt x="8824" y="8641"/>
                </a:lnTo>
                <a:lnTo>
                  <a:pt x="8824" y="8696"/>
                </a:lnTo>
                <a:lnTo>
                  <a:pt x="8908" y="8696"/>
                </a:lnTo>
                <a:lnTo>
                  <a:pt x="8908" y="8750"/>
                </a:lnTo>
                <a:lnTo>
                  <a:pt x="8992" y="8750"/>
                </a:lnTo>
                <a:lnTo>
                  <a:pt x="8992" y="8804"/>
                </a:lnTo>
                <a:lnTo>
                  <a:pt x="9076" y="8804"/>
                </a:lnTo>
                <a:lnTo>
                  <a:pt x="9076" y="8859"/>
                </a:lnTo>
                <a:lnTo>
                  <a:pt x="9160" y="8859"/>
                </a:lnTo>
                <a:lnTo>
                  <a:pt x="9160" y="8913"/>
                </a:lnTo>
                <a:lnTo>
                  <a:pt x="9160" y="8967"/>
                </a:lnTo>
                <a:lnTo>
                  <a:pt x="9244" y="8967"/>
                </a:lnTo>
                <a:lnTo>
                  <a:pt x="9244" y="9022"/>
                </a:lnTo>
                <a:lnTo>
                  <a:pt x="9328" y="9022"/>
                </a:lnTo>
                <a:lnTo>
                  <a:pt x="9328" y="9076"/>
                </a:lnTo>
                <a:lnTo>
                  <a:pt x="9328" y="9130"/>
                </a:lnTo>
                <a:lnTo>
                  <a:pt x="9328" y="9185"/>
                </a:lnTo>
                <a:lnTo>
                  <a:pt x="9328" y="9239"/>
                </a:lnTo>
                <a:lnTo>
                  <a:pt x="9412" y="9293"/>
                </a:lnTo>
                <a:cubicBezTo>
                  <a:pt x="9440" y="9311"/>
                  <a:pt x="9468" y="9330"/>
                  <a:pt x="9496" y="9348"/>
                </a:cubicBezTo>
                <a:lnTo>
                  <a:pt x="9496" y="9402"/>
                </a:lnTo>
                <a:lnTo>
                  <a:pt x="9496" y="9457"/>
                </a:lnTo>
                <a:lnTo>
                  <a:pt x="9580" y="9457"/>
                </a:lnTo>
                <a:lnTo>
                  <a:pt x="9580" y="9511"/>
                </a:lnTo>
                <a:lnTo>
                  <a:pt x="9664" y="9511"/>
                </a:lnTo>
                <a:lnTo>
                  <a:pt x="9244" y="9620"/>
                </a:lnTo>
                <a:lnTo>
                  <a:pt x="8824" y="10000"/>
                </a:lnTo>
                <a:lnTo>
                  <a:pt x="7395" y="9946"/>
                </a:lnTo>
                <a:lnTo>
                  <a:pt x="6134" y="8207"/>
                </a:lnTo>
                <a:lnTo>
                  <a:pt x="5882" y="7717"/>
                </a:lnTo>
                <a:lnTo>
                  <a:pt x="4790" y="7663"/>
                </a:lnTo>
                <a:lnTo>
                  <a:pt x="4790" y="7609"/>
                </a:lnTo>
                <a:lnTo>
                  <a:pt x="4790" y="7554"/>
                </a:lnTo>
                <a:lnTo>
                  <a:pt x="4790" y="7500"/>
                </a:lnTo>
                <a:lnTo>
                  <a:pt x="4790" y="7446"/>
                </a:lnTo>
                <a:lnTo>
                  <a:pt x="4790" y="7391"/>
                </a:lnTo>
                <a:lnTo>
                  <a:pt x="4706" y="7337"/>
                </a:lnTo>
                <a:lnTo>
                  <a:pt x="4706" y="7283"/>
                </a:lnTo>
                <a:lnTo>
                  <a:pt x="4706" y="7228"/>
                </a:lnTo>
                <a:lnTo>
                  <a:pt x="4706" y="7174"/>
                </a:lnTo>
                <a:lnTo>
                  <a:pt x="4706" y="7120"/>
                </a:lnTo>
                <a:lnTo>
                  <a:pt x="4706" y="7065"/>
                </a:lnTo>
                <a:lnTo>
                  <a:pt x="4538" y="5870"/>
                </a:lnTo>
                <a:lnTo>
                  <a:pt x="4286" y="5707"/>
                </a:lnTo>
                <a:lnTo>
                  <a:pt x="3025" y="5217"/>
                </a:lnTo>
                <a:lnTo>
                  <a:pt x="2857" y="5109"/>
                </a:lnTo>
                <a:cubicBezTo>
                  <a:pt x="2829" y="5073"/>
                  <a:pt x="2801" y="5036"/>
                  <a:pt x="2773" y="5000"/>
                </a:cubicBezTo>
                <a:lnTo>
                  <a:pt x="1849" y="3913"/>
                </a:lnTo>
                <a:lnTo>
                  <a:pt x="0" y="3913"/>
                </a:lnTo>
                <a:lnTo>
                  <a:pt x="252" y="3750"/>
                </a:lnTo>
                <a:lnTo>
                  <a:pt x="336" y="3750"/>
                </a:lnTo>
                <a:lnTo>
                  <a:pt x="420" y="3696"/>
                </a:lnTo>
                <a:cubicBezTo>
                  <a:pt x="392" y="3660"/>
                  <a:pt x="364" y="3623"/>
                  <a:pt x="336" y="3587"/>
                </a:cubicBezTo>
                <a:cubicBezTo>
                  <a:pt x="364" y="3533"/>
                  <a:pt x="392" y="3478"/>
                  <a:pt x="420" y="3424"/>
                </a:cubicBezTo>
                <a:lnTo>
                  <a:pt x="504" y="3370"/>
                </a:lnTo>
                <a:lnTo>
                  <a:pt x="756" y="3315"/>
                </a:lnTo>
                <a:cubicBezTo>
                  <a:pt x="784" y="3333"/>
                  <a:pt x="812" y="3352"/>
                  <a:pt x="840" y="3370"/>
                </a:cubicBezTo>
                <a:lnTo>
                  <a:pt x="1092" y="3098"/>
                </a:lnTo>
                <a:cubicBezTo>
                  <a:pt x="1064" y="3062"/>
                  <a:pt x="1036" y="3025"/>
                  <a:pt x="1008" y="2989"/>
                </a:cubicBezTo>
                <a:lnTo>
                  <a:pt x="924" y="2935"/>
                </a:lnTo>
                <a:lnTo>
                  <a:pt x="840" y="2935"/>
                </a:lnTo>
                <a:lnTo>
                  <a:pt x="336" y="2772"/>
                </a:lnTo>
                <a:cubicBezTo>
                  <a:pt x="378" y="2645"/>
                  <a:pt x="910" y="2328"/>
                  <a:pt x="1092" y="2174"/>
                </a:cubicBezTo>
                <a:lnTo>
                  <a:pt x="1429" y="1848"/>
                </a:lnTo>
                <a:cubicBezTo>
                  <a:pt x="1457" y="1830"/>
                  <a:pt x="1485" y="1811"/>
                  <a:pt x="1513" y="1793"/>
                </a:cubicBezTo>
                <a:lnTo>
                  <a:pt x="1681" y="1739"/>
                </a:lnTo>
                <a:lnTo>
                  <a:pt x="1765" y="1739"/>
                </a:lnTo>
                <a:lnTo>
                  <a:pt x="2773" y="1739"/>
                </a:lnTo>
                <a:lnTo>
                  <a:pt x="3950" y="1739"/>
                </a:lnTo>
                <a:lnTo>
                  <a:pt x="3950" y="707"/>
                </a:lnTo>
                <a:lnTo>
                  <a:pt x="5630" y="109"/>
                </a:lnTo>
                <a:lnTo>
                  <a:pt x="5798" y="0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18" name="Freeform 9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3255467" y="2702402"/>
            <a:ext cx="1069622" cy="667229"/>
          </a:xfrm>
          <a:custGeom>
            <a:avLst/>
            <a:gdLst>
              <a:gd name="T0" fmla="*/ 660 w 1488"/>
              <a:gd name="T1" fmla="*/ 138 h 1296"/>
              <a:gd name="T2" fmla="*/ 696 w 1488"/>
              <a:gd name="T3" fmla="*/ 564 h 1296"/>
              <a:gd name="T4" fmla="*/ 708 w 1488"/>
              <a:gd name="T5" fmla="*/ 690 h 1296"/>
              <a:gd name="T6" fmla="*/ 1164 w 1488"/>
              <a:gd name="T7" fmla="*/ 732 h 1296"/>
              <a:gd name="T8" fmla="*/ 1248 w 1488"/>
              <a:gd name="T9" fmla="*/ 900 h 1296"/>
              <a:gd name="T10" fmla="*/ 1308 w 1488"/>
              <a:gd name="T11" fmla="*/ 930 h 1296"/>
              <a:gd name="T12" fmla="*/ 1344 w 1488"/>
              <a:gd name="T13" fmla="*/ 948 h 1296"/>
              <a:gd name="T14" fmla="*/ 1362 w 1488"/>
              <a:gd name="T15" fmla="*/ 978 h 1296"/>
              <a:gd name="T16" fmla="*/ 1356 w 1488"/>
              <a:gd name="T17" fmla="*/ 1020 h 1296"/>
              <a:gd name="T18" fmla="*/ 1350 w 1488"/>
              <a:gd name="T19" fmla="*/ 1062 h 1296"/>
              <a:gd name="T20" fmla="*/ 1350 w 1488"/>
              <a:gd name="T21" fmla="*/ 1110 h 1296"/>
              <a:gd name="T22" fmla="*/ 774 w 1488"/>
              <a:gd name="T23" fmla="*/ 1296 h 1296"/>
              <a:gd name="T24" fmla="*/ 738 w 1488"/>
              <a:gd name="T25" fmla="*/ 1278 h 1296"/>
              <a:gd name="T26" fmla="*/ 702 w 1488"/>
              <a:gd name="T27" fmla="*/ 1266 h 1296"/>
              <a:gd name="T28" fmla="*/ 684 w 1488"/>
              <a:gd name="T29" fmla="*/ 1242 h 1296"/>
              <a:gd name="T30" fmla="*/ 660 w 1488"/>
              <a:gd name="T31" fmla="*/ 1212 h 1296"/>
              <a:gd name="T32" fmla="*/ 654 w 1488"/>
              <a:gd name="T33" fmla="*/ 1194 h 1296"/>
              <a:gd name="T34" fmla="*/ 630 w 1488"/>
              <a:gd name="T35" fmla="*/ 1176 h 1296"/>
              <a:gd name="T36" fmla="*/ 600 w 1488"/>
              <a:gd name="T37" fmla="*/ 1152 h 1296"/>
              <a:gd name="T38" fmla="*/ 570 w 1488"/>
              <a:gd name="T39" fmla="*/ 1134 h 1296"/>
              <a:gd name="T40" fmla="*/ 534 w 1488"/>
              <a:gd name="T41" fmla="*/ 1110 h 1296"/>
              <a:gd name="T42" fmla="*/ 492 w 1488"/>
              <a:gd name="T43" fmla="*/ 1098 h 1296"/>
              <a:gd name="T44" fmla="*/ 474 w 1488"/>
              <a:gd name="T45" fmla="*/ 1080 h 1296"/>
              <a:gd name="T46" fmla="*/ 444 w 1488"/>
              <a:gd name="T47" fmla="*/ 1080 h 1296"/>
              <a:gd name="T48" fmla="*/ 414 w 1488"/>
              <a:gd name="T49" fmla="*/ 1062 h 1296"/>
              <a:gd name="T50" fmla="*/ 402 w 1488"/>
              <a:gd name="T51" fmla="*/ 1032 h 1296"/>
              <a:gd name="T52" fmla="*/ 378 w 1488"/>
              <a:gd name="T53" fmla="*/ 1014 h 1296"/>
              <a:gd name="T54" fmla="*/ 360 w 1488"/>
              <a:gd name="T55" fmla="*/ 990 h 1296"/>
              <a:gd name="T56" fmla="*/ 366 w 1488"/>
              <a:gd name="T57" fmla="*/ 966 h 1296"/>
              <a:gd name="T58" fmla="*/ 390 w 1488"/>
              <a:gd name="T59" fmla="*/ 948 h 1296"/>
              <a:gd name="T60" fmla="*/ 390 w 1488"/>
              <a:gd name="T61" fmla="*/ 912 h 1296"/>
              <a:gd name="T62" fmla="*/ 378 w 1488"/>
              <a:gd name="T63" fmla="*/ 888 h 1296"/>
              <a:gd name="T64" fmla="*/ 348 w 1488"/>
              <a:gd name="T65" fmla="*/ 870 h 1296"/>
              <a:gd name="T66" fmla="*/ 300 w 1488"/>
              <a:gd name="T67" fmla="*/ 852 h 1296"/>
              <a:gd name="T68" fmla="*/ 264 w 1488"/>
              <a:gd name="T69" fmla="*/ 816 h 1296"/>
              <a:gd name="T70" fmla="*/ 240 w 1488"/>
              <a:gd name="T71" fmla="*/ 774 h 1296"/>
              <a:gd name="T72" fmla="*/ 204 w 1488"/>
              <a:gd name="T73" fmla="*/ 768 h 1296"/>
              <a:gd name="T74" fmla="*/ 168 w 1488"/>
              <a:gd name="T75" fmla="*/ 756 h 1296"/>
              <a:gd name="T76" fmla="*/ 114 w 1488"/>
              <a:gd name="T77" fmla="*/ 750 h 1296"/>
              <a:gd name="T78" fmla="*/ 72 w 1488"/>
              <a:gd name="T79" fmla="*/ 744 h 1296"/>
              <a:gd name="T80" fmla="*/ 30 w 1488"/>
              <a:gd name="T81" fmla="*/ 738 h 1296"/>
              <a:gd name="T82" fmla="*/ 0 w 1488"/>
              <a:gd name="T83" fmla="*/ 708 h 1296"/>
              <a:gd name="T84" fmla="*/ 6 w 1488"/>
              <a:gd name="T85" fmla="*/ 666 h 1296"/>
              <a:gd name="T86" fmla="*/ 42 w 1488"/>
              <a:gd name="T87" fmla="*/ 630 h 1296"/>
              <a:gd name="T88" fmla="*/ 36 w 1488"/>
              <a:gd name="T89" fmla="*/ 600 h 1296"/>
              <a:gd name="T90" fmla="*/ 150 w 1488"/>
              <a:gd name="T91" fmla="*/ 504 h 1296"/>
              <a:gd name="T92" fmla="*/ 168 w 1488"/>
              <a:gd name="T93" fmla="*/ 348 h 1296"/>
              <a:gd name="T94" fmla="*/ 204 w 1488"/>
              <a:gd name="T95" fmla="*/ 240 h 1296"/>
              <a:gd name="T96" fmla="*/ 222 w 1488"/>
              <a:gd name="T97" fmla="*/ 204 h 1296"/>
              <a:gd name="T98" fmla="*/ 264 w 1488"/>
              <a:gd name="T99" fmla="*/ 180 h 1296"/>
              <a:gd name="T100" fmla="*/ 282 w 1488"/>
              <a:gd name="T101" fmla="*/ 150 h 1296"/>
              <a:gd name="T102" fmla="*/ 300 w 1488"/>
              <a:gd name="T103" fmla="*/ 108 h 1296"/>
              <a:gd name="T104" fmla="*/ 306 w 1488"/>
              <a:gd name="T105" fmla="*/ 66 h 1296"/>
              <a:gd name="T106" fmla="*/ 336 w 1488"/>
              <a:gd name="T107" fmla="*/ 42 h 1296"/>
              <a:gd name="T108" fmla="*/ 372 w 1488"/>
              <a:gd name="T109" fmla="*/ 36 h 1296"/>
              <a:gd name="T110" fmla="*/ 408 w 1488"/>
              <a:gd name="T111" fmla="*/ 36 h 1296"/>
              <a:gd name="T112" fmla="*/ 450 w 1488"/>
              <a:gd name="T113" fmla="*/ 30 h 1296"/>
              <a:gd name="T114" fmla="*/ 498 w 1488"/>
              <a:gd name="T115" fmla="*/ 18 h 1296"/>
              <a:gd name="T116" fmla="*/ 534 w 1488"/>
              <a:gd name="T117" fmla="*/ 12 h 1296"/>
              <a:gd name="T118" fmla="*/ 582 w 1488"/>
              <a:gd name="T119" fmla="*/ 0 h 12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88" h="1296">
                <a:moveTo>
                  <a:pt x="600" y="12"/>
                </a:moveTo>
                <a:lnTo>
                  <a:pt x="606" y="12"/>
                </a:lnTo>
                <a:lnTo>
                  <a:pt x="606" y="18"/>
                </a:lnTo>
                <a:lnTo>
                  <a:pt x="606" y="90"/>
                </a:lnTo>
                <a:lnTo>
                  <a:pt x="624" y="96"/>
                </a:lnTo>
                <a:lnTo>
                  <a:pt x="648" y="108"/>
                </a:lnTo>
                <a:lnTo>
                  <a:pt x="654" y="120"/>
                </a:lnTo>
                <a:lnTo>
                  <a:pt x="660" y="138"/>
                </a:lnTo>
                <a:lnTo>
                  <a:pt x="708" y="180"/>
                </a:lnTo>
                <a:lnTo>
                  <a:pt x="678" y="468"/>
                </a:lnTo>
                <a:lnTo>
                  <a:pt x="684" y="528"/>
                </a:lnTo>
                <a:lnTo>
                  <a:pt x="696" y="540"/>
                </a:lnTo>
                <a:lnTo>
                  <a:pt x="696" y="546"/>
                </a:lnTo>
                <a:lnTo>
                  <a:pt x="696" y="552"/>
                </a:lnTo>
                <a:lnTo>
                  <a:pt x="696" y="558"/>
                </a:lnTo>
                <a:lnTo>
                  <a:pt x="696" y="564"/>
                </a:lnTo>
                <a:lnTo>
                  <a:pt x="702" y="564"/>
                </a:lnTo>
                <a:lnTo>
                  <a:pt x="702" y="570"/>
                </a:lnTo>
                <a:lnTo>
                  <a:pt x="702" y="576"/>
                </a:lnTo>
                <a:lnTo>
                  <a:pt x="702" y="582"/>
                </a:lnTo>
                <a:lnTo>
                  <a:pt x="696" y="582"/>
                </a:lnTo>
                <a:lnTo>
                  <a:pt x="702" y="618"/>
                </a:lnTo>
                <a:lnTo>
                  <a:pt x="702" y="636"/>
                </a:lnTo>
                <a:lnTo>
                  <a:pt x="708" y="690"/>
                </a:lnTo>
                <a:lnTo>
                  <a:pt x="732" y="762"/>
                </a:lnTo>
                <a:lnTo>
                  <a:pt x="738" y="762"/>
                </a:lnTo>
                <a:lnTo>
                  <a:pt x="852" y="840"/>
                </a:lnTo>
                <a:lnTo>
                  <a:pt x="906" y="870"/>
                </a:lnTo>
                <a:lnTo>
                  <a:pt x="954" y="840"/>
                </a:lnTo>
                <a:lnTo>
                  <a:pt x="1152" y="738"/>
                </a:lnTo>
                <a:lnTo>
                  <a:pt x="1152" y="732"/>
                </a:lnTo>
                <a:lnTo>
                  <a:pt x="1164" y="732"/>
                </a:lnTo>
                <a:lnTo>
                  <a:pt x="1170" y="732"/>
                </a:lnTo>
                <a:lnTo>
                  <a:pt x="1182" y="732"/>
                </a:lnTo>
                <a:lnTo>
                  <a:pt x="1200" y="840"/>
                </a:lnTo>
                <a:lnTo>
                  <a:pt x="1200" y="846"/>
                </a:lnTo>
                <a:lnTo>
                  <a:pt x="1200" y="858"/>
                </a:lnTo>
                <a:lnTo>
                  <a:pt x="1200" y="864"/>
                </a:lnTo>
                <a:lnTo>
                  <a:pt x="1224" y="882"/>
                </a:lnTo>
                <a:lnTo>
                  <a:pt x="1248" y="900"/>
                </a:lnTo>
                <a:lnTo>
                  <a:pt x="1260" y="906"/>
                </a:lnTo>
                <a:lnTo>
                  <a:pt x="1266" y="912"/>
                </a:lnTo>
                <a:lnTo>
                  <a:pt x="1278" y="918"/>
                </a:lnTo>
                <a:lnTo>
                  <a:pt x="1284" y="918"/>
                </a:lnTo>
                <a:lnTo>
                  <a:pt x="1290" y="924"/>
                </a:lnTo>
                <a:lnTo>
                  <a:pt x="1302" y="924"/>
                </a:lnTo>
                <a:lnTo>
                  <a:pt x="1302" y="930"/>
                </a:lnTo>
                <a:lnTo>
                  <a:pt x="1308" y="930"/>
                </a:lnTo>
                <a:lnTo>
                  <a:pt x="1314" y="936"/>
                </a:lnTo>
                <a:lnTo>
                  <a:pt x="1320" y="936"/>
                </a:lnTo>
                <a:lnTo>
                  <a:pt x="1326" y="936"/>
                </a:lnTo>
                <a:lnTo>
                  <a:pt x="1326" y="942"/>
                </a:lnTo>
                <a:lnTo>
                  <a:pt x="1332" y="942"/>
                </a:lnTo>
                <a:lnTo>
                  <a:pt x="1338" y="942"/>
                </a:lnTo>
                <a:lnTo>
                  <a:pt x="1338" y="948"/>
                </a:lnTo>
                <a:lnTo>
                  <a:pt x="1344" y="948"/>
                </a:lnTo>
                <a:lnTo>
                  <a:pt x="1344" y="954"/>
                </a:lnTo>
                <a:lnTo>
                  <a:pt x="1350" y="954"/>
                </a:lnTo>
                <a:lnTo>
                  <a:pt x="1350" y="960"/>
                </a:lnTo>
                <a:lnTo>
                  <a:pt x="1356" y="960"/>
                </a:lnTo>
                <a:lnTo>
                  <a:pt x="1356" y="966"/>
                </a:lnTo>
                <a:lnTo>
                  <a:pt x="1362" y="966"/>
                </a:lnTo>
                <a:lnTo>
                  <a:pt x="1362" y="972"/>
                </a:lnTo>
                <a:lnTo>
                  <a:pt x="1362" y="978"/>
                </a:lnTo>
                <a:lnTo>
                  <a:pt x="1362" y="984"/>
                </a:lnTo>
                <a:lnTo>
                  <a:pt x="1362" y="990"/>
                </a:lnTo>
                <a:lnTo>
                  <a:pt x="1356" y="990"/>
                </a:lnTo>
                <a:lnTo>
                  <a:pt x="1356" y="996"/>
                </a:lnTo>
                <a:lnTo>
                  <a:pt x="1356" y="1002"/>
                </a:lnTo>
                <a:lnTo>
                  <a:pt x="1356" y="1008"/>
                </a:lnTo>
                <a:lnTo>
                  <a:pt x="1356" y="1014"/>
                </a:lnTo>
                <a:lnTo>
                  <a:pt x="1356" y="1020"/>
                </a:lnTo>
                <a:lnTo>
                  <a:pt x="1356" y="1026"/>
                </a:lnTo>
                <a:lnTo>
                  <a:pt x="1356" y="1032"/>
                </a:lnTo>
                <a:lnTo>
                  <a:pt x="1356" y="1038"/>
                </a:lnTo>
                <a:lnTo>
                  <a:pt x="1356" y="1044"/>
                </a:lnTo>
                <a:lnTo>
                  <a:pt x="1356" y="1050"/>
                </a:lnTo>
                <a:lnTo>
                  <a:pt x="1356" y="1056"/>
                </a:lnTo>
                <a:lnTo>
                  <a:pt x="1350" y="1056"/>
                </a:lnTo>
                <a:lnTo>
                  <a:pt x="1350" y="1062"/>
                </a:lnTo>
                <a:lnTo>
                  <a:pt x="1350" y="1068"/>
                </a:lnTo>
                <a:lnTo>
                  <a:pt x="1350" y="1074"/>
                </a:lnTo>
                <a:lnTo>
                  <a:pt x="1344" y="1080"/>
                </a:lnTo>
                <a:lnTo>
                  <a:pt x="1344" y="1086"/>
                </a:lnTo>
                <a:lnTo>
                  <a:pt x="1344" y="1092"/>
                </a:lnTo>
                <a:lnTo>
                  <a:pt x="1344" y="1098"/>
                </a:lnTo>
                <a:lnTo>
                  <a:pt x="1350" y="1104"/>
                </a:lnTo>
                <a:lnTo>
                  <a:pt x="1350" y="1110"/>
                </a:lnTo>
                <a:lnTo>
                  <a:pt x="1350" y="1116"/>
                </a:lnTo>
                <a:lnTo>
                  <a:pt x="1488" y="1122"/>
                </a:lnTo>
                <a:lnTo>
                  <a:pt x="1488" y="1260"/>
                </a:lnTo>
                <a:lnTo>
                  <a:pt x="1332" y="1266"/>
                </a:lnTo>
                <a:lnTo>
                  <a:pt x="1320" y="1260"/>
                </a:lnTo>
                <a:lnTo>
                  <a:pt x="1296" y="1248"/>
                </a:lnTo>
                <a:lnTo>
                  <a:pt x="822" y="1290"/>
                </a:lnTo>
                <a:lnTo>
                  <a:pt x="774" y="1296"/>
                </a:lnTo>
                <a:lnTo>
                  <a:pt x="768" y="1296"/>
                </a:lnTo>
                <a:lnTo>
                  <a:pt x="762" y="1290"/>
                </a:lnTo>
                <a:lnTo>
                  <a:pt x="762" y="1284"/>
                </a:lnTo>
                <a:lnTo>
                  <a:pt x="756" y="1284"/>
                </a:lnTo>
                <a:lnTo>
                  <a:pt x="750" y="1284"/>
                </a:lnTo>
                <a:lnTo>
                  <a:pt x="744" y="1284"/>
                </a:lnTo>
                <a:lnTo>
                  <a:pt x="744" y="1278"/>
                </a:lnTo>
                <a:lnTo>
                  <a:pt x="738" y="1278"/>
                </a:lnTo>
                <a:lnTo>
                  <a:pt x="732" y="1278"/>
                </a:lnTo>
                <a:lnTo>
                  <a:pt x="726" y="1278"/>
                </a:lnTo>
                <a:lnTo>
                  <a:pt x="720" y="1278"/>
                </a:lnTo>
                <a:lnTo>
                  <a:pt x="720" y="1272"/>
                </a:lnTo>
                <a:lnTo>
                  <a:pt x="720" y="1266"/>
                </a:lnTo>
                <a:lnTo>
                  <a:pt x="714" y="1266"/>
                </a:lnTo>
                <a:lnTo>
                  <a:pt x="708" y="1266"/>
                </a:lnTo>
                <a:lnTo>
                  <a:pt x="702" y="1266"/>
                </a:lnTo>
                <a:lnTo>
                  <a:pt x="702" y="1260"/>
                </a:lnTo>
                <a:lnTo>
                  <a:pt x="702" y="1254"/>
                </a:lnTo>
                <a:lnTo>
                  <a:pt x="696" y="1248"/>
                </a:lnTo>
                <a:lnTo>
                  <a:pt x="690" y="1248"/>
                </a:lnTo>
                <a:lnTo>
                  <a:pt x="696" y="1248"/>
                </a:lnTo>
                <a:lnTo>
                  <a:pt x="696" y="1242"/>
                </a:lnTo>
                <a:lnTo>
                  <a:pt x="690" y="1242"/>
                </a:lnTo>
                <a:lnTo>
                  <a:pt x="684" y="1242"/>
                </a:lnTo>
                <a:lnTo>
                  <a:pt x="672" y="1242"/>
                </a:lnTo>
                <a:lnTo>
                  <a:pt x="666" y="1236"/>
                </a:lnTo>
                <a:lnTo>
                  <a:pt x="666" y="1230"/>
                </a:lnTo>
                <a:lnTo>
                  <a:pt x="660" y="1224"/>
                </a:lnTo>
                <a:lnTo>
                  <a:pt x="660" y="1218"/>
                </a:lnTo>
                <a:lnTo>
                  <a:pt x="666" y="1212"/>
                </a:lnTo>
                <a:lnTo>
                  <a:pt x="660" y="1206"/>
                </a:lnTo>
                <a:lnTo>
                  <a:pt x="660" y="1212"/>
                </a:lnTo>
                <a:lnTo>
                  <a:pt x="654" y="1212"/>
                </a:lnTo>
                <a:lnTo>
                  <a:pt x="654" y="1206"/>
                </a:lnTo>
                <a:lnTo>
                  <a:pt x="654" y="1200"/>
                </a:lnTo>
                <a:lnTo>
                  <a:pt x="654" y="1206"/>
                </a:lnTo>
                <a:lnTo>
                  <a:pt x="648" y="1206"/>
                </a:lnTo>
                <a:lnTo>
                  <a:pt x="648" y="1200"/>
                </a:lnTo>
                <a:lnTo>
                  <a:pt x="648" y="1194"/>
                </a:lnTo>
                <a:lnTo>
                  <a:pt x="654" y="1194"/>
                </a:lnTo>
                <a:lnTo>
                  <a:pt x="648" y="1194"/>
                </a:lnTo>
                <a:lnTo>
                  <a:pt x="648" y="1188"/>
                </a:lnTo>
                <a:lnTo>
                  <a:pt x="654" y="1182"/>
                </a:lnTo>
                <a:lnTo>
                  <a:pt x="654" y="1176"/>
                </a:lnTo>
                <a:lnTo>
                  <a:pt x="648" y="1176"/>
                </a:lnTo>
                <a:lnTo>
                  <a:pt x="642" y="1176"/>
                </a:lnTo>
                <a:lnTo>
                  <a:pt x="636" y="1176"/>
                </a:lnTo>
                <a:lnTo>
                  <a:pt x="630" y="1176"/>
                </a:lnTo>
                <a:lnTo>
                  <a:pt x="624" y="1170"/>
                </a:lnTo>
                <a:lnTo>
                  <a:pt x="624" y="1164"/>
                </a:lnTo>
                <a:lnTo>
                  <a:pt x="618" y="1164"/>
                </a:lnTo>
                <a:lnTo>
                  <a:pt x="612" y="1164"/>
                </a:lnTo>
                <a:lnTo>
                  <a:pt x="606" y="1164"/>
                </a:lnTo>
                <a:lnTo>
                  <a:pt x="606" y="1158"/>
                </a:lnTo>
                <a:lnTo>
                  <a:pt x="600" y="1158"/>
                </a:lnTo>
                <a:lnTo>
                  <a:pt x="600" y="1152"/>
                </a:lnTo>
                <a:lnTo>
                  <a:pt x="594" y="1152"/>
                </a:lnTo>
                <a:lnTo>
                  <a:pt x="600" y="1146"/>
                </a:lnTo>
                <a:lnTo>
                  <a:pt x="594" y="1146"/>
                </a:lnTo>
                <a:lnTo>
                  <a:pt x="588" y="1146"/>
                </a:lnTo>
                <a:lnTo>
                  <a:pt x="588" y="1140"/>
                </a:lnTo>
                <a:lnTo>
                  <a:pt x="576" y="1140"/>
                </a:lnTo>
                <a:lnTo>
                  <a:pt x="570" y="1140"/>
                </a:lnTo>
                <a:lnTo>
                  <a:pt x="570" y="1134"/>
                </a:lnTo>
                <a:lnTo>
                  <a:pt x="570" y="1128"/>
                </a:lnTo>
                <a:lnTo>
                  <a:pt x="564" y="1122"/>
                </a:lnTo>
                <a:lnTo>
                  <a:pt x="552" y="1122"/>
                </a:lnTo>
                <a:lnTo>
                  <a:pt x="546" y="1122"/>
                </a:lnTo>
                <a:lnTo>
                  <a:pt x="546" y="1116"/>
                </a:lnTo>
                <a:lnTo>
                  <a:pt x="540" y="1116"/>
                </a:lnTo>
                <a:lnTo>
                  <a:pt x="534" y="1116"/>
                </a:lnTo>
                <a:lnTo>
                  <a:pt x="534" y="1110"/>
                </a:lnTo>
                <a:lnTo>
                  <a:pt x="528" y="1110"/>
                </a:lnTo>
                <a:lnTo>
                  <a:pt x="522" y="1110"/>
                </a:lnTo>
                <a:lnTo>
                  <a:pt x="516" y="1110"/>
                </a:lnTo>
                <a:lnTo>
                  <a:pt x="510" y="1104"/>
                </a:lnTo>
                <a:lnTo>
                  <a:pt x="504" y="1104"/>
                </a:lnTo>
                <a:lnTo>
                  <a:pt x="498" y="1104"/>
                </a:lnTo>
                <a:lnTo>
                  <a:pt x="492" y="1104"/>
                </a:lnTo>
                <a:lnTo>
                  <a:pt x="492" y="1098"/>
                </a:lnTo>
                <a:lnTo>
                  <a:pt x="492" y="1092"/>
                </a:lnTo>
                <a:lnTo>
                  <a:pt x="486" y="1098"/>
                </a:lnTo>
                <a:lnTo>
                  <a:pt x="486" y="1092"/>
                </a:lnTo>
                <a:lnTo>
                  <a:pt x="486" y="1086"/>
                </a:lnTo>
                <a:lnTo>
                  <a:pt x="480" y="1086"/>
                </a:lnTo>
                <a:lnTo>
                  <a:pt x="480" y="1092"/>
                </a:lnTo>
                <a:lnTo>
                  <a:pt x="474" y="1086"/>
                </a:lnTo>
                <a:lnTo>
                  <a:pt x="474" y="1080"/>
                </a:lnTo>
                <a:lnTo>
                  <a:pt x="468" y="1080"/>
                </a:lnTo>
                <a:lnTo>
                  <a:pt x="462" y="1080"/>
                </a:lnTo>
                <a:lnTo>
                  <a:pt x="462" y="1086"/>
                </a:lnTo>
                <a:lnTo>
                  <a:pt x="462" y="1080"/>
                </a:lnTo>
                <a:lnTo>
                  <a:pt x="456" y="1080"/>
                </a:lnTo>
                <a:lnTo>
                  <a:pt x="456" y="1086"/>
                </a:lnTo>
                <a:lnTo>
                  <a:pt x="450" y="1080"/>
                </a:lnTo>
                <a:lnTo>
                  <a:pt x="444" y="1080"/>
                </a:lnTo>
                <a:lnTo>
                  <a:pt x="444" y="1074"/>
                </a:lnTo>
                <a:lnTo>
                  <a:pt x="438" y="1074"/>
                </a:lnTo>
                <a:lnTo>
                  <a:pt x="438" y="1068"/>
                </a:lnTo>
                <a:lnTo>
                  <a:pt x="426" y="1062"/>
                </a:lnTo>
                <a:lnTo>
                  <a:pt x="426" y="1068"/>
                </a:lnTo>
                <a:lnTo>
                  <a:pt x="420" y="1068"/>
                </a:lnTo>
                <a:lnTo>
                  <a:pt x="420" y="1062"/>
                </a:lnTo>
                <a:lnTo>
                  <a:pt x="414" y="1062"/>
                </a:lnTo>
                <a:lnTo>
                  <a:pt x="414" y="1056"/>
                </a:lnTo>
                <a:lnTo>
                  <a:pt x="408" y="1056"/>
                </a:lnTo>
                <a:lnTo>
                  <a:pt x="408" y="1050"/>
                </a:lnTo>
                <a:lnTo>
                  <a:pt x="408" y="1044"/>
                </a:lnTo>
                <a:lnTo>
                  <a:pt x="408" y="1038"/>
                </a:lnTo>
                <a:lnTo>
                  <a:pt x="402" y="1038"/>
                </a:lnTo>
                <a:lnTo>
                  <a:pt x="408" y="1032"/>
                </a:lnTo>
                <a:lnTo>
                  <a:pt x="402" y="1032"/>
                </a:lnTo>
                <a:lnTo>
                  <a:pt x="396" y="1032"/>
                </a:lnTo>
                <a:lnTo>
                  <a:pt x="396" y="1026"/>
                </a:lnTo>
                <a:lnTo>
                  <a:pt x="390" y="1026"/>
                </a:lnTo>
                <a:lnTo>
                  <a:pt x="390" y="1020"/>
                </a:lnTo>
                <a:lnTo>
                  <a:pt x="384" y="1020"/>
                </a:lnTo>
                <a:lnTo>
                  <a:pt x="390" y="1020"/>
                </a:lnTo>
                <a:lnTo>
                  <a:pt x="384" y="1014"/>
                </a:lnTo>
                <a:lnTo>
                  <a:pt x="378" y="1014"/>
                </a:lnTo>
                <a:lnTo>
                  <a:pt x="372" y="1014"/>
                </a:lnTo>
                <a:lnTo>
                  <a:pt x="366" y="1014"/>
                </a:lnTo>
                <a:lnTo>
                  <a:pt x="366" y="1008"/>
                </a:lnTo>
                <a:lnTo>
                  <a:pt x="360" y="1008"/>
                </a:lnTo>
                <a:lnTo>
                  <a:pt x="354" y="1008"/>
                </a:lnTo>
                <a:lnTo>
                  <a:pt x="360" y="1002"/>
                </a:lnTo>
                <a:lnTo>
                  <a:pt x="360" y="996"/>
                </a:lnTo>
                <a:lnTo>
                  <a:pt x="360" y="990"/>
                </a:lnTo>
                <a:lnTo>
                  <a:pt x="354" y="984"/>
                </a:lnTo>
                <a:lnTo>
                  <a:pt x="348" y="984"/>
                </a:lnTo>
                <a:lnTo>
                  <a:pt x="348" y="978"/>
                </a:lnTo>
                <a:lnTo>
                  <a:pt x="354" y="978"/>
                </a:lnTo>
                <a:lnTo>
                  <a:pt x="354" y="972"/>
                </a:lnTo>
                <a:lnTo>
                  <a:pt x="360" y="972"/>
                </a:lnTo>
                <a:lnTo>
                  <a:pt x="360" y="966"/>
                </a:lnTo>
                <a:lnTo>
                  <a:pt x="366" y="966"/>
                </a:lnTo>
                <a:lnTo>
                  <a:pt x="372" y="966"/>
                </a:lnTo>
                <a:lnTo>
                  <a:pt x="372" y="960"/>
                </a:lnTo>
                <a:lnTo>
                  <a:pt x="378" y="966"/>
                </a:lnTo>
                <a:lnTo>
                  <a:pt x="378" y="960"/>
                </a:lnTo>
                <a:lnTo>
                  <a:pt x="384" y="960"/>
                </a:lnTo>
                <a:lnTo>
                  <a:pt x="390" y="960"/>
                </a:lnTo>
                <a:lnTo>
                  <a:pt x="390" y="954"/>
                </a:lnTo>
                <a:lnTo>
                  <a:pt x="390" y="948"/>
                </a:lnTo>
                <a:lnTo>
                  <a:pt x="396" y="948"/>
                </a:lnTo>
                <a:lnTo>
                  <a:pt x="390" y="942"/>
                </a:lnTo>
                <a:lnTo>
                  <a:pt x="384" y="936"/>
                </a:lnTo>
                <a:lnTo>
                  <a:pt x="390" y="930"/>
                </a:lnTo>
                <a:lnTo>
                  <a:pt x="384" y="930"/>
                </a:lnTo>
                <a:lnTo>
                  <a:pt x="390" y="924"/>
                </a:lnTo>
                <a:lnTo>
                  <a:pt x="390" y="918"/>
                </a:lnTo>
                <a:lnTo>
                  <a:pt x="390" y="912"/>
                </a:lnTo>
                <a:lnTo>
                  <a:pt x="390" y="906"/>
                </a:lnTo>
                <a:lnTo>
                  <a:pt x="390" y="900"/>
                </a:lnTo>
                <a:lnTo>
                  <a:pt x="384" y="900"/>
                </a:lnTo>
                <a:lnTo>
                  <a:pt x="384" y="906"/>
                </a:lnTo>
                <a:lnTo>
                  <a:pt x="384" y="900"/>
                </a:lnTo>
                <a:lnTo>
                  <a:pt x="378" y="900"/>
                </a:lnTo>
                <a:lnTo>
                  <a:pt x="378" y="894"/>
                </a:lnTo>
                <a:lnTo>
                  <a:pt x="378" y="888"/>
                </a:lnTo>
                <a:lnTo>
                  <a:pt x="372" y="888"/>
                </a:lnTo>
                <a:lnTo>
                  <a:pt x="366" y="882"/>
                </a:lnTo>
                <a:lnTo>
                  <a:pt x="366" y="876"/>
                </a:lnTo>
                <a:lnTo>
                  <a:pt x="360" y="882"/>
                </a:lnTo>
                <a:lnTo>
                  <a:pt x="360" y="876"/>
                </a:lnTo>
                <a:lnTo>
                  <a:pt x="354" y="870"/>
                </a:lnTo>
                <a:lnTo>
                  <a:pt x="354" y="864"/>
                </a:lnTo>
                <a:lnTo>
                  <a:pt x="348" y="870"/>
                </a:lnTo>
                <a:lnTo>
                  <a:pt x="342" y="870"/>
                </a:lnTo>
                <a:lnTo>
                  <a:pt x="336" y="870"/>
                </a:lnTo>
                <a:lnTo>
                  <a:pt x="330" y="870"/>
                </a:lnTo>
                <a:lnTo>
                  <a:pt x="324" y="876"/>
                </a:lnTo>
                <a:lnTo>
                  <a:pt x="318" y="870"/>
                </a:lnTo>
                <a:lnTo>
                  <a:pt x="318" y="864"/>
                </a:lnTo>
                <a:lnTo>
                  <a:pt x="312" y="858"/>
                </a:lnTo>
                <a:lnTo>
                  <a:pt x="300" y="852"/>
                </a:lnTo>
                <a:lnTo>
                  <a:pt x="294" y="846"/>
                </a:lnTo>
                <a:lnTo>
                  <a:pt x="288" y="846"/>
                </a:lnTo>
                <a:lnTo>
                  <a:pt x="282" y="840"/>
                </a:lnTo>
                <a:lnTo>
                  <a:pt x="276" y="834"/>
                </a:lnTo>
                <a:lnTo>
                  <a:pt x="276" y="828"/>
                </a:lnTo>
                <a:lnTo>
                  <a:pt x="270" y="822"/>
                </a:lnTo>
                <a:lnTo>
                  <a:pt x="264" y="822"/>
                </a:lnTo>
                <a:lnTo>
                  <a:pt x="264" y="816"/>
                </a:lnTo>
                <a:lnTo>
                  <a:pt x="258" y="816"/>
                </a:lnTo>
                <a:lnTo>
                  <a:pt x="258" y="810"/>
                </a:lnTo>
                <a:lnTo>
                  <a:pt x="252" y="798"/>
                </a:lnTo>
                <a:lnTo>
                  <a:pt x="252" y="792"/>
                </a:lnTo>
                <a:lnTo>
                  <a:pt x="252" y="786"/>
                </a:lnTo>
                <a:lnTo>
                  <a:pt x="246" y="780"/>
                </a:lnTo>
                <a:lnTo>
                  <a:pt x="246" y="774"/>
                </a:lnTo>
                <a:lnTo>
                  <a:pt x="240" y="774"/>
                </a:lnTo>
                <a:lnTo>
                  <a:pt x="240" y="768"/>
                </a:lnTo>
                <a:lnTo>
                  <a:pt x="240" y="774"/>
                </a:lnTo>
                <a:lnTo>
                  <a:pt x="234" y="774"/>
                </a:lnTo>
                <a:lnTo>
                  <a:pt x="234" y="768"/>
                </a:lnTo>
                <a:lnTo>
                  <a:pt x="222" y="768"/>
                </a:lnTo>
                <a:lnTo>
                  <a:pt x="216" y="774"/>
                </a:lnTo>
                <a:lnTo>
                  <a:pt x="210" y="768"/>
                </a:lnTo>
                <a:lnTo>
                  <a:pt x="204" y="768"/>
                </a:lnTo>
                <a:lnTo>
                  <a:pt x="204" y="762"/>
                </a:lnTo>
                <a:lnTo>
                  <a:pt x="198" y="762"/>
                </a:lnTo>
                <a:lnTo>
                  <a:pt x="192" y="762"/>
                </a:lnTo>
                <a:lnTo>
                  <a:pt x="186" y="762"/>
                </a:lnTo>
                <a:lnTo>
                  <a:pt x="180" y="762"/>
                </a:lnTo>
                <a:lnTo>
                  <a:pt x="180" y="756"/>
                </a:lnTo>
                <a:lnTo>
                  <a:pt x="174" y="756"/>
                </a:lnTo>
                <a:lnTo>
                  <a:pt x="168" y="756"/>
                </a:lnTo>
                <a:lnTo>
                  <a:pt x="162" y="756"/>
                </a:lnTo>
                <a:lnTo>
                  <a:pt x="156" y="756"/>
                </a:lnTo>
                <a:lnTo>
                  <a:pt x="144" y="762"/>
                </a:lnTo>
                <a:lnTo>
                  <a:pt x="138" y="762"/>
                </a:lnTo>
                <a:lnTo>
                  <a:pt x="126" y="756"/>
                </a:lnTo>
                <a:lnTo>
                  <a:pt x="120" y="756"/>
                </a:lnTo>
                <a:lnTo>
                  <a:pt x="120" y="750"/>
                </a:lnTo>
                <a:lnTo>
                  <a:pt x="114" y="750"/>
                </a:lnTo>
                <a:lnTo>
                  <a:pt x="114" y="744"/>
                </a:lnTo>
                <a:lnTo>
                  <a:pt x="108" y="738"/>
                </a:lnTo>
                <a:lnTo>
                  <a:pt x="102" y="738"/>
                </a:lnTo>
                <a:lnTo>
                  <a:pt x="96" y="738"/>
                </a:lnTo>
                <a:lnTo>
                  <a:pt x="90" y="738"/>
                </a:lnTo>
                <a:lnTo>
                  <a:pt x="84" y="738"/>
                </a:lnTo>
                <a:lnTo>
                  <a:pt x="78" y="744"/>
                </a:lnTo>
                <a:lnTo>
                  <a:pt x="72" y="744"/>
                </a:lnTo>
                <a:lnTo>
                  <a:pt x="72" y="750"/>
                </a:lnTo>
                <a:lnTo>
                  <a:pt x="72" y="744"/>
                </a:lnTo>
                <a:lnTo>
                  <a:pt x="66" y="744"/>
                </a:lnTo>
                <a:lnTo>
                  <a:pt x="60" y="738"/>
                </a:lnTo>
                <a:lnTo>
                  <a:pt x="48" y="744"/>
                </a:lnTo>
                <a:lnTo>
                  <a:pt x="42" y="738"/>
                </a:lnTo>
                <a:lnTo>
                  <a:pt x="36" y="738"/>
                </a:lnTo>
                <a:lnTo>
                  <a:pt x="30" y="738"/>
                </a:lnTo>
                <a:lnTo>
                  <a:pt x="24" y="732"/>
                </a:lnTo>
                <a:lnTo>
                  <a:pt x="18" y="732"/>
                </a:lnTo>
                <a:lnTo>
                  <a:pt x="18" y="726"/>
                </a:lnTo>
                <a:lnTo>
                  <a:pt x="12" y="726"/>
                </a:lnTo>
                <a:lnTo>
                  <a:pt x="6" y="720"/>
                </a:lnTo>
                <a:lnTo>
                  <a:pt x="6" y="714"/>
                </a:lnTo>
                <a:lnTo>
                  <a:pt x="0" y="714"/>
                </a:lnTo>
                <a:lnTo>
                  <a:pt x="0" y="708"/>
                </a:lnTo>
                <a:lnTo>
                  <a:pt x="0" y="702"/>
                </a:lnTo>
                <a:lnTo>
                  <a:pt x="0" y="696"/>
                </a:lnTo>
                <a:lnTo>
                  <a:pt x="0" y="690"/>
                </a:lnTo>
                <a:lnTo>
                  <a:pt x="0" y="684"/>
                </a:lnTo>
                <a:lnTo>
                  <a:pt x="6" y="678"/>
                </a:lnTo>
                <a:lnTo>
                  <a:pt x="0" y="672"/>
                </a:lnTo>
                <a:lnTo>
                  <a:pt x="6" y="672"/>
                </a:lnTo>
                <a:lnTo>
                  <a:pt x="6" y="666"/>
                </a:lnTo>
                <a:lnTo>
                  <a:pt x="12" y="666"/>
                </a:lnTo>
                <a:lnTo>
                  <a:pt x="12" y="660"/>
                </a:lnTo>
                <a:lnTo>
                  <a:pt x="18" y="654"/>
                </a:lnTo>
                <a:lnTo>
                  <a:pt x="24" y="642"/>
                </a:lnTo>
                <a:lnTo>
                  <a:pt x="30" y="636"/>
                </a:lnTo>
                <a:lnTo>
                  <a:pt x="36" y="636"/>
                </a:lnTo>
                <a:lnTo>
                  <a:pt x="36" y="630"/>
                </a:lnTo>
                <a:lnTo>
                  <a:pt x="42" y="630"/>
                </a:lnTo>
                <a:lnTo>
                  <a:pt x="36" y="630"/>
                </a:lnTo>
                <a:lnTo>
                  <a:pt x="36" y="624"/>
                </a:lnTo>
                <a:lnTo>
                  <a:pt x="30" y="624"/>
                </a:lnTo>
                <a:lnTo>
                  <a:pt x="24" y="618"/>
                </a:lnTo>
                <a:lnTo>
                  <a:pt x="30" y="612"/>
                </a:lnTo>
                <a:lnTo>
                  <a:pt x="30" y="606"/>
                </a:lnTo>
                <a:lnTo>
                  <a:pt x="36" y="606"/>
                </a:lnTo>
                <a:lnTo>
                  <a:pt x="36" y="600"/>
                </a:lnTo>
                <a:lnTo>
                  <a:pt x="72" y="570"/>
                </a:lnTo>
                <a:lnTo>
                  <a:pt x="84" y="564"/>
                </a:lnTo>
                <a:lnTo>
                  <a:pt x="120" y="546"/>
                </a:lnTo>
                <a:lnTo>
                  <a:pt x="126" y="540"/>
                </a:lnTo>
                <a:lnTo>
                  <a:pt x="132" y="522"/>
                </a:lnTo>
                <a:lnTo>
                  <a:pt x="138" y="522"/>
                </a:lnTo>
                <a:lnTo>
                  <a:pt x="144" y="510"/>
                </a:lnTo>
                <a:lnTo>
                  <a:pt x="150" y="504"/>
                </a:lnTo>
                <a:lnTo>
                  <a:pt x="138" y="480"/>
                </a:lnTo>
                <a:lnTo>
                  <a:pt x="138" y="468"/>
                </a:lnTo>
                <a:lnTo>
                  <a:pt x="144" y="426"/>
                </a:lnTo>
                <a:lnTo>
                  <a:pt x="156" y="402"/>
                </a:lnTo>
                <a:lnTo>
                  <a:pt x="162" y="384"/>
                </a:lnTo>
                <a:lnTo>
                  <a:pt x="156" y="366"/>
                </a:lnTo>
                <a:lnTo>
                  <a:pt x="156" y="360"/>
                </a:lnTo>
                <a:lnTo>
                  <a:pt x="168" y="348"/>
                </a:lnTo>
                <a:lnTo>
                  <a:pt x="186" y="336"/>
                </a:lnTo>
                <a:lnTo>
                  <a:pt x="204" y="324"/>
                </a:lnTo>
                <a:lnTo>
                  <a:pt x="210" y="312"/>
                </a:lnTo>
                <a:lnTo>
                  <a:pt x="210" y="294"/>
                </a:lnTo>
                <a:lnTo>
                  <a:pt x="204" y="282"/>
                </a:lnTo>
                <a:lnTo>
                  <a:pt x="204" y="270"/>
                </a:lnTo>
                <a:lnTo>
                  <a:pt x="204" y="252"/>
                </a:lnTo>
                <a:lnTo>
                  <a:pt x="204" y="240"/>
                </a:lnTo>
                <a:lnTo>
                  <a:pt x="204" y="234"/>
                </a:lnTo>
                <a:lnTo>
                  <a:pt x="210" y="234"/>
                </a:lnTo>
                <a:lnTo>
                  <a:pt x="210" y="228"/>
                </a:lnTo>
                <a:lnTo>
                  <a:pt x="216" y="222"/>
                </a:lnTo>
                <a:lnTo>
                  <a:pt x="216" y="216"/>
                </a:lnTo>
                <a:lnTo>
                  <a:pt x="216" y="210"/>
                </a:lnTo>
                <a:lnTo>
                  <a:pt x="222" y="210"/>
                </a:lnTo>
                <a:lnTo>
                  <a:pt x="222" y="204"/>
                </a:lnTo>
                <a:lnTo>
                  <a:pt x="228" y="204"/>
                </a:lnTo>
                <a:lnTo>
                  <a:pt x="234" y="204"/>
                </a:lnTo>
                <a:lnTo>
                  <a:pt x="240" y="198"/>
                </a:lnTo>
                <a:lnTo>
                  <a:pt x="246" y="198"/>
                </a:lnTo>
                <a:lnTo>
                  <a:pt x="246" y="192"/>
                </a:lnTo>
                <a:lnTo>
                  <a:pt x="252" y="192"/>
                </a:lnTo>
                <a:lnTo>
                  <a:pt x="258" y="186"/>
                </a:lnTo>
                <a:lnTo>
                  <a:pt x="264" y="180"/>
                </a:lnTo>
                <a:lnTo>
                  <a:pt x="270" y="180"/>
                </a:lnTo>
                <a:lnTo>
                  <a:pt x="270" y="174"/>
                </a:lnTo>
                <a:lnTo>
                  <a:pt x="270" y="168"/>
                </a:lnTo>
                <a:lnTo>
                  <a:pt x="276" y="168"/>
                </a:lnTo>
                <a:lnTo>
                  <a:pt x="276" y="162"/>
                </a:lnTo>
                <a:lnTo>
                  <a:pt x="282" y="162"/>
                </a:lnTo>
                <a:lnTo>
                  <a:pt x="282" y="156"/>
                </a:lnTo>
                <a:lnTo>
                  <a:pt x="282" y="150"/>
                </a:lnTo>
                <a:lnTo>
                  <a:pt x="288" y="144"/>
                </a:lnTo>
                <a:lnTo>
                  <a:pt x="288" y="138"/>
                </a:lnTo>
                <a:lnTo>
                  <a:pt x="288" y="132"/>
                </a:lnTo>
                <a:lnTo>
                  <a:pt x="294" y="132"/>
                </a:lnTo>
                <a:lnTo>
                  <a:pt x="294" y="126"/>
                </a:lnTo>
                <a:lnTo>
                  <a:pt x="300" y="120"/>
                </a:lnTo>
                <a:lnTo>
                  <a:pt x="300" y="114"/>
                </a:lnTo>
                <a:lnTo>
                  <a:pt x="300" y="108"/>
                </a:lnTo>
                <a:lnTo>
                  <a:pt x="294" y="102"/>
                </a:lnTo>
                <a:lnTo>
                  <a:pt x="294" y="96"/>
                </a:lnTo>
                <a:lnTo>
                  <a:pt x="294" y="90"/>
                </a:lnTo>
                <a:lnTo>
                  <a:pt x="294" y="84"/>
                </a:lnTo>
                <a:lnTo>
                  <a:pt x="300" y="84"/>
                </a:lnTo>
                <a:lnTo>
                  <a:pt x="300" y="78"/>
                </a:lnTo>
                <a:lnTo>
                  <a:pt x="300" y="72"/>
                </a:lnTo>
                <a:lnTo>
                  <a:pt x="306" y="66"/>
                </a:lnTo>
                <a:lnTo>
                  <a:pt x="306" y="60"/>
                </a:lnTo>
                <a:lnTo>
                  <a:pt x="312" y="60"/>
                </a:lnTo>
                <a:lnTo>
                  <a:pt x="312" y="54"/>
                </a:lnTo>
                <a:lnTo>
                  <a:pt x="312" y="48"/>
                </a:lnTo>
                <a:lnTo>
                  <a:pt x="318" y="48"/>
                </a:lnTo>
                <a:lnTo>
                  <a:pt x="324" y="48"/>
                </a:lnTo>
                <a:lnTo>
                  <a:pt x="330" y="42"/>
                </a:lnTo>
                <a:lnTo>
                  <a:pt x="336" y="42"/>
                </a:lnTo>
                <a:lnTo>
                  <a:pt x="342" y="42"/>
                </a:lnTo>
                <a:lnTo>
                  <a:pt x="348" y="42"/>
                </a:lnTo>
                <a:lnTo>
                  <a:pt x="354" y="42"/>
                </a:lnTo>
                <a:lnTo>
                  <a:pt x="360" y="36"/>
                </a:lnTo>
                <a:lnTo>
                  <a:pt x="360" y="42"/>
                </a:lnTo>
                <a:lnTo>
                  <a:pt x="366" y="42"/>
                </a:lnTo>
                <a:lnTo>
                  <a:pt x="366" y="36"/>
                </a:lnTo>
                <a:lnTo>
                  <a:pt x="372" y="36"/>
                </a:lnTo>
                <a:lnTo>
                  <a:pt x="378" y="36"/>
                </a:lnTo>
                <a:lnTo>
                  <a:pt x="384" y="42"/>
                </a:lnTo>
                <a:lnTo>
                  <a:pt x="390" y="42"/>
                </a:lnTo>
                <a:lnTo>
                  <a:pt x="396" y="36"/>
                </a:lnTo>
                <a:lnTo>
                  <a:pt x="396" y="42"/>
                </a:lnTo>
                <a:lnTo>
                  <a:pt x="402" y="42"/>
                </a:lnTo>
                <a:lnTo>
                  <a:pt x="402" y="36"/>
                </a:lnTo>
                <a:lnTo>
                  <a:pt x="408" y="36"/>
                </a:lnTo>
                <a:lnTo>
                  <a:pt x="414" y="36"/>
                </a:lnTo>
                <a:lnTo>
                  <a:pt x="420" y="36"/>
                </a:lnTo>
                <a:lnTo>
                  <a:pt x="426" y="36"/>
                </a:lnTo>
                <a:lnTo>
                  <a:pt x="426" y="30"/>
                </a:lnTo>
                <a:lnTo>
                  <a:pt x="432" y="30"/>
                </a:lnTo>
                <a:lnTo>
                  <a:pt x="438" y="30"/>
                </a:lnTo>
                <a:lnTo>
                  <a:pt x="444" y="30"/>
                </a:lnTo>
                <a:lnTo>
                  <a:pt x="450" y="30"/>
                </a:lnTo>
                <a:lnTo>
                  <a:pt x="456" y="30"/>
                </a:lnTo>
                <a:lnTo>
                  <a:pt x="462" y="30"/>
                </a:lnTo>
                <a:lnTo>
                  <a:pt x="468" y="24"/>
                </a:lnTo>
                <a:lnTo>
                  <a:pt x="474" y="24"/>
                </a:lnTo>
                <a:lnTo>
                  <a:pt x="480" y="24"/>
                </a:lnTo>
                <a:lnTo>
                  <a:pt x="486" y="18"/>
                </a:lnTo>
                <a:lnTo>
                  <a:pt x="492" y="18"/>
                </a:lnTo>
                <a:lnTo>
                  <a:pt x="498" y="18"/>
                </a:lnTo>
                <a:lnTo>
                  <a:pt x="504" y="18"/>
                </a:lnTo>
                <a:lnTo>
                  <a:pt x="504" y="12"/>
                </a:lnTo>
                <a:lnTo>
                  <a:pt x="510" y="12"/>
                </a:lnTo>
                <a:lnTo>
                  <a:pt x="510" y="18"/>
                </a:lnTo>
                <a:lnTo>
                  <a:pt x="516" y="12"/>
                </a:lnTo>
                <a:lnTo>
                  <a:pt x="522" y="12"/>
                </a:lnTo>
                <a:lnTo>
                  <a:pt x="528" y="12"/>
                </a:lnTo>
                <a:lnTo>
                  <a:pt x="534" y="12"/>
                </a:lnTo>
                <a:lnTo>
                  <a:pt x="540" y="12"/>
                </a:lnTo>
                <a:lnTo>
                  <a:pt x="546" y="12"/>
                </a:lnTo>
                <a:lnTo>
                  <a:pt x="552" y="12"/>
                </a:lnTo>
                <a:lnTo>
                  <a:pt x="558" y="6"/>
                </a:lnTo>
                <a:lnTo>
                  <a:pt x="564" y="6"/>
                </a:lnTo>
                <a:lnTo>
                  <a:pt x="570" y="6"/>
                </a:lnTo>
                <a:lnTo>
                  <a:pt x="576" y="6"/>
                </a:lnTo>
                <a:lnTo>
                  <a:pt x="582" y="0"/>
                </a:lnTo>
                <a:lnTo>
                  <a:pt x="588" y="6"/>
                </a:lnTo>
                <a:lnTo>
                  <a:pt x="594" y="6"/>
                </a:lnTo>
                <a:lnTo>
                  <a:pt x="600" y="12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0" name="Freeform 11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4316465" y="3156488"/>
            <a:ext cx="802216" cy="386127"/>
          </a:xfrm>
          <a:custGeom>
            <a:avLst/>
            <a:gdLst>
              <a:gd name="T0" fmla="*/ 774 w 1116"/>
              <a:gd name="T1" fmla="*/ 216 h 750"/>
              <a:gd name="T2" fmla="*/ 780 w 1116"/>
              <a:gd name="T3" fmla="*/ 234 h 750"/>
              <a:gd name="T4" fmla="*/ 792 w 1116"/>
              <a:gd name="T5" fmla="*/ 246 h 750"/>
              <a:gd name="T6" fmla="*/ 804 w 1116"/>
              <a:gd name="T7" fmla="*/ 258 h 750"/>
              <a:gd name="T8" fmla="*/ 816 w 1116"/>
              <a:gd name="T9" fmla="*/ 276 h 750"/>
              <a:gd name="T10" fmla="*/ 828 w 1116"/>
              <a:gd name="T11" fmla="*/ 288 h 750"/>
              <a:gd name="T12" fmla="*/ 846 w 1116"/>
              <a:gd name="T13" fmla="*/ 294 h 750"/>
              <a:gd name="T14" fmla="*/ 858 w 1116"/>
              <a:gd name="T15" fmla="*/ 312 h 750"/>
              <a:gd name="T16" fmla="*/ 882 w 1116"/>
              <a:gd name="T17" fmla="*/ 318 h 750"/>
              <a:gd name="T18" fmla="*/ 894 w 1116"/>
              <a:gd name="T19" fmla="*/ 330 h 750"/>
              <a:gd name="T20" fmla="*/ 912 w 1116"/>
              <a:gd name="T21" fmla="*/ 342 h 750"/>
              <a:gd name="T22" fmla="*/ 924 w 1116"/>
              <a:gd name="T23" fmla="*/ 354 h 750"/>
              <a:gd name="T24" fmla="*/ 936 w 1116"/>
              <a:gd name="T25" fmla="*/ 372 h 750"/>
              <a:gd name="T26" fmla="*/ 948 w 1116"/>
              <a:gd name="T27" fmla="*/ 384 h 750"/>
              <a:gd name="T28" fmla="*/ 960 w 1116"/>
              <a:gd name="T29" fmla="*/ 402 h 750"/>
              <a:gd name="T30" fmla="*/ 972 w 1116"/>
              <a:gd name="T31" fmla="*/ 414 h 750"/>
              <a:gd name="T32" fmla="*/ 984 w 1116"/>
              <a:gd name="T33" fmla="*/ 426 h 750"/>
              <a:gd name="T34" fmla="*/ 984 w 1116"/>
              <a:gd name="T35" fmla="*/ 438 h 750"/>
              <a:gd name="T36" fmla="*/ 990 w 1116"/>
              <a:gd name="T37" fmla="*/ 462 h 750"/>
              <a:gd name="T38" fmla="*/ 1008 w 1116"/>
              <a:gd name="T39" fmla="*/ 474 h 750"/>
              <a:gd name="T40" fmla="*/ 1014 w 1116"/>
              <a:gd name="T41" fmla="*/ 492 h 750"/>
              <a:gd name="T42" fmla="*/ 1020 w 1116"/>
              <a:gd name="T43" fmla="*/ 510 h 750"/>
              <a:gd name="T44" fmla="*/ 1032 w 1116"/>
              <a:gd name="T45" fmla="*/ 522 h 750"/>
              <a:gd name="T46" fmla="*/ 1044 w 1116"/>
              <a:gd name="T47" fmla="*/ 546 h 750"/>
              <a:gd name="T48" fmla="*/ 1050 w 1116"/>
              <a:gd name="T49" fmla="*/ 570 h 750"/>
              <a:gd name="T50" fmla="*/ 1056 w 1116"/>
              <a:gd name="T51" fmla="*/ 594 h 750"/>
              <a:gd name="T52" fmla="*/ 1068 w 1116"/>
              <a:gd name="T53" fmla="*/ 606 h 750"/>
              <a:gd name="T54" fmla="*/ 1080 w 1116"/>
              <a:gd name="T55" fmla="*/ 630 h 750"/>
              <a:gd name="T56" fmla="*/ 1086 w 1116"/>
              <a:gd name="T57" fmla="*/ 648 h 750"/>
              <a:gd name="T58" fmla="*/ 1098 w 1116"/>
              <a:gd name="T59" fmla="*/ 660 h 750"/>
              <a:gd name="T60" fmla="*/ 1110 w 1116"/>
              <a:gd name="T61" fmla="*/ 672 h 750"/>
              <a:gd name="T62" fmla="*/ 1110 w 1116"/>
              <a:gd name="T63" fmla="*/ 684 h 750"/>
              <a:gd name="T64" fmla="*/ 948 w 1116"/>
              <a:gd name="T65" fmla="*/ 666 h 750"/>
              <a:gd name="T66" fmla="*/ 708 w 1116"/>
              <a:gd name="T67" fmla="*/ 606 h 750"/>
              <a:gd name="T68" fmla="*/ 582 w 1116"/>
              <a:gd name="T69" fmla="*/ 552 h 750"/>
              <a:gd name="T70" fmla="*/ 444 w 1116"/>
              <a:gd name="T71" fmla="*/ 516 h 750"/>
              <a:gd name="T72" fmla="*/ 450 w 1116"/>
              <a:gd name="T73" fmla="*/ 582 h 750"/>
              <a:gd name="T74" fmla="*/ 444 w 1116"/>
              <a:gd name="T75" fmla="*/ 612 h 750"/>
              <a:gd name="T76" fmla="*/ 408 w 1116"/>
              <a:gd name="T77" fmla="*/ 642 h 750"/>
              <a:gd name="T78" fmla="*/ 396 w 1116"/>
              <a:gd name="T79" fmla="*/ 666 h 750"/>
              <a:gd name="T80" fmla="*/ 384 w 1116"/>
              <a:gd name="T81" fmla="*/ 708 h 750"/>
              <a:gd name="T82" fmla="*/ 288 w 1116"/>
              <a:gd name="T83" fmla="*/ 738 h 750"/>
              <a:gd name="T84" fmla="*/ 174 w 1116"/>
              <a:gd name="T85" fmla="*/ 714 h 750"/>
              <a:gd name="T86" fmla="*/ 120 w 1116"/>
              <a:gd name="T87" fmla="*/ 696 h 750"/>
              <a:gd name="T88" fmla="*/ 78 w 1116"/>
              <a:gd name="T89" fmla="*/ 642 h 750"/>
              <a:gd name="T90" fmla="*/ 54 w 1116"/>
              <a:gd name="T91" fmla="*/ 618 h 750"/>
              <a:gd name="T92" fmla="*/ 30 w 1116"/>
              <a:gd name="T93" fmla="*/ 564 h 750"/>
              <a:gd name="T94" fmla="*/ 6 w 1116"/>
              <a:gd name="T95" fmla="*/ 540 h 750"/>
              <a:gd name="T96" fmla="*/ 12 w 1116"/>
              <a:gd name="T97" fmla="*/ 516 h 750"/>
              <a:gd name="T98" fmla="*/ 0 w 1116"/>
              <a:gd name="T99" fmla="*/ 492 h 750"/>
              <a:gd name="T100" fmla="*/ 150 w 1116"/>
              <a:gd name="T101" fmla="*/ 498 h 750"/>
              <a:gd name="T102" fmla="*/ 180 w 1116"/>
              <a:gd name="T103" fmla="*/ 384 h 750"/>
              <a:gd name="T104" fmla="*/ 198 w 1116"/>
              <a:gd name="T105" fmla="*/ 174 h 750"/>
              <a:gd name="T106" fmla="*/ 426 w 1116"/>
              <a:gd name="T107" fmla="*/ 12 h 7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116" h="750">
                <a:moveTo>
                  <a:pt x="612" y="264"/>
                </a:moveTo>
                <a:lnTo>
                  <a:pt x="714" y="270"/>
                </a:lnTo>
                <a:lnTo>
                  <a:pt x="744" y="228"/>
                </a:lnTo>
                <a:lnTo>
                  <a:pt x="774" y="216"/>
                </a:lnTo>
                <a:lnTo>
                  <a:pt x="774" y="222"/>
                </a:lnTo>
                <a:lnTo>
                  <a:pt x="774" y="228"/>
                </a:lnTo>
                <a:lnTo>
                  <a:pt x="774" y="234"/>
                </a:lnTo>
                <a:lnTo>
                  <a:pt x="780" y="234"/>
                </a:lnTo>
                <a:lnTo>
                  <a:pt x="780" y="240"/>
                </a:lnTo>
                <a:lnTo>
                  <a:pt x="786" y="240"/>
                </a:lnTo>
                <a:lnTo>
                  <a:pt x="786" y="246"/>
                </a:lnTo>
                <a:lnTo>
                  <a:pt x="792" y="246"/>
                </a:lnTo>
                <a:lnTo>
                  <a:pt x="792" y="252"/>
                </a:lnTo>
                <a:lnTo>
                  <a:pt x="798" y="252"/>
                </a:lnTo>
                <a:lnTo>
                  <a:pt x="804" y="252"/>
                </a:lnTo>
                <a:lnTo>
                  <a:pt x="804" y="258"/>
                </a:lnTo>
                <a:lnTo>
                  <a:pt x="804" y="264"/>
                </a:lnTo>
                <a:lnTo>
                  <a:pt x="804" y="270"/>
                </a:lnTo>
                <a:lnTo>
                  <a:pt x="810" y="270"/>
                </a:lnTo>
                <a:lnTo>
                  <a:pt x="816" y="276"/>
                </a:lnTo>
                <a:lnTo>
                  <a:pt x="816" y="282"/>
                </a:lnTo>
                <a:lnTo>
                  <a:pt x="822" y="282"/>
                </a:lnTo>
                <a:lnTo>
                  <a:pt x="822" y="288"/>
                </a:lnTo>
                <a:lnTo>
                  <a:pt x="828" y="288"/>
                </a:lnTo>
                <a:lnTo>
                  <a:pt x="834" y="288"/>
                </a:lnTo>
                <a:lnTo>
                  <a:pt x="840" y="288"/>
                </a:lnTo>
                <a:lnTo>
                  <a:pt x="840" y="294"/>
                </a:lnTo>
                <a:lnTo>
                  <a:pt x="846" y="294"/>
                </a:lnTo>
                <a:lnTo>
                  <a:pt x="852" y="300"/>
                </a:lnTo>
                <a:lnTo>
                  <a:pt x="852" y="306"/>
                </a:lnTo>
                <a:lnTo>
                  <a:pt x="858" y="306"/>
                </a:lnTo>
                <a:lnTo>
                  <a:pt x="858" y="312"/>
                </a:lnTo>
                <a:lnTo>
                  <a:pt x="864" y="312"/>
                </a:lnTo>
                <a:lnTo>
                  <a:pt x="870" y="312"/>
                </a:lnTo>
                <a:lnTo>
                  <a:pt x="876" y="318"/>
                </a:lnTo>
                <a:lnTo>
                  <a:pt x="882" y="318"/>
                </a:lnTo>
                <a:lnTo>
                  <a:pt x="888" y="318"/>
                </a:lnTo>
                <a:lnTo>
                  <a:pt x="888" y="324"/>
                </a:lnTo>
                <a:lnTo>
                  <a:pt x="894" y="324"/>
                </a:lnTo>
                <a:lnTo>
                  <a:pt x="894" y="330"/>
                </a:lnTo>
                <a:lnTo>
                  <a:pt x="900" y="336"/>
                </a:lnTo>
                <a:lnTo>
                  <a:pt x="900" y="342"/>
                </a:lnTo>
                <a:lnTo>
                  <a:pt x="906" y="342"/>
                </a:lnTo>
                <a:lnTo>
                  <a:pt x="912" y="342"/>
                </a:lnTo>
                <a:lnTo>
                  <a:pt x="912" y="348"/>
                </a:lnTo>
                <a:lnTo>
                  <a:pt x="918" y="348"/>
                </a:lnTo>
                <a:lnTo>
                  <a:pt x="918" y="354"/>
                </a:lnTo>
                <a:lnTo>
                  <a:pt x="924" y="354"/>
                </a:lnTo>
                <a:lnTo>
                  <a:pt x="924" y="360"/>
                </a:lnTo>
                <a:lnTo>
                  <a:pt x="930" y="360"/>
                </a:lnTo>
                <a:lnTo>
                  <a:pt x="936" y="366"/>
                </a:lnTo>
                <a:lnTo>
                  <a:pt x="936" y="372"/>
                </a:lnTo>
                <a:lnTo>
                  <a:pt x="942" y="372"/>
                </a:lnTo>
                <a:lnTo>
                  <a:pt x="942" y="378"/>
                </a:lnTo>
                <a:lnTo>
                  <a:pt x="948" y="378"/>
                </a:lnTo>
                <a:lnTo>
                  <a:pt x="948" y="384"/>
                </a:lnTo>
                <a:lnTo>
                  <a:pt x="954" y="384"/>
                </a:lnTo>
                <a:lnTo>
                  <a:pt x="960" y="390"/>
                </a:lnTo>
                <a:lnTo>
                  <a:pt x="960" y="396"/>
                </a:lnTo>
                <a:lnTo>
                  <a:pt x="960" y="402"/>
                </a:lnTo>
                <a:lnTo>
                  <a:pt x="966" y="402"/>
                </a:lnTo>
                <a:lnTo>
                  <a:pt x="966" y="408"/>
                </a:lnTo>
                <a:lnTo>
                  <a:pt x="972" y="408"/>
                </a:lnTo>
                <a:lnTo>
                  <a:pt x="972" y="414"/>
                </a:lnTo>
                <a:lnTo>
                  <a:pt x="972" y="420"/>
                </a:lnTo>
                <a:lnTo>
                  <a:pt x="978" y="420"/>
                </a:lnTo>
                <a:lnTo>
                  <a:pt x="978" y="426"/>
                </a:lnTo>
                <a:lnTo>
                  <a:pt x="984" y="426"/>
                </a:lnTo>
                <a:lnTo>
                  <a:pt x="984" y="432"/>
                </a:lnTo>
                <a:lnTo>
                  <a:pt x="978" y="432"/>
                </a:lnTo>
                <a:lnTo>
                  <a:pt x="978" y="438"/>
                </a:lnTo>
                <a:lnTo>
                  <a:pt x="984" y="438"/>
                </a:lnTo>
                <a:lnTo>
                  <a:pt x="984" y="444"/>
                </a:lnTo>
                <a:lnTo>
                  <a:pt x="984" y="450"/>
                </a:lnTo>
                <a:lnTo>
                  <a:pt x="984" y="456"/>
                </a:lnTo>
                <a:lnTo>
                  <a:pt x="990" y="462"/>
                </a:lnTo>
                <a:lnTo>
                  <a:pt x="996" y="462"/>
                </a:lnTo>
                <a:lnTo>
                  <a:pt x="1002" y="462"/>
                </a:lnTo>
                <a:lnTo>
                  <a:pt x="1002" y="468"/>
                </a:lnTo>
                <a:lnTo>
                  <a:pt x="1008" y="474"/>
                </a:lnTo>
                <a:lnTo>
                  <a:pt x="1008" y="480"/>
                </a:lnTo>
                <a:lnTo>
                  <a:pt x="1008" y="486"/>
                </a:lnTo>
                <a:lnTo>
                  <a:pt x="1008" y="492"/>
                </a:lnTo>
                <a:lnTo>
                  <a:pt x="1014" y="492"/>
                </a:lnTo>
                <a:lnTo>
                  <a:pt x="1014" y="498"/>
                </a:lnTo>
                <a:lnTo>
                  <a:pt x="1014" y="504"/>
                </a:lnTo>
                <a:lnTo>
                  <a:pt x="1020" y="504"/>
                </a:lnTo>
                <a:lnTo>
                  <a:pt x="1020" y="510"/>
                </a:lnTo>
                <a:lnTo>
                  <a:pt x="1026" y="510"/>
                </a:lnTo>
                <a:lnTo>
                  <a:pt x="1026" y="516"/>
                </a:lnTo>
                <a:lnTo>
                  <a:pt x="1026" y="522"/>
                </a:lnTo>
                <a:lnTo>
                  <a:pt x="1032" y="522"/>
                </a:lnTo>
                <a:lnTo>
                  <a:pt x="1038" y="528"/>
                </a:lnTo>
                <a:lnTo>
                  <a:pt x="1038" y="534"/>
                </a:lnTo>
                <a:lnTo>
                  <a:pt x="1038" y="540"/>
                </a:lnTo>
                <a:lnTo>
                  <a:pt x="1044" y="546"/>
                </a:lnTo>
                <a:lnTo>
                  <a:pt x="1044" y="552"/>
                </a:lnTo>
                <a:lnTo>
                  <a:pt x="1044" y="558"/>
                </a:lnTo>
                <a:lnTo>
                  <a:pt x="1050" y="564"/>
                </a:lnTo>
                <a:lnTo>
                  <a:pt x="1050" y="570"/>
                </a:lnTo>
                <a:lnTo>
                  <a:pt x="1050" y="576"/>
                </a:lnTo>
                <a:lnTo>
                  <a:pt x="1056" y="582"/>
                </a:lnTo>
                <a:lnTo>
                  <a:pt x="1056" y="588"/>
                </a:lnTo>
                <a:lnTo>
                  <a:pt x="1056" y="594"/>
                </a:lnTo>
                <a:lnTo>
                  <a:pt x="1056" y="600"/>
                </a:lnTo>
                <a:lnTo>
                  <a:pt x="1062" y="600"/>
                </a:lnTo>
                <a:lnTo>
                  <a:pt x="1068" y="600"/>
                </a:lnTo>
                <a:lnTo>
                  <a:pt x="1068" y="606"/>
                </a:lnTo>
                <a:lnTo>
                  <a:pt x="1074" y="612"/>
                </a:lnTo>
                <a:lnTo>
                  <a:pt x="1074" y="618"/>
                </a:lnTo>
                <a:lnTo>
                  <a:pt x="1074" y="624"/>
                </a:lnTo>
                <a:lnTo>
                  <a:pt x="1080" y="630"/>
                </a:lnTo>
                <a:lnTo>
                  <a:pt x="1080" y="636"/>
                </a:lnTo>
                <a:lnTo>
                  <a:pt x="1080" y="642"/>
                </a:lnTo>
                <a:lnTo>
                  <a:pt x="1086" y="642"/>
                </a:lnTo>
                <a:lnTo>
                  <a:pt x="1086" y="648"/>
                </a:lnTo>
                <a:lnTo>
                  <a:pt x="1086" y="654"/>
                </a:lnTo>
                <a:lnTo>
                  <a:pt x="1092" y="654"/>
                </a:lnTo>
                <a:lnTo>
                  <a:pt x="1092" y="660"/>
                </a:lnTo>
                <a:lnTo>
                  <a:pt x="1098" y="660"/>
                </a:lnTo>
                <a:lnTo>
                  <a:pt x="1104" y="660"/>
                </a:lnTo>
                <a:lnTo>
                  <a:pt x="1104" y="666"/>
                </a:lnTo>
                <a:lnTo>
                  <a:pt x="1104" y="672"/>
                </a:lnTo>
                <a:lnTo>
                  <a:pt x="1110" y="672"/>
                </a:lnTo>
                <a:lnTo>
                  <a:pt x="1110" y="678"/>
                </a:lnTo>
                <a:lnTo>
                  <a:pt x="1110" y="684"/>
                </a:lnTo>
                <a:lnTo>
                  <a:pt x="1116" y="684"/>
                </a:lnTo>
                <a:lnTo>
                  <a:pt x="1110" y="684"/>
                </a:lnTo>
                <a:lnTo>
                  <a:pt x="1110" y="696"/>
                </a:lnTo>
                <a:lnTo>
                  <a:pt x="1104" y="702"/>
                </a:lnTo>
                <a:lnTo>
                  <a:pt x="1068" y="678"/>
                </a:lnTo>
                <a:lnTo>
                  <a:pt x="948" y="666"/>
                </a:lnTo>
                <a:lnTo>
                  <a:pt x="876" y="672"/>
                </a:lnTo>
                <a:lnTo>
                  <a:pt x="810" y="612"/>
                </a:lnTo>
                <a:lnTo>
                  <a:pt x="738" y="552"/>
                </a:lnTo>
                <a:lnTo>
                  <a:pt x="708" y="606"/>
                </a:lnTo>
                <a:lnTo>
                  <a:pt x="630" y="606"/>
                </a:lnTo>
                <a:lnTo>
                  <a:pt x="594" y="606"/>
                </a:lnTo>
                <a:lnTo>
                  <a:pt x="600" y="588"/>
                </a:lnTo>
                <a:lnTo>
                  <a:pt x="582" y="552"/>
                </a:lnTo>
                <a:lnTo>
                  <a:pt x="570" y="510"/>
                </a:lnTo>
                <a:lnTo>
                  <a:pt x="522" y="510"/>
                </a:lnTo>
                <a:lnTo>
                  <a:pt x="450" y="510"/>
                </a:lnTo>
                <a:lnTo>
                  <a:pt x="444" y="516"/>
                </a:lnTo>
                <a:lnTo>
                  <a:pt x="450" y="528"/>
                </a:lnTo>
                <a:lnTo>
                  <a:pt x="456" y="546"/>
                </a:lnTo>
                <a:lnTo>
                  <a:pt x="456" y="564"/>
                </a:lnTo>
                <a:lnTo>
                  <a:pt x="450" y="582"/>
                </a:lnTo>
                <a:lnTo>
                  <a:pt x="456" y="588"/>
                </a:lnTo>
                <a:lnTo>
                  <a:pt x="456" y="600"/>
                </a:lnTo>
                <a:lnTo>
                  <a:pt x="450" y="606"/>
                </a:lnTo>
                <a:lnTo>
                  <a:pt x="444" y="612"/>
                </a:lnTo>
                <a:lnTo>
                  <a:pt x="426" y="630"/>
                </a:lnTo>
                <a:lnTo>
                  <a:pt x="420" y="630"/>
                </a:lnTo>
                <a:lnTo>
                  <a:pt x="414" y="636"/>
                </a:lnTo>
                <a:lnTo>
                  <a:pt x="408" y="642"/>
                </a:lnTo>
                <a:lnTo>
                  <a:pt x="402" y="642"/>
                </a:lnTo>
                <a:lnTo>
                  <a:pt x="402" y="654"/>
                </a:lnTo>
                <a:lnTo>
                  <a:pt x="402" y="660"/>
                </a:lnTo>
                <a:lnTo>
                  <a:pt x="396" y="666"/>
                </a:lnTo>
                <a:lnTo>
                  <a:pt x="396" y="678"/>
                </a:lnTo>
                <a:lnTo>
                  <a:pt x="390" y="684"/>
                </a:lnTo>
                <a:lnTo>
                  <a:pt x="390" y="696"/>
                </a:lnTo>
                <a:lnTo>
                  <a:pt x="384" y="708"/>
                </a:lnTo>
                <a:lnTo>
                  <a:pt x="378" y="720"/>
                </a:lnTo>
                <a:lnTo>
                  <a:pt x="378" y="732"/>
                </a:lnTo>
                <a:lnTo>
                  <a:pt x="384" y="750"/>
                </a:lnTo>
                <a:lnTo>
                  <a:pt x="288" y="738"/>
                </a:lnTo>
                <a:lnTo>
                  <a:pt x="180" y="732"/>
                </a:lnTo>
                <a:lnTo>
                  <a:pt x="180" y="726"/>
                </a:lnTo>
                <a:lnTo>
                  <a:pt x="180" y="720"/>
                </a:lnTo>
                <a:lnTo>
                  <a:pt x="174" y="714"/>
                </a:lnTo>
                <a:lnTo>
                  <a:pt x="168" y="714"/>
                </a:lnTo>
                <a:lnTo>
                  <a:pt x="162" y="708"/>
                </a:lnTo>
                <a:lnTo>
                  <a:pt x="144" y="702"/>
                </a:lnTo>
                <a:lnTo>
                  <a:pt x="120" y="696"/>
                </a:lnTo>
                <a:lnTo>
                  <a:pt x="114" y="684"/>
                </a:lnTo>
                <a:lnTo>
                  <a:pt x="102" y="672"/>
                </a:lnTo>
                <a:lnTo>
                  <a:pt x="84" y="654"/>
                </a:lnTo>
                <a:lnTo>
                  <a:pt x="78" y="642"/>
                </a:lnTo>
                <a:lnTo>
                  <a:pt x="72" y="624"/>
                </a:lnTo>
                <a:lnTo>
                  <a:pt x="66" y="618"/>
                </a:lnTo>
                <a:lnTo>
                  <a:pt x="60" y="618"/>
                </a:lnTo>
                <a:lnTo>
                  <a:pt x="54" y="618"/>
                </a:lnTo>
                <a:lnTo>
                  <a:pt x="42" y="612"/>
                </a:lnTo>
                <a:lnTo>
                  <a:pt x="36" y="612"/>
                </a:lnTo>
                <a:lnTo>
                  <a:pt x="36" y="600"/>
                </a:lnTo>
                <a:lnTo>
                  <a:pt x="30" y="564"/>
                </a:lnTo>
                <a:lnTo>
                  <a:pt x="24" y="552"/>
                </a:lnTo>
                <a:lnTo>
                  <a:pt x="18" y="546"/>
                </a:lnTo>
                <a:lnTo>
                  <a:pt x="12" y="546"/>
                </a:lnTo>
                <a:lnTo>
                  <a:pt x="6" y="540"/>
                </a:lnTo>
                <a:lnTo>
                  <a:pt x="6" y="534"/>
                </a:lnTo>
                <a:lnTo>
                  <a:pt x="6" y="528"/>
                </a:lnTo>
                <a:lnTo>
                  <a:pt x="6" y="522"/>
                </a:lnTo>
                <a:lnTo>
                  <a:pt x="12" y="516"/>
                </a:lnTo>
                <a:lnTo>
                  <a:pt x="12" y="510"/>
                </a:lnTo>
                <a:lnTo>
                  <a:pt x="12" y="504"/>
                </a:lnTo>
                <a:lnTo>
                  <a:pt x="6" y="498"/>
                </a:lnTo>
                <a:lnTo>
                  <a:pt x="0" y="492"/>
                </a:lnTo>
                <a:lnTo>
                  <a:pt x="0" y="468"/>
                </a:lnTo>
                <a:lnTo>
                  <a:pt x="12" y="468"/>
                </a:lnTo>
                <a:lnTo>
                  <a:pt x="114" y="504"/>
                </a:lnTo>
                <a:lnTo>
                  <a:pt x="150" y="498"/>
                </a:lnTo>
                <a:lnTo>
                  <a:pt x="168" y="474"/>
                </a:lnTo>
                <a:lnTo>
                  <a:pt x="180" y="456"/>
                </a:lnTo>
                <a:lnTo>
                  <a:pt x="186" y="420"/>
                </a:lnTo>
                <a:lnTo>
                  <a:pt x="180" y="384"/>
                </a:lnTo>
                <a:lnTo>
                  <a:pt x="180" y="378"/>
                </a:lnTo>
                <a:lnTo>
                  <a:pt x="174" y="372"/>
                </a:lnTo>
                <a:lnTo>
                  <a:pt x="138" y="282"/>
                </a:lnTo>
                <a:lnTo>
                  <a:pt x="198" y="174"/>
                </a:lnTo>
                <a:lnTo>
                  <a:pt x="348" y="0"/>
                </a:lnTo>
                <a:lnTo>
                  <a:pt x="396" y="6"/>
                </a:lnTo>
                <a:lnTo>
                  <a:pt x="420" y="12"/>
                </a:lnTo>
                <a:lnTo>
                  <a:pt x="426" y="12"/>
                </a:lnTo>
                <a:lnTo>
                  <a:pt x="504" y="18"/>
                </a:lnTo>
                <a:lnTo>
                  <a:pt x="522" y="72"/>
                </a:lnTo>
                <a:lnTo>
                  <a:pt x="612" y="264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1" name="Freeform 13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743449" y="2863031"/>
            <a:ext cx="1190389" cy="670317"/>
          </a:xfrm>
          <a:custGeom>
            <a:avLst/>
            <a:gdLst>
              <a:gd name="T0" fmla="*/ 180 w 1656"/>
              <a:gd name="T1" fmla="*/ 12 h 1302"/>
              <a:gd name="T2" fmla="*/ 240 w 1656"/>
              <a:gd name="T3" fmla="*/ 6 h 1302"/>
              <a:gd name="T4" fmla="*/ 294 w 1656"/>
              <a:gd name="T5" fmla="*/ 12 h 1302"/>
              <a:gd name="T6" fmla="*/ 522 w 1656"/>
              <a:gd name="T7" fmla="*/ 132 h 1302"/>
              <a:gd name="T8" fmla="*/ 552 w 1656"/>
              <a:gd name="T9" fmla="*/ 204 h 1302"/>
              <a:gd name="T10" fmla="*/ 714 w 1656"/>
              <a:gd name="T11" fmla="*/ 198 h 1302"/>
              <a:gd name="T12" fmla="*/ 906 w 1656"/>
              <a:gd name="T13" fmla="*/ 528 h 1302"/>
              <a:gd name="T14" fmla="*/ 966 w 1656"/>
              <a:gd name="T15" fmla="*/ 570 h 1302"/>
              <a:gd name="T16" fmla="*/ 1002 w 1656"/>
              <a:gd name="T17" fmla="*/ 600 h 1302"/>
              <a:gd name="T18" fmla="*/ 1050 w 1656"/>
              <a:gd name="T19" fmla="*/ 606 h 1302"/>
              <a:gd name="T20" fmla="*/ 1092 w 1656"/>
              <a:gd name="T21" fmla="*/ 618 h 1302"/>
              <a:gd name="T22" fmla="*/ 1122 w 1656"/>
              <a:gd name="T23" fmla="*/ 606 h 1302"/>
              <a:gd name="T24" fmla="*/ 1158 w 1656"/>
              <a:gd name="T25" fmla="*/ 630 h 1302"/>
              <a:gd name="T26" fmla="*/ 1200 w 1656"/>
              <a:gd name="T27" fmla="*/ 630 h 1302"/>
              <a:gd name="T28" fmla="*/ 1230 w 1656"/>
              <a:gd name="T29" fmla="*/ 660 h 1302"/>
              <a:gd name="T30" fmla="*/ 1278 w 1656"/>
              <a:gd name="T31" fmla="*/ 690 h 1302"/>
              <a:gd name="T32" fmla="*/ 1308 w 1656"/>
              <a:gd name="T33" fmla="*/ 720 h 1302"/>
              <a:gd name="T34" fmla="*/ 1308 w 1656"/>
              <a:gd name="T35" fmla="*/ 774 h 1302"/>
              <a:gd name="T36" fmla="*/ 1356 w 1656"/>
              <a:gd name="T37" fmla="*/ 810 h 1302"/>
              <a:gd name="T38" fmla="*/ 1374 w 1656"/>
              <a:gd name="T39" fmla="*/ 852 h 1302"/>
              <a:gd name="T40" fmla="*/ 1416 w 1656"/>
              <a:gd name="T41" fmla="*/ 876 h 1302"/>
              <a:gd name="T42" fmla="*/ 1476 w 1656"/>
              <a:gd name="T43" fmla="*/ 906 h 1302"/>
              <a:gd name="T44" fmla="*/ 1488 w 1656"/>
              <a:gd name="T45" fmla="*/ 936 h 1302"/>
              <a:gd name="T46" fmla="*/ 1530 w 1656"/>
              <a:gd name="T47" fmla="*/ 954 h 1302"/>
              <a:gd name="T48" fmla="*/ 1572 w 1656"/>
              <a:gd name="T49" fmla="*/ 1008 h 1302"/>
              <a:gd name="T50" fmla="*/ 1620 w 1656"/>
              <a:gd name="T51" fmla="*/ 1014 h 1302"/>
              <a:gd name="T52" fmla="*/ 1644 w 1656"/>
              <a:gd name="T53" fmla="*/ 1044 h 1302"/>
              <a:gd name="T54" fmla="*/ 1650 w 1656"/>
              <a:gd name="T55" fmla="*/ 1086 h 1302"/>
              <a:gd name="T56" fmla="*/ 1638 w 1656"/>
              <a:gd name="T57" fmla="*/ 1134 h 1302"/>
              <a:gd name="T58" fmla="*/ 1650 w 1656"/>
              <a:gd name="T59" fmla="*/ 1188 h 1302"/>
              <a:gd name="T60" fmla="*/ 660 w 1656"/>
              <a:gd name="T61" fmla="*/ 1260 h 1302"/>
              <a:gd name="T62" fmla="*/ 498 w 1656"/>
              <a:gd name="T63" fmla="*/ 1224 h 1302"/>
              <a:gd name="T64" fmla="*/ 474 w 1656"/>
              <a:gd name="T65" fmla="*/ 1170 h 1302"/>
              <a:gd name="T66" fmla="*/ 450 w 1656"/>
              <a:gd name="T67" fmla="*/ 1116 h 1302"/>
              <a:gd name="T68" fmla="*/ 420 w 1656"/>
              <a:gd name="T69" fmla="*/ 1068 h 1302"/>
              <a:gd name="T70" fmla="*/ 390 w 1656"/>
              <a:gd name="T71" fmla="*/ 1020 h 1302"/>
              <a:gd name="T72" fmla="*/ 378 w 1656"/>
              <a:gd name="T73" fmla="*/ 978 h 1302"/>
              <a:gd name="T74" fmla="*/ 342 w 1656"/>
              <a:gd name="T75" fmla="*/ 942 h 1302"/>
              <a:gd name="T76" fmla="*/ 306 w 1656"/>
              <a:gd name="T77" fmla="*/ 906 h 1302"/>
              <a:gd name="T78" fmla="*/ 258 w 1656"/>
              <a:gd name="T79" fmla="*/ 876 h 1302"/>
              <a:gd name="T80" fmla="*/ 216 w 1656"/>
              <a:gd name="T81" fmla="*/ 840 h 1302"/>
              <a:gd name="T82" fmla="*/ 186 w 1656"/>
              <a:gd name="T83" fmla="*/ 804 h 1302"/>
              <a:gd name="T84" fmla="*/ 156 w 1656"/>
              <a:gd name="T85" fmla="*/ 756 h 1302"/>
              <a:gd name="T86" fmla="*/ 138 w 1656"/>
              <a:gd name="T87" fmla="*/ 708 h 1302"/>
              <a:gd name="T88" fmla="*/ 126 w 1656"/>
              <a:gd name="T89" fmla="*/ 666 h 1302"/>
              <a:gd name="T90" fmla="*/ 108 w 1656"/>
              <a:gd name="T91" fmla="*/ 630 h 1302"/>
              <a:gd name="T92" fmla="*/ 114 w 1656"/>
              <a:gd name="T93" fmla="*/ 582 h 1302"/>
              <a:gd name="T94" fmla="*/ 90 w 1656"/>
              <a:gd name="T95" fmla="*/ 540 h 1302"/>
              <a:gd name="T96" fmla="*/ 66 w 1656"/>
              <a:gd name="T97" fmla="*/ 498 h 1302"/>
              <a:gd name="T98" fmla="*/ 42 w 1656"/>
              <a:gd name="T99" fmla="*/ 474 h 1302"/>
              <a:gd name="T100" fmla="*/ 54 w 1656"/>
              <a:gd name="T101" fmla="*/ 432 h 1302"/>
              <a:gd name="T102" fmla="*/ 42 w 1656"/>
              <a:gd name="T103" fmla="*/ 390 h 1302"/>
              <a:gd name="T104" fmla="*/ 48 w 1656"/>
              <a:gd name="T105" fmla="*/ 354 h 1302"/>
              <a:gd name="T106" fmla="*/ 24 w 1656"/>
              <a:gd name="T107" fmla="*/ 324 h 1302"/>
              <a:gd name="T108" fmla="*/ 36 w 1656"/>
              <a:gd name="T109" fmla="*/ 282 h 1302"/>
              <a:gd name="T110" fmla="*/ 24 w 1656"/>
              <a:gd name="T111" fmla="*/ 252 h 1302"/>
              <a:gd name="T112" fmla="*/ 6 w 1656"/>
              <a:gd name="T113" fmla="*/ 198 h 1302"/>
              <a:gd name="T114" fmla="*/ 24 w 1656"/>
              <a:gd name="T115" fmla="*/ 162 h 1302"/>
              <a:gd name="T116" fmla="*/ 54 w 1656"/>
              <a:gd name="T117" fmla="*/ 114 h 1302"/>
              <a:gd name="T118" fmla="*/ 48 w 1656"/>
              <a:gd name="T119" fmla="*/ 60 h 1302"/>
              <a:gd name="T120" fmla="*/ 78 w 1656"/>
              <a:gd name="T121" fmla="*/ 18 h 1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656" h="1302">
                <a:moveTo>
                  <a:pt x="120" y="6"/>
                </a:moveTo>
                <a:lnTo>
                  <a:pt x="126" y="6"/>
                </a:lnTo>
                <a:lnTo>
                  <a:pt x="132" y="6"/>
                </a:lnTo>
                <a:lnTo>
                  <a:pt x="138" y="6"/>
                </a:lnTo>
                <a:lnTo>
                  <a:pt x="144" y="6"/>
                </a:lnTo>
                <a:lnTo>
                  <a:pt x="150" y="6"/>
                </a:lnTo>
                <a:lnTo>
                  <a:pt x="156" y="6"/>
                </a:lnTo>
                <a:lnTo>
                  <a:pt x="168" y="6"/>
                </a:lnTo>
                <a:lnTo>
                  <a:pt x="174" y="6"/>
                </a:lnTo>
                <a:lnTo>
                  <a:pt x="174" y="12"/>
                </a:lnTo>
                <a:lnTo>
                  <a:pt x="180" y="12"/>
                </a:lnTo>
                <a:lnTo>
                  <a:pt x="186" y="18"/>
                </a:lnTo>
                <a:lnTo>
                  <a:pt x="192" y="18"/>
                </a:lnTo>
                <a:lnTo>
                  <a:pt x="192" y="6"/>
                </a:lnTo>
                <a:lnTo>
                  <a:pt x="198" y="6"/>
                </a:lnTo>
                <a:lnTo>
                  <a:pt x="204" y="6"/>
                </a:lnTo>
                <a:lnTo>
                  <a:pt x="210" y="6"/>
                </a:lnTo>
                <a:lnTo>
                  <a:pt x="216" y="6"/>
                </a:lnTo>
                <a:lnTo>
                  <a:pt x="222" y="6"/>
                </a:lnTo>
                <a:lnTo>
                  <a:pt x="228" y="6"/>
                </a:lnTo>
                <a:lnTo>
                  <a:pt x="234" y="6"/>
                </a:lnTo>
                <a:lnTo>
                  <a:pt x="240" y="6"/>
                </a:lnTo>
                <a:lnTo>
                  <a:pt x="246" y="6"/>
                </a:lnTo>
                <a:lnTo>
                  <a:pt x="252" y="6"/>
                </a:lnTo>
                <a:lnTo>
                  <a:pt x="252" y="0"/>
                </a:lnTo>
                <a:lnTo>
                  <a:pt x="258" y="0"/>
                </a:lnTo>
                <a:lnTo>
                  <a:pt x="264" y="0"/>
                </a:lnTo>
                <a:lnTo>
                  <a:pt x="264" y="6"/>
                </a:lnTo>
                <a:lnTo>
                  <a:pt x="270" y="6"/>
                </a:lnTo>
                <a:lnTo>
                  <a:pt x="276" y="6"/>
                </a:lnTo>
                <a:lnTo>
                  <a:pt x="282" y="12"/>
                </a:lnTo>
                <a:lnTo>
                  <a:pt x="288" y="12"/>
                </a:lnTo>
                <a:lnTo>
                  <a:pt x="294" y="12"/>
                </a:lnTo>
                <a:lnTo>
                  <a:pt x="294" y="18"/>
                </a:lnTo>
                <a:lnTo>
                  <a:pt x="318" y="36"/>
                </a:lnTo>
                <a:lnTo>
                  <a:pt x="456" y="90"/>
                </a:lnTo>
                <a:lnTo>
                  <a:pt x="468" y="90"/>
                </a:lnTo>
                <a:lnTo>
                  <a:pt x="498" y="90"/>
                </a:lnTo>
                <a:lnTo>
                  <a:pt x="510" y="90"/>
                </a:lnTo>
                <a:lnTo>
                  <a:pt x="510" y="96"/>
                </a:lnTo>
                <a:lnTo>
                  <a:pt x="516" y="102"/>
                </a:lnTo>
                <a:lnTo>
                  <a:pt x="516" y="114"/>
                </a:lnTo>
                <a:lnTo>
                  <a:pt x="516" y="120"/>
                </a:lnTo>
                <a:lnTo>
                  <a:pt x="522" y="132"/>
                </a:lnTo>
                <a:lnTo>
                  <a:pt x="528" y="138"/>
                </a:lnTo>
                <a:lnTo>
                  <a:pt x="534" y="138"/>
                </a:lnTo>
                <a:lnTo>
                  <a:pt x="534" y="144"/>
                </a:lnTo>
                <a:lnTo>
                  <a:pt x="534" y="156"/>
                </a:lnTo>
                <a:lnTo>
                  <a:pt x="540" y="162"/>
                </a:lnTo>
                <a:lnTo>
                  <a:pt x="540" y="168"/>
                </a:lnTo>
                <a:lnTo>
                  <a:pt x="546" y="174"/>
                </a:lnTo>
                <a:lnTo>
                  <a:pt x="546" y="186"/>
                </a:lnTo>
                <a:lnTo>
                  <a:pt x="546" y="192"/>
                </a:lnTo>
                <a:lnTo>
                  <a:pt x="552" y="198"/>
                </a:lnTo>
                <a:lnTo>
                  <a:pt x="552" y="204"/>
                </a:lnTo>
                <a:lnTo>
                  <a:pt x="558" y="210"/>
                </a:lnTo>
                <a:lnTo>
                  <a:pt x="558" y="216"/>
                </a:lnTo>
                <a:lnTo>
                  <a:pt x="564" y="222"/>
                </a:lnTo>
                <a:lnTo>
                  <a:pt x="564" y="234"/>
                </a:lnTo>
                <a:lnTo>
                  <a:pt x="576" y="246"/>
                </a:lnTo>
                <a:lnTo>
                  <a:pt x="588" y="252"/>
                </a:lnTo>
                <a:lnTo>
                  <a:pt x="594" y="258"/>
                </a:lnTo>
                <a:lnTo>
                  <a:pt x="612" y="276"/>
                </a:lnTo>
                <a:lnTo>
                  <a:pt x="648" y="234"/>
                </a:lnTo>
                <a:lnTo>
                  <a:pt x="708" y="204"/>
                </a:lnTo>
                <a:lnTo>
                  <a:pt x="714" y="198"/>
                </a:lnTo>
                <a:lnTo>
                  <a:pt x="720" y="186"/>
                </a:lnTo>
                <a:lnTo>
                  <a:pt x="756" y="198"/>
                </a:lnTo>
                <a:lnTo>
                  <a:pt x="774" y="204"/>
                </a:lnTo>
                <a:lnTo>
                  <a:pt x="786" y="210"/>
                </a:lnTo>
                <a:lnTo>
                  <a:pt x="792" y="210"/>
                </a:lnTo>
                <a:lnTo>
                  <a:pt x="798" y="216"/>
                </a:lnTo>
                <a:lnTo>
                  <a:pt x="804" y="228"/>
                </a:lnTo>
                <a:lnTo>
                  <a:pt x="828" y="312"/>
                </a:lnTo>
                <a:lnTo>
                  <a:pt x="840" y="372"/>
                </a:lnTo>
                <a:lnTo>
                  <a:pt x="936" y="426"/>
                </a:lnTo>
                <a:lnTo>
                  <a:pt x="906" y="528"/>
                </a:lnTo>
                <a:lnTo>
                  <a:pt x="972" y="528"/>
                </a:lnTo>
                <a:lnTo>
                  <a:pt x="978" y="528"/>
                </a:lnTo>
                <a:lnTo>
                  <a:pt x="978" y="534"/>
                </a:lnTo>
                <a:lnTo>
                  <a:pt x="972" y="534"/>
                </a:lnTo>
                <a:lnTo>
                  <a:pt x="972" y="540"/>
                </a:lnTo>
                <a:lnTo>
                  <a:pt x="966" y="540"/>
                </a:lnTo>
                <a:lnTo>
                  <a:pt x="966" y="546"/>
                </a:lnTo>
                <a:lnTo>
                  <a:pt x="966" y="552"/>
                </a:lnTo>
                <a:lnTo>
                  <a:pt x="966" y="558"/>
                </a:lnTo>
                <a:lnTo>
                  <a:pt x="966" y="564"/>
                </a:lnTo>
                <a:lnTo>
                  <a:pt x="966" y="570"/>
                </a:lnTo>
                <a:lnTo>
                  <a:pt x="972" y="576"/>
                </a:lnTo>
                <a:lnTo>
                  <a:pt x="972" y="582"/>
                </a:lnTo>
                <a:lnTo>
                  <a:pt x="978" y="588"/>
                </a:lnTo>
                <a:lnTo>
                  <a:pt x="978" y="594"/>
                </a:lnTo>
                <a:lnTo>
                  <a:pt x="984" y="594"/>
                </a:lnTo>
                <a:lnTo>
                  <a:pt x="990" y="594"/>
                </a:lnTo>
                <a:lnTo>
                  <a:pt x="996" y="594"/>
                </a:lnTo>
                <a:lnTo>
                  <a:pt x="1002" y="594"/>
                </a:lnTo>
                <a:lnTo>
                  <a:pt x="996" y="594"/>
                </a:lnTo>
                <a:lnTo>
                  <a:pt x="996" y="600"/>
                </a:lnTo>
                <a:lnTo>
                  <a:pt x="1002" y="600"/>
                </a:lnTo>
                <a:lnTo>
                  <a:pt x="1002" y="594"/>
                </a:lnTo>
                <a:lnTo>
                  <a:pt x="1008" y="594"/>
                </a:lnTo>
                <a:lnTo>
                  <a:pt x="1014" y="594"/>
                </a:lnTo>
                <a:lnTo>
                  <a:pt x="1020" y="594"/>
                </a:lnTo>
                <a:lnTo>
                  <a:pt x="1026" y="594"/>
                </a:lnTo>
                <a:lnTo>
                  <a:pt x="1026" y="600"/>
                </a:lnTo>
                <a:lnTo>
                  <a:pt x="1026" y="594"/>
                </a:lnTo>
                <a:lnTo>
                  <a:pt x="1032" y="594"/>
                </a:lnTo>
                <a:lnTo>
                  <a:pt x="1038" y="600"/>
                </a:lnTo>
                <a:lnTo>
                  <a:pt x="1044" y="600"/>
                </a:lnTo>
                <a:lnTo>
                  <a:pt x="1050" y="606"/>
                </a:lnTo>
                <a:lnTo>
                  <a:pt x="1056" y="606"/>
                </a:lnTo>
                <a:lnTo>
                  <a:pt x="1056" y="612"/>
                </a:lnTo>
                <a:lnTo>
                  <a:pt x="1062" y="612"/>
                </a:lnTo>
                <a:lnTo>
                  <a:pt x="1068" y="612"/>
                </a:lnTo>
                <a:lnTo>
                  <a:pt x="1068" y="618"/>
                </a:lnTo>
                <a:lnTo>
                  <a:pt x="1074" y="618"/>
                </a:lnTo>
                <a:lnTo>
                  <a:pt x="1074" y="624"/>
                </a:lnTo>
                <a:lnTo>
                  <a:pt x="1080" y="624"/>
                </a:lnTo>
                <a:lnTo>
                  <a:pt x="1080" y="618"/>
                </a:lnTo>
                <a:lnTo>
                  <a:pt x="1086" y="618"/>
                </a:lnTo>
                <a:lnTo>
                  <a:pt x="1092" y="618"/>
                </a:lnTo>
                <a:lnTo>
                  <a:pt x="1092" y="612"/>
                </a:lnTo>
                <a:lnTo>
                  <a:pt x="1098" y="612"/>
                </a:lnTo>
                <a:lnTo>
                  <a:pt x="1098" y="618"/>
                </a:lnTo>
                <a:lnTo>
                  <a:pt x="1098" y="612"/>
                </a:lnTo>
                <a:lnTo>
                  <a:pt x="1104" y="612"/>
                </a:lnTo>
                <a:lnTo>
                  <a:pt x="1110" y="612"/>
                </a:lnTo>
                <a:lnTo>
                  <a:pt x="1110" y="606"/>
                </a:lnTo>
                <a:lnTo>
                  <a:pt x="1116" y="606"/>
                </a:lnTo>
                <a:lnTo>
                  <a:pt x="1116" y="612"/>
                </a:lnTo>
                <a:lnTo>
                  <a:pt x="1122" y="612"/>
                </a:lnTo>
                <a:lnTo>
                  <a:pt x="1122" y="606"/>
                </a:lnTo>
                <a:lnTo>
                  <a:pt x="1122" y="612"/>
                </a:lnTo>
                <a:lnTo>
                  <a:pt x="1128" y="612"/>
                </a:lnTo>
                <a:lnTo>
                  <a:pt x="1134" y="612"/>
                </a:lnTo>
                <a:lnTo>
                  <a:pt x="1134" y="618"/>
                </a:lnTo>
                <a:lnTo>
                  <a:pt x="1140" y="612"/>
                </a:lnTo>
                <a:lnTo>
                  <a:pt x="1140" y="618"/>
                </a:lnTo>
                <a:lnTo>
                  <a:pt x="1146" y="618"/>
                </a:lnTo>
                <a:lnTo>
                  <a:pt x="1146" y="624"/>
                </a:lnTo>
                <a:lnTo>
                  <a:pt x="1152" y="624"/>
                </a:lnTo>
                <a:lnTo>
                  <a:pt x="1158" y="624"/>
                </a:lnTo>
                <a:lnTo>
                  <a:pt x="1158" y="630"/>
                </a:lnTo>
                <a:lnTo>
                  <a:pt x="1164" y="630"/>
                </a:lnTo>
                <a:lnTo>
                  <a:pt x="1164" y="624"/>
                </a:lnTo>
                <a:lnTo>
                  <a:pt x="1170" y="624"/>
                </a:lnTo>
                <a:lnTo>
                  <a:pt x="1176" y="624"/>
                </a:lnTo>
                <a:lnTo>
                  <a:pt x="1182" y="624"/>
                </a:lnTo>
                <a:lnTo>
                  <a:pt x="1182" y="630"/>
                </a:lnTo>
                <a:lnTo>
                  <a:pt x="1182" y="624"/>
                </a:lnTo>
                <a:lnTo>
                  <a:pt x="1188" y="630"/>
                </a:lnTo>
                <a:lnTo>
                  <a:pt x="1194" y="624"/>
                </a:lnTo>
                <a:lnTo>
                  <a:pt x="1194" y="630"/>
                </a:lnTo>
                <a:lnTo>
                  <a:pt x="1200" y="630"/>
                </a:lnTo>
                <a:lnTo>
                  <a:pt x="1200" y="636"/>
                </a:lnTo>
                <a:lnTo>
                  <a:pt x="1194" y="636"/>
                </a:lnTo>
                <a:lnTo>
                  <a:pt x="1200" y="636"/>
                </a:lnTo>
                <a:lnTo>
                  <a:pt x="1206" y="642"/>
                </a:lnTo>
                <a:lnTo>
                  <a:pt x="1212" y="642"/>
                </a:lnTo>
                <a:lnTo>
                  <a:pt x="1212" y="648"/>
                </a:lnTo>
                <a:lnTo>
                  <a:pt x="1218" y="648"/>
                </a:lnTo>
                <a:lnTo>
                  <a:pt x="1218" y="654"/>
                </a:lnTo>
                <a:lnTo>
                  <a:pt x="1224" y="654"/>
                </a:lnTo>
                <a:lnTo>
                  <a:pt x="1230" y="654"/>
                </a:lnTo>
                <a:lnTo>
                  <a:pt x="1230" y="660"/>
                </a:lnTo>
                <a:lnTo>
                  <a:pt x="1236" y="654"/>
                </a:lnTo>
                <a:lnTo>
                  <a:pt x="1236" y="660"/>
                </a:lnTo>
                <a:lnTo>
                  <a:pt x="1242" y="666"/>
                </a:lnTo>
                <a:lnTo>
                  <a:pt x="1248" y="666"/>
                </a:lnTo>
                <a:lnTo>
                  <a:pt x="1248" y="672"/>
                </a:lnTo>
                <a:lnTo>
                  <a:pt x="1254" y="672"/>
                </a:lnTo>
                <a:lnTo>
                  <a:pt x="1254" y="678"/>
                </a:lnTo>
                <a:lnTo>
                  <a:pt x="1260" y="684"/>
                </a:lnTo>
                <a:lnTo>
                  <a:pt x="1266" y="690"/>
                </a:lnTo>
                <a:lnTo>
                  <a:pt x="1272" y="690"/>
                </a:lnTo>
                <a:lnTo>
                  <a:pt x="1278" y="690"/>
                </a:lnTo>
                <a:lnTo>
                  <a:pt x="1284" y="690"/>
                </a:lnTo>
                <a:lnTo>
                  <a:pt x="1290" y="690"/>
                </a:lnTo>
                <a:lnTo>
                  <a:pt x="1290" y="696"/>
                </a:lnTo>
                <a:lnTo>
                  <a:pt x="1284" y="696"/>
                </a:lnTo>
                <a:lnTo>
                  <a:pt x="1284" y="702"/>
                </a:lnTo>
                <a:lnTo>
                  <a:pt x="1290" y="702"/>
                </a:lnTo>
                <a:lnTo>
                  <a:pt x="1290" y="708"/>
                </a:lnTo>
                <a:lnTo>
                  <a:pt x="1290" y="714"/>
                </a:lnTo>
                <a:lnTo>
                  <a:pt x="1302" y="714"/>
                </a:lnTo>
                <a:lnTo>
                  <a:pt x="1302" y="720"/>
                </a:lnTo>
                <a:lnTo>
                  <a:pt x="1308" y="720"/>
                </a:lnTo>
                <a:lnTo>
                  <a:pt x="1308" y="732"/>
                </a:lnTo>
                <a:lnTo>
                  <a:pt x="1314" y="732"/>
                </a:lnTo>
                <a:lnTo>
                  <a:pt x="1314" y="738"/>
                </a:lnTo>
                <a:lnTo>
                  <a:pt x="1320" y="738"/>
                </a:lnTo>
                <a:lnTo>
                  <a:pt x="1320" y="744"/>
                </a:lnTo>
                <a:lnTo>
                  <a:pt x="1314" y="756"/>
                </a:lnTo>
                <a:lnTo>
                  <a:pt x="1320" y="762"/>
                </a:lnTo>
                <a:lnTo>
                  <a:pt x="1320" y="768"/>
                </a:lnTo>
                <a:lnTo>
                  <a:pt x="1320" y="774"/>
                </a:lnTo>
                <a:lnTo>
                  <a:pt x="1314" y="774"/>
                </a:lnTo>
                <a:lnTo>
                  <a:pt x="1308" y="774"/>
                </a:lnTo>
                <a:lnTo>
                  <a:pt x="1308" y="780"/>
                </a:lnTo>
                <a:lnTo>
                  <a:pt x="1314" y="780"/>
                </a:lnTo>
                <a:lnTo>
                  <a:pt x="1320" y="786"/>
                </a:lnTo>
                <a:lnTo>
                  <a:pt x="1326" y="792"/>
                </a:lnTo>
                <a:lnTo>
                  <a:pt x="1332" y="792"/>
                </a:lnTo>
                <a:lnTo>
                  <a:pt x="1338" y="798"/>
                </a:lnTo>
                <a:lnTo>
                  <a:pt x="1338" y="804"/>
                </a:lnTo>
                <a:lnTo>
                  <a:pt x="1344" y="804"/>
                </a:lnTo>
                <a:lnTo>
                  <a:pt x="1344" y="810"/>
                </a:lnTo>
                <a:lnTo>
                  <a:pt x="1350" y="810"/>
                </a:lnTo>
                <a:lnTo>
                  <a:pt x="1356" y="810"/>
                </a:lnTo>
                <a:lnTo>
                  <a:pt x="1356" y="816"/>
                </a:lnTo>
                <a:lnTo>
                  <a:pt x="1362" y="816"/>
                </a:lnTo>
                <a:lnTo>
                  <a:pt x="1368" y="816"/>
                </a:lnTo>
                <a:lnTo>
                  <a:pt x="1368" y="822"/>
                </a:lnTo>
                <a:lnTo>
                  <a:pt x="1374" y="822"/>
                </a:lnTo>
                <a:lnTo>
                  <a:pt x="1374" y="828"/>
                </a:lnTo>
                <a:lnTo>
                  <a:pt x="1374" y="834"/>
                </a:lnTo>
                <a:lnTo>
                  <a:pt x="1368" y="840"/>
                </a:lnTo>
                <a:lnTo>
                  <a:pt x="1374" y="840"/>
                </a:lnTo>
                <a:lnTo>
                  <a:pt x="1374" y="846"/>
                </a:lnTo>
                <a:lnTo>
                  <a:pt x="1374" y="852"/>
                </a:lnTo>
                <a:lnTo>
                  <a:pt x="1380" y="852"/>
                </a:lnTo>
                <a:lnTo>
                  <a:pt x="1380" y="858"/>
                </a:lnTo>
                <a:lnTo>
                  <a:pt x="1386" y="858"/>
                </a:lnTo>
                <a:lnTo>
                  <a:pt x="1386" y="864"/>
                </a:lnTo>
                <a:lnTo>
                  <a:pt x="1392" y="864"/>
                </a:lnTo>
                <a:lnTo>
                  <a:pt x="1398" y="864"/>
                </a:lnTo>
                <a:lnTo>
                  <a:pt x="1398" y="870"/>
                </a:lnTo>
                <a:lnTo>
                  <a:pt x="1404" y="870"/>
                </a:lnTo>
                <a:lnTo>
                  <a:pt x="1404" y="876"/>
                </a:lnTo>
                <a:lnTo>
                  <a:pt x="1410" y="876"/>
                </a:lnTo>
                <a:lnTo>
                  <a:pt x="1416" y="876"/>
                </a:lnTo>
                <a:lnTo>
                  <a:pt x="1422" y="876"/>
                </a:lnTo>
                <a:lnTo>
                  <a:pt x="1428" y="882"/>
                </a:lnTo>
                <a:lnTo>
                  <a:pt x="1440" y="882"/>
                </a:lnTo>
                <a:lnTo>
                  <a:pt x="1446" y="888"/>
                </a:lnTo>
                <a:lnTo>
                  <a:pt x="1452" y="888"/>
                </a:lnTo>
                <a:lnTo>
                  <a:pt x="1458" y="888"/>
                </a:lnTo>
                <a:lnTo>
                  <a:pt x="1464" y="888"/>
                </a:lnTo>
                <a:lnTo>
                  <a:pt x="1470" y="894"/>
                </a:lnTo>
                <a:lnTo>
                  <a:pt x="1470" y="900"/>
                </a:lnTo>
                <a:lnTo>
                  <a:pt x="1470" y="906"/>
                </a:lnTo>
                <a:lnTo>
                  <a:pt x="1476" y="906"/>
                </a:lnTo>
                <a:lnTo>
                  <a:pt x="1482" y="906"/>
                </a:lnTo>
                <a:lnTo>
                  <a:pt x="1482" y="912"/>
                </a:lnTo>
                <a:lnTo>
                  <a:pt x="1488" y="912"/>
                </a:lnTo>
                <a:lnTo>
                  <a:pt x="1488" y="918"/>
                </a:lnTo>
                <a:lnTo>
                  <a:pt x="1488" y="924"/>
                </a:lnTo>
                <a:lnTo>
                  <a:pt x="1494" y="924"/>
                </a:lnTo>
                <a:lnTo>
                  <a:pt x="1494" y="930"/>
                </a:lnTo>
                <a:lnTo>
                  <a:pt x="1488" y="930"/>
                </a:lnTo>
                <a:lnTo>
                  <a:pt x="1488" y="936"/>
                </a:lnTo>
                <a:lnTo>
                  <a:pt x="1494" y="936"/>
                </a:lnTo>
                <a:lnTo>
                  <a:pt x="1488" y="936"/>
                </a:lnTo>
                <a:lnTo>
                  <a:pt x="1488" y="942"/>
                </a:lnTo>
                <a:lnTo>
                  <a:pt x="1488" y="948"/>
                </a:lnTo>
                <a:lnTo>
                  <a:pt x="1488" y="954"/>
                </a:lnTo>
                <a:lnTo>
                  <a:pt x="1494" y="954"/>
                </a:lnTo>
                <a:lnTo>
                  <a:pt x="1500" y="954"/>
                </a:lnTo>
                <a:lnTo>
                  <a:pt x="1506" y="960"/>
                </a:lnTo>
                <a:lnTo>
                  <a:pt x="1512" y="960"/>
                </a:lnTo>
                <a:lnTo>
                  <a:pt x="1518" y="960"/>
                </a:lnTo>
                <a:lnTo>
                  <a:pt x="1518" y="954"/>
                </a:lnTo>
                <a:lnTo>
                  <a:pt x="1524" y="954"/>
                </a:lnTo>
                <a:lnTo>
                  <a:pt x="1530" y="954"/>
                </a:lnTo>
                <a:lnTo>
                  <a:pt x="1530" y="960"/>
                </a:lnTo>
                <a:lnTo>
                  <a:pt x="1536" y="966"/>
                </a:lnTo>
                <a:lnTo>
                  <a:pt x="1542" y="972"/>
                </a:lnTo>
                <a:lnTo>
                  <a:pt x="1548" y="972"/>
                </a:lnTo>
                <a:lnTo>
                  <a:pt x="1548" y="978"/>
                </a:lnTo>
                <a:lnTo>
                  <a:pt x="1554" y="984"/>
                </a:lnTo>
                <a:lnTo>
                  <a:pt x="1554" y="990"/>
                </a:lnTo>
                <a:lnTo>
                  <a:pt x="1560" y="990"/>
                </a:lnTo>
                <a:lnTo>
                  <a:pt x="1566" y="1002"/>
                </a:lnTo>
                <a:lnTo>
                  <a:pt x="1572" y="1002"/>
                </a:lnTo>
                <a:lnTo>
                  <a:pt x="1572" y="1008"/>
                </a:lnTo>
                <a:lnTo>
                  <a:pt x="1578" y="1008"/>
                </a:lnTo>
                <a:lnTo>
                  <a:pt x="1578" y="1002"/>
                </a:lnTo>
                <a:lnTo>
                  <a:pt x="1584" y="1002"/>
                </a:lnTo>
                <a:lnTo>
                  <a:pt x="1590" y="1002"/>
                </a:lnTo>
                <a:lnTo>
                  <a:pt x="1596" y="1002"/>
                </a:lnTo>
                <a:lnTo>
                  <a:pt x="1602" y="1002"/>
                </a:lnTo>
                <a:lnTo>
                  <a:pt x="1608" y="1002"/>
                </a:lnTo>
                <a:lnTo>
                  <a:pt x="1608" y="1008"/>
                </a:lnTo>
                <a:lnTo>
                  <a:pt x="1614" y="1008"/>
                </a:lnTo>
                <a:lnTo>
                  <a:pt x="1620" y="1008"/>
                </a:lnTo>
                <a:lnTo>
                  <a:pt x="1620" y="1014"/>
                </a:lnTo>
                <a:lnTo>
                  <a:pt x="1620" y="1020"/>
                </a:lnTo>
                <a:lnTo>
                  <a:pt x="1626" y="1020"/>
                </a:lnTo>
                <a:lnTo>
                  <a:pt x="1632" y="1020"/>
                </a:lnTo>
                <a:lnTo>
                  <a:pt x="1632" y="1026"/>
                </a:lnTo>
                <a:lnTo>
                  <a:pt x="1632" y="1032"/>
                </a:lnTo>
                <a:lnTo>
                  <a:pt x="1632" y="1038"/>
                </a:lnTo>
                <a:lnTo>
                  <a:pt x="1638" y="1038"/>
                </a:lnTo>
                <a:lnTo>
                  <a:pt x="1638" y="1032"/>
                </a:lnTo>
                <a:lnTo>
                  <a:pt x="1638" y="1038"/>
                </a:lnTo>
                <a:lnTo>
                  <a:pt x="1644" y="1038"/>
                </a:lnTo>
                <a:lnTo>
                  <a:pt x="1644" y="1044"/>
                </a:lnTo>
                <a:lnTo>
                  <a:pt x="1650" y="1044"/>
                </a:lnTo>
                <a:lnTo>
                  <a:pt x="1650" y="1050"/>
                </a:lnTo>
                <a:lnTo>
                  <a:pt x="1656" y="1050"/>
                </a:lnTo>
                <a:lnTo>
                  <a:pt x="1656" y="1056"/>
                </a:lnTo>
                <a:lnTo>
                  <a:pt x="1656" y="1062"/>
                </a:lnTo>
                <a:lnTo>
                  <a:pt x="1650" y="1068"/>
                </a:lnTo>
                <a:lnTo>
                  <a:pt x="1650" y="1074"/>
                </a:lnTo>
                <a:lnTo>
                  <a:pt x="1644" y="1074"/>
                </a:lnTo>
                <a:lnTo>
                  <a:pt x="1644" y="1080"/>
                </a:lnTo>
                <a:lnTo>
                  <a:pt x="1644" y="1086"/>
                </a:lnTo>
                <a:lnTo>
                  <a:pt x="1650" y="1086"/>
                </a:lnTo>
                <a:lnTo>
                  <a:pt x="1644" y="1092"/>
                </a:lnTo>
                <a:lnTo>
                  <a:pt x="1644" y="1098"/>
                </a:lnTo>
                <a:lnTo>
                  <a:pt x="1644" y="1104"/>
                </a:lnTo>
                <a:lnTo>
                  <a:pt x="1644" y="1110"/>
                </a:lnTo>
                <a:lnTo>
                  <a:pt x="1638" y="1110"/>
                </a:lnTo>
                <a:lnTo>
                  <a:pt x="1632" y="1110"/>
                </a:lnTo>
                <a:lnTo>
                  <a:pt x="1632" y="1116"/>
                </a:lnTo>
                <a:lnTo>
                  <a:pt x="1632" y="1122"/>
                </a:lnTo>
                <a:lnTo>
                  <a:pt x="1632" y="1128"/>
                </a:lnTo>
                <a:lnTo>
                  <a:pt x="1638" y="1128"/>
                </a:lnTo>
                <a:lnTo>
                  <a:pt x="1638" y="1134"/>
                </a:lnTo>
                <a:lnTo>
                  <a:pt x="1638" y="1140"/>
                </a:lnTo>
                <a:lnTo>
                  <a:pt x="1638" y="1146"/>
                </a:lnTo>
                <a:lnTo>
                  <a:pt x="1638" y="1152"/>
                </a:lnTo>
                <a:lnTo>
                  <a:pt x="1638" y="1158"/>
                </a:lnTo>
                <a:lnTo>
                  <a:pt x="1638" y="1164"/>
                </a:lnTo>
                <a:lnTo>
                  <a:pt x="1638" y="1170"/>
                </a:lnTo>
                <a:lnTo>
                  <a:pt x="1638" y="1176"/>
                </a:lnTo>
                <a:lnTo>
                  <a:pt x="1644" y="1176"/>
                </a:lnTo>
                <a:lnTo>
                  <a:pt x="1644" y="1182"/>
                </a:lnTo>
                <a:lnTo>
                  <a:pt x="1650" y="1182"/>
                </a:lnTo>
                <a:lnTo>
                  <a:pt x="1650" y="1188"/>
                </a:lnTo>
                <a:lnTo>
                  <a:pt x="1650" y="1194"/>
                </a:lnTo>
                <a:lnTo>
                  <a:pt x="1650" y="1200"/>
                </a:lnTo>
                <a:lnTo>
                  <a:pt x="1650" y="1206"/>
                </a:lnTo>
                <a:lnTo>
                  <a:pt x="1608" y="1224"/>
                </a:lnTo>
                <a:lnTo>
                  <a:pt x="1356" y="1302"/>
                </a:lnTo>
                <a:lnTo>
                  <a:pt x="1284" y="1296"/>
                </a:lnTo>
                <a:lnTo>
                  <a:pt x="1266" y="1296"/>
                </a:lnTo>
                <a:lnTo>
                  <a:pt x="1044" y="1260"/>
                </a:lnTo>
                <a:lnTo>
                  <a:pt x="936" y="1260"/>
                </a:lnTo>
                <a:lnTo>
                  <a:pt x="708" y="1260"/>
                </a:lnTo>
                <a:lnTo>
                  <a:pt x="660" y="1260"/>
                </a:lnTo>
                <a:lnTo>
                  <a:pt x="534" y="1254"/>
                </a:lnTo>
                <a:lnTo>
                  <a:pt x="522" y="1254"/>
                </a:lnTo>
                <a:lnTo>
                  <a:pt x="516" y="1254"/>
                </a:lnTo>
                <a:lnTo>
                  <a:pt x="516" y="1248"/>
                </a:lnTo>
                <a:lnTo>
                  <a:pt x="516" y="1242"/>
                </a:lnTo>
                <a:lnTo>
                  <a:pt x="510" y="1242"/>
                </a:lnTo>
                <a:lnTo>
                  <a:pt x="510" y="1236"/>
                </a:lnTo>
                <a:lnTo>
                  <a:pt x="510" y="1230"/>
                </a:lnTo>
                <a:lnTo>
                  <a:pt x="504" y="1230"/>
                </a:lnTo>
                <a:lnTo>
                  <a:pt x="498" y="1230"/>
                </a:lnTo>
                <a:lnTo>
                  <a:pt x="498" y="1224"/>
                </a:lnTo>
                <a:lnTo>
                  <a:pt x="492" y="1224"/>
                </a:lnTo>
                <a:lnTo>
                  <a:pt x="492" y="1218"/>
                </a:lnTo>
                <a:lnTo>
                  <a:pt x="492" y="1212"/>
                </a:lnTo>
                <a:lnTo>
                  <a:pt x="486" y="1212"/>
                </a:lnTo>
                <a:lnTo>
                  <a:pt x="486" y="1206"/>
                </a:lnTo>
                <a:lnTo>
                  <a:pt x="486" y="1200"/>
                </a:lnTo>
                <a:lnTo>
                  <a:pt x="480" y="1194"/>
                </a:lnTo>
                <a:lnTo>
                  <a:pt x="480" y="1188"/>
                </a:lnTo>
                <a:lnTo>
                  <a:pt x="480" y="1182"/>
                </a:lnTo>
                <a:lnTo>
                  <a:pt x="474" y="1176"/>
                </a:lnTo>
                <a:lnTo>
                  <a:pt x="474" y="1170"/>
                </a:lnTo>
                <a:lnTo>
                  <a:pt x="468" y="1170"/>
                </a:lnTo>
                <a:lnTo>
                  <a:pt x="462" y="1170"/>
                </a:lnTo>
                <a:lnTo>
                  <a:pt x="462" y="1164"/>
                </a:lnTo>
                <a:lnTo>
                  <a:pt x="462" y="1158"/>
                </a:lnTo>
                <a:lnTo>
                  <a:pt x="462" y="1152"/>
                </a:lnTo>
                <a:lnTo>
                  <a:pt x="456" y="1146"/>
                </a:lnTo>
                <a:lnTo>
                  <a:pt x="456" y="1140"/>
                </a:lnTo>
                <a:lnTo>
                  <a:pt x="456" y="1134"/>
                </a:lnTo>
                <a:lnTo>
                  <a:pt x="450" y="1128"/>
                </a:lnTo>
                <a:lnTo>
                  <a:pt x="450" y="1122"/>
                </a:lnTo>
                <a:lnTo>
                  <a:pt x="450" y="1116"/>
                </a:lnTo>
                <a:lnTo>
                  <a:pt x="444" y="1110"/>
                </a:lnTo>
                <a:lnTo>
                  <a:pt x="444" y="1104"/>
                </a:lnTo>
                <a:lnTo>
                  <a:pt x="444" y="1098"/>
                </a:lnTo>
                <a:lnTo>
                  <a:pt x="438" y="1092"/>
                </a:lnTo>
                <a:lnTo>
                  <a:pt x="432" y="1092"/>
                </a:lnTo>
                <a:lnTo>
                  <a:pt x="432" y="1086"/>
                </a:lnTo>
                <a:lnTo>
                  <a:pt x="432" y="1080"/>
                </a:lnTo>
                <a:lnTo>
                  <a:pt x="426" y="1080"/>
                </a:lnTo>
                <a:lnTo>
                  <a:pt x="426" y="1074"/>
                </a:lnTo>
                <a:lnTo>
                  <a:pt x="420" y="1074"/>
                </a:lnTo>
                <a:lnTo>
                  <a:pt x="420" y="1068"/>
                </a:lnTo>
                <a:lnTo>
                  <a:pt x="420" y="1062"/>
                </a:lnTo>
                <a:lnTo>
                  <a:pt x="414" y="1062"/>
                </a:lnTo>
                <a:lnTo>
                  <a:pt x="414" y="1056"/>
                </a:lnTo>
                <a:lnTo>
                  <a:pt x="414" y="1050"/>
                </a:lnTo>
                <a:lnTo>
                  <a:pt x="414" y="1044"/>
                </a:lnTo>
                <a:lnTo>
                  <a:pt x="408" y="1038"/>
                </a:lnTo>
                <a:lnTo>
                  <a:pt x="408" y="1032"/>
                </a:lnTo>
                <a:lnTo>
                  <a:pt x="402" y="1032"/>
                </a:lnTo>
                <a:lnTo>
                  <a:pt x="396" y="1032"/>
                </a:lnTo>
                <a:lnTo>
                  <a:pt x="390" y="1026"/>
                </a:lnTo>
                <a:lnTo>
                  <a:pt x="390" y="1020"/>
                </a:lnTo>
                <a:lnTo>
                  <a:pt x="390" y="1014"/>
                </a:lnTo>
                <a:lnTo>
                  <a:pt x="390" y="1008"/>
                </a:lnTo>
                <a:lnTo>
                  <a:pt x="384" y="1008"/>
                </a:lnTo>
                <a:lnTo>
                  <a:pt x="384" y="1002"/>
                </a:lnTo>
                <a:lnTo>
                  <a:pt x="390" y="1002"/>
                </a:lnTo>
                <a:lnTo>
                  <a:pt x="390" y="996"/>
                </a:lnTo>
                <a:lnTo>
                  <a:pt x="384" y="996"/>
                </a:lnTo>
                <a:lnTo>
                  <a:pt x="384" y="990"/>
                </a:lnTo>
                <a:lnTo>
                  <a:pt x="378" y="990"/>
                </a:lnTo>
                <a:lnTo>
                  <a:pt x="378" y="984"/>
                </a:lnTo>
                <a:lnTo>
                  <a:pt x="378" y="978"/>
                </a:lnTo>
                <a:lnTo>
                  <a:pt x="372" y="978"/>
                </a:lnTo>
                <a:lnTo>
                  <a:pt x="372" y="972"/>
                </a:lnTo>
                <a:lnTo>
                  <a:pt x="366" y="972"/>
                </a:lnTo>
                <a:lnTo>
                  <a:pt x="366" y="966"/>
                </a:lnTo>
                <a:lnTo>
                  <a:pt x="366" y="960"/>
                </a:lnTo>
                <a:lnTo>
                  <a:pt x="360" y="954"/>
                </a:lnTo>
                <a:lnTo>
                  <a:pt x="354" y="954"/>
                </a:lnTo>
                <a:lnTo>
                  <a:pt x="354" y="948"/>
                </a:lnTo>
                <a:lnTo>
                  <a:pt x="348" y="948"/>
                </a:lnTo>
                <a:lnTo>
                  <a:pt x="348" y="942"/>
                </a:lnTo>
                <a:lnTo>
                  <a:pt x="342" y="942"/>
                </a:lnTo>
                <a:lnTo>
                  <a:pt x="342" y="936"/>
                </a:lnTo>
                <a:lnTo>
                  <a:pt x="336" y="930"/>
                </a:lnTo>
                <a:lnTo>
                  <a:pt x="330" y="930"/>
                </a:lnTo>
                <a:lnTo>
                  <a:pt x="330" y="924"/>
                </a:lnTo>
                <a:lnTo>
                  <a:pt x="324" y="924"/>
                </a:lnTo>
                <a:lnTo>
                  <a:pt x="324" y="918"/>
                </a:lnTo>
                <a:lnTo>
                  <a:pt x="318" y="918"/>
                </a:lnTo>
                <a:lnTo>
                  <a:pt x="318" y="912"/>
                </a:lnTo>
                <a:lnTo>
                  <a:pt x="312" y="912"/>
                </a:lnTo>
                <a:lnTo>
                  <a:pt x="306" y="912"/>
                </a:lnTo>
                <a:lnTo>
                  <a:pt x="306" y="906"/>
                </a:lnTo>
                <a:lnTo>
                  <a:pt x="300" y="900"/>
                </a:lnTo>
                <a:lnTo>
                  <a:pt x="300" y="894"/>
                </a:lnTo>
                <a:lnTo>
                  <a:pt x="294" y="894"/>
                </a:lnTo>
                <a:lnTo>
                  <a:pt x="294" y="888"/>
                </a:lnTo>
                <a:lnTo>
                  <a:pt x="288" y="888"/>
                </a:lnTo>
                <a:lnTo>
                  <a:pt x="282" y="888"/>
                </a:lnTo>
                <a:lnTo>
                  <a:pt x="276" y="882"/>
                </a:lnTo>
                <a:lnTo>
                  <a:pt x="270" y="882"/>
                </a:lnTo>
                <a:lnTo>
                  <a:pt x="264" y="882"/>
                </a:lnTo>
                <a:lnTo>
                  <a:pt x="264" y="876"/>
                </a:lnTo>
                <a:lnTo>
                  <a:pt x="258" y="876"/>
                </a:lnTo>
                <a:lnTo>
                  <a:pt x="258" y="870"/>
                </a:lnTo>
                <a:lnTo>
                  <a:pt x="252" y="864"/>
                </a:lnTo>
                <a:lnTo>
                  <a:pt x="246" y="864"/>
                </a:lnTo>
                <a:lnTo>
                  <a:pt x="246" y="858"/>
                </a:lnTo>
                <a:lnTo>
                  <a:pt x="240" y="858"/>
                </a:lnTo>
                <a:lnTo>
                  <a:pt x="234" y="858"/>
                </a:lnTo>
                <a:lnTo>
                  <a:pt x="228" y="858"/>
                </a:lnTo>
                <a:lnTo>
                  <a:pt x="228" y="852"/>
                </a:lnTo>
                <a:lnTo>
                  <a:pt x="222" y="852"/>
                </a:lnTo>
                <a:lnTo>
                  <a:pt x="222" y="846"/>
                </a:lnTo>
                <a:lnTo>
                  <a:pt x="216" y="840"/>
                </a:lnTo>
                <a:lnTo>
                  <a:pt x="210" y="840"/>
                </a:lnTo>
                <a:lnTo>
                  <a:pt x="210" y="834"/>
                </a:lnTo>
                <a:lnTo>
                  <a:pt x="210" y="828"/>
                </a:lnTo>
                <a:lnTo>
                  <a:pt x="210" y="822"/>
                </a:lnTo>
                <a:lnTo>
                  <a:pt x="204" y="822"/>
                </a:lnTo>
                <a:lnTo>
                  <a:pt x="198" y="822"/>
                </a:lnTo>
                <a:lnTo>
                  <a:pt x="198" y="816"/>
                </a:lnTo>
                <a:lnTo>
                  <a:pt x="192" y="816"/>
                </a:lnTo>
                <a:lnTo>
                  <a:pt x="192" y="810"/>
                </a:lnTo>
                <a:lnTo>
                  <a:pt x="186" y="810"/>
                </a:lnTo>
                <a:lnTo>
                  <a:pt x="186" y="804"/>
                </a:lnTo>
                <a:lnTo>
                  <a:pt x="180" y="804"/>
                </a:lnTo>
                <a:lnTo>
                  <a:pt x="180" y="798"/>
                </a:lnTo>
                <a:lnTo>
                  <a:pt x="180" y="792"/>
                </a:lnTo>
                <a:lnTo>
                  <a:pt x="180" y="786"/>
                </a:lnTo>
                <a:lnTo>
                  <a:pt x="174" y="786"/>
                </a:lnTo>
                <a:lnTo>
                  <a:pt x="174" y="780"/>
                </a:lnTo>
                <a:lnTo>
                  <a:pt x="168" y="780"/>
                </a:lnTo>
                <a:lnTo>
                  <a:pt x="168" y="774"/>
                </a:lnTo>
                <a:lnTo>
                  <a:pt x="168" y="768"/>
                </a:lnTo>
                <a:lnTo>
                  <a:pt x="162" y="762"/>
                </a:lnTo>
                <a:lnTo>
                  <a:pt x="156" y="756"/>
                </a:lnTo>
                <a:lnTo>
                  <a:pt x="156" y="750"/>
                </a:lnTo>
                <a:lnTo>
                  <a:pt x="156" y="744"/>
                </a:lnTo>
                <a:lnTo>
                  <a:pt x="156" y="738"/>
                </a:lnTo>
                <a:lnTo>
                  <a:pt x="156" y="732"/>
                </a:lnTo>
                <a:lnTo>
                  <a:pt x="150" y="732"/>
                </a:lnTo>
                <a:lnTo>
                  <a:pt x="150" y="726"/>
                </a:lnTo>
                <a:lnTo>
                  <a:pt x="144" y="726"/>
                </a:lnTo>
                <a:lnTo>
                  <a:pt x="144" y="720"/>
                </a:lnTo>
                <a:lnTo>
                  <a:pt x="144" y="714"/>
                </a:lnTo>
                <a:lnTo>
                  <a:pt x="138" y="714"/>
                </a:lnTo>
                <a:lnTo>
                  <a:pt x="138" y="708"/>
                </a:lnTo>
                <a:lnTo>
                  <a:pt x="132" y="708"/>
                </a:lnTo>
                <a:lnTo>
                  <a:pt x="132" y="702"/>
                </a:lnTo>
                <a:lnTo>
                  <a:pt x="126" y="702"/>
                </a:lnTo>
                <a:lnTo>
                  <a:pt x="126" y="696"/>
                </a:lnTo>
                <a:lnTo>
                  <a:pt x="120" y="696"/>
                </a:lnTo>
                <a:lnTo>
                  <a:pt x="120" y="690"/>
                </a:lnTo>
                <a:lnTo>
                  <a:pt x="126" y="690"/>
                </a:lnTo>
                <a:lnTo>
                  <a:pt x="132" y="684"/>
                </a:lnTo>
                <a:lnTo>
                  <a:pt x="132" y="678"/>
                </a:lnTo>
                <a:lnTo>
                  <a:pt x="126" y="672"/>
                </a:lnTo>
                <a:lnTo>
                  <a:pt x="126" y="666"/>
                </a:lnTo>
                <a:lnTo>
                  <a:pt x="120" y="666"/>
                </a:lnTo>
                <a:lnTo>
                  <a:pt x="120" y="660"/>
                </a:lnTo>
                <a:lnTo>
                  <a:pt x="114" y="660"/>
                </a:lnTo>
                <a:lnTo>
                  <a:pt x="114" y="654"/>
                </a:lnTo>
                <a:lnTo>
                  <a:pt x="114" y="648"/>
                </a:lnTo>
                <a:lnTo>
                  <a:pt x="108" y="648"/>
                </a:lnTo>
                <a:lnTo>
                  <a:pt x="108" y="642"/>
                </a:lnTo>
                <a:lnTo>
                  <a:pt x="102" y="642"/>
                </a:lnTo>
                <a:lnTo>
                  <a:pt x="102" y="636"/>
                </a:lnTo>
                <a:lnTo>
                  <a:pt x="108" y="636"/>
                </a:lnTo>
                <a:lnTo>
                  <a:pt x="108" y="630"/>
                </a:lnTo>
                <a:lnTo>
                  <a:pt x="108" y="624"/>
                </a:lnTo>
                <a:lnTo>
                  <a:pt x="108" y="618"/>
                </a:lnTo>
                <a:lnTo>
                  <a:pt x="108" y="612"/>
                </a:lnTo>
                <a:lnTo>
                  <a:pt x="108" y="606"/>
                </a:lnTo>
                <a:lnTo>
                  <a:pt x="114" y="606"/>
                </a:lnTo>
                <a:lnTo>
                  <a:pt x="120" y="600"/>
                </a:lnTo>
                <a:lnTo>
                  <a:pt x="114" y="594"/>
                </a:lnTo>
                <a:lnTo>
                  <a:pt x="120" y="594"/>
                </a:lnTo>
                <a:lnTo>
                  <a:pt x="120" y="588"/>
                </a:lnTo>
                <a:lnTo>
                  <a:pt x="114" y="588"/>
                </a:lnTo>
                <a:lnTo>
                  <a:pt x="114" y="582"/>
                </a:lnTo>
                <a:lnTo>
                  <a:pt x="120" y="582"/>
                </a:lnTo>
                <a:lnTo>
                  <a:pt x="114" y="582"/>
                </a:lnTo>
                <a:lnTo>
                  <a:pt x="114" y="576"/>
                </a:lnTo>
                <a:lnTo>
                  <a:pt x="108" y="576"/>
                </a:lnTo>
                <a:lnTo>
                  <a:pt x="108" y="570"/>
                </a:lnTo>
                <a:lnTo>
                  <a:pt x="108" y="564"/>
                </a:lnTo>
                <a:lnTo>
                  <a:pt x="102" y="558"/>
                </a:lnTo>
                <a:lnTo>
                  <a:pt x="102" y="552"/>
                </a:lnTo>
                <a:lnTo>
                  <a:pt x="96" y="546"/>
                </a:lnTo>
                <a:lnTo>
                  <a:pt x="96" y="540"/>
                </a:lnTo>
                <a:lnTo>
                  <a:pt x="90" y="540"/>
                </a:lnTo>
                <a:lnTo>
                  <a:pt x="90" y="534"/>
                </a:lnTo>
                <a:lnTo>
                  <a:pt x="84" y="528"/>
                </a:lnTo>
                <a:lnTo>
                  <a:pt x="78" y="528"/>
                </a:lnTo>
                <a:lnTo>
                  <a:pt x="84" y="522"/>
                </a:lnTo>
                <a:lnTo>
                  <a:pt x="84" y="516"/>
                </a:lnTo>
                <a:lnTo>
                  <a:pt x="78" y="516"/>
                </a:lnTo>
                <a:lnTo>
                  <a:pt x="78" y="510"/>
                </a:lnTo>
                <a:lnTo>
                  <a:pt x="72" y="510"/>
                </a:lnTo>
                <a:lnTo>
                  <a:pt x="72" y="504"/>
                </a:lnTo>
                <a:lnTo>
                  <a:pt x="72" y="498"/>
                </a:lnTo>
                <a:lnTo>
                  <a:pt x="66" y="498"/>
                </a:lnTo>
                <a:lnTo>
                  <a:pt x="66" y="492"/>
                </a:lnTo>
                <a:lnTo>
                  <a:pt x="66" y="486"/>
                </a:lnTo>
                <a:lnTo>
                  <a:pt x="66" y="480"/>
                </a:lnTo>
                <a:lnTo>
                  <a:pt x="60" y="480"/>
                </a:lnTo>
                <a:lnTo>
                  <a:pt x="60" y="486"/>
                </a:lnTo>
                <a:lnTo>
                  <a:pt x="54" y="486"/>
                </a:lnTo>
                <a:lnTo>
                  <a:pt x="54" y="480"/>
                </a:lnTo>
                <a:lnTo>
                  <a:pt x="48" y="480"/>
                </a:lnTo>
                <a:lnTo>
                  <a:pt x="48" y="486"/>
                </a:lnTo>
                <a:lnTo>
                  <a:pt x="42" y="480"/>
                </a:lnTo>
                <a:lnTo>
                  <a:pt x="42" y="474"/>
                </a:lnTo>
                <a:lnTo>
                  <a:pt x="42" y="468"/>
                </a:lnTo>
                <a:lnTo>
                  <a:pt x="42" y="462"/>
                </a:lnTo>
                <a:lnTo>
                  <a:pt x="42" y="456"/>
                </a:lnTo>
                <a:lnTo>
                  <a:pt x="42" y="450"/>
                </a:lnTo>
                <a:lnTo>
                  <a:pt x="48" y="450"/>
                </a:lnTo>
                <a:lnTo>
                  <a:pt x="48" y="444"/>
                </a:lnTo>
                <a:lnTo>
                  <a:pt x="42" y="444"/>
                </a:lnTo>
                <a:lnTo>
                  <a:pt x="42" y="438"/>
                </a:lnTo>
                <a:lnTo>
                  <a:pt x="48" y="438"/>
                </a:lnTo>
                <a:lnTo>
                  <a:pt x="48" y="432"/>
                </a:lnTo>
                <a:lnTo>
                  <a:pt x="54" y="432"/>
                </a:lnTo>
                <a:lnTo>
                  <a:pt x="48" y="432"/>
                </a:lnTo>
                <a:lnTo>
                  <a:pt x="48" y="426"/>
                </a:lnTo>
                <a:lnTo>
                  <a:pt x="42" y="426"/>
                </a:lnTo>
                <a:lnTo>
                  <a:pt x="42" y="420"/>
                </a:lnTo>
                <a:lnTo>
                  <a:pt x="48" y="420"/>
                </a:lnTo>
                <a:lnTo>
                  <a:pt x="48" y="414"/>
                </a:lnTo>
                <a:lnTo>
                  <a:pt x="48" y="408"/>
                </a:lnTo>
                <a:lnTo>
                  <a:pt x="48" y="402"/>
                </a:lnTo>
                <a:lnTo>
                  <a:pt x="48" y="396"/>
                </a:lnTo>
                <a:lnTo>
                  <a:pt x="42" y="396"/>
                </a:lnTo>
                <a:lnTo>
                  <a:pt x="42" y="390"/>
                </a:lnTo>
                <a:lnTo>
                  <a:pt x="48" y="390"/>
                </a:lnTo>
                <a:lnTo>
                  <a:pt x="48" y="384"/>
                </a:lnTo>
                <a:lnTo>
                  <a:pt x="54" y="384"/>
                </a:lnTo>
                <a:lnTo>
                  <a:pt x="54" y="378"/>
                </a:lnTo>
                <a:lnTo>
                  <a:pt x="60" y="378"/>
                </a:lnTo>
                <a:lnTo>
                  <a:pt x="60" y="372"/>
                </a:lnTo>
                <a:lnTo>
                  <a:pt x="60" y="366"/>
                </a:lnTo>
                <a:lnTo>
                  <a:pt x="60" y="360"/>
                </a:lnTo>
                <a:lnTo>
                  <a:pt x="54" y="360"/>
                </a:lnTo>
                <a:lnTo>
                  <a:pt x="48" y="360"/>
                </a:lnTo>
                <a:lnTo>
                  <a:pt x="48" y="354"/>
                </a:lnTo>
                <a:lnTo>
                  <a:pt x="48" y="348"/>
                </a:lnTo>
                <a:lnTo>
                  <a:pt x="42" y="348"/>
                </a:lnTo>
                <a:lnTo>
                  <a:pt x="36" y="348"/>
                </a:lnTo>
                <a:lnTo>
                  <a:pt x="36" y="342"/>
                </a:lnTo>
                <a:lnTo>
                  <a:pt x="36" y="336"/>
                </a:lnTo>
                <a:lnTo>
                  <a:pt x="30" y="336"/>
                </a:lnTo>
                <a:lnTo>
                  <a:pt x="30" y="330"/>
                </a:lnTo>
                <a:lnTo>
                  <a:pt x="30" y="324"/>
                </a:lnTo>
                <a:lnTo>
                  <a:pt x="30" y="318"/>
                </a:lnTo>
                <a:lnTo>
                  <a:pt x="30" y="324"/>
                </a:lnTo>
                <a:lnTo>
                  <a:pt x="24" y="324"/>
                </a:lnTo>
                <a:lnTo>
                  <a:pt x="24" y="318"/>
                </a:lnTo>
                <a:lnTo>
                  <a:pt x="30" y="318"/>
                </a:lnTo>
                <a:lnTo>
                  <a:pt x="30" y="312"/>
                </a:lnTo>
                <a:lnTo>
                  <a:pt x="30" y="306"/>
                </a:lnTo>
                <a:lnTo>
                  <a:pt x="30" y="300"/>
                </a:lnTo>
                <a:lnTo>
                  <a:pt x="36" y="300"/>
                </a:lnTo>
                <a:lnTo>
                  <a:pt x="36" y="294"/>
                </a:lnTo>
                <a:lnTo>
                  <a:pt x="42" y="294"/>
                </a:lnTo>
                <a:lnTo>
                  <a:pt x="42" y="288"/>
                </a:lnTo>
                <a:lnTo>
                  <a:pt x="36" y="288"/>
                </a:lnTo>
                <a:lnTo>
                  <a:pt x="36" y="282"/>
                </a:lnTo>
                <a:lnTo>
                  <a:pt x="30" y="282"/>
                </a:lnTo>
                <a:lnTo>
                  <a:pt x="24" y="282"/>
                </a:lnTo>
                <a:lnTo>
                  <a:pt x="24" y="276"/>
                </a:lnTo>
                <a:lnTo>
                  <a:pt x="18" y="276"/>
                </a:lnTo>
                <a:lnTo>
                  <a:pt x="18" y="270"/>
                </a:lnTo>
                <a:lnTo>
                  <a:pt x="12" y="270"/>
                </a:lnTo>
                <a:lnTo>
                  <a:pt x="12" y="264"/>
                </a:lnTo>
                <a:lnTo>
                  <a:pt x="12" y="258"/>
                </a:lnTo>
                <a:lnTo>
                  <a:pt x="18" y="258"/>
                </a:lnTo>
                <a:lnTo>
                  <a:pt x="18" y="252"/>
                </a:lnTo>
                <a:lnTo>
                  <a:pt x="24" y="252"/>
                </a:lnTo>
                <a:lnTo>
                  <a:pt x="24" y="246"/>
                </a:lnTo>
                <a:lnTo>
                  <a:pt x="18" y="246"/>
                </a:lnTo>
                <a:lnTo>
                  <a:pt x="12" y="246"/>
                </a:lnTo>
                <a:lnTo>
                  <a:pt x="12" y="240"/>
                </a:lnTo>
                <a:lnTo>
                  <a:pt x="12" y="234"/>
                </a:lnTo>
                <a:lnTo>
                  <a:pt x="12" y="228"/>
                </a:lnTo>
                <a:lnTo>
                  <a:pt x="12" y="222"/>
                </a:lnTo>
                <a:lnTo>
                  <a:pt x="6" y="216"/>
                </a:lnTo>
                <a:lnTo>
                  <a:pt x="6" y="210"/>
                </a:lnTo>
                <a:lnTo>
                  <a:pt x="6" y="204"/>
                </a:lnTo>
                <a:lnTo>
                  <a:pt x="6" y="198"/>
                </a:lnTo>
                <a:lnTo>
                  <a:pt x="6" y="192"/>
                </a:lnTo>
                <a:lnTo>
                  <a:pt x="0" y="192"/>
                </a:lnTo>
                <a:lnTo>
                  <a:pt x="0" y="186"/>
                </a:lnTo>
                <a:lnTo>
                  <a:pt x="0" y="180"/>
                </a:lnTo>
                <a:lnTo>
                  <a:pt x="0" y="174"/>
                </a:lnTo>
                <a:lnTo>
                  <a:pt x="6" y="174"/>
                </a:lnTo>
                <a:lnTo>
                  <a:pt x="6" y="168"/>
                </a:lnTo>
                <a:lnTo>
                  <a:pt x="12" y="168"/>
                </a:lnTo>
                <a:lnTo>
                  <a:pt x="18" y="168"/>
                </a:lnTo>
                <a:lnTo>
                  <a:pt x="18" y="162"/>
                </a:lnTo>
                <a:lnTo>
                  <a:pt x="24" y="162"/>
                </a:lnTo>
                <a:lnTo>
                  <a:pt x="24" y="156"/>
                </a:lnTo>
                <a:lnTo>
                  <a:pt x="24" y="150"/>
                </a:lnTo>
                <a:lnTo>
                  <a:pt x="30" y="150"/>
                </a:lnTo>
                <a:lnTo>
                  <a:pt x="36" y="144"/>
                </a:lnTo>
                <a:lnTo>
                  <a:pt x="42" y="144"/>
                </a:lnTo>
                <a:lnTo>
                  <a:pt x="42" y="138"/>
                </a:lnTo>
                <a:lnTo>
                  <a:pt x="42" y="132"/>
                </a:lnTo>
                <a:lnTo>
                  <a:pt x="42" y="126"/>
                </a:lnTo>
                <a:lnTo>
                  <a:pt x="42" y="120"/>
                </a:lnTo>
                <a:lnTo>
                  <a:pt x="48" y="114"/>
                </a:lnTo>
                <a:lnTo>
                  <a:pt x="54" y="114"/>
                </a:lnTo>
                <a:lnTo>
                  <a:pt x="54" y="108"/>
                </a:lnTo>
                <a:lnTo>
                  <a:pt x="60" y="102"/>
                </a:lnTo>
                <a:lnTo>
                  <a:pt x="60" y="96"/>
                </a:lnTo>
                <a:lnTo>
                  <a:pt x="60" y="90"/>
                </a:lnTo>
                <a:lnTo>
                  <a:pt x="60" y="84"/>
                </a:lnTo>
                <a:lnTo>
                  <a:pt x="60" y="78"/>
                </a:lnTo>
                <a:lnTo>
                  <a:pt x="60" y="72"/>
                </a:lnTo>
                <a:lnTo>
                  <a:pt x="54" y="72"/>
                </a:lnTo>
                <a:lnTo>
                  <a:pt x="48" y="72"/>
                </a:lnTo>
                <a:lnTo>
                  <a:pt x="48" y="66"/>
                </a:lnTo>
                <a:lnTo>
                  <a:pt x="48" y="60"/>
                </a:lnTo>
                <a:lnTo>
                  <a:pt x="48" y="54"/>
                </a:lnTo>
                <a:lnTo>
                  <a:pt x="54" y="54"/>
                </a:lnTo>
                <a:lnTo>
                  <a:pt x="60" y="54"/>
                </a:lnTo>
                <a:lnTo>
                  <a:pt x="60" y="48"/>
                </a:lnTo>
                <a:lnTo>
                  <a:pt x="60" y="42"/>
                </a:lnTo>
                <a:lnTo>
                  <a:pt x="60" y="36"/>
                </a:lnTo>
                <a:lnTo>
                  <a:pt x="66" y="36"/>
                </a:lnTo>
                <a:lnTo>
                  <a:pt x="72" y="36"/>
                </a:lnTo>
                <a:lnTo>
                  <a:pt x="72" y="30"/>
                </a:lnTo>
                <a:lnTo>
                  <a:pt x="72" y="24"/>
                </a:lnTo>
                <a:lnTo>
                  <a:pt x="78" y="18"/>
                </a:lnTo>
                <a:lnTo>
                  <a:pt x="84" y="12"/>
                </a:lnTo>
                <a:lnTo>
                  <a:pt x="90" y="12"/>
                </a:lnTo>
                <a:lnTo>
                  <a:pt x="90" y="6"/>
                </a:lnTo>
                <a:lnTo>
                  <a:pt x="96" y="6"/>
                </a:lnTo>
                <a:lnTo>
                  <a:pt x="96" y="12"/>
                </a:lnTo>
                <a:lnTo>
                  <a:pt x="102" y="6"/>
                </a:lnTo>
                <a:lnTo>
                  <a:pt x="108" y="6"/>
                </a:lnTo>
                <a:lnTo>
                  <a:pt x="108" y="0"/>
                </a:lnTo>
                <a:lnTo>
                  <a:pt x="114" y="0"/>
                </a:lnTo>
                <a:lnTo>
                  <a:pt x="120" y="6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3" name="Freeform 15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3781653" y="3344918"/>
            <a:ext cx="1160194" cy="444819"/>
          </a:xfrm>
          <a:custGeom>
            <a:avLst/>
            <a:gdLst>
              <a:gd name="T0" fmla="*/ 750 w 1614"/>
              <a:gd name="T1" fmla="*/ 132 h 864"/>
              <a:gd name="T2" fmla="*/ 756 w 1614"/>
              <a:gd name="T3" fmla="*/ 180 h 864"/>
              <a:gd name="T4" fmla="*/ 804 w 1614"/>
              <a:gd name="T5" fmla="*/ 252 h 864"/>
              <a:gd name="T6" fmla="*/ 888 w 1614"/>
              <a:gd name="T7" fmla="*/ 336 h 864"/>
              <a:gd name="T8" fmla="*/ 1128 w 1614"/>
              <a:gd name="T9" fmla="*/ 384 h 864"/>
              <a:gd name="T10" fmla="*/ 1146 w 1614"/>
              <a:gd name="T11" fmla="*/ 294 h 864"/>
              <a:gd name="T12" fmla="*/ 1194 w 1614"/>
              <a:gd name="T13" fmla="*/ 240 h 864"/>
              <a:gd name="T14" fmla="*/ 1194 w 1614"/>
              <a:gd name="T15" fmla="*/ 144 h 864"/>
              <a:gd name="T16" fmla="*/ 1614 w 1614"/>
              <a:gd name="T17" fmla="*/ 420 h 864"/>
              <a:gd name="T18" fmla="*/ 1560 w 1614"/>
              <a:gd name="T19" fmla="*/ 636 h 864"/>
              <a:gd name="T20" fmla="*/ 1452 w 1614"/>
              <a:gd name="T21" fmla="*/ 702 h 864"/>
              <a:gd name="T22" fmla="*/ 1350 w 1614"/>
              <a:gd name="T23" fmla="*/ 714 h 864"/>
              <a:gd name="T24" fmla="*/ 1218 w 1614"/>
              <a:gd name="T25" fmla="*/ 756 h 864"/>
              <a:gd name="T26" fmla="*/ 1182 w 1614"/>
              <a:gd name="T27" fmla="*/ 762 h 864"/>
              <a:gd name="T28" fmla="*/ 1140 w 1614"/>
              <a:gd name="T29" fmla="*/ 732 h 864"/>
              <a:gd name="T30" fmla="*/ 1110 w 1614"/>
              <a:gd name="T31" fmla="*/ 732 h 864"/>
              <a:gd name="T32" fmla="*/ 1086 w 1614"/>
              <a:gd name="T33" fmla="*/ 744 h 864"/>
              <a:gd name="T34" fmla="*/ 1080 w 1614"/>
              <a:gd name="T35" fmla="*/ 774 h 864"/>
              <a:gd name="T36" fmla="*/ 1044 w 1614"/>
              <a:gd name="T37" fmla="*/ 816 h 864"/>
              <a:gd name="T38" fmla="*/ 1014 w 1614"/>
              <a:gd name="T39" fmla="*/ 828 h 864"/>
              <a:gd name="T40" fmla="*/ 990 w 1614"/>
              <a:gd name="T41" fmla="*/ 828 h 864"/>
              <a:gd name="T42" fmla="*/ 966 w 1614"/>
              <a:gd name="T43" fmla="*/ 810 h 864"/>
              <a:gd name="T44" fmla="*/ 942 w 1614"/>
              <a:gd name="T45" fmla="*/ 792 h 864"/>
              <a:gd name="T46" fmla="*/ 906 w 1614"/>
              <a:gd name="T47" fmla="*/ 792 h 864"/>
              <a:gd name="T48" fmla="*/ 870 w 1614"/>
              <a:gd name="T49" fmla="*/ 798 h 864"/>
              <a:gd name="T50" fmla="*/ 852 w 1614"/>
              <a:gd name="T51" fmla="*/ 768 h 864"/>
              <a:gd name="T52" fmla="*/ 828 w 1614"/>
              <a:gd name="T53" fmla="*/ 792 h 864"/>
              <a:gd name="T54" fmla="*/ 792 w 1614"/>
              <a:gd name="T55" fmla="*/ 816 h 864"/>
              <a:gd name="T56" fmla="*/ 756 w 1614"/>
              <a:gd name="T57" fmla="*/ 834 h 864"/>
              <a:gd name="T58" fmla="*/ 738 w 1614"/>
              <a:gd name="T59" fmla="*/ 858 h 864"/>
              <a:gd name="T60" fmla="*/ 714 w 1614"/>
              <a:gd name="T61" fmla="*/ 846 h 864"/>
              <a:gd name="T62" fmla="*/ 672 w 1614"/>
              <a:gd name="T63" fmla="*/ 840 h 864"/>
              <a:gd name="T64" fmla="*/ 636 w 1614"/>
              <a:gd name="T65" fmla="*/ 822 h 864"/>
              <a:gd name="T66" fmla="*/ 618 w 1614"/>
              <a:gd name="T67" fmla="*/ 810 h 864"/>
              <a:gd name="T68" fmla="*/ 600 w 1614"/>
              <a:gd name="T69" fmla="*/ 780 h 864"/>
              <a:gd name="T70" fmla="*/ 564 w 1614"/>
              <a:gd name="T71" fmla="*/ 762 h 864"/>
              <a:gd name="T72" fmla="*/ 528 w 1614"/>
              <a:gd name="T73" fmla="*/ 762 h 864"/>
              <a:gd name="T74" fmla="*/ 510 w 1614"/>
              <a:gd name="T75" fmla="*/ 732 h 864"/>
              <a:gd name="T76" fmla="*/ 510 w 1614"/>
              <a:gd name="T77" fmla="*/ 690 h 864"/>
              <a:gd name="T78" fmla="*/ 486 w 1614"/>
              <a:gd name="T79" fmla="*/ 672 h 864"/>
              <a:gd name="T80" fmla="*/ 444 w 1614"/>
              <a:gd name="T81" fmla="*/ 654 h 864"/>
              <a:gd name="T82" fmla="*/ 420 w 1614"/>
              <a:gd name="T83" fmla="*/ 624 h 864"/>
              <a:gd name="T84" fmla="*/ 396 w 1614"/>
              <a:gd name="T85" fmla="*/ 588 h 864"/>
              <a:gd name="T86" fmla="*/ 354 w 1614"/>
              <a:gd name="T87" fmla="*/ 546 h 864"/>
              <a:gd name="T88" fmla="*/ 330 w 1614"/>
              <a:gd name="T89" fmla="*/ 498 h 864"/>
              <a:gd name="T90" fmla="*/ 330 w 1614"/>
              <a:gd name="T91" fmla="*/ 456 h 864"/>
              <a:gd name="T92" fmla="*/ 336 w 1614"/>
              <a:gd name="T93" fmla="*/ 420 h 864"/>
              <a:gd name="T94" fmla="*/ 324 w 1614"/>
              <a:gd name="T95" fmla="*/ 396 h 864"/>
              <a:gd name="T96" fmla="*/ 300 w 1614"/>
              <a:gd name="T97" fmla="*/ 360 h 864"/>
              <a:gd name="T98" fmla="*/ 276 w 1614"/>
              <a:gd name="T99" fmla="*/ 342 h 864"/>
              <a:gd name="T100" fmla="*/ 246 w 1614"/>
              <a:gd name="T101" fmla="*/ 324 h 864"/>
              <a:gd name="T102" fmla="*/ 216 w 1614"/>
              <a:gd name="T103" fmla="*/ 312 h 864"/>
              <a:gd name="T104" fmla="*/ 186 w 1614"/>
              <a:gd name="T105" fmla="*/ 306 h 864"/>
              <a:gd name="T106" fmla="*/ 162 w 1614"/>
              <a:gd name="T107" fmla="*/ 270 h 864"/>
              <a:gd name="T108" fmla="*/ 132 w 1614"/>
              <a:gd name="T109" fmla="*/ 270 h 864"/>
              <a:gd name="T110" fmla="*/ 90 w 1614"/>
              <a:gd name="T111" fmla="*/ 258 h 864"/>
              <a:gd name="T112" fmla="*/ 66 w 1614"/>
              <a:gd name="T113" fmla="*/ 234 h 864"/>
              <a:gd name="T114" fmla="*/ 78 w 1614"/>
              <a:gd name="T115" fmla="*/ 216 h 864"/>
              <a:gd name="T116" fmla="*/ 66 w 1614"/>
              <a:gd name="T117" fmla="*/ 192 h 864"/>
              <a:gd name="T118" fmla="*/ 54 w 1614"/>
              <a:gd name="T119" fmla="*/ 168 h 864"/>
              <a:gd name="T120" fmla="*/ 0 w 1614"/>
              <a:gd name="T121" fmla="*/ 132 h 864"/>
              <a:gd name="T122" fmla="*/ 12 w 1614"/>
              <a:gd name="T123" fmla="*/ 102 h 864"/>
              <a:gd name="T124" fmla="*/ 36 w 1614"/>
              <a:gd name="T125" fmla="*/ 66 h 8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14" h="864">
                <a:moveTo>
                  <a:pt x="588" y="12"/>
                </a:moveTo>
                <a:lnTo>
                  <a:pt x="600" y="18"/>
                </a:lnTo>
                <a:lnTo>
                  <a:pt x="756" y="12"/>
                </a:lnTo>
                <a:lnTo>
                  <a:pt x="756" y="60"/>
                </a:lnTo>
                <a:lnTo>
                  <a:pt x="756" y="102"/>
                </a:lnTo>
                <a:lnTo>
                  <a:pt x="744" y="102"/>
                </a:lnTo>
                <a:lnTo>
                  <a:pt x="744" y="126"/>
                </a:lnTo>
                <a:lnTo>
                  <a:pt x="750" y="132"/>
                </a:lnTo>
                <a:lnTo>
                  <a:pt x="756" y="138"/>
                </a:lnTo>
                <a:lnTo>
                  <a:pt x="756" y="144"/>
                </a:lnTo>
                <a:lnTo>
                  <a:pt x="756" y="150"/>
                </a:lnTo>
                <a:lnTo>
                  <a:pt x="750" y="156"/>
                </a:lnTo>
                <a:lnTo>
                  <a:pt x="750" y="162"/>
                </a:lnTo>
                <a:lnTo>
                  <a:pt x="750" y="168"/>
                </a:lnTo>
                <a:lnTo>
                  <a:pt x="750" y="174"/>
                </a:lnTo>
                <a:lnTo>
                  <a:pt x="756" y="180"/>
                </a:lnTo>
                <a:lnTo>
                  <a:pt x="762" y="180"/>
                </a:lnTo>
                <a:lnTo>
                  <a:pt x="768" y="186"/>
                </a:lnTo>
                <a:lnTo>
                  <a:pt x="774" y="198"/>
                </a:lnTo>
                <a:lnTo>
                  <a:pt x="780" y="234"/>
                </a:lnTo>
                <a:lnTo>
                  <a:pt x="780" y="246"/>
                </a:lnTo>
                <a:lnTo>
                  <a:pt x="786" y="246"/>
                </a:lnTo>
                <a:lnTo>
                  <a:pt x="798" y="252"/>
                </a:lnTo>
                <a:lnTo>
                  <a:pt x="804" y="252"/>
                </a:lnTo>
                <a:lnTo>
                  <a:pt x="810" y="252"/>
                </a:lnTo>
                <a:lnTo>
                  <a:pt x="816" y="258"/>
                </a:lnTo>
                <a:lnTo>
                  <a:pt x="822" y="276"/>
                </a:lnTo>
                <a:lnTo>
                  <a:pt x="828" y="288"/>
                </a:lnTo>
                <a:lnTo>
                  <a:pt x="846" y="306"/>
                </a:lnTo>
                <a:lnTo>
                  <a:pt x="858" y="318"/>
                </a:lnTo>
                <a:lnTo>
                  <a:pt x="864" y="330"/>
                </a:lnTo>
                <a:lnTo>
                  <a:pt x="888" y="336"/>
                </a:lnTo>
                <a:lnTo>
                  <a:pt x="906" y="342"/>
                </a:lnTo>
                <a:lnTo>
                  <a:pt x="912" y="348"/>
                </a:lnTo>
                <a:lnTo>
                  <a:pt x="918" y="348"/>
                </a:lnTo>
                <a:lnTo>
                  <a:pt x="924" y="354"/>
                </a:lnTo>
                <a:lnTo>
                  <a:pt x="924" y="360"/>
                </a:lnTo>
                <a:lnTo>
                  <a:pt x="924" y="366"/>
                </a:lnTo>
                <a:lnTo>
                  <a:pt x="1032" y="372"/>
                </a:lnTo>
                <a:lnTo>
                  <a:pt x="1128" y="384"/>
                </a:lnTo>
                <a:lnTo>
                  <a:pt x="1122" y="366"/>
                </a:lnTo>
                <a:lnTo>
                  <a:pt x="1122" y="354"/>
                </a:lnTo>
                <a:lnTo>
                  <a:pt x="1128" y="342"/>
                </a:lnTo>
                <a:lnTo>
                  <a:pt x="1134" y="330"/>
                </a:lnTo>
                <a:lnTo>
                  <a:pt x="1134" y="318"/>
                </a:lnTo>
                <a:lnTo>
                  <a:pt x="1140" y="312"/>
                </a:lnTo>
                <a:lnTo>
                  <a:pt x="1140" y="300"/>
                </a:lnTo>
                <a:lnTo>
                  <a:pt x="1146" y="294"/>
                </a:lnTo>
                <a:lnTo>
                  <a:pt x="1146" y="288"/>
                </a:lnTo>
                <a:lnTo>
                  <a:pt x="1146" y="276"/>
                </a:lnTo>
                <a:lnTo>
                  <a:pt x="1152" y="276"/>
                </a:lnTo>
                <a:lnTo>
                  <a:pt x="1158" y="270"/>
                </a:lnTo>
                <a:lnTo>
                  <a:pt x="1164" y="264"/>
                </a:lnTo>
                <a:lnTo>
                  <a:pt x="1170" y="264"/>
                </a:lnTo>
                <a:lnTo>
                  <a:pt x="1188" y="246"/>
                </a:lnTo>
                <a:lnTo>
                  <a:pt x="1194" y="240"/>
                </a:lnTo>
                <a:lnTo>
                  <a:pt x="1200" y="234"/>
                </a:lnTo>
                <a:lnTo>
                  <a:pt x="1200" y="222"/>
                </a:lnTo>
                <a:lnTo>
                  <a:pt x="1194" y="216"/>
                </a:lnTo>
                <a:lnTo>
                  <a:pt x="1200" y="198"/>
                </a:lnTo>
                <a:lnTo>
                  <a:pt x="1200" y="180"/>
                </a:lnTo>
                <a:lnTo>
                  <a:pt x="1194" y="162"/>
                </a:lnTo>
                <a:lnTo>
                  <a:pt x="1188" y="150"/>
                </a:lnTo>
                <a:lnTo>
                  <a:pt x="1194" y="144"/>
                </a:lnTo>
                <a:lnTo>
                  <a:pt x="1266" y="144"/>
                </a:lnTo>
                <a:lnTo>
                  <a:pt x="1314" y="144"/>
                </a:lnTo>
                <a:lnTo>
                  <a:pt x="1326" y="186"/>
                </a:lnTo>
                <a:lnTo>
                  <a:pt x="1344" y="222"/>
                </a:lnTo>
                <a:lnTo>
                  <a:pt x="1338" y="240"/>
                </a:lnTo>
                <a:lnTo>
                  <a:pt x="1374" y="240"/>
                </a:lnTo>
                <a:lnTo>
                  <a:pt x="1500" y="360"/>
                </a:lnTo>
                <a:lnTo>
                  <a:pt x="1614" y="420"/>
                </a:lnTo>
                <a:lnTo>
                  <a:pt x="1608" y="474"/>
                </a:lnTo>
                <a:lnTo>
                  <a:pt x="1578" y="480"/>
                </a:lnTo>
                <a:lnTo>
                  <a:pt x="1572" y="540"/>
                </a:lnTo>
                <a:lnTo>
                  <a:pt x="1578" y="558"/>
                </a:lnTo>
                <a:lnTo>
                  <a:pt x="1572" y="588"/>
                </a:lnTo>
                <a:lnTo>
                  <a:pt x="1578" y="594"/>
                </a:lnTo>
                <a:lnTo>
                  <a:pt x="1572" y="618"/>
                </a:lnTo>
                <a:lnTo>
                  <a:pt x="1560" y="636"/>
                </a:lnTo>
                <a:lnTo>
                  <a:pt x="1548" y="636"/>
                </a:lnTo>
                <a:lnTo>
                  <a:pt x="1530" y="648"/>
                </a:lnTo>
                <a:lnTo>
                  <a:pt x="1506" y="666"/>
                </a:lnTo>
                <a:lnTo>
                  <a:pt x="1470" y="678"/>
                </a:lnTo>
                <a:lnTo>
                  <a:pt x="1458" y="684"/>
                </a:lnTo>
                <a:lnTo>
                  <a:pt x="1452" y="690"/>
                </a:lnTo>
                <a:lnTo>
                  <a:pt x="1452" y="696"/>
                </a:lnTo>
                <a:lnTo>
                  <a:pt x="1452" y="702"/>
                </a:lnTo>
                <a:lnTo>
                  <a:pt x="1452" y="714"/>
                </a:lnTo>
                <a:lnTo>
                  <a:pt x="1446" y="726"/>
                </a:lnTo>
                <a:lnTo>
                  <a:pt x="1434" y="738"/>
                </a:lnTo>
                <a:lnTo>
                  <a:pt x="1416" y="750"/>
                </a:lnTo>
                <a:lnTo>
                  <a:pt x="1410" y="750"/>
                </a:lnTo>
                <a:lnTo>
                  <a:pt x="1386" y="732"/>
                </a:lnTo>
                <a:lnTo>
                  <a:pt x="1374" y="720"/>
                </a:lnTo>
                <a:lnTo>
                  <a:pt x="1350" y="714"/>
                </a:lnTo>
                <a:lnTo>
                  <a:pt x="1338" y="714"/>
                </a:lnTo>
                <a:lnTo>
                  <a:pt x="1320" y="726"/>
                </a:lnTo>
                <a:lnTo>
                  <a:pt x="1296" y="732"/>
                </a:lnTo>
                <a:lnTo>
                  <a:pt x="1272" y="732"/>
                </a:lnTo>
                <a:lnTo>
                  <a:pt x="1254" y="738"/>
                </a:lnTo>
                <a:lnTo>
                  <a:pt x="1242" y="744"/>
                </a:lnTo>
                <a:lnTo>
                  <a:pt x="1230" y="750"/>
                </a:lnTo>
                <a:lnTo>
                  <a:pt x="1218" y="756"/>
                </a:lnTo>
                <a:lnTo>
                  <a:pt x="1212" y="762"/>
                </a:lnTo>
                <a:lnTo>
                  <a:pt x="1206" y="762"/>
                </a:lnTo>
                <a:lnTo>
                  <a:pt x="1200" y="762"/>
                </a:lnTo>
                <a:lnTo>
                  <a:pt x="1194" y="762"/>
                </a:lnTo>
                <a:lnTo>
                  <a:pt x="1194" y="756"/>
                </a:lnTo>
                <a:lnTo>
                  <a:pt x="1188" y="756"/>
                </a:lnTo>
                <a:lnTo>
                  <a:pt x="1188" y="762"/>
                </a:lnTo>
                <a:lnTo>
                  <a:pt x="1182" y="762"/>
                </a:lnTo>
                <a:lnTo>
                  <a:pt x="1176" y="756"/>
                </a:lnTo>
                <a:lnTo>
                  <a:pt x="1176" y="750"/>
                </a:lnTo>
                <a:lnTo>
                  <a:pt x="1170" y="744"/>
                </a:lnTo>
                <a:lnTo>
                  <a:pt x="1164" y="744"/>
                </a:lnTo>
                <a:lnTo>
                  <a:pt x="1158" y="738"/>
                </a:lnTo>
                <a:lnTo>
                  <a:pt x="1152" y="738"/>
                </a:lnTo>
                <a:lnTo>
                  <a:pt x="1146" y="732"/>
                </a:lnTo>
                <a:lnTo>
                  <a:pt x="1140" y="732"/>
                </a:lnTo>
                <a:lnTo>
                  <a:pt x="1134" y="732"/>
                </a:lnTo>
                <a:lnTo>
                  <a:pt x="1134" y="738"/>
                </a:lnTo>
                <a:lnTo>
                  <a:pt x="1134" y="732"/>
                </a:lnTo>
                <a:lnTo>
                  <a:pt x="1128" y="732"/>
                </a:lnTo>
                <a:lnTo>
                  <a:pt x="1122" y="732"/>
                </a:lnTo>
                <a:lnTo>
                  <a:pt x="1122" y="726"/>
                </a:lnTo>
                <a:lnTo>
                  <a:pt x="1116" y="726"/>
                </a:lnTo>
                <a:lnTo>
                  <a:pt x="1110" y="732"/>
                </a:lnTo>
                <a:lnTo>
                  <a:pt x="1110" y="726"/>
                </a:lnTo>
                <a:lnTo>
                  <a:pt x="1098" y="720"/>
                </a:lnTo>
                <a:lnTo>
                  <a:pt x="1098" y="726"/>
                </a:lnTo>
                <a:lnTo>
                  <a:pt x="1092" y="726"/>
                </a:lnTo>
                <a:lnTo>
                  <a:pt x="1086" y="726"/>
                </a:lnTo>
                <a:lnTo>
                  <a:pt x="1086" y="732"/>
                </a:lnTo>
                <a:lnTo>
                  <a:pt x="1092" y="738"/>
                </a:lnTo>
                <a:lnTo>
                  <a:pt x="1086" y="744"/>
                </a:lnTo>
                <a:lnTo>
                  <a:pt x="1092" y="744"/>
                </a:lnTo>
                <a:lnTo>
                  <a:pt x="1092" y="750"/>
                </a:lnTo>
                <a:lnTo>
                  <a:pt x="1092" y="756"/>
                </a:lnTo>
                <a:lnTo>
                  <a:pt x="1086" y="756"/>
                </a:lnTo>
                <a:lnTo>
                  <a:pt x="1086" y="762"/>
                </a:lnTo>
                <a:lnTo>
                  <a:pt x="1080" y="762"/>
                </a:lnTo>
                <a:lnTo>
                  <a:pt x="1080" y="768"/>
                </a:lnTo>
                <a:lnTo>
                  <a:pt x="1080" y="774"/>
                </a:lnTo>
                <a:lnTo>
                  <a:pt x="1080" y="780"/>
                </a:lnTo>
                <a:lnTo>
                  <a:pt x="1074" y="780"/>
                </a:lnTo>
                <a:lnTo>
                  <a:pt x="1068" y="792"/>
                </a:lnTo>
                <a:lnTo>
                  <a:pt x="1062" y="798"/>
                </a:lnTo>
                <a:lnTo>
                  <a:pt x="1056" y="798"/>
                </a:lnTo>
                <a:lnTo>
                  <a:pt x="1050" y="798"/>
                </a:lnTo>
                <a:lnTo>
                  <a:pt x="1050" y="804"/>
                </a:lnTo>
                <a:lnTo>
                  <a:pt x="1044" y="816"/>
                </a:lnTo>
                <a:lnTo>
                  <a:pt x="1044" y="822"/>
                </a:lnTo>
                <a:lnTo>
                  <a:pt x="1038" y="828"/>
                </a:lnTo>
                <a:lnTo>
                  <a:pt x="1032" y="828"/>
                </a:lnTo>
                <a:lnTo>
                  <a:pt x="1026" y="828"/>
                </a:lnTo>
                <a:lnTo>
                  <a:pt x="1026" y="822"/>
                </a:lnTo>
                <a:lnTo>
                  <a:pt x="1020" y="822"/>
                </a:lnTo>
                <a:lnTo>
                  <a:pt x="1014" y="822"/>
                </a:lnTo>
                <a:lnTo>
                  <a:pt x="1014" y="828"/>
                </a:lnTo>
                <a:lnTo>
                  <a:pt x="1014" y="834"/>
                </a:lnTo>
                <a:lnTo>
                  <a:pt x="1014" y="840"/>
                </a:lnTo>
                <a:lnTo>
                  <a:pt x="1008" y="840"/>
                </a:lnTo>
                <a:lnTo>
                  <a:pt x="1002" y="840"/>
                </a:lnTo>
                <a:lnTo>
                  <a:pt x="996" y="840"/>
                </a:lnTo>
                <a:lnTo>
                  <a:pt x="996" y="834"/>
                </a:lnTo>
                <a:lnTo>
                  <a:pt x="990" y="834"/>
                </a:lnTo>
                <a:lnTo>
                  <a:pt x="990" y="828"/>
                </a:lnTo>
                <a:lnTo>
                  <a:pt x="984" y="828"/>
                </a:lnTo>
                <a:lnTo>
                  <a:pt x="984" y="822"/>
                </a:lnTo>
                <a:lnTo>
                  <a:pt x="978" y="822"/>
                </a:lnTo>
                <a:lnTo>
                  <a:pt x="978" y="816"/>
                </a:lnTo>
                <a:lnTo>
                  <a:pt x="972" y="816"/>
                </a:lnTo>
                <a:lnTo>
                  <a:pt x="978" y="810"/>
                </a:lnTo>
                <a:lnTo>
                  <a:pt x="972" y="810"/>
                </a:lnTo>
                <a:lnTo>
                  <a:pt x="966" y="810"/>
                </a:lnTo>
                <a:lnTo>
                  <a:pt x="960" y="810"/>
                </a:lnTo>
                <a:lnTo>
                  <a:pt x="954" y="810"/>
                </a:lnTo>
                <a:lnTo>
                  <a:pt x="960" y="804"/>
                </a:lnTo>
                <a:lnTo>
                  <a:pt x="954" y="804"/>
                </a:lnTo>
                <a:lnTo>
                  <a:pt x="948" y="804"/>
                </a:lnTo>
                <a:lnTo>
                  <a:pt x="948" y="798"/>
                </a:lnTo>
                <a:lnTo>
                  <a:pt x="942" y="798"/>
                </a:lnTo>
                <a:lnTo>
                  <a:pt x="942" y="792"/>
                </a:lnTo>
                <a:lnTo>
                  <a:pt x="936" y="792"/>
                </a:lnTo>
                <a:lnTo>
                  <a:pt x="936" y="786"/>
                </a:lnTo>
                <a:lnTo>
                  <a:pt x="930" y="786"/>
                </a:lnTo>
                <a:lnTo>
                  <a:pt x="930" y="792"/>
                </a:lnTo>
                <a:lnTo>
                  <a:pt x="924" y="792"/>
                </a:lnTo>
                <a:lnTo>
                  <a:pt x="918" y="792"/>
                </a:lnTo>
                <a:lnTo>
                  <a:pt x="912" y="792"/>
                </a:lnTo>
                <a:lnTo>
                  <a:pt x="906" y="792"/>
                </a:lnTo>
                <a:lnTo>
                  <a:pt x="906" y="798"/>
                </a:lnTo>
                <a:lnTo>
                  <a:pt x="900" y="792"/>
                </a:lnTo>
                <a:lnTo>
                  <a:pt x="894" y="798"/>
                </a:lnTo>
                <a:lnTo>
                  <a:pt x="894" y="792"/>
                </a:lnTo>
                <a:lnTo>
                  <a:pt x="888" y="792"/>
                </a:lnTo>
                <a:lnTo>
                  <a:pt x="882" y="792"/>
                </a:lnTo>
                <a:lnTo>
                  <a:pt x="876" y="792"/>
                </a:lnTo>
                <a:lnTo>
                  <a:pt x="870" y="798"/>
                </a:lnTo>
                <a:lnTo>
                  <a:pt x="870" y="792"/>
                </a:lnTo>
                <a:lnTo>
                  <a:pt x="864" y="792"/>
                </a:lnTo>
                <a:lnTo>
                  <a:pt x="864" y="786"/>
                </a:lnTo>
                <a:lnTo>
                  <a:pt x="864" y="780"/>
                </a:lnTo>
                <a:lnTo>
                  <a:pt x="864" y="774"/>
                </a:lnTo>
                <a:lnTo>
                  <a:pt x="858" y="774"/>
                </a:lnTo>
                <a:lnTo>
                  <a:pt x="858" y="768"/>
                </a:lnTo>
                <a:lnTo>
                  <a:pt x="852" y="768"/>
                </a:lnTo>
                <a:lnTo>
                  <a:pt x="846" y="774"/>
                </a:lnTo>
                <a:lnTo>
                  <a:pt x="834" y="774"/>
                </a:lnTo>
                <a:lnTo>
                  <a:pt x="828" y="774"/>
                </a:lnTo>
                <a:lnTo>
                  <a:pt x="828" y="780"/>
                </a:lnTo>
                <a:lnTo>
                  <a:pt x="834" y="780"/>
                </a:lnTo>
                <a:lnTo>
                  <a:pt x="828" y="780"/>
                </a:lnTo>
                <a:lnTo>
                  <a:pt x="822" y="786"/>
                </a:lnTo>
                <a:lnTo>
                  <a:pt x="828" y="792"/>
                </a:lnTo>
                <a:lnTo>
                  <a:pt x="822" y="792"/>
                </a:lnTo>
                <a:lnTo>
                  <a:pt x="822" y="798"/>
                </a:lnTo>
                <a:lnTo>
                  <a:pt x="816" y="804"/>
                </a:lnTo>
                <a:lnTo>
                  <a:pt x="816" y="816"/>
                </a:lnTo>
                <a:lnTo>
                  <a:pt x="810" y="816"/>
                </a:lnTo>
                <a:lnTo>
                  <a:pt x="804" y="816"/>
                </a:lnTo>
                <a:lnTo>
                  <a:pt x="798" y="816"/>
                </a:lnTo>
                <a:lnTo>
                  <a:pt x="792" y="816"/>
                </a:lnTo>
                <a:lnTo>
                  <a:pt x="786" y="822"/>
                </a:lnTo>
                <a:lnTo>
                  <a:pt x="786" y="828"/>
                </a:lnTo>
                <a:lnTo>
                  <a:pt x="780" y="828"/>
                </a:lnTo>
                <a:lnTo>
                  <a:pt x="774" y="828"/>
                </a:lnTo>
                <a:lnTo>
                  <a:pt x="768" y="828"/>
                </a:lnTo>
                <a:lnTo>
                  <a:pt x="762" y="828"/>
                </a:lnTo>
                <a:lnTo>
                  <a:pt x="762" y="834"/>
                </a:lnTo>
                <a:lnTo>
                  <a:pt x="756" y="834"/>
                </a:lnTo>
                <a:lnTo>
                  <a:pt x="756" y="840"/>
                </a:lnTo>
                <a:lnTo>
                  <a:pt x="750" y="846"/>
                </a:lnTo>
                <a:lnTo>
                  <a:pt x="756" y="846"/>
                </a:lnTo>
                <a:lnTo>
                  <a:pt x="756" y="852"/>
                </a:lnTo>
                <a:lnTo>
                  <a:pt x="750" y="852"/>
                </a:lnTo>
                <a:lnTo>
                  <a:pt x="744" y="852"/>
                </a:lnTo>
                <a:lnTo>
                  <a:pt x="744" y="858"/>
                </a:lnTo>
                <a:lnTo>
                  <a:pt x="738" y="858"/>
                </a:lnTo>
                <a:lnTo>
                  <a:pt x="738" y="864"/>
                </a:lnTo>
                <a:lnTo>
                  <a:pt x="732" y="864"/>
                </a:lnTo>
                <a:lnTo>
                  <a:pt x="726" y="864"/>
                </a:lnTo>
                <a:lnTo>
                  <a:pt x="720" y="864"/>
                </a:lnTo>
                <a:lnTo>
                  <a:pt x="714" y="864"/>
                </a:lnTo>
                <a:lnTo>
                  <a:pt x="714" y="858"/>
                </a:lnTo>
                <a:lnTo>
                  <a:pt x="714" y="852"/>
                </a:lnTo>
                <a:lnTo>
                  <a:pt x="714" y="846"/>
                </a:lnTo>
                <a:lnTo>
                  <a:pt x="708" y="840"/>
                </a:lnTo>
                <a:lnTo>
                  <a:pt x="702" y="840"/>
                </a:lnTo>
                <a:lnTo>
                  <a:pt x="696" y="840"/>
                </a:lnTo>
                <a:lnTo>
                  <a:pt x="696" y="834"/>
                </a:lnTo>
                <a:lnTo>
                  <a:pt x="690" y="834"/>
                </a:lnTo>
                <a:lnTo>
                  <a:pt x="684" y="840"/>
                </a:lnTo>
                <a:lnTo>
                  <a:pt x="678" y="834"/>
                </a:lnTo>
                <a:lnTo>
                  <a:pt x="672" y="840"/>
                </a:lnTo>
                <a:lnTo>
                  <a:pt x="666" y="840"/>
                </a:lnTo>
                <a:lnTo>
                  <a:pt x="660" y="840"/>
                </a:lnTo>
                <a:lnTo>
                  <a:pt x="654" y="840"/>
                </a:lnTo>
                <a:lnTo>
                  <a:pt x="654" y="834"/>
                </a:lnTo>
                <a:lnTo>
                  <a:pt x="648" y="828"/>
                </a:lnTo>
                <a:lnTo>
                  <a:pt x="642" y="828"/>
                </a:lnTo>
                <a:lnTo>
                  <a:pt x="636" y="828"/>
                </a:lnTo>
                <a:lnTo>
                  <a:pt x="636" y="822"/>
                </a:lnTo>
                <a:lnTo>
                  <a:pt x="630" y="822"/>
                </a:lnTo>
                <a:lnTo>
                  <a:pt x="630" y="816"/>
                </a:lnTo>
                <a:lnTo>
                  <a:pt x="636" y="816"/>
                </a:lnTo>
                <a:lnTo>
                  <a:pt x="636" y="810"/>
                </a:lnTo>
                <a:lnTo>
                  <a:pt x="630" y="810"/>
                </a:lnTo>
                <a:lnTo>
                  <a:pt x="624" y="810"/>
                </a:lnTo>
                <a:lnTo>
                  <a:pt x="624" y="804"/>
                </a:lnTo>
                <a:lnTo>
                  <a:pt x="618" y="810"/>
                </a:lnTo>
                <a:lnTo>
                  <a:pt x="618" y="816"/>
                </a:lnTo>
                <a:lnTo>
                  <a:pt x="612" y="816"/>
                </a:lnTo>
                <a:lnTo>
                  <a:pt x="612" y="810"/>
                </a:lnTo>
                <a:lnTo>
                  <a:pt x="606" y="804"/>
                </a:lnTo>
                <a:lnTo>
                  <a:pt x="600" y="804"/>
                </a:lnTo>
                <a:lnTo>
                  <a:pt x="600" y="798"/>
                </a:lnTo>
                <a:lnTo>
                  <a:pt x="600" y="792"/>
                </a:lnTo>
                <a:lnTo>
                  <a:pt x="600" y="780"/>
                </a:lnTo>
                <a:lnTo>
                  <a:pt x="600" y="774"/>
                </a:lnTo>
                <a:lnTo>
                  <a:pt x="600" y="768"/>
                </a:lnTo>
                <a:lnTo>
                  <a:pt x="594" y="768"/>
                </a:lnTo>
                <a:lnTo>
                  <a:pt x="588" y="768"/>
                </a:lnTo>
                <a:lnTo>
                  <a:pt x="582" y="768"/>
                </a:lnTo>
                <a:lnTo>
                  <a:pt x="576" y="768"/>
                </a:lnTo>
                <a:lnTo>
                  <a:pt x="570" y="762"/>
                </a:lnTo>
                <a:lnTo>
                  <a:pt x="564" y="762"/>
                </a:lnTo>
                <a:lnTo>
                  <a:pt x="564" y="768"/>
                </a:lnTo>
                <a:lnTo>
                  <a:pt x="558" y="768"/>
                </a:lnTo>
                <a:lnTo>
                  <a:pt x="552" y="768"/>
                </a:lnTo>
                <a:lnTo>
                  <a:pt x="546" y="768"/>
                </a:lnTo>
                <a:lnTo>
                  <a:pt x="540" y="768"/>
                </a:lnTo>
                <a:lnTo>
                  <a:pt x="534" y="768"/>
                </a:lnTo>
                <a:lnTo>
                  <a:pt x="534" y="762"/>
                </a:lnTo>
                <a:lnTo>
                  <a:pt x="528" y="762"/>
                </a:lnTo>
                <a:lnTo>
                  <a:pt x="528" y="756"/>
                </a:lnTo>
                <a:lnTo>
                  <a:pt x="522" y="756"/>
                </a:lnTo>
                <a:lnTo>
                  <a:pt x="522" y="750"/>
                </a:lnTo>
                <a:lnTo>
                  <a:pt x="516" y="756"/>
                </a:lnTo>
                <a:lnTo>
                  <a:pt x="510" y="750"/>
                </a:lnTo>
                <a:lnTo>
                  <a:pt x="516" y="744"/>
                </a:lnTo>
                <a:lnTo>
                  <a:pt x="510" y="738"/>
                </a:lnTo>
                <a:lnTo>
                  <a:pt x="510" y="732"/>
                </a:lnTo>
                <a:lnTo>
                  <a:pt x="510" y="726"/>
                </a:lnTo>
                <a:lnTo>
                  <a:pt x="510" y="720"/>
                </a:lnTo>
                <a:lnTo>
                  <a:pt x="516" y="714"/>
                </a:lnTo>
                <a:lnTo>
                  <a:pt x="516" y="708"/>
                </a:lnTo>
                <a:lnTo>
                  <a:pt x="516" y="702"/>
                </a:lnTo>
                <a:lnTo>
                  <a:pt x="510" y="702"/>
                </a:lnTo>
                <a:lnTo>
                  <a:pt x="510" y="696"/>
                </a:lnTo>
                <a:lnTo>
                  <a:pt x="510" y="690"/>
                </a:lnTo>
                <a:lnTo>
                  <a:pt x="504" y="690"/>
                </a:lnTo>
                <a:lnTo>
                  <a:pt x="504" y="684"/>
                </a:lnTo>
                <a:lnTo>
                  <a:pt x="498" y="684"/>
                </a:lnTo>
                <a:lnTo>
                  <a:pt x="492" y="690"/>
                </a:lnTo>
                <a:lnTo>
                  <a:pt x="486" y="690"/>
                </a:lnTo>
                <a:lnTo>
                  <a:pt x="486" y="684"/>
                </a:lnTo>
                <a:lnTo>
                  <a:pt x="486" y="678"/>
                </a:lnTo>
                <a:lnTo>
                  <a:pt x="486" y="672"/>
                </a:lnTo>
                <a:lnTo>
                  <a:pt x="480" y="666"/>
                </a:lnTo>
                <a:lnTo>
                  <a:pt x="480" y="660"/>
                </a:lnTo>
                <a:lnTo>
                  <a:pt x="468" y="654"/>
                </a:lnTo>
                <a:lnTo>
                  <a:pt x="462" y="654"/>
                </a:lnTo>
                <a:lnTo>
                  <a:pt x="462" y="648"/>
                </a:lnTo>
                <a:lnTo>
                  <a:pt x="450" y="648"/>
                </a:lnTo>
                <a:lnTo>
                  <a:pt x="450" y="654"/>
                </a:lnTo>
                <a:lnTo>
                  <a:pt x="444" y="654"/>
                </a:lnTo>
                <a:lnTo>
                  <a:pt x="438" y="654"/>
                </a:lnTo>
                <a:lnTo>
                  <a:pt x="438" y="648"/>
                </a:lnTo>
                <a:lnTo>
                  <a:pt x="432" y="648"/>
                </a:lnTo>
                <a:lnTo>
                  <a:pt x="432" y="642"/>
                </a:lnTo>
                <a:lnTo>
                  <a:pt x="426" y="642"/>
                </a:lnTo>
                <a:lnTo>
                  <a:pt x="426" y="636"/>
                </a:lnTo>
                <a:lnTo>
                  <a:pt x="426" y="630"/>
                </a:lnTo>
                <a:lnTo>
                  <a:pt x="420" y="624"/>
                </a:lnTo>
                <a:lnTo>
                  <a:pt x="414" y="618"/>
                </a:lnTo>
                <a:lnTo>
                  <a:pt x="408" y="612"/>
                </a:lnTo>
                <a:lnTo>
                  <a:pt x="402" y="612"/>
                </a:lnTo>
                <a:lnTo>
                  <a:pt x="402" y="606"/>
                </a:lnTo>
                <a:lnTo>
                  <a:pt x="402" y="600"/>
                </a:lnTo>
                <a:lnTo>
                  <a:pt x="402" y="594"/>
                </a:lnTo>
                <a:lnTo>
                  <a:pt x="402" y="588"/>
                </a:lnTo>
                <a:lnTo>
                  <a:pt x="396" y="588"/>
                </a:lnTo>
                <a:lnTo>
                  <a:pt x="390" y="582"/>
                </a:lnTo>
                <a:lnTo>
                  <a:pt x="384" y="576"/>
                </a:lnTo>
                <a:lnTo>
                  <a:pt x="384" y="564"/>
                </a:lnTo>
                <a:lnTo>
                  <a:pt x="378" y="564"/>
                </a:lnTo>
                <a:lnTo>
                  <a:pt x="366" y="552"/>
                </a:lnTo>
                <a:lnTo>
                  <a:pt x="366" y="546"/>
                </a:lnTo>
                <a:lnTo>
                  <a:pt x="360" y="546"/>
                </a:lnTo>
                <a:lnTo>
                  <a:pt x="354" y="546"/>
                </a:lnTo>
                <a:lnTo>
                  <a:pt x="348" y="534"/>
                </a:lnTo>
                <a:lnTo>
                  <a:pt x="348" y="528"/>
                </a:lnTo>
                <a:lnTo>
                  <a:pt x="342" y="522"/>
                </a:lnTo>
                <a:lnTo>
                  <a:pt x="336" y="522"/>
                </a:lnTo>
                <a:lnTo>
                  <a:pt x="336" y="516"/>
                </a:lnTo>
                <a:lnTo>
                  <a:pt x="336" y="510"/>
                </a:lnTo>
                <a:lnTo>
                  <a:pt x="330" y="504"/>
                </a:lnTo>
                <a:lnTo>
                  <a:pt x="330" y="498"/>
                </a:lnTo>
                <a:lnTo>
                  <a:pt x="330" y="492"/>
                </a:lnTo>
                <a:lnTo>
                  <a:pt x="330" y="486"/>
                </a:lnTo>
                <a:lnTo>
                  <a:pt x="324" y="486"/>
                </a:lnTo>
                <a:lnTo>
                  <a:pt x="324" y="474"/>
                </a:lnTo>
                <a:lnTo>
                  <a:pt x="324" y="468"/>
                </a:lnTo>
                <a:lnTo>
                  <a:pt x="324" y="462"/>
                </a:lnTo>
                <a:lnTo>
                  <a:pt x="324" y="456"/>
                </a:lnTo>
                <a:lnTo>
                  <a:pt x="330" y="456"/>
                </a:lnTo>
                <a:lnTo>
                  <a:pt x="330" y="450"/>
                </a:lnTo>
                <a:lnTo>
                  <a:pt x="330" y="444"/>
                </a:lnTo>
                <a:lnTo>
                  <a:pt x="330" y="438"/>
                </a:lnTo>
                <a:lnTo>
                  <a:pt x="336" y="438"/>
                </a:lnTo>
                <a:lnTo>
                  <a:pt x="336" y="432"/>
                </a:lnTo>
                <a:lnTo>
                  <a:pt x="342" y="432"/>
                </a:lnTo>
                <a:lnTo>
                  <a:pt x="336" y="426"/>
                </a:lnTo>
                <a:lnTo>
                  <a:pt x="336" y="420"/>
                </a:lnTo>
                <a:lnTo>
                  <a:pt x="342" y="414"/>
                </a:lnTo>
                <a:lnTo>
                  <a:pt x="336" y="408"/>
                </a:lnTo>
                <a:lnTo>
                  <a:pt x="330" y="408"/>
                </a:lnTo>
                <a:lnTo>
                  <a:pt x="330" y="414"/>
                </a:lnTo>
                <a:lnTo>
                  <a:pt x="324" y="414"/>
                </a:lnTo>
                <a:lnTo>
                  <a:pt x="324" y="408"/>
                </a:lnTo>
                <a:lnTo>
                  <a:pt x="324" y="402"/>
                </a:lnTo>
                <a:lnTo>
                  <a:pt x="324" y="396"/>
                </a:lnTo>
                <a:lnTo>
                  <a:pt x="324" y="390"/>
                </a:lnTo>
                <a:lnTo>
                  <a:pt x="318" y="390"/>
                </a:lnTo>
                <a:lnTo>
                  <a:pt x="318" y="384"/>
                </a:lnTo>
                <a:lnTo>
                  <a:pt x="318" y="378"/>
                </a:lnTo>
                <a:lnTo>
                  <a:pt x="312" y="372"/>
                </a:lnTo>
                <a:lnTo>
                  <a:pt x="306" y="366"/>
                </a:lnTo>
                <a:lnTo>
                  <a:pt x="306" y="360"/>
                </a:lnTo>
                <a:lnTo>
                  <a:pt x="300" y="360"/>
                </a:lnTo>
                <a:lnTo>
                  <a:pt x="294" y="360"/>
                </a:lnTo>
                <a:lnTo>
                  <a:pt x="294" y="354"/>
                </a:lnTo>
                <a:lnTo>
                  <a:pt x="300" y="354"/>
                </a:lnTo>
                <a:lnTo>
                  <a:pt x="294" y="348"/>
                </a:lnTo>
                <a:lnTo>
                  <a:pt x="288" y="348"/>
                </a:lnTo>
                <a:lnTo>
                  <a:pt x="282" y="348"/>
                </a:lnTo>
                <a:lnTo>
                  <a:pt x="282" y="342"/>
                </a:lnTo>
                <a:lnTo>
                  <a:pt x="276" y="342"/>
                </a:lnTo>
                <a:lnTo>
                  <a:pt x="270" y="342"/>
                </a:lnTo>
                <a:lnTo>
                  <a:pt x="264" y="342"/>
                </a:lnTo>
                <a:lnTo>
                  <a:pt x="258" y="342"/>
                </a:lnTo>
                <a:lnTo>
                  <a:pt x="258" y="336"/>
                </a:lnTo>
                <a:lnTo>
                  <a:pt x="252" y="336"/>
                </a:lnTo>
                <a:lnTo>
                  <a:pt x="252" y="330"/>
                </a:lnTo>
                <a:lnTo>
                  <a:pt x="252" y="324"/>
                </a:lnTo>
                <a:lnTo>
                  <a:pt x="246" y="324"/>
                </a:lnTo>
                <a:lnTo>
                  <a:pt x="246" y="318"/>
                </a:lnTo>
                <a:lnTo>
                  <a:pt x="240" y="318"/>
                </a:lnTo>
                <a:lnTo>
                  <a:pt x="234" y="324"/>
                </a:lnTo>
                <a:lnTo>
                  <a:pt x="228" y="324"/>
                </a:lnTo>
                <a:lnTo>
                  <a:pt x="228" y="318"/>
                </a:lnTo>
                <a:lnTo>
                  <a:pt x="222" y="318"/>
                </a:lnTo>
                <a:lnTo>
                  <a:pt x="216" y="318"/>
                </a:lnTo>
                <a:lnTo>
                  <a:pt x="216" y="312"/>
                </a:lnTo>
                <a:lnTo>
                  <a:pt x="216" y="306"/>
                </a:lnTo>
                <a:lnTo>
                  <a:pt x="210" y="306"/>
                </a:lnTo>
                <a:lnTo>
                  <a:pt x="204" y="306"/>
                </a:lnTo>
                <a:lnTo>
                  <a:pt x="204" y="312"/>
                </a:lnTo>
                <a:lnTo>
                  <a:pt x="198" y="312"/>
                </a:lnTo>
                <a:lnTo>
                  <a:pt x="192" y="312"/>
                </a:lnTo>
                <a:lnTo>
                  <a:pt x="192" y="306"/>
                </a:lnTo>
                <a:lnTo>
                  <a:pt x="186" y="306"/>
                </a:lnTo>
                <a:lnTo>
                  <a:pt x="186" y="294"/>
                </a:lnTo>
                <a:lnTo>
                  <a:pt x="186" y="288"/>
                </a:lnTo>
                <a:lnTo>
                  <a:pt x="186" y="282"/>
                </a:lnTo>
                <a:lnTo>
                  <a:pt x="180" y="276"/>
                </a:lnTo>
                <a:lnTo>
                  <a:pt x="174" y="276"/>
                </a:lnTo>
                <a:lnTo>
                  <a:pt x="168" y="276"/>
                </a:lnTo>
                <a:lnTo>
                  <a:pt x="168" y="270"/>
                </a:lnTo>
                <a:lnTo>
                  <a:pt x="162" y="270"/>
                </a:lnTo>
                <a:lnTo>
                  <a:pt x="156" y="270"/>
                </a:lnTo>
                <a:lnTo>
                  <a:pt x="156" y="264"/>
                </a:lnTo>
                <a:lnTo>
                  <a:pt x="156" y="270"/>
                </a:lnTo>
                <a:lnTo>
                  <a:pt x="150" y="270"/>
                </a:lnTo>
                <a:lnTo>
                  <a:pt x="144" y="264"/>
                </a:lnTo>
                <a:lnTo>
                  <a:pt x="138" y="264"/>
                </a:lnTo>
                <a:lnTo>
                  <a:pt x="132" y="264"/>
                </a:lnTo>
                <a:lnTo>
                  <a:pt x="132" y="270"/>
                </a:lnTo>
                <a:lnTo>
                  <a:pt x="126" y="270"/>
                </a:lnTo>
                <a:lnTo>
                  <a:pt x="120" y="270"/>
                </a:lnTo>
                <a:lnTo>
                  <a:pt x="120" y="264"/>
                </a:lnTo>
                <a:lnTo>
                  <a:pt x="114" y="264"/>
                </a:lnTo>
                <a:lnTo>
                  <a:pt x="108" y="264"/>
                </a:lnTo>
                <a:lnTo>
                  <a:pt x="102" y="264"/>
                </a:lnTo>
                <a:lnTo>
                  <a:pt x="96" y="264"/>
                </a:lnTo>
                <a:lnTo>
                  <a:pt x="90" y="258"/>
                </a:lnTo>
                <a:lnTo>
                  <a:pt x="90" y="252"/>
                </a:lnTo>
                <a:lnTo>
                  <a:pt x="84" y="252"/>
                </a:lnTo>
                <a:lnTo>
                  <a:pt x="84" y="246"/>
                </a:lnTo>
                <a:lnTo>
                  <a:pt x="84" y="240"/>
                </a:lnTo>
                <a:lnTo>
                  <a:pt x="84" y="234"/>
                </a:lnTo>
                <a:lnTo>
                  <a:pt x="78" y="234"/>
                </a:lnTo>
                <a:lnTo>
                  <a:pt x="72" y="234"/>
                </a:lnTo>
                <a:lnTo>
                  <a:pt x="66" y="234"/>
                </a:lnTo>
                <a:lnTo>
                  <a:pt x="60" y="246"/>
                </a:lnTo>
                <a:lnTo>
                  <a:pt x="54" y="246"/>
                </a:lnTo>
                <a:lnTo>
                  <a:pt x="54" y="240"/>
                </a:lnTo>
                <a:lnTo>
                  <a:pt x="54" y="234"/>
                </a:lnTo>
                <a:lnTo>
                  <a:pt x="60" y="228"/>
                </a:lnTo>
                <a:lnTo>
                  <a:pt x="66" y="222"/>
                </a:lnTo>
                <a:lnTo>
                  <a:pt x="72" y="222"/>
                </a:lnTo>
                <a:lnTo>
                  <a:pt x="78" y="216"/>
                </a:lnTo>
                <a:lnTo>
                  <a:pt x="78" y="210"/>
                </a:lnTo>
                <a:lnTo>
                  <a:pt x="84" y="204"/>
                </a:lnTo>
                <a:lnTo>
                  <a:pt x="84" y="198"/>
                </a:lnTo>
                <a:lnTo>
                  <a:pt x="84" y="192"/>
                </a:lnTo>
                <a:lnTo>
                  <a:pt x="78" y="192"/>
                </a:lnTo>
                <a:lnTo>
                  <a:pt x="72" y="198"/>
                </a:lnTo>
                <a:lnTo>
                  <a:pt x="66" y="198"/>
                </a:lnTo>
                <a:lnTo>
                  <a:pt x="66" y="192"/>
                </a:lnTo>
                <a:lnTo>
                  <a:pt x="60" y="192"/>
                </a:lnTo>
                <a:lnTo>
                  <a:pt x="60" y="186"/>
                </a:lnTo>
                <a:lnTo>
                  <a:pt x="66" y="186"/>
                </a:lnTo>
                <a:lnTo>
                  <a:pt x="66" y="180"/>
                </a:lnTo>
                <a:lnTo>
                  <a:pt x="66" y="174"/>
                </a:lnTo>
                <a:lnTo>
                  <a:pt x="60" y="174"/>
                </a:lnTo>
                <a:lnTo>
                  <a:pt x="54" y="174"/>
                </a:lnTo>
                <a:lnTo>
                  <a:pt x="54" y="168"/>
                </a:lnTo>
                <a:lnTo>
                  <a:pt x="48" y="168"/>
                </a:lnTo>
                <a:lnTo>
                  <a:pt x="36" y="168"/>
                </a:lnTo>
                <a:lnTo>
                  <a:pt x="30" y="162"/>
                </a:lnTo>
                <a:lnTo>
                  <a:pt x="24" y="156"/>
                </a:lnTo>
                <a:lnTo>
                  <a:pt x="18" y="150"/>
                </a:lnTo>
                <a:lnTo>
                  <a:pt x="6" y="144"/>
                </a:lnTo>
                <a:lnTo>
                  <a:pt x="0" y="138"/>
                </a:lnTo>
                <a:lnTo>
                  <a:pt x="0" y="132"/>
                </a:lnTo>
                <a:lnTo>
                  <a:pt x="6" y="126"/>
                </a:lnTo>
                <a:lnTo>
                  <a:pt x="6" y="120"/>
                </a:lnTo>
                <a:lnTo>
                  <a:pt x="6" y="114"/>
                </a:lnTo>
                <a:lnTo>
                  <a:pt x="0" y="114"/>
                </a:lnTo>
                <a:lnTo>
                  <a:pt x="0" y="108"/>
                </a:lnTo>
                <a:lnTo>
                  <a:pt x="0" y="102"/>
                </a:lnTo>
                <a:lnTo>
                  <a:pt x="6" y="102"/>
                </a:lnTo>
                <a:lnTo>
                  <a:pt x="12" y="102"/>
                </a:lnTo>
                <a:lnTo>
                  <a:pt x="12" y="96"/>
                </a:lnTo>
                <a:lnTo>
                  <a:pt x="12" y="90"/>
                </a:lnTo>
                <a:lnTo>
                  <a:pt x="18" y="84"/>
                </a:lnTo>
                <a:lnTo>
                  <a:pt x="18" y="78"/>
                </a:lnTo>
                <a:lnTo>
                  <a:pt x="24" y="72"/>
                </a:lnTo>
                <a:lnTo>
                  <a:pt x="30" y="72"/>
                </a:lnTo>
                <a:lnTo>
                  <a:pt x="30" y="66"/>
                </a:lnTo>
                <a:lnTo>
                  <a:pt x="36" y="66"/>
                </a:lnTo>
                <a:lnTo>
                  <a:pt x="36" y="60"/>
                </a:lnTo>
                <a:lnTo>
                  <a:pt x="42" y="60"/>
                </a:lnTo>
                <a:lnTo>
                  <a:pt x="42" y="54"/>
                </a:lnTo>
                <a:lnTo>
                  <a:pt x="42" y="48"/>
                </a:lnTo>
                <a:lnTo>
                  <a:pt x="90" y="42"/>
                </a:lnTo>
                <a:lnTo>
                  <a:pt x="564" y="0"/>
                </a:lnTo>
                <a:lnTo>
                  <a:pt x="588" y="12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6" name="Rectangle 79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4889255" y="3595436"/>
            <a:ext cx="276638" cy="251524"/>
          </a:xfrm>
          <a:prstGeom prst="ellipse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solidFill>
              <a:schemeClr val="tx2"/>
            </a:solidFill>
            <a:round/>
            <a:headEnd/>
            <a:tailEnd/>
          </a:ln>
        </p:spPr>
        <p:txBody>
          <a:bodyPr vert="horz" wrap="square" lIns="91440" tIns="45720" rIns="91440" bIns="45720" numCol="1" anchor="ctr" anchorCtr="1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>
              <a:defRPr sz="1500" b="1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 sz="2000" dirty="0"/>
              <a:t>1</a:t>
            </a:r>
          </a:p>
        </p:txBody>
      </p:sp>
      <p:sp>
        <p:nvSpPr>
          <p:cNvPr id="127" name="Freeform 7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4889860" y="2387318"/>
            <a:ext cx="828329" cy="679538"/>
          </a:xfrm>
          <a:custGeom>
            <a:avLst/>
            <a:gdLst>
              <a:gd name="T0" fmla="*/ 846 w 1158"/>
              <a:gd name="T1" fmla="*/ 78 h 1452"/>
              <a:gd name="T2" fmla="*/ 870 w 1158"/>
              <a:gd name="T3" fmla="*/ 480 h 1452"/>
              <a:gd name="T4" fmla="*/ 1032 w 1158"/>
              <a:gd name="T5" fmla="*/ 648 h 1452"/>
              <a:gd name="T6" fmla="*/ 1098 w 1158"/>
              <a:gd name="T7" fmla="*/ 720 h 1452"/>
              <a:gd name="T8" fmla="*/ 1104 w 1158"/>
              <a:gd name="T9" fmla="*/ 786 h 1452"/>
              <a:gd name="T10" fmla="*/ 1074 w 1158"/>
              <a:gd name="T11" fmla="*/ 870 h 1452"/>
              <a:gd name="T12" fmla="*/ 1074 w 1158"/>
              <a:gd name="T13" fmla="*/ 936 h 1452"/>
              <a:gd name="T14" fmla="*/ 1152 w 1158"/>
              <a:gd name="T15" fmla="*/ 1014 h 1452"/>
              <a:gd name="T16" fmla="*/ 1152 w 1158"/>
              <a:gd name="T17" fmla="*/ 1050 h 1452"/>
              <a:gd name="T18" fmla="*/ 1158 w 1158"/>
              <a:gd name="T19" fmla="*/ 1098 h 1452"/>
              <a:gd name="T20" fmla="*/ 1158 w 1158"/>
              <a:gd name="T21" fmla="*/ 1164 h 1452"/>
              <a:gd name="T22" fmla="*/ 1158 w 1158"/>
              <a:gd name="T23" fmla="*/ 1200 h 1452"/>
              <a:gd name="T24" fmla="*/ 1158 w 1158"/>
              <a:gd name="T25" fmla="*/ 1242 h 1452"/>
              <a:gd name="T26" fmla="*/ 1140 w 1158"/>
              <a:gd name="T27" fmla="*/ 1260 h 1452"/>
              <a:gd name="T28" fmla="*/ 1116 w 1158"/>
              <a:gd name="T29" fmla="*/ 1278 h 1452"/>
              <a:gd name="T30" fmla="*/ 1086 w 1158"/>
              <a:gd name="T31" fmla="*/ 1278 h 1452"/>
              <a:gd name="T32" fmla="*/ 1062 w 1158"/>
              <a:gd name="T33" fmla="*/ 1296 h 1452"/>
              <a:gd name="T34" fmla="*/ 1044 w 1158"/>
              <a:gd name="T35" fmla="*/ 1308 h 1452"/>
              <a:gd name="T36" fmla="*/ 1026 w 1158"/>
              <a:gd name="T37" fmla="*/ 1320 h 1452"/>
              <a:gd name="T38" fmla="*/ 1002 w 1158"/>
              <a:gd name="T39" fmla="*/ 1314 h 1452"/>
              <a:gd name="T40" fmla="*/ 990 w 1158"/>
              <a:gd name="T41" fmla="*/ 1290 h 1452"/>
              <a:gd name="T42" fmla="*/ 972 w 1158"/>
              <a:gd name="T43" fmla="*/ 1296 h 1452"/>
              <a:gd name="T44" fmla="*/ 942 w 1158"/>
              <a:gd name="T45" fmla="*/ 1284 h 1452"/>
              <a:gd name="T46" fmla="*/ 918 w 1158"/>
              <a:gd name="T47" fmla="*/ 1296 h 1452"/>
              <a:gd name="T48" fmla="*/ 900 w 1158"/>
              <a:gd name="T49" fmla="*/ 1302 h 1452"/>
              <a:gd name="T50" fmla="*/ 870 w 1158"/>
              <a:gd name="T51" fmla="*/ 1290 h 1452"/>
              <a:gd name="T52" fmla="*/ 852 w 1158"/>
              <a:gd name="T53" fmla="*/ 1296 h 1452"/>
              <a:gd name="T54" fmla="*/ 840 w 1158"/>
              <a:gd name="T55" fmla="*/ 1308 h 1452"/>
              <a:gd name="T56" fmla="*/ 828 w 1158"/>
              <a:gd name="T57" fmla="*/ 1320 h 1452"/>
              <a:gd name="T58" fmla="*/ 828 w 1158"/>
              <a:gd name="T59" fmla="*/ 1332 h 1452"/>
              <a:gd name="T60" fmla="*/ 828 w 1158"/>
              <a:gd name="T61" fmla="*/ 1350 h 1452"/>
              <a:gd name="T62" fmla="*/ 834 w 1158"/>
              <a:gd name="T63" fmla="*/ 1374 h 1452"/>
              <a:gd name="T64" fmla="*/ 828 w 1158"/>
              <a:gd name="T65" fmla="*/ 1398 h 1452"/>
              <a:gd name="T66" fmla="*/ 810 w 1158"/>
              <a:gd name="T67" fmla="*/ 1410 h 1452"/>
              <a:gd name="T68" fmla="*/ 804 w 1158"/>
              <a:gd name="T69" fmla="*/ 1422 h 1452"/>
              <a:gd name="T70" fmla="*/ 792 w 1158"/>
              <a:gd name="T71" fmla="*/ 1440 h 1452"/>
              <a:gd name="T72" fmla="*/ 708 w 1158"/>
              <a:gd name="T73" fmla="*/ 1452 h 1452"/>
              <a:gd name="T74" fmla="*/ 600 w 1158"/>
              <a:gd name="T75" fmla="*/ 1140 h 1452"/>
              <a:gd name="T76" fmla="*/ 522 w 1158"/>
              <a:gd name="T77" fmla="*/ 1110 h 1452"/>
              <a:gd name="T78" fmla="*/ 396 w 1158"/>
              <a:gd name="T79" fmla="*/ 1182 h 1452"/>
              <a:gd name="T80" fmla="*/ 360 w 1158"/>
              <a:gd name="T81" fmla="*/ 1140 h 1452"/>
              <a:gd name="T82" fmla="*/ 348 w 1158"/>
              <a:gd name="T83" fmla="*/ 1110 h 1452"/>
              <a:gd name="T84" fmla="*/ 336 w 1158"/>
              <a:gd name="T85" fmla="*/ 1068 h 1452"/>
              <a:gd name="T86" fmla="*/ 318 w 1158"/>
              <a:gd name="T87" fmla="*/ 1038 h 1452"/>
              <a:gd name="T88" fmla="*/ 270 w 1158"/>
              <a:gd name="T89" fmla="*/ 1014 h 1452"/>
              <a:gd name="T90" fmla="*/ 90 w 1158"/>
              <a:gd name="T91" fmla="*/ 936 h 1452"/>
              <a:gd name="T92" fmla="*/ 66 w 1158"/>
              <a:gd name="T93" fmla="*/ 924 h 1452"/>
              <a:gd name="T94" fmla="*/ 42 w 1158"/>
              <a:gd name="T95" fmla="*/ 930 h 1452"/>
              <a:gd name="T96" fmla="*/ 12 w 1158"/>
              <a:gd name="T97" fmla="*/ 930 h 1452"/>
              <a:gd name="T98" fmla="*/ 48 w 1158"/>
              <a:gd name="T99" fmla="*/ 846 h 1452"/>
              <a:gd name="T100" fmla="*/ 270 w 1158"/>
              <a:gd name="T101" fmla="*/ 750 h 1452"/>
              <a:gd name="T102" fmla="*/ 480 w 1158"/>
              <a:gd name="T103" fmla="*/ 510 h 1452"/>
              <a:gd name="T104" fmla="*/ 480 w 1158"/>
              <a:gd name="T105" fmla="*/ 108 h 1452"/>
              <a:gd name="T106" fmla="*/ 672 w 1158"/>
              <a:gd name="T107" fmla="*/ 90 h 1452"/>
              <a:gd name="T108" fmla="*/ 678 w 1158"/>
              <a:gd name="T109" fmla="*/ 60 h 1452"/>
              <a:gd name="T110" fmla="*/ 672 w 1158"/>
              <a:gd name="T111" fmla="*/ 36 h 1452"/>
              <a:gd name="T112" fmla="*/ 672 w 1158"/>
              <a:gd name="T113" fmla="*/ 6 h 1452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440 w 10000"/>
              <a:gd name="connsiteY187" fmla="*/ 8512 h 10000"/>
              <a:gd name="connsiteX188" fmla="*/ 5233 w 10000"/>
              <a:gd name="connsiteY188" fmla="*/ 7934 h 10000"/>
              <a:gd name="connsiteX189" fmla="*/ 5181 w 10000"/>
              <a:gd name="connsiteY189" fmla="*/ 7851 h 10000"/>
              <a:gd name="connsiteX190" fmla="*/ 5130 w 10000"/>
              <a:gd name="connsiteY190" fmla="*/ 7810 h 10000"/>
              <a:gd name="connsiteX191" fmla="*/ 5078 w 10000"/>
              <a:gd name="connsiteY191" fmla="*/ 7810 h 10000"/>
              <a:gd name="connsiteX192" fmla="*/ 4974 w 10000"/>
              <a:gd name="connsiteY192" fmla="*/ 7769 h 10000"/>
              <a:gd name="connsiteX193" fmla="*/ 4819 w 10000"/>
              <a:gd name="connsiteY193" fmla="*/ 7727 h 10000"/>
              <a:gd name="connsiteX194" fmla="*/ 4456 w 10000"/>
              <a:gd name="connsiteY194" fmla="*/ 7727 h 10000"/>
              <a:gd name="connsiteX195" fmla="*/ 4404 w 10000"/>
              <a:gd name="connsiteY195" fmla="*/ 7769 h 10000"/>
              <a:gd name="connsiteX196" fmla="*/ 3886 w 10000"/>
              <a:gd name="connsiteY196" fmla="*/ 7975 h 10000"/>
              <a:gd name="connsiteX197" fmla="*/ 3575 w 10000"/>
              <a:gd name="connsiteY197" fmla="*/ 8264 h 10000"/>
              <a:gd name="connsiteX198" fmla="*/ 3420 w 10000"/>
              <a:gd name="connsiteY198" fmla="*/ 8140 h 10000"/>
              <a:gd name="connsiteX199" fmla="*/ 3368 w 10000"/>
              <a:gd name="connsiteY199" fmla="*/ 8099 h 10000"/>
              <a:gd name="connsiteX200" fmla="*/ 3264 w 10000"/>
              <a:gd name="connsiteY200" fmla="*/ 8058 h 10000"/>
              <a:gd name="connsiteX201" fmla="*/ 3161 w 10000"/>
              <a:gd name="connsiteY201" fmla="*/ 7975 h 10000"/>
              <a:gd name="connsiteX202" fmla="*/ 3161 w 10000"/>
              <a:gd name="connsiteY202" fmla="*/ 7893 h 10000"/>
              <a:gd name="connsiteX203" fmla="*/ 3109 w 10000"/>
              <a:gd name="connsiteY203" fmla="*/ 7851 h 10000"/>
              <a:gd name="connsiteX204" fmla="*/ 3109 w 10000"/>
              <a:gd name="connsiteY204" fmla="*/ 7810 h 10000"/>
              <a:gd name="connsiteX205" fmla="*/ 3057 w 10000"/>
              <a:gd name="connsiteY205" fmla="*/ 7769 h 10000"/>
              <a:gd name="connsiteX206" fmla="*/ 3057 w 10000"/>
              <a:gd name="connsiteY206" fmla="*/ 7727 h 10000"/>
              <a:gd name="connsiteX207" fmla="*/ 3005 w 10000"/>
              <a:gd name="connsiteY207" fmla="*/ 7686 h 10000"/>
              <a:gd name="connsiteX208" fmla="*/ 3005 w 10000"/>
              <a:gd name="connsiteY208" fmla="*/ 7645 h 10000"/>
              <a:gd name="connsiteX209" fmla="*/ 3005 w 10000"/>
              <a:gd name="connsiteY209" fmla="*/ 7562 h 10000"/>
              <a:gd name="connsiteX210" fmla="*/ 2953 w 10000"/>
              <a:gd name="connsiteY210" fmla="*/ 7521 h 10000"/>
              <a:gd name="connsiteX211" fmla="*/ 2953 w 10000"/>
              <a:gd name="connsiteY211" fmla="*/ 7479 h 10000"/>
              <a:gd name="connsiteX212" fmla="*/ 2902 w 10000"/>
              <a:gd name="connsiteY212" fmla="*/ 7438 h 10000"/>
              <a:gd name="connsiteX213" fmla="*/ 2902 w 10000"/>
              <a:gd name="connsiteY213" fmla="*/ 7355 h 10000"/>
              <a:gd name="connsiteX214" fmla="*/ 2902 w 10000"/>
              <a:gd name="connsiteY214" fmla="*/ 7314 h 10000"/>
              <a:gd name="connsiteX215" fmla="*/ 2850 w 10000"/>
              <a:gd name="connsiteY215" fmla="*/ 7314 h 10000"/>
              <a:gd name="connsiteX216" fmla="*/ 2798 w 10000"/>
              <a:gd name="connsiteY216" fmla="*/ 7273 h 10000"/>
              <a:gd name="connsiteX217" fmla="*/ 2746 w 10000"/>
              <a:gd name="connsiteY217" fmla="*/ 7190 h 10000"/>
              <a:gd name="connsiteX218" fmla="*/ 2746 w 10000"/>
              <a:gd name="connsiteY218" fmla="*/ 7149 h 10000"/>
              <a:gd name="connsiteX219" fmla="*/ 2746 w 10000"/>
              <a:gd name="connsiteY219" fmla="*/ 7066 h 10000"/>
              <a:gd name="connsiteX220" fmla="*/ 2694 w 10000"/>
              <a:gd name="connsiteY220" fmla="*/ 7025 h 10000"/>
              <a:gd name="connsiteX221" fmla="*/ 2694 w 10000"/>
              <a:gd name="connsiteY221" fmla="*/ 6983 h 10000"/>
              <a:gd name="connsiteX222" fmla="*/ 2591 w 10000"/>
              <a:gd name="connsiteY222" fmla="*/ 6983 h 10000"/>
              <a:gd name="connsiteX223" fmla="*/ 2332 w 10000"/>
              <a:gd name="connsiteY223" fmla="*/ 6983 h 10000"/>
              <a:gd name="connsiteX224" fmla="*/ 2228 w 10000"/>
              <a:gd name="connsiteY224" fmla="*/ 6983 h 10000"/>
              <a:gd name="connsiteX225" fmla="*/ 1036 w 10000"/>
              <a:gd name="connsiteY225" fmla="*/ 6612 h 10000"/>
              <a:gd name="connsiteX226" fmla="*/ 829 w 10000"/>
              <a:gd name="connsiteY226" fmla="*/ 6488 h 10000"/>
              <a:gd name="connsiteX227" fmla="*/ 829 w 10000"/>
              <a:gd name="connsiteY227" fmla="*/ 6446 h 10000"/>
              <a:gd name="connsiteX228" fmla="*/ 777 w 10000"/>
              <a:gd name="connsiteY228" fmla="*/ 6446 h 10000"/>
              <a:gd name="connsiteX229" fmla="*/ 725 w 10000"/>
              <a:gd name="connsiteY229" fmla="*/ 6446 h 10000"/>
              <a:gd name="connsiteX230" fmla="*/ 674 w 10000"/>
              <a:gd name="connsiteY230" fmla="*/ 6405 h 10000"/>
              <a:gd name="connsiteX231" fmla="*/ 622 w 10000"/>
              <a:gd name="connsiteY231" fmla="*/ 6405 h 10000"/>
              <a:gd name="connsiteX232" fmla="*/ 570 w 10000"/>
              <a:gd name="connsiteY232" fmla="*/ 6405 h 10000"/>
              <a:gd name="connsiteX233" fmla="*/ 570 w 10000"/>
              <a:gd name="connsiteY233" fmla="*/ 6364 h 10000"/>
              <a:gd name="connsiteX234" fmla="*/ 518 w 10000"/>
              <a:gd name="connsiteY234" fmla="*/ 6364 h 10000"/>
              <a:gd name="connsiteX235" fmla="*/ 466 w 10000"/>
              <a:gd name="connsiteY235" fmla="*/ 6364 h 10000"/>
              <a:gd name="connsiteX236" fmla="*/ 466 w 10000"/>
              <a:gd name="connsiteY236" fmla="*/ 6405 h 10000"/>
              <a:gd name="connsiteX237" fmla="*/ 415 w 10000"/>
              <a:gd name="connsiteY237" fmla="*/ 6405 h 10000"/>
              <a:gd name="connsiteX238" fmla="*/ 363 w 10000"/>
              <a:gd name="connsiteY238" fmla="*/ 6405 h 10000"/>
              <a:gd name="connsiteX239" fmla="*/ 311 w 10000"/>
              <a:gd name="connsiteY239" fmla="*/ 6405 h 10000"/>
              <a:gd name="connsiteX240" fmla="*/ 259 w 10000"/>
              <a:gd name="connsiteY240" fmla="*/ 6405 h 10000"/>
              <a:gd name="connsiteX241" fmla="*/ 207 w 10000"/>
              <a:gd name="connsiteY241" fmla="*/ 6405 h 10000"/>
              <a:gd name="connsiteX242" fmla="*/ 155 w 10000"/>
              <a:gd name="connsiteY242" fmla="*/ 6405 h 10000"/>
              <a:gd name="connsiteX243" fmla="*/ 104 w 10000"/>
              <a:gd name="connsiteY243" fmla="*/ 6405 h 10000"/>
              <a:gd name="connsiteX244" fmla="*/ 52 w 10000"/>
              <a:gd name="connsiteY244" fmla="*/ 6405 h 10000"/>
              <a:gd name="connsiteX245" fmla="*/ 0 w 10000"/>
              <a:gd name="connsiteY245" fmla="*/ 6405 h 10000"/>
              <a:gd name="connsiteX246" fmla="*/ 52 w 10000"/>
              <a:gd name="connsiteY246" fmla="*/ 5826 h 10000"/>
              <a:gd name="connsiteX247" fmla="*/ 207 w 10000"/>
              <a:gd name="connsiteY247" fmla="*/ 5909 h 10000"/>
              <a:gd name="connsiteX248" fmla="*/ 415 w 10000"/>
              <a:gd name="connsiteY248" fmla="*/ 5826 h 10000"/>
              <a:gd name="connsiteX249" fmla="*/ 1503 w 10000"/>
              <a:gd name="connsiteY249" fmla="*/ 5826 h 10000"/>
              <a:gd name="connsiteX250" fmla="*/ 1658 w 10000"/>
              <a:gd name="connsiteY250" fmla="*/ 5785 h 10000"/>
              <a:gd name="connsiteX251" fmla="*/ 1710 w 10000"/>
              <a:gd name="connsiteY251" fmla="*/ 5785 h 10000"/>
              <a:gd name="connsiteX252" fmla="*/ 2228 w 10000"/>
              <a:gd name="connsiteY252" fmla="*/ 5248 h 10000"/>
              <a:gd name="connsiteX253" fmla="*/ 2332 w 10000"/>
              <a:gd name="connsiteY253" fmla="*/ 5165 h 10000"/>
              <a:gd name="connsiteX254" fmla="*/ 2798 w 10000"/>
              <a:gd name="connsiteY254" fmla="*/ 4752 h 10000"/>
              <a:gd name="connsiteX255" fmla="*/ 3057 w 10000"/>
              <a:gd name="connsiteY255" fmla="*/ 4504 h 10000"/>
              <a:gd name="connsiteX256" fmla="*/ 3212 w 10000"/>
              <a:gd name="connsiteY256" fmla="*/ 4380 h 10000"/>
              <a:gd name="connsiteX257" fmla="*/ 3627 w 10000"/>
              <a:gd name="connsiteY257" fmla="*/ 3760 h 10000"/>
              <a:gd name="connsiteX258" fmla="*/ 4145 w 10000"/>
              <a:gd name="connsiteY258" fmla="*/ 3512 h 10000"/>
              <a:gd name="connsiteX259" fmla="*/ 5026 w 10000"/>
              <a:gd name="connsiteY259" fmla="*/ 2810 h 10000"/>
              <a:gd name="connsiteX260" fmla="*/ 4870 w 10000"/>
              <a:gd name="connsiteY260" fmla="*/ 2562 h 10000"/>
              <a:gd name="connsiteX261" fmla="*/ 4819 w 10000"/>
              <a:gd name="connsiteY261" fmla="*/ 2397 h 10000"/>
              <a:gd name="connsiteX262" fmla="*/ 4819 w 10000"/>
              <a:gd name="connsiteY262" fmla="*/ 1240 h 10000"/>
              <a:gd name="connsiteX263" fmla="*/ 4145 w 10000"/>
              <a:gd name="connsiteY263" fmla="*/ 744 h 10000"/>
              <a:gd name="connsiteX264" fmla="*/ 4974 w 10000"/>
              <a:gd name="connsiteY264" fmla="*/ 744 h 10000"/>
              <a:gd name="connsiteX265" fmla="*/ 5803 w 10000"/>
              <a:gd name="connsiteY265" fmla="*/ 744 h 10000"/>
              <a:gd name="connsiteX266" fmla="*/ 5803 w 10000"/>
              <a:gd name="connsiteY266" fmla="*/ 702 h 10000"/>
              <a:gd name="connsiteX267" fmla="*/ 5803 w 10000"/>
              <a:gd name="connsiteY267" fmla="*/ 661 h 10000"/>
              <a:gd name="connsiteX268" fmla="*/ 5803 w 10000"/>
              <a:gd name="connsiteY268" fmla="*/ 620 h 10000"/>
              <a:gd name="connsiteX269" fmla="*/ 5803 w 10000"/>
              <a:gd name="connsiteY269" fmla="*/ 579 h 10000"/>
              <a:gd name="connsiteX270" fmla="*/ 5855 w 10000"/>
              <a:gd name="connsiteY270" fmla="*/ 537 h 10000"/>
              <a:gd name="connsiteX271" fmla="*/ 5855 w 10000"/>
              <a:gd name="connsiteY271" fmla="*/ 496 h 10000"/>
              <a:gd name="connsiteX272" fmla="*/ 5855 w 10000"/>
              <a:gd name="connsiteY272" fmla="*/ 455 h 10000"/>
              <a:gd name="connsiteX273" fmla="*/ 5855 w 10000"/>
              <a:gd name="connsiteY273" fmla="*/ 413 h 10000"/>
              <a:gd name="connsiteX274" fmla="*/ 5855 w 10000"/>
              <a:gd name="connsiteY274" fmla="*/ 372 h 10000"/>
              <a:gd name="connsiteX275" fmla="*/ 5855 w 10000"/>
              <a:gd name="connsiteY275" fmla="*/ 331 h 10000"/>
              <a:gd name="connsiteX276" fmla="*/ 5803 w 10000"/>
              <a:gd name="connsiteY276" fmla="*/ 331 h 10000"/>
              <a:gd name="connsiteX277" fmla="*/ 5803 w 10000"/>
              <a:gd name="connsiteY277" fmla="*/ 289 h 10000"/>
              <a:gd name="connsiteX278" fmla="*/ 5803 w 10000"/>
              <a:gd name="connsiteY278" fmla="*/ 248 h 10000"/>
              <a:gd name="connsiteX279" fmla="*/ 5803 w 10000"/>
              <a:gd name="connsiteY279" fmla="*/ 207 h 10000"/>
              <a:gd name="connsiteX280" fmla="*/ 5803 w 10000"/>
              <a:gd name="connsiteY280" fmla="*/ 165 h 10000"/>
              <a:gd name="connsiteX281" fmla="*/ 5803 w 10000"/>
              <a:gd name="connsiteY281" fmla="*/ 124 h 10000"/>
              <a:gd name="connsiteX282" fmla="*/ 5803 w 10000"/>
              <a:gd name="connsiteY282" fmla="*/ 83 h 10000"/>
              <a:gd name="connsiteX283" fmla="*/ 5803 w 10000"/>
              <a:gd name="connsiteY283" fmla="*/ 41 h 10000"/>
              <a:gd name="connsiteX284" fmla="*/ 5803 w 10000"/>
              <a:gd name="connsiteY28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440 w 10000"/>
              <a:gd name="connsiteY187" fmla="*/ 8512 h 10000"/>
              <a:gd name="connsiteX188" fmla="*/ 5233 w 10000"/>
              <a:gd name="connsiteY188" fmla="*/ 7934 h 10000"/>
              <a:gd name="connsiteX189" fmla="*/ 5181 w 10000"/>
              <a:gd name="connsiteY189" fmla="*/ 7851 h 10000"/>
              <a:gd name="connsiteX190" fmla="*/ 5130 w 10000"/>
              <a:gd name="connsiteY190" fmla="*/ 7810 h 10000"/>
              <a:gd name="connsiteX191" fmla="*/ 5078 w 10000"/>
              <a:gd name="connsiteY191" fmla="*/ 7810 h 10000"/>
              <a:gd name="connsiteX192" fmla="*/ 4974 w 10000"/>
              <a:gd name="connsiteY192" fmla="*/ 7769 h 10000"/>
              <a:gd name="connsiteX193" fmla="*/ 4456 w 10000"/>
              <a:gd name="connsiteY193" fmla="*/ 7727 h 10000"/>
              <a:gd name="connsiteX194" fmla="*/ 4404 w 10000"/>
              <a:gd name="connsiteY194" fmla="*/ 7769 h 10000"/>
              <a:gd name="connsiteX195" fmla="*/ 3886 w 10000"/>
              <a:gd name="connsiteY195" fmla="*/ 7975 h 10000"/>
              <a:gd name="connsiteX196" fmla="*/ 3575 w 10000"/>
              <a:gd name="connsiteY196" fmla="*/ 8264 h 10000"/>
              <a:gd name="connsiteX197" fmla="*/ 3420 w 10000"/>
              <a:gd name="connsiteY197" fmla="*/ 8140 h 10000"/>
              <a:gd name="connsiteX198" fmla="*/ 3368 w 10000"/>
              <a:gd name="connsiteY198" fmla="*/ 8099 h 10000"/>
              <a:gd name="connsiteX199" fmla="*/ 3264 w 10000"/>
              <a:gd name="connsiteY199" fmla="*/ 8058 h 10000"/>
              <a:gd name="connsiteX200" fmla="*/ 3161 w 10000"/>
              <a:gd name="connsiteY200" fmla="*/ 7975 h 10000"/>
              <a:gd name="connsiteX201" fmla="*/ 3161 w 10000"/>
              <a:gd name="connsiteY201" fmla="*/ 7893 h 10000"/>
              <a:gd name="connsiteX202" fmla="*/ 3109 w 10000"/>
              <a:gd name="connsiteY202" fmla="*/ 7851 h 10000"/>
              <a:gd name="connsiteX203" fmla="*/ 3109 w 10000"/>
              <a:gd name="connsiteY203" fmla="*/ 7810 h 10000"/>
              <a:gd name="connsiteX204" fmla="*/ 3057 w 10000"/>
              <a:gd name="connsiteY204" fmla="*/ 7769 h 10000"/>
              <a:gd name="connsiteX205" fmla="*/ 3057 w 10000"/>
              <a:gd name="connsiteY205" fmla="*/ 7727 h 10000"/>
              <a:gd name="connsiteX206" fmla="*/ 3005 w 10000"/>
              <a:gd name="connsiteY206" fmla="*/ 7686 h 10000"/>
              <a:gd name="connsiteX207" fmla="*/ 3005 w 10000"/>
              <a:gd name="connsiteY207" fmla="*/ 7645 h 10000"/>
              <a:gd name="connsiteX208" fmla="*/ 3005 w 10000"/>
              <a:gd name="connsiteY208" fmla="*/ 7562 h 10000"/>
              <a:gd name="connsiteX209" fmla="*/ 2953 w 10000"/>
              <a:gd name="connsiteY209" fmla="*/ 7521 h 10000"/>
              <a:gd name="connsiteX210" fmla="*/ 2953 w 10000"/>
              <a:gd name="connsiteY210" fmla="*/ 7479 h 10000"/>
              <a:gd name="connsiteX211" fmla="*/ 2902 w 10000"/>
              <a:gd name="connsiteY211" fmla="*/ 7438 h 10000"/>
              <a:gd name="connsiteX212" fmla="*/ 2902 w 10000"/>
              <a:gd name="connsiteY212" fmla="*/ 7355 h 10000"/>
              <a:gd name="connsiteX213" fmla="*/ 2902 w 10000"/>
              <a:gd name="connsiteY213" fmla="*/ 7314 h 10000"/>
              <a:gd name="connsiteX214" fmla="*/ 2850 w 10000"/>
              <a:gd name="connsiteY214" fmla="*/ 7314 h 10000"/>
              <a:gd name="connsiteX215" fmla="*/ 2798 w 10000"/>
              <a:gd name="connsiteY215" fmla="*/ 7273 h 10000"/>
              <a:gd name="connsiteX216" fmla="*/ 2746 w 10000"/>
              <a:gd name="connsiteY216" fmla="*/ 7190 h 10000"/>
              <a:gd name="connsiteX217" fmla="*/ 2746 w 10000"/>
              <a:gd name="connsiteY217" fmla="*/ 7149 h 10000"/>
              <a:gd name="connsiteX218" fmla="*/ 2746 w 10000"/>
              <a:gd name="connsiteY218" fmla="*/ 7066 h 10000"/>
              <a:gd name="connsiteX219" fmla="*/ 2694 w 10000"/>
              <a:gd name="connsiteY219" fmla="*/ 7025 h 10000"/>
              <a:gd name="connsiteX220" fmla="*/ 2694 w 10000"/>
              <a:gd name="connsiteY220" fmla="*/ 6983 h 10000"/>
              <a:gd name="connsiteX221" fmla="*/ 2591 w 10000"/>
              <a:gd name="connsiteY221" fmla="*/ 6983 h 10000"/>
              <a:gd name="connsiteX222" fmla="*/ 2332 w 10000"/>
              <a:gd name="connsiteY222" fmla="*/ 6983 h 10000"/>
              <a:gd name="connsiteX223" fmla="*/ 2228 w 10000"/>
              <a:gd name="connsiteY223" fmla="*/ 6983 h 10000"/>
              <a:gd name="connsiteX224" fmla="*/ 1036 w 10000"/>
              <a:gd name="connsiteY224" fmla="*/ 6612 h 10000"/>
              <a:gd name="connsiteX225" fmla="*/ 829 w 10000"/>
              <a:gd name="connsiteY225" fmla="*/ 6488 h 10000"/>
              <a:gd name="connsiteX226" fmla="*/ 829 w 10000"/>
              <a:gd name="connsiteY226" fmla="*/ 6446 h 10000"/>
              <a:gd name="connsiteX227" fmla="*/ 777 w 10000"/>
              <a:gd name="connsiteY227" fmla="*/ 6446 h 10000"/>
              <a:gd name="connsiteX228" fmla="*/ 725 w 10000"/>
              <a:gd name="connsiteY228" fmla="*/ 6446 h 10000"/>
              <a:gd name="connsiteX229" fmla="*/ 674 w 10000"/>
              <a:gd name="connsiteY229" fmla="*/ 6405 h 10000"/>
              <a:gd name="connsiteX230" fmla="*/ 622 w 10000"/>
              <a:gd name="connsiteY230" fmla="*/ 6405 h 10000"/>
              <a:gd name="connsiteX231" fmla="*/ 570 w 10000"/>
              <a:gd name="connsiteY231" fmla="*/ 6405 h 10000"/>
              <a:gd name="connsiteX232" fmla="*/ 570 w 10000"/>
              <a:gd name="connsiteY232" fmla="*/ 6364 h 10000"/>
              <a:gd name="connsiteX233" fmla="*/ 518 w 10000"/>
              <a:gd name="connsiteY233" fmla="*/ 6364 h 10000"/>
              <a:gd name="connsiteX234" fmla="*/ 466 w 10000"/>
              <a:gd name="connsiteY234" fmla="*/ 6364 h 10000"/>
              <a:gd name="connsiteX235" fmla="*/ 466 w 10000"/>
              <a:gd name="connsiteY235" fmla="*/ 6405 h 10000"/>
              <a:gd name="connsiteX236" fmla="*/ 415 w 10000"/>
              <a:gd name="connsiteY236" fmla="*/ 6405 h 10000"/>
              <a:gd name="connsiteX237" fmla="*/ 363 w 10000"/>
              <a:gd name="connsiteY237" fmla="*/ 6405 h 10000"/>
              <a:gd name="connsiteX238" fmla="*/ 311 w 10000"/>
              <a:gd name="connsiteY238" fmla="*/ 6405 h 10000"/>
              <a:gd name="connsiteX239" fmla="*/ 259 w 10000"/>
              <a:gd name="connsiteY239" fmla="*/ 6405 h 10000"/>
              <a:gd name="connsiteX240" fmla="*/ 207 w 10000"/>
              <a:gd name="connsiteY240" fmla="*/ 6405 h 10000"/>
              <a:gd name="connsiteX241" fmla="*/ 155 w 10000"/>
              <a:gd name="connsiteY241" fmla="*/ 6405 h 10000"/>
              <a:gd name="connsiteX242" fmla="*/ 104 w 10000"/>
              <a:gd name="connsiteY242" fmla="*/ 6405 h 10000"/>
              <a:gd name="connsiteX243" fmla="*/ 52 w 10000"/>
              <a:gd name="connsiteY243" fmla="*/ 6405 h 10000"/>
              <a:gd name="connsiteX244" fmla="*/ 0 w 10000"/>
              <a:gd name="connsiteY244" fmla="*/ 6405 h 10000"/>
              <a:gd name="connsiteX245" fmla="*/ 52 w 10000"/>
              <a:gd name="connsiteY245" fmla="*/ 5826 h 10000"/>
              <a:gd name="connsiteX246" fmla="*/ 207 w 10000"/>
              <a:gd name="connsiteY246" fmla="*/ 5909 h 10000"/>
              <a:gd name="connsiteX247" fmla="*/ 415 w 10000"/>
              <a:gd name="connsiteY247" fmla="*/ 5826 h 10000"/>
              <a:gd name="connsiteX248" fmla="*/ 1503 w 10000"/>
              <a:gd name="connsiteY248" fmla="*/ 5826 h 10000"/>
              <a:gd name="connsiteX249" fmla="*/ 1658 w 10000"/>
              <a:gd name="connsiteY249" fmla="*/ 5785 h 10000"/>
              <a:gd name="connsiteX250" fmla="*/ 1710 w 10000"/>
              <a:gd name="connsiteY250" fmla="*/ 5785 h 10000"/>
              <a:gd name="connsiteX251" fmla="*/ 2228 w 10000"/>
              <a:gd name="connsiteY251" fmla="*/ 5248 h 10000"/>
              <a:gd name="connsiteX252" fmla="*/ 2332 w 10000"/>
              <a:gd name="connsiteY252" fmla="*/ 5165 h 10000"/>
              <a:gd name="connsiteX253" fmla="*/ 2798 w 10000"/>
              <a:gd name="connsiteY253" fmla="*/ 4752 h 10000"/>
              <a:gd name="connsiteX254" fmla="*/ 3057 w 10000"/>
              <a:gd name="connsiteY254" fmla="*/ 4504 h 10000"/>
              <a:gd name="connsiteX255" fmla="*/ 3212 w 10000"/>
              <a:gd name="connsiteY255" fmla="*/ 4380 h 10000"/>
              <a:gd name="connsiteX256" fmla="*/ 3627 w 10000"/>
              <a:gd name="connsiteY256" fmla="*/ 3760 h 10000"/>
              <a:gd name="connsiteX257" fmla="*/ 4145 w 10000"/>
              <a:gd name="connsiteY257" fmla="*/ 3512 h 10000"/>
              <a:gd name="connsiteX258" fmla="*/ 5026 w 10000"/>
              <a:gd name="connsiteY258" fmla="*/ 2810 h 10000"/>
              <a:gd name="connsiteX259" fmla="*/ 4870 w 10000"/>
              <a:gd name="connsiteY259" fmla="*/ 2562 h 10000"/>
              <a:gd name="connsiteX260" fmla="*/ 4819 w 10000"/>
              <a:gd name="connsiteY260" fmla="*/ 2397 h 10000"/>
              <a:gd name="connsiteX261" fmla="*/ 4819 w 10000"/>
              <a:gd name="connsiteY261" fmla="*/ 1240 h 10000"/>
              <a:gd name="connsiteX262" fmla="*/ 4145 w 10000"/>
              <a:gd name="connsiteY262" fmla="*/ 744 h 10000"/>
              <a:gd name="connsiteX263" fmla="*/ 4974 w 10000"/>
              <a:gd name="connsiteY263" fmla="*/ 744 h 10000"/>
              <a:gd name="connsiteX264" fmla="*/ 5803 w 10000"/>
              <a:gd name="connsiteY264" fmla="*/ 744 h 10000"/>
              <a:gd name="connsiteX265" fmla="*/ 5803 w 10000"/>
              <a:gd name="connsiteY265" fmla="*/ 702 h 10000"/>
              <a:gd name="connsiteX266" fmla="*/ 5803 w 10000"/>
              <a:gd name="connsiteY266" fmla="*/ 661 h 10000"/>
              <a:gd name="connsiteX267" fmla="*/ 5803 w 10000"/>
              <a:gd name="connsiteY267" fmla="*/ 620 h 10000"/>
              <a:gd name="connsiteX268" fmla="*/ 5803 w 10000"/>
              <a:gd name="connsiteY268" fmla="*/ 579 h 10000"/>
              <a:gd name="connsiteX269" fmla="*/ 5855 w 10000"/>
              <a:gd name="connsiteY269" fmla="*/ 537 h 10000"/>
              <a:gd name="connsiteX270" fmla="*/ 5855 w 10000"/>
              <a:gd name="connsiteY270" fmla="*/ 496 h 10000"/>
              <a:gd name="connsiteX271" fmla="*/ 5855 w 10000"/>
              <a:gd name="connsiteY271" fmla="*/ 455 h 10000"/>
              <a:gd name="connsiteX272" fmla="*/ 5855 w 10000"/>
              <a:gd name="connsiteY272" fmla="*/ 413 h 10000"/>
              <a:gd name="connsiteX273" fmla="*/ 5855 w 10000"/>
              <a:gd name="connsiteY273" fmla="*/ 372 h 10000"/>
              <a:gd name="connsiteX274" fmla="*/ 5855 w 10000"/>
              <a:gd name="connsiteY274" fmla="*/ 331 h 10000"/>
              <a:gd name="connsiteX275" fmla="*/ 5803 w 10000"/>
              <a:gd name="connsiteY275" fmla="*/ 331 h 10000"/>
              <a:gd name="connsiteX276" fmla="*/ 5803 w 10000"/>
              <a:gd name="connsiteY276" fmla="*/ 289 h 10000"/>
              <a:gd name="connsiteX277" fmla="*/ 5803 w 10000"/>
              <a:gd name="connsiteY277" fmla="*/ 248 h 10000"/>
              <a:gd name="connsiteX278" fmla="*/ 5803 w 10000"/>
              <a:gd name="connsiteY278" fmla="*/ 207 h 10000"/>
              <a:gd name="connsiteX279" fmla="*/ 5803 w 10000"/>
              <a:gd name="connsiteY279" fmla="*/ 165 h 10000"/>
              <a:gd name="connsiteX280" fmla="*/ 5803 w 10000"/>
              <a:gd name="connsiteY280" fmla="*/ 124 h 10000"/>
              <a:gd name="connsiteX281" fmla="*/ 5803 w 10000"/>
              <a:gd name="connsiteY281" fmla="*/ 83 h 10000"/>
              <a:gd name="connsiteX282" fmla="*/ 5803 w 10000"/>
              <a:gd name="connsiteY282" fmla="*/ 41 h 10000"/>
              <a:gd name="connsiteX283" fmla="*/ 5803 w 10000"/>
              <a:gd name="connsiteY28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440 w 10000"/>
              <a:gd name="connsiteY187" fmla="*/ 8512 h 10000"/>
              <a:gd name="connsiteX188" fmla="*/ 5233 w 10000"/>
              <a:gd name="connsiteY188" fmla="*/ 7934 h 10000"/>
              <a:gd name="connsiteX189" fmla="*/ 5181 w 10000"/>
              <a:gd name="connsiteY189" fmla="*/ 7851 h 10000"/>
              <a:gd name="connsiteX190" fmla="*/ 5130 w 10000"/>
              <a:gd name="connsiteY190" fmla="*/ 7810 h 10000"/>
              <a:gd name="connsiteX191" fmla="*/ 5078 w 10000"/>
              <a:gd name="connsiteY191" fmla="*/ 7810 h 10000"/>
              <a:gd name="connsiteX192" fmla="*/ 4456 w 10000"/>
              <a:gd name="connsiteY192" fmla="*/ 7727 h 10000"/>
              <a:gd name="connsiteX193" fmla="*/ 4404 w 10000"/>
              <a:gd name="connsiteY193" fmla="*/ 7769 h 10000"/>
              <a:gd name="connsiteX194" fmla="*/ 3886 w 10000"/>
              <a:gd name="connsiteY194" fmla="*/ 7975 h 10000"/>
              <a:gd name="connsiteX195" fmla="*/ 3575 w 10000"/>
              <a:gd name="connsiteY195" fmla="*/ 8264 h 10000"/>
              <a:gd name="connsiteX196" fmla="*/ 3420 w 10000"/>
              <a:gd name="connsiteY196" fmla="*/ 8140 h 10000"/>
              <a:gd name="connsiteX197" fmla="*/ 3368 w 10000"/>
              <a:gd name="connsiteY197" fmla="*/ 8099 h 10000"/>
              <a:gd name="connsiteX198" fmla="*/ 3264 w 10000"/>
              <a:gd name="connsiteY198" fmla="*/ 8058 h 10000"/>
              <a:gd name="connsiteX199" fmla="*/ 3161 w 10000"/>
              <a:gd name="connsiteY199" fmla="*/ 7975 h 10000"/>
              <a:gd name="connsiteX200" fmla="*/ 3161 w 10000"/>
              <a:gd name="connsiteY200" fmla="*/ 7893 h 10000"/>
              <a:gd name="connsiteX201" fmla="*/ 3109 w 10000"/>
              <a:gd name="connsiteY201" fmla="*/ 7851 h 10000"/>
              <a:gd name="connsiteX202" fmla="*/ 3109 w 10000"/>
              <a:gd name="connsiteY202" fmla="*/ 7810 h 10000"/>
              <a:gd name="connsiteX203" fmla="*/ 3057 w 10000"/>
              <a:gd name="connsiteY203" fmla="*/ 7769 h 10000"/>
              <a:gd name="connsiteX204" fmla="*/ 3057 w 10000"/>
              <a:gd name="connsiteY204" fmla="*/ 7727 h 10000"/>
              <a:gd name="connsiteX205" fmla="*/ 3005 w 10000"/>
              <a:gd name="connsiteY205" fmla="*/ 7686 h 10000"/>
              <a:gd name="connsiteX206" fmla="*/ 3005 w 10000"/>
              <a:gd name="connsiteY206" fmla="*/ 7645 h 10000"/>
              <a:gd name="connsiteX207" fmla="*/ 3005 w 10000"/>
              <a:gd name="connsiteY207" fmla="*/ 7562 h 10000"/>
              <a:gd name="connsiteX208" fmla="*/ 2953 w 10000"/>
              <a:gd name="connsiteY208" fmla="*/ 7521 h 10000"/>
              <a:gd name="connsiteX209" fmla="*/ 2953 w 10000"/>
              <a:gd name="connsiteY209" fmla="*/ 7479 h 10000"/>
              <a:gd name="connsiteX210" fmla="*/ 2902 w 10000"/>
              <a:gd name="connsiteY210" fmla="*/ 7438 h 10000"/>
              <a:gd name="connsiteX211" fmla="*/ 2902 w 10000"/>
              <a:gd name="connsiteY211" fmla="*/ 7355 h 10000"/>
              <a:gd name="connsiteX212" fmla="*/ 2902 w 10000"/>
              <a:gd name="connsiteY212" fmla="*/ 7314 h 10000"/>
              <a:gd name="connsiteX213" fmla="*/ 2850 w 10000"/>
              <a:gd name="connsiteY213" fmla="*/ 7314 h 10000"/>
              <a:gd name="connsiteX214" fmla="*/ 2798 w 10000"/>
              <a:gd name="connsiteY214" fmla="*/ 7273 h 10000"/>
              <a:gd name="connsiteX215" fmla="*/ 2746 w 10000"/>
              <a:gd name="connsiteY215" fmla="*/ 7190 h 10000"/>
              <a:gd name="connsiteX216" fmla="*/ 2746 w 10000"/>
              <a:gd name="connsiteY216" fmla="*/ 7149 h 10000"/>
              <a:gd name="connsiteX217" fmla="*/ 2746 w 10000"/>
              <a:gd name="connsiteY217" fmla="*/ 7066 h 10000"/>
              <a:gd name="connsiteX218" fmla="*/ 2694 w 10000"/>
              <a:gd name="connsiteY218" fmla="*/ 7025 h 10000"/>
              <a:gd name="connsiteX219" fmla="*/ 2694 w 10000"/>
              <a:gd name="connsiteY219" fmla="*/ 6983 h 10000"/>
              <a:gd name="connsiteX220" fmla="*/ 2591 w 10000"/>
              <a:gd name="connsiteY220" fmla="*/ 6983 h 10000"/>
              <a:gd name="connsiteX221" fmla="*/ 2332 w 10000"/>
              <a:gd name="connsiteY221" fmla="*/ 6983 h 10000"/>
              <a:gd name="connsiteX222" fmla="*/ 2228 w 10000"/>
              <a:gd name="connsiteY222" fmla="*/ 6983 h 10000"/>
              <a:gd name="connsiteX223" fmla="*/ 1036 w 10000"/>
              <a:gd name="connsiteY223" fmla="*/ 6612 h 10000"/>
              <a:gd name="connsiteX224" fmla="*/ 829 w 10000"/>
              <a:gd name="connsiteY224" fmla="*/ 6488 h 10000"/>
              <a:gd name="connsiteX225" fmla="*/ 829 w 10000"/>
              <a:gd name="connsiteY225" fmla="*/ 6446 h 10000"/>
              <a:gd name="connsiteX226" fmla="*/ 777 w 10000"/>
              <a:gd name="connsiteY226" fmla="*/ 6446 h 10000"/>
              <a:gd name="connsiteX227" fmla="*/ 725 w 10000"/>
              <a:gd name="connsiteY227" fmla="*/ 6446 h 10000"/>
              <a:gd name="connsiteX228" fmla="*/ 674 w 10000"/>
              <a:gd name="connsiteY228" fmla="*/ 6405 h 10000"/>
              <a:gd name="connsiteX229" fmla="*/ 622 w 10000"/>
              <a:gd name="connsiteY229" fmla="*/ 6405 h 10000"/>
              <a:gd name="connsiteX230" fmla="*/ 570 w 10000"/>
              <a:gd name="connsiteY230" fmla="*/ 6405 h 10000"/>
              <a:gd name="connsiteX231" fmla="*/ 570 w 10000"/>
              <a:gd name="connsiteY231" fmla="*/ 6364 h 10000"/>
              <a:gd name="connsiteX232" fmla="*/ 518 w 10000"/>
              <a:gd name="connsiteY232" fmla="*/ 6364 h 10000"/>
              <a:gd name="connsiteX233" fmla="*/ 466 w 10000"/>
              <a:gd name="connsiteY233" fmla="*/ 6364 h 10000"/>
              <a:gd name="connsiteX234" fmla="*/ 466 w 10000"/>
              <a:gd name="connsiteY234" fmla="*/ 6405 h 10000"/>
              <a:gd name="connsiteX235" fmla="*/ 415 w 10000"/>
              <a:gd name="connsiteY235" fmla="*/ 6405 h 10000"/>
              <a:gd name="connsiteX236" fmla="*/ 363 w 10000"/>
              <a:gd name="connsiteY236" fmla="*/ 6405 h 10000"/>
              <a:gd name="connsiteX237" fmla="*/ 311 w 10000"/>
              <a:gd name="connsiteY237" fmla="*/ 6405 h 10000"/>
              <a:gd name="connsiteX238" fmla="*/ 259 w 10000"/>
              <a:gd name="connsiteY238" fmla="*/ 6405 h 10000"/>
              <a:gd name="connsiteX239" fmla="*/ 207 w 10000"/>
              <a:gd name="connsiteY239" fmla="*/ 6405 h 10000"/>
              <a:gd name="connsiteX240" fmla="*/ 155 w 10000"/>
              <a:gd name="connsiteY240" fmla="*/ 6405 h 10000"/>
              <a:gd name="connsiteX241" fmla="*/ 104 w 10000"/>
              <a:gd name="connsiteY241" fmla="*/ 6405 h 10000"/>
              <a:gd name="connsiteX242" fmla="*/ 52 w 10000"/>
              <a:gd name="connsiteY242" fmla="*/ 6405 h 10000"/>
              <a:gd name="connsiteX243" fmla="*/ 0 w 10000"/>
              <a:gd name="connsiteY243" fmla="*/ 6405 h 10000"/>
              <a:gd name="connsiteX244" fmla="*/ 52 w 10000"/>
              <a:gd name="connsiteY244" fmla="*/ 5826 h 10000"/>
              <a:gd name="connsiteX245" fmla="*/ 207 w 10000"/>
              <a:gd name="connsiteY245" fmla="*/ 5909 h 10000"/>
              <a:gd name="connsiteX246" fmla="*/ 415 w 10000"/>
              <a:gd name="connsiteY246" fmla="*/ 5826 h 10000"/>
              <a:gd name="connsiteX247" fmla="*/ 1503 w 10000"/>
              <a:gd name="connsiteY247" fmla="*/ 5826 h 10000"/>
              <a:gd name="connsiteX248" fmla="*/ 1658 w 10000"/>
              <a:gd name="connsiteY248" fmla="*/ 5785 h 10000"/>
              <a:gd name="connsiteX249" fmla="*/ 1710 w 10000"/>
              <a:gd name="connsiteY249" fmla="*/ 5785 h 10000"/>
              <a:gd name="connsiteX250" fmla="*/ 2228 w 10000"/>
              <a:gd name="connsiteY250" fmla="*/ 5248 h 10000"/>
              <a:gd name="connsiteX251" fmla="*/ 2332 w 10000"/>
              <a:gd name="connsiteY251" fmla="*/ 5165 h 10000"/>
              <a:gd name="connsiteX252" fmla="*/ 2798 w 10000"/>
              <a:gd name="connsiteY252" fmla="*/ 4752 h 10000"/>
              <a:gd name="connsiteX253" fmla="*/ 3057 w 10000"/>
              <a:gd name="connsiteY253" fmla="*/ 4504 h 10000"/>
              <a:gd name="connsiteX254" fmla="*/ 3212 w 10000"/>
              <a:gd name="connsiteY254" fmla="*/ 4380 h 10000"/>
              <a:gd name="connsiteX255" fmla="*/ 3627 w 10000"/>
              <a:gd name="connsiteY255" fmla="*/ 3760 h 10000"/>
              <a:gd name="connsiteX256" fmla="*/ 4145 w 10000"/>
              <a:gd name="connsiteY256" fmla="*/ 3512 h 10000"/>
              <a:gd name="connsiteX257" fmla="*/ 5026 w 10000"/>
              <a:gd name="connsiteY257" fmla="*/ 2810 h 10000"/>
              <a:gd name="connsiteX258" fmla="*/ 4870 w 10000"/>
              <a:gd name="connsiteY258" fmla="*/ 2562 h 10000"/>
              <a:gd name="connsiteX259" fmla="*/ 4819 w 10000"/>
              <a:gd name="connsiteY259" fmla="*/ 2397 h 10000"/>
              <a:gd name="connsiteX260" fmla="*/ 4819 w 10000"/>
              <a:gd name="connsiteY260" fmla="*/ 1240 h 10000"/>
              <a:gd name="connsiteX261" fmla="*/ 4145 w 10000"/>
              <a:gd name="connsiteY261" fmla="*/ 744 h 10000"/>
              <a:gd name="connsiteX262" fmla="*/ 4974 w 10000"/>
              <a:gd name="connsiteY262" fmla="*/ 744 h 10000"/>
              <a:gd name="connsiteX263" fmla="*/ 5803 w 10000"/>
              <a:gd name="connsiteY263" fmla="*/ 744 h 10000"/>
              <a:gd name="connsiteX264" fmla="*/ 5803 w 10000"/>
              <a:gd name="connsiteY264" fmla="*/ 702 h 10000"/>
              <a:gd name="connsiteX265" fmla="*/ 5803 w 10000"/>
              <a:gd name="connsiteY265" fmla="*/ 661 h 10000"/>
              <a:gd name="connsiteX266" fmla="*/ 5803 w 10000"/>
              <a:gd name="connsiteY266" fmla="*/ 620 h 10000"/>
              <a:gd name="connsiteX267" fmla="*/ 5803 w 10000"/>
              <a:gd name="connsiteY267" fmla="*/ 579 h 10000"/>
              <a:gd name="connsiteX268" fmla="*/ 5855 w 10000"/>
              <a:gd name="connsiteY268" fmla="*/ 537 h 10000"/>
              <a:gd name="connsiteX269" fmla="*/ 5855 w 10000"/>
              <a:gd name="connsiteY269" fmla="*/ 496 h 10000"/>
              <a:gd name="connsiteX270" fmla="*/ 5855 w 10000"/>
              <a:gd name="connsiteY270" fmla="*/ 455 h 10000"/>
              <a:gd name="connsiteX271" fmla="*/ 5855 w 10000"/>
              <a:gd name="connsiteY271" fmla="*/ 413 h 10000"/>
              <a:gd name="connsiteX272" fmla="*/ 5855 w 10000"/>
              <a:gd name="connsiteY272" fmla="*/ 372 h 10000"/>
              <a:gd name="connsiteX273" fmla="*/ 5855 w 10000"/>
              <a:gd name="connsiteY273" fmla="*/ 331 h 10000"/>
              <a:gd name="connsiteX274" fmla="*/ 5803 w 10000"/>
              <a:gd name="connsiteY274" fmla="*/ 331 h 10000"/>
              <a:gd name="connsiteX275" fmla="*/ 5803 w 10000"/>
              <a:gd name="connsiteY275" fmla="*/ 289 h 10000"/>
              <a:gd name="connsiteX276" fmla="*/ 5803 w 10000"/>
              <a:gd name="connsiteY276" fmla="*/ 248 h 10000"/>
              <a:gd name="connsiteX277" fmla="*/ 5803 w 10000"/>
              <a:gd name="connsiteY277" fmla="*/ 207 h 10000"/>
              <a:gd name="connsiteX278" fmla="*/ 5803 w 10000"/>
              <a:gd name="connsiteY278" fmla="*/ 165 h 10000"/>
              <a:gd name="connsiteX279" fmla="*/ 5803 w 10000"/>
              <a:gd name="connsiteY279" fmla="*/ 124 h 10000"/>
              <a:gd name="connsiteX280" fmla="*/ 5803 w 10000"/>
              <a:gd name="connsiteY280" fmla="*/ 83 h 10000"/>
              <a:gd name="connsiteX281" fmla="*/ 5803 w 10000"/>
              <a:gd name="connsiteY281" fmla="*/ 41 h 10000"/>
              <a:gd name="connsiteX282" fmla="*/ 5803 w 10000"/>
              <a:gd name="connsiteY28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440 w 10000"/>
              <a:gd name="connsiteY187" fmla="*/ 8512 h 10000"/>
              <a:gd name="connsiteX188" fmla="*/ 5233 w 10000"/>
              <a:gd name="connsiteY188" fmla="*/ 7934 h 10000"/>
              <a:gd name="connsiteX189" fmla="*/ 5181 w 10000"/>
              <a:gd name="connsiteY189" fmla="*/ 7851 h 10000"/>
              <a:gd name="connsiteX190" fmla="*/ 5130 w 10000"/>
              <a:gd name="connsiteY190" fmla="*/ 7810 h 10000"/>
              <a:gd name="connsiteX191" fmla="*/ 4456 w 10000"/>
              <a:gd name="connsiteY191" fmla="*/ 7727 h 10000"/>
              <a:gd name="connsiteX192" fmla="*/ 4404 w 10000"/>
              <a:gd name="connsiteY192" fmla="*/ 7769 h 10000"/>
              <a:gd name="connsiteX193" fmla="*/ 3886 w 10000"/>
              <a:gd name="connsiteY193" fmla="*/ 7975 h 10000"/>
              <a:gd name="connsiteX194" fmla="*/ 3575 w 10000"/>
              <a:gd name="connsiteY194" fmla="*/ 8264 h 10000"/>
              <a:gd name="connsiteX195" fmla="*/ 3420 w 10000"/>
              <a:gd name="connsiteY195" fmla="*/ 8140 h 10000"/>
              <a:gd name="connsiteX196" fmla="*/ 3368 w 10000"/>
              <a:gd name="connsiteY196" fmla="*/ 8099 h 10000"/>
              <a:gd name="connsiteX197" fmla="*/ 3264 w 10000"/>
              <a:gd name="connsiteY197" fmla="*/ 8058 h 10000"/>
              <a:gd name="connsiteX198" fmla="*/ 3161 w 10000"/>
              <a:gd name="connsiteY198" fmla="*/ 7975 h 10000"/>
              <a:gd name="connsiteX199" fmla="*/ 3161 w 10000"/>
              <a:gd name="connsiteY199" fmla="*/ 7893 h 10000"/>
              <a:gd name="connsiteX200" fmla="*/ 3109 w 10000"/>
              <a:gd name="connsiteY200" fmla="*/ 7851 h 10000"/>
              <a:gd name="connsiteX201" fmla="*/ 3109 w 10000"/>
              <a:gd name="connsiteY201" fmla="*/ 7810 h 10000"/>
              <a:gd name="connsiteX202" fmla="*/ 3057 w 10000"/>
              <a:gd name="connsiteY202" fmla="*/ 7769 h 10000"/>
              <a:gd name="connsiteX203" fmla="*/ 3057 w 10000"/>
              <a:gd name="connsiteY203" fmla="*/ 7727 h 10000"/>
              <a:gd name="connsiteX204" fmla="*/ 3005 w 10000"/>
              <a:gd name="connsiteY204" fmla="*/ 7686 h 10000"/>
              <a:gd name="connsiteX205" fmla="*/ 3005 w 10000"/>
              <a:gd name="connsiteY205" fmla="*/ 7645 h 10000"/>
              <a:gd name="connsiteX206" fmla="*/ 3005 w 10000"/>
              <a:gd name="connsiteY206" fmla="*/ 7562 h 10000"/>
              <a:gd name="connsiteX207" fmla="*/ 2953 w 10000"/>
              <a:gd name="connsiteY207" fmla="*/ 7521 h 10000"/>
              <a:gd name="connsiteX208" fmla="*/ 2953 w 10000"/>
              <a:gd name="connsiteY208" fmla="*/ 7479 h 10000"/>
              <a:gd name="connsiteX209" fmla="*/ 2902 w 10000"/>
              <a:gd name="connsiteY209" fmla="*/ 7438 h 10000"/>
              <a:gd name="connsiteX210" fmla="*/ 2902 w 10000"/>
              <a:gd name="connsiteY210" fmla="*/ 7355 h 10000"/>
              <a:gd name="connsiteX211" fmla="*/ 2902 w 10000"/>
              <a:gd name="connsiteY211" fmla="*/ 7314 h 10000"/>
              <a:gd name="connsiteX212" fmla="*/ 2850 w 10000"/>
              <a:gd name="connsiteY212" fmla="*/ 7314 h 10000"/>
              <a:gd name="connsiteX213" fmla="*/ 2798 w 10000"/>
              <a:gd name="connsiteY213" fmla="*/ 7273 h 10000"/>
              <a:gd name="connsiteX214" fmla="*/ 2746 w 10000"/>
              <a:gd name="connsiteY214" fmla="*/ 7190 h 10000"/>
              <a:gd name="connsiteX215" fmla="*/ 2746 w 10000"/>
              <a:gd name="connsiteY215" fmla="*/ 7149 h 10000"/>
              <a:gd name="connsiteX216" fmla="*/ 2746 w 10000"/>
              <a:gd name="connsiteY216" fmla="*/ 7066 h 10000"/>
              <a:gd name="connsiteX217" fmla="*/ 2694 w 10000"/>
              <a:gd name="connsiteY217" fmla="*/ 7025 h 10000"/>
              <a:gd name="connsiteX218" fmla="*/ 2694 w 10000"/>
              <a:gd name="connsiteY218" fmla="*/ 6983 h 10000"/>
              <a:gd name="connsiteX219" fmla="*/ 2591 w 10000"/>
              <a:gd name="connsiteY219" fmla="*/ 6983 h 10000"/>
              <a:gd name="connsiteX220" fmla="*/ 2332 w 10000"/>
              <a:gd name="connsiteY220" fmla="*/ 6983 h 10000"/>
              <a:gd name="connsiteX221" fmla="*/ 2228 w 10000"/>
              <a:gd name="connsiteY221" fmla="*/ 6983 h 10000"/>
              <a:gd name="connsiteX222" fmla="*/ 1036 w 10000"/>
              <a:gd name="connsiteY222" fmla="*/ 6612 h 10000"/>
              <a:gd name="connsiteX223" fmla="*/ 829 w 10000"/>
              <a:gd name="connsiteY223" fmla="*/ 6488 h 10000"/>
              <a:gd name="connsiteX224" fmla="*/ 829 w 10000"/>
              <a:gd name="connsiteY224" fmla="*/ 6446 h 10000"/>
              <a:gd name="connsiteX225" fmla="*/ 777 w 10000"/>
              <a:gd name="connsiteY225" fmla="*/ 6446 h 10000"/>
              <a:gd name="connsiteX226" fmla="*/ 725 w 10000"/>
              <a:gd name="connsiteY226" fmla="*/ 6446 h 10000"/>
              <a:gd name="connsiteX227" fmla="*/ 674 w 10000"/>
              <a:gd name="connsiteY227" fmla="*/ 6405 h 10000"/>
              <a:gd name="connsiteX228" fmla="*/ 622 w 10000"/>
              <a:gd name="connsiteY228" fmla="*/ 6405 h 10000"/>
              <a:gd name="connsiteX229" fmla="*/ 570 w 10000"/>
              <a:gd name="connsiteY229" fmla="*/ 6405 h 10000"/>
              <a:gd name="connsiteX230" fmla="*/ 570 w 10000"/>
              <a:gd name="connsiteY230" fmla="*/ 6364 h 10000"/>
              <a:gd name="connsiteX231" fmla="*/ 518 w 10000"/>
              <a:gd name="connsiteY231" fmla="*/ 6364 h 10000"/>
              <a:gd name="connsiteX232" fmla="*/ 466 w 10000"/>
              <a:gd name="connsiteY232" fmla="*/ 6364 h 10000"/>
              <a:gd name="connsiteX233" fmla="*/ 466 w 10000"/>
              <a:gd name="connsiteY233" fmla="*/ 6405 h 10000"/>
              <a:gd name="connsiteX234" fmla="*/ 415 w 10000"/>
              <a:gd name="connsiteY234" fmla="*/ 6405 h 10000"/>
              <a:gd name="connsiteX235" fmla="*/ 363 w 10000"/>
              <a:gd name="connsiteY235" fmla="*/ 6405 h 10000"/>
              <a:gd name="connsiteX236" fmla="*/ 311 w 10000"/>
              <a:gd name="connsiteY236" fmla="*/ 6405 h 10000"/>
              <a:gd name="connsiteX237" fmla="*/ 259 w 10000"/>
              <a:gd name="connsiteY237" fmla="*/ 6405 h 10000"/>
              <a:gd name="connsiteX238" fmla="*/ 207 w 10000"/>
              <a:gd name="connsiteY238" fmla="*/ 6405 h 10000"/>
              <a:gd name="connsiteX239" fmla="*/ 155 w 10000"/>
              <a:gd name="connsiteY239" fmla="*/ 6405 h 10000"/>
              <a:gd name="connsiteX240" fmla="*/ 104 w 10000"/>
              <a:gd name="connsiteY240" fmla="*/ 6405 h 10000"/>
              <a:gd name="connsiteX241" fmla="*/ 52 w 10000"/>
              <a:gd name="connsiteY241" fmla="*/ 6405 h 10000"/>
              <a:gd name="connsiteX242" fmla="*/ 0 w 10000"/>
              <a:gd name="connsiteY242" fmla="*/ 6405 h 10000"/>
              <a:gd name="connsiteX243" fmla="*/ 52 w 10000"/>
              <a:gd name="connsiteY243" fmla="*/ 5826 h 10000"/>
              <a:gd name="connsiteX244" fmla="*/ 207 w 10000"/>
              <a:gd name="connsiteY244" fmla="*/ 5909 h 10000"/>
              <a:gd name="connsiteX245" fmla="*/ 415 w 10000"/>
              <a:gd name="connsiteY245" fmla="*/ 5826 h 10000"/>
              <a:gd name="connsiteX246" fmla="*/ 1503 w 10000"/>
              <a:gd name="connsiteY246" fmla="*/ 5826 h 10000"/>
              <a:gd name="connsiteX247" fmla="*/ 1658 w 10000"/>
              <a:gd name="connsiteY247" fmla="*/ 5785 h 10000"/>
              <a:gd name="connsiteX248" fmla="*/ 1710 w 10000"/>
              <a:gd name="connsiteY248" fmla="*/ 5785 h 10000"/>
              <a:gd name="connsiteX249" fmla="*/ 2228 w 10000"/>
              <a:gd name="connsiteY249" fmla="*/ 5248 h 10000"/>
              <a:gd name="connsiteX250" fmla="*/ 2332 w 10000"/>
              <a:gd name="connsiteY250" fmla="*/ 5165 h 10000"/>
              <a:gd name="connsiteX251" fmla="*/ 2798 w 10000"/>
              <a:gd name="connsiteY251" fmla="*/ 4752 h 10000"/>
              <a:gd name="connsiteX252" fmla="*/ 3057 w 10000"/>
              <a:gd name="connsiteY252" fmla="*/ 4504 h 10000"/>
              <a:gd name="connsiteX253" fmla="*/ 3212 w 10000"/>
              <a:gd name="connsiteY253" fmla="*/ 4380 h 10000"/>
              <a:gd name="connsiteX254" fmla="*/ 3627 w 10000"/>
              <a:gd name="connsiteY254" fmla="*/ 3760 h 10000"/>
              <a:gd name="connsiteX255" fmla="*/ 4145 w 10000"/>
              <a:gd name="connsiteY255" fmla="*/ 3512 h 10000"/>
              <a:gd name="connsiteX256" fmla="*/ 5026 w 10000"/>
              <a:gd name="connsiteY256" fmla="*/ 2810 h 10000"/>
              <a:gd name="connsiteX257" fmla="*/ 4870 w 10000"/>
              <a:gd name="connsiteY257" fmla="*/ 2562 h 10000"/>
              <a:gd name="connsiteX258" fmla="*/ 4819 w 10000"/>
              <a:gd name="connsiteY258" fmla="*/ 2397 h 10000"/>
              <a:gd name="connsiteX259" fmla="*/ 4819 w 10000"/>
              <a:gd name="connsiteY259" fmla="*/ 1240 h 10000"/>
              <a:gd name="connsiteX260" fmla="*/ 4145 w 10000"/>
              <a:gd name="connsiteY260" fmla="*/ 744 h 10000"/>
              <a:gd name="connsiteX261" fmla="*/ 4974 w 10000"/>
              <a:gd name="connsiteY261" fmla="*/ 744 h 10000"/>
              <a:gd name="connsiteX262" fmla="*/ 5803 w 10000"/>
              <a:gd name="connsiteY262" fmla="*/ 744 h 10000"/>
              <a:gd name="connsiteX263" fmla="*/ 5803 w 10000"/>
              <a:gd name="connsiteY263" fmla="*/ 702 h 10000"/>
              <a:gd name="connsiteX264" fmla="*/ 5803 w 10000"/>
              <a:gd name="connsiteY264" fmla="*/ 661 h 10000"/>
              <a:gd name="connsiteX265" fmla="*/ 5803 w 10000"/>
              <a:gd name="connsiteY265" fmla="*/ 620 h 10000"/>
              <a:gd name="connsiteX266" fmla="*/ 5803 w 10000"/>
              <a:gd name="connsiteY266" fmla="*/ 579 h 10000"/>
              <a:gd name="connsiteX267" fmla="*/ 5855 w 10000"/>
              <a:gd name="connsiteY267" fmla="*/ 537 h 10000"/>
              <a:gd name="connsiteX268" fmla="*/ 5855 w 10000"/>
              <a:gd name="connsiteY268" fmla="*/ 496 h 10000"/>
              <a:gd name="connsiteX269" fmla="*/ 5855 w 10000"/>
              <a:gd name="connsiteY269" fmla="*/ 455 h 10000"/>
              <a:gd name="connsiteX270" fmla="*/ 5855 w 10000"/>
              <a:gd name="connsiteY270" fmla="*/ 413 h 10000"/>
              <a:gd name="connsiteX271" fmla="*/ 5855 w 10000"/>
              <a:gd name="connsiteY271" fmla="*/ 372 h 10000"/>
              <a:gd name="connsiteX272" fmla="*/ 5855 w 10000"/>
              <a:gd name="connsiteY272" fmla="*/ 331 h 10000"/>
              <a:gd name="connsiteX273" fmla="*/ 5803 w 10000"/>
              <a:gd name="connsiteY273" fmla="*/ 331 h 10000"/>
              <a:gd name="connsiteX274" fmla="*/ 5803 w 10000"/>
              <a:gd name="connsiteY274" fmla="*/ 289 h 10000"/>
              <a:gd name="connsiteX275" fmla="*/ 5803 w 10000"/>
              <a:gd name="connsiteY275" fmla="*/ 248 h 10000"/>
              <a:gd name="connsiteX276" fmla="*/ 5803 w 10000"/>
              <a:gd name="connsiteY276" fmla="*/ 207 h 10000"/>
              <a:gd name="connsiteX277" fmla="*/ 5803 w 10000"/>
              <a:gd name="connsiteY277" fmla="*/ 165 h 10000"/>
              <a:gd name="connsiteX278" fmla="*/ 5803 w 10000"/>
              <a:gd name="connsiteY278" fmla="*/ 124 h 10000"/>
              <a:gd name="connsiteX279" fmla="*/ 5803 w 10000"/>
              <a:gd name="connsiteY279" fmla="*/ 83 h 10000"/>
              <a:gd name="connsiteX280" fmla="*/ 5803 w 10000"/>
              <a:gd name="connsiteY280" fmla="*/ 41 h 10000"/>
              <a:gd name="connsiteX281" fmla="*/ 5803 w 10000"/>
              <a:gd name="connsiteY28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440 w 10000"/>
              <a:gd name="connsiteY187" fmla="*/ 8512 h 10000"/>
              <a:gd name="connsiteX188" fmla="*/ 5233 w 10000"/>
              <a:gd name="connsiteY188" fmla="*/ 7934 h 10000"/>
              <a:gd name="connsiteX189" fmla="*/ 5181 w 10000"/>
              <a:gd name="connsiteY189" fmla="*/ 7851 h 10000"/>
              <a:gd name="connsiteX190" fmla="*/ 4456 w 10000"/>
              <a:gd name="connsiteY190" fmla="*/ 7727 h 10000"/>
              <a:gd name="connsiteX191" fmla="*/ 4404 w 10000"/>
              <a:gd name="connsiteY191" fmla="*/ 7769 h 10000"/>
              <a:gd name="connsiteX192" fmla="*/ 3886 w 10000"/>
              <a:gd name="connsiteY192" fmla="*/ 7975 h 10000"/>
              <a:gd name="connsiteX193" fmla="*/ 3575 w 10000"/>
              <a:gd name="connsiteY193" fmla="*/ 8264 h 10000"/>
              <a:gd name="connsiteX194" fmla="*/ 3420 w 10000"/>
              <a:gd name="connsiteY194" fmla="*/ 8140 h 10000"/>
              <a:gd name="connsiteX195" fmla="*/ 3368 w 10000"/>
              <a:gd name="connsiteY195" fmla="*/ 8099 h 10000"/>
              <a:gd name="connsiteX196" fmla="*/ 3264 w 10000"/>
              <a:gd name="connsiteY196" fmla="*/ 8058 h 10000"/>
              <a:gd name="connsiteX197" fmla="*/ 3161 w 10000"/>
              <a:gd name="connsiteY197" fmla="*/ 7975 h 10000"/>
              <a:gd name="connsiteX198" fmla="*/ 3161 w 10000"/>
              <a:gd name="connsiteY198" fmla="*/ 7893 h 10000"/>
              <a:gd name="connsiteX199" fmla="*/ 3109 w 10000"/>
              <a:gd name="connsiteY199" fmla="*/ 7851 h 10000"/>
              <a:gd name="connsiteX200" fmla="*/ 3109 w 10000"/>
              <a:gd name="connsiteY200" fmla="*/ 7810 h 10000"/>
              <a:gd name="connsiteX201" fmla="*/ 3057 w 10000"/>
              <a:gd name="connsiteY201" fmla="*/ 7769 h 10000"/>
              <a:gd name="connsiteX202" fmla="*/ 3057 w 10000"/>
              <a:gd name="connsiteY202" fmla="*/ 7727 h 10000"/>
              <a:gd name="connsiteX203" fmla="*/ 3005 w 10000"/>
              <a:gd name="connsiteY203" fmla="*/ 7686 h 10000"/>
              <a:gd name="connsiteX204" fmla="*/ 3005 w 10000"/>
              <a:gd name="connsiteY204" fmla="*/ 7645 h 10000"/>
              <a:gd name="connsiteX205" fmla="*/ 3005 w 10000"/>
              <a:gd name="connsiteY205" fmla="*/ 7562 h 10000"/>
              <a:gd name="connsiteX206" fmla="*/ 2953 w 10000"/>
              <a:gd name="connsiteY206" fmla="*/ 7521 h 10000"/>
              <a:gd name="connsiteX207" fmla="*/ 2953 w 10000"/>
              <a:gd name="connsiteY207" fmla="*/ 7479 h 10000"/>
              <a:gd name="connsiteX208" fmla="*/ 2902 w 10000"/>
              <a:gd name="connsiteY208" fmla="*/ 7438 h 10000"/>
              <a:gd name="connsiteX209" fmla="*/ 2902 w 10000"/>
              <a:gd name="connsiteY209" fmla="*/ 7355 h 10000"/>
              <a:gd name="connsiteX210" fmla="*/ 2902 w 10000"/>
              <a:gd name="connsiteY210" fmla="*/ 7314 h 10000"/>
              <a:gd name="connsiteX211" fmla="*/ 2850 w 10000"/>
              <a:gd name="connsiteY211" fmla="*/ 7314 h 10000"/>
              <a:gd name="connsiteX212" fmla="*/ 2798 w 10000"/>
              <a:gd name="connsiteY212" fmla="*/ 7273 h 10000"/>
              <a:gd name="connsiteX213" fmla="*/ 2746 w 10000"/>
              <a:gd name="connsiteY213" fmla="*/ 7190 h 10000"/>
              <a:gd name="connsiteX214" fmla="*/ 2746 w 10000"/>
              <a:gd name="connsiteY214" fmla="*/ 7149 h 10000"/>
              <a:gd name="connsiteX215" fmla="*/ 2746 w 10000"/>
              <a:gd name="connsiteY215" fmla="*/ 7066 h 10000"/>
              <a:gd name="connsiteX216" fmla="*/ 2694 w 10000"/>
              <a:gd name="connsiteY216" fmla="*/ 7025 h 10000"/>
              <a:gd name="connsiteX217" fmla="*/ 2694 w 10000"/>
              <a:gd name="connsiteY217" fmla="*/ 6983 h 10000"/>
              <a:gd name="connsiteX218" fmla="*/ 2591 w 10000"/>
              <a:gd name="connsiteY218" fmla="*/ 6983 h 10000"/>
              <a:gd name="connsiteX219" fmla="*/ 2332 w 10000"/>
              <a:gd name="connsiteY219" fmla="*/ 6983 h 10000"/>
              <a:gd name="connsiteX220" fmla="*/ 2228 w 10000"/>
              <a:gd name="connsiteY220" fmla="*/ 6983 h 10000"/>
              <a:gd name="connsiteX221" fmla="*/ 1036 w 10000"/>
              <a:gd name="connsiteY221" fmla="*/ 6612 h 10000"/>
              <a:gd name="connsiteX222" fmla="*/ 829 w 10000"/>
              <a:gd name="connsiteY222" fmla="*/ 6488 h 10000"/>
              <a:gd name="connsiteX223" fmla="*/ 829 w 10000"/>
              <a:gd name="connsiteY223" fmla="*/ 6446 h 10000"/>
              <a:gd name="connsiteX224" fmla="*/ 777 w 10000"/>
              <a:gd name="connsiteY224" fmla="*/ 6446 h 10000"/>
              <a:gd name="connsiteX225" fmla="*/ 725 w 10000"/>
              <a:gd name="connsiteY225" fmla="*/ 6446 h 10000"/>
              <a:gd name="connsiteX226" fmla="*/ 674 w 10000"/>
              <a:gd name="connsiteY226" fmla="*/ 6405 h 10000"/>
              <a:gd name="connsiteX227" fmla="*/ 622 w 10000"/>
              <a:gd name="connsiteY227" fmla="*/ 6405 h 10000"/>
              <a:gd name="connsiteX228" fmla="*/ 570 w 10000"/>
              <a:gd name="connsiteY228" fmla="*/ 6405 h 10000"/>
              <a:gd name="connsiteX229" fmla="*/ 570 w 10000"/>
              <a:gd name="connsiteY229" fmla="*/ 6364 h 10000"/>
              <a:gd name="connsiteX230" fmla="*/ 518 w 10000"/>
              <a:gd name="connsiteY230" fmla="*/ 6364 h 10000"/>
              <a:gd name="connsiteX231" fmla="*/ 466 w 10000"/>
              <a:gd name="connsiteY231" fmla="*/ 6364 h 10000"/>
              <a:gd name="connsiteX232" fmla="*/ 466 w 10000"/>
              <a:gd name="connsiteY232" fmla="*/ 6405 h 10000"/>
              <a:gd name="connsiteX233" fmla="*/ 415 w 10000"/>
              <a:gd name="connsiteY233" fmla="*/ 6405 h 10000"/>
              <a:gd name="connsiteX234" fmla="*/ 363 w 10000"/>
              <a:gd name="connsiteY234" fmla="*/ 6405 h 10000"/>
              <a:gd name="connsiteX235" fmla="*/ 311 w 10000"/>
              <a:gd name="connsiteY235" fmla="*/ 6405 h 10000"/>
              <a:gd name="connsiteX236" fmla="*/ 259 w 10000"/>
              <a:gd name="connsiteY236" fmla="*/ 6405 h 10000"/>
              <a:gd name="connsiteX237" fmla="*/ 207 w 10000"/>
              <a:gd name="connsiteY237" fmla="*/ 6405 h 10000"/>
              <a:gd name="connsiteX238" fmla="*/ 155 w 10000"/>
              <a:gd name="connsiteY238" fmla="*/ 6405 h 10000"/>
              <a:gd name="connsiteX239" fmla="*/ 104 w 10000"/>
              <a:gd name="connsiteY239" fmla="*/ 6405 h 10000"/>
              <a:gd name="connsiteX240" fmla="*/ 52 w 10000"/>
              <a:gd name="connsiteY240" fmla="*/ 6405 h 10000"/>
              <a:gd name="connsiteX241" fmla="*/ 0 w 10000"/>
              <a:gd name="connsiteY241" fmla="*/ 6405 h 10000"/>
              <a:gd name="connsiteX242" fmla="*/ 52 w 10000"/>
              <a:gd name="connsiteY242" fmla="*/ 5826 h 10000"/>
              <a:gd name="connsiteX243" fmla="*/ 207 w 10000"/>
              <a:gd name="connsiteY243" fmla="*/ 5909 h 10000"/>
              <a:gd name="connsiteX244" fmla="*/ 415 w 10000"/>
              <a:gd name="connsiteY244" fmla="*/ 5826 h 10000"/>
              <a:gd name="connsiteX245" fmla="*/ 1503 w 10000"/>
              <a:gd name="connsiteY245" fmla="*/ 5826 h 10000"/>
              <a:gd name="connsiteX246" fmla="*/ 1658 w 10000"/>
              <a:gd name="connsiteY246" fmla="*/ 5785 h 10000"/>
              <a:gd name="connsiteX247" fmla="*/ 1710 w 10000"/>
              <a:gd name="connsiteY247" fmla="*/ 5785 h 10000"/>
              <a:gd name="connsiteX248" fmla="*/ 2228 w 10000"/>
              <a:gd name="connsiteY248" fmla="*/ 5248 h 10000"/>
              <a:gd name="connsiteX249" fmla="*/ 2332 w 10000"/>
              <a:gd name="connsiteY249" fmla="*/ 5165 h 10000"/>
              <a:gd name="connsiteX250" fmla="*/ 2798 w 10000"/>
              <a:gd name="connsiteY250" fmla="*/ 4752 h 10000"/>
              <a:gd name="connsiteX251" fmla="*/ 3057 w 10000"/>
              <a:gd name="connsiteY251" fmla="*/ 4504 h 10000"/>
              <a:gd name="connsiteX252" fmla="*/ 3212 w 10000"/>
              <a:gd name="connsiteY252" fmla="*/ 4380 h 10000"/>
              <a:gd name="connsiteX253" fmla="*/ 3627 w 10000"/>
              <a:gd name="connsiteY253" fmla="*/ 3760 h 10000"/>
              <a:gd name="connsiteX254" fmla="*/ 4145 w 10000"/>
              <a:gd name="connsiteY254" fmla="*/ 3512 h 10000"/>
              <a:gd name="connsiteX255" fmla="*/ 5026 w 10000"/>
              <a:gd name="connsiteY255" fmla="*/ 2810 h 10000"/>
              <a:gd name="connsiteX256" fmla="*/ 4870 w 10000"/>
              <a:gd name="connsiteY256" fmla="*/ 2562 h 10000"/>
              <a:gd name="connsiteX257" fmla="*/ 4819 w 10000"/>
              <a:gd name="connsiteY257" fmla="*/ 2397 h 10000"/>
              <a:gd name="connsiteX258" fmla="*/ 4819 w 10000"/>
              <a:gd name="connsiteY258" fmla="*/ 1240 h 10000"/>
              <a:gd name="connsiteX259" fmla="*/ 4145 w 10000"/>
              <a:gd name="connsiteY259" fmla="*/ 744 h 10000"/>
              <a:gd name="connsiteX260" fmla="*/ 4974 w 10000"/>
              <a:gd name="connsiteY260" fmla="*/ 744 h 10000"/>
              <a:gd name="connsiteX261" fmla="*/ 5803 w 10000"/>
              <a:gd name="connsiteY261" fmla="*/ 744 h 10000"/>
              <a:gd name="connsiteX262" fmla="*/ 5803 w 10000"/>
              <a:gd name="connsiteY262" fmla="*/ 702 h 10000"/>
              <a:gd name="connsiteX263" fmla="*/ 5803 w 10000"/>
              <a:gd name="connsiteY263" fmla="*/ 661 h 10000"/>
              <a:gd name="connsiteX264" fmla="*/ 5803 w 10000"/>
              <a:gd name="connsiteY264" fmla="*/ 620 h 10000"/>
              <a:gd name="connsiteX265" fmla="*/ 5803 w 10000"/>
              <a:gd name="connsiteY265" fmla="*/ 579 h 10000"/>
              <a:gd name="connsiteX266" fmla="*/ 5855 w 10000"/>
              <a:gd name="connsiteY266" fmla="*/ 537 h 10000"/>
              <a:gd name="connsiteX267" fmla="*/ 5855 w 10000"/>
              <a:gd name="connsiteY267" fmla="*/ 496 h 10000"/>
              <a:gd name="connsiteX268" fmla="*/ 5855 w 10000"/>
              <a:gd name="connsiteY268" fmla="*/ 455 h 10000"/>
              <a:gd name="connsiteX269" fmla="*/ 5855 w 10000"/>
              <a:gd name="connsiteY269" fmla="*/ 413 h 10000"/>
              <a:gd name="connsiteX270" fmla="*/ 5855 w 10000"/>
              <a:gd name="connsiteY270" fmla="*/ 372 h 10000"/>
              <a:gd name="connsiteX271" fmla="*/ 5855 w 10000"/>
              <a:gd name="connsiteY271" fmla="*/ 331 h 10000"/>
              <a:gd name="connsiteX272" fmla="*/ 5803 w 10000"/>
              <a:gd name="connsiteY272" fmla="*/ 331 h 10000"/>
              <a:gd name="connsiteX273" fmla="*/ 5803 w 10000"/>
              <a:gd name="connsiteY273" fmla="*/ 289 h 10000"/>
              <a:gd name="connsiteX274" fmla="*/ 5803 w 10000"/>
              <a:gd name="connsiteY274" fmla="*/ 248 h 10000"/>
              <a:gd name="connsiteX275" fmla="*/ 5803 w 10000"/>
              <a:gd name="connsiteY275" fmla="*/ 207 h 10000"/>
              <a:gd name="connsiteX276" fmla="*/ 5803 w 10000"/>
              <a:gd name="connsiteY276" fmla="*/ 165 h 10000"/>
              <a:gd name="connsiteX277" fmla="*/ 5803 w 10000"/>
              <a:gd name="connsiteY277" fmla="*/ 124 h 10000"/>
              <a:gd name="connsiteX278" fmla="*/ 5803 w 10000"/>
              <a:gd name="connsiteY278" fmla="*/ 83 h 10000"/>
              <a:gd name="connsiteX279" fmla="*/ 5803 w 10000"/>
              <a:gd name="connsiteY279" fmla="*/ 41 h 10000"/>
              <a:gd name="connsiteX280" fmla="*/ 5803 w 10000"/>
              <a:gd name="connsiteY28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544 w 10000"/>
              <a:gd name="connsiteY186" fmla="*/ 8926 h 10000"/>
              <a:gd name="connsiteX187" fmla="*/ 5233 w 10000"/>
              <a:gd name="connsiteY187" fmla="*/ 7934 h 10000"/>
              <a:gd name="connsiteX188" fmla="*/ 5181 w 10000"/>
              <a:gd name="connsiteY188" fmla="*/ 7851 h 10000"/>
              <a:gd name="connsiteX189" fmla="*/ 4456 w 10000"/>
              <a:gd name="connsiteY189" fmla="*/ 7727 h 10000"/>
              <a:gd name="connsiteX190" fmla="*/ 4404 w 10000"/>
              <a:gd name="connsiteY190" fmla="*/ 7769 h 10000"/>
              <a:gd name="connsiteX191" fmla="*/ 3886 w 10000"/>
              <a:gd name="connsiteY191" fmla="*/ 7975 h 10000"/>
              <a:gd name="connsiteX192" fmla="*/ 3575 w 10000"/>
              <a:gd name="connsiteY192" fmla="*/ 8264 h 10000"/>
              <a:gd name="connsiteX193" fmla="*/ 3420 w 10000"/>
              <a:gd name="connsiteY193" fmla="*/ 8140 h 10000"/>
              <a:gd name="connsiteX194" fmla="*/ 3368 w 10000"/>
              <a:gd name="connsiteY194" fmla="*/ 8099 h 10000"/>
              <a:gd name="connsiteX195" fmla="*/ 3264 w 10000"/>
              <a:gd name="connsiteY195" fmla="*/ 8058 h 10000"/>
              <a:gd name="connsiteX196" fmla="*/ 3161 w 10000"/>
              <a:gd name="connsiteY196" fmla="*/ 7975 h 10000"/>
              <a:gd name="connsiteX197" fmla="*/ 3161 w 10000"/>
              <a:gd name="connsiteY197" fmla="*/ 7893 h 10000"/>
              <a:gd name="connsiteX198" fmla="*/ 3109 w 10000"/>
              <a:gd name="connsiteY198" fmla="*/ 7851 h 10000"/>
              <a:gd name="connsiteX199" fmla="*/ 3109 w 10000"/>
              <a:gd name="connsiteY199" fmla="*/ 7810 h 10000"/>
              <a:gd name="connsiteX200" fmla="*/ 3057 w 10000"/>
              <a:gd name="connsiteY200" fmla="*/ 7769 h 10000"/>
              <a:gd name="connsiteX201" fmla="*/ 3057 w 10000"/>
              <a:gd name="connsiteY201" fmla="*/ 7727 h 10000"/>
              <a:gd name="connsiteX202" fmla="*/ 3005 w 10000"/>
              <a:gd name="connsiteY202" fmla="*/ 7686 h 10000"/>
              <a:gd name="connsiteX203" fmla="*/ 3005 w 10000"/>
              <a:gd name="connsiteY203" fmla="*/ 7645 h 10000"/>
              <a:gd name="connsiteX204" fmla="*/ 3005 w 10000"/>
              <a:gd name="connsiteY204" fmla="*/ 7562 h 10000"/>
              <a:gd name="connsiteX205" fmla="*/ 2953 w 10000"/>
              <a:gd name="connsiteY205" fmla="*/ 7521 h 10000"/>
              <a:gd name="connsiteX206" fmla="*/ 2953 w 10000"/>
              <a:gd name="connsiteY206" fmla="*/ 7479 h 10000"/>
              <a:gd name="connsiteX207" fmla="*/ 2902 w 10000"/>
              <a:gd name="connsiteY207" fmla="*/ 7438 h 10000"/>
              <a:gd name="connsiteX208" fmla="*/ 2902 w 10000"/>
              <a:gd name="connsiteY208" fmla="*/ 7355 h 10000"/>
              <a:gd name="connsiteX209" fmla="*/ 2902 w 10000"/>
              <a:gd name="connsiteY209" fmla="*/ 7314 h 10000"/>
              <a:gd name="connsiteX210" fmla="*/ 2850 w 10000"/>
              <a:gd name="connsiteY210" fmla="*/ 7314 h 10000"/>
              <a:gd name="connsiteX211" fmla="*/ 2798 w 10000"/>
              <a:gd name="connsiteY211" fmla="*/ 7273 h 10000"/>
              <a:gd name="connsiteX212" fmla="*/ 2746 w 10000"/>
              <a:gd name="connsiteY212" fmla="*/ 7190 h 10000"/>
              <a:gd name="connsiteX213" fmla="*/ 2746 w 10000"/>
              <a:gd name="connsiteY213" fmla="*/ 7149 h 10000"/>
              <a:gd name="connsiteX214" fmla="*/ 2746 w 10000"/>
              <a:gd name="connsiteY214" fmla="*/ 7066 h 10000"/>
              <a:gd name="connsiteX215" fmla="*/ 2694 w 10000"/>
              <a:gd name="connsiteY215" fmla="*/ 7025 h 10000"/>
              <a:gd name="connsiteX216" fmla="*/ 2694 w 10000"/>
              <a:gd name="connsiteY216" fmla="*/ 6983 h 10000"/>
              <a:gd name="connsiteX217" fmla="*/ 2591 w 10000"/>
              <a:gd name="connsiteY217" fmla="*/ 6983 h 10000"/>
              <a:gd name="connsiteX218" fmla="*/ 2332 w 10000"/>
              <a:gd name="connsiteY218" fmla="*/ 6983 h 10000"/>
              <a:gd name="connsiteX219" fmla="*/ 2228 w 10000"/>
              <a:gd name="connsiteY219" fmla="*/ 6983 h 10000"/>
              <a:gd name="connsiteX220" fmla="*/ 1036 w 10000"/>
              <a:gd name="connsiteY220" fmla="*/ 6612 h 10000"/>
              <a:gd name="connsiteX221" fmla="*/ 829 w 10000"/>
              <a:gd name="connsiteY221" fmla="*/ 6488 h 10000"/>
              <a:gd name="connsiteX222" fmla="*/ 829 w 10000"/>
              <a:gd name="connsiteY222" fmla="*/ 6446 h 10000"/>
              <a:gd name="connsiteX223" fmla="*/ 777 w 10000"/>
              <a:gd name="connsiteY223" fmla="*/ 6446 h 10000"/>
              <a:gd name="connsiteX224" fmla="*/ 725 w 10000"/>
              <a:gd name="connsiteY224" fmla="*/ 6446 h 10000"/>
              <a:gd name="connsiteX225" fmla="*/ 674 w 10000"/>
              <a:gd name="connsiteY225" fmla="*/ 6405 h 10000"/>
              <a:gd name="connsiteX226" fmla="*/ 622 w 10000"/>
              <a:gd name="connsiteY226" fmla="*/ 6405 h 10000"/>
              <a:gd name="connsiteX227" fmla="*/ 570 w 10000"/>
              <a:gd name="connsiteY227" fmla="*/ 6405 h 10000"/>
              <a:gd name="connsiteX228" fmla="*/ 570 w 10000"/>
              <a:gd name="connsiteY228" fmla="*/ 6364 h 10000"/>
              <a:gd name="connsiteX229" fmla="*/ 518 w 10000"/>
              <a:gd name="connsiteY229" fmla="*/ 6364 h 10000"/>
              <a:gd name="connsiteX230" fmla="*/ 466 w 10000"/>
              <a:gd name="connsiteY230" fmla="*/ 6364 h 10000"/>
              <a:gd name="connsiteX231" fmla="*/ 466 w 10000"/>
              <a:gd name="connsiteY231" fmla="*/ 6405 h 10000"/>
              <a:gd name="connsiteX232" fmla="*/ 415 w 10000"/>
              <a:gd name="connsiteY232" fmla="*/ 6405 h 10000"/>
              <a:gd name="connsiteX233" fmla="*/ 363 w 10000"/>
              <a:gd name="connsiteY233" fmla="*/ 6405 h 10000"/>
              <a:gd name="connsiteX234" fmla="*/ 311 w 10000"/>
              <a:gd name="connsiteY234" fmla="*/ 6405 h 10000"/>
              <a:gd name="connsiteX235" fmla="*/ 259 w 10000"/>
              <a:gd name="connsiteY235" fmla="*/ 6405 h 10000"/>
              <a:gd name="connsiteX236" fmla="*/ 207 w 10000"/>
              <a:gd name="connsiteY236" fmla="*/ 6405 h 10000"/>
              <a:gd name="connsiteX237" fmla="*/ 155 w 10000"/>
              <a:gd name="connsiteY237" fmla="*/ 6405 h 10000"/>
              <a:gd name="connsiteX238" fmla="*/ 104 w 10000"/>
              <a:gd name="connsiteY238" fmla="*/ 6405 h 10000"/>
              <a:gd name="connsiteX239" fmla="*/ 52 w 10000"/>
              <a:gd name="connsiteY239" fmla="*/ 6405 h 10000"/>
              <a:gd name="connsiteX240" fmla="*/ 0 w 10000"/>
              <a:gd name="connsiteY240" fmla="*/ 6405 h 10000"/>
              <a:gd name="connsiteX241" fmla="*/ 52 w 10000"/>
              <a:gd name="connsiteY241" fmla="*/ 5826 h 10000"/>
              <a:gd name="connsiteX242" fmla="*/ 207 w 10000"/>
              <a:gd name="connsiteY242" fmla="*/ 5909 h 10000"/>
              <a:gd name="connsiteX243" fmla="*/ 415 w 10000"/>
              <a:gd name="connsiteY243" fmla="*/ 5826 h 10000"/>
              <a:gd name="connsiteX244" fmla="*/ 1503 w 10000"/>
              <a:gd name="connsiteY244" fmla="*/ 5826 h 10000"/>
              <a:gd name="connsiteX245" fmla="*/ 1658 w 10000"/>
              <a:gd name="connsiteY245" fmla="*/ 5785 h 10000"/>
              <a:gd name="connsiteX246" fmla="*/ 1710 w 10000"/>
              <a:gd name="connsiteY246" fmla="*/ 5785 h 10000"/>
              <a:gd name="connsiteX247" fmla="*/ 2228 w 10000"/>
              <a:gd name="connsiteY247" fmla="*/ 5248 h 10000"/>
              <a:gd name="connsiteX248" fmla="*/ 2332 w 10000"/>
              <a:gd name="connsiteY248" fmla="*/ 5165 h 10000"/>
              <a:gd name="connsiteX249" fmla="*/ 2798 w 10000"/>
              <a:gd name="connsiteY249" fmla="*/ 4752 h 10000"/>
              <a:gd name="connsiteX250" fmla="*/ 3057 w 10000"/>
              <a:gd name="connsiteY250" fmla="*/ 4504 h 10000"/>
              <a:gd name="connsiteX251" fmla="*/ 3212 w 10000"/>
              <a:gd name="connsiteY251" fmla="*/ 4380 h 10000"/>
              <a:gd name="connsiteX252" fmla="*/ 3627 w 10000"/>
              <a:gd name="connsiteY252" fmla="*/ 3760 h 10000"/>
              <a:gd name="connsiteX253" fmla="*/ 4145 w 10000"/>
              <a:gd name="connsiteY253" fmla="*/ 3512 h 10000"/>
              <a:gd name="connsiteX254" fmla="*/ 5026 w 10000"/>
              <a:gd name="connsiteY254" fmla="*/ 2810 h 10000"/>
              <a:gd name="connsiteX255" fmla="*/ 4870 w 10000"/>
              <a:gd name="connsiteY255" fmla="*/ 2562 h 10000"/>
              <a:gd name="connsiteX256" fmla="*/ 4819 w 10000"/>
              <a:gd name="connsiteY256" fmla="*/ 2397 h 10000"/>
              <a:gd name="connsiteX257" fmla="*/ 4819 w 10000"/>
              <a:gd name="connsiteY257" fmla="*/ 1240 h 10000"/>
              <a:gd name="connsiteX258" fmla="*/ 4145 w 10000"/>
              <a:gd name="connsiteY258" fmla="*/ 744 h 10000"/>
              <a:gd name="connsiteX259" fmla="*/ 4974 w 10000"/>
              <a:gd name="connsiteY259" fmla="*/ 744 h 10000"/>
              <a:gd name="connsiteX260" fmla="*/ 5803 w 10000"/>
              <a:gd name="connsiteY260" fmla="*/ 744 h 10000"/>
              <a:gd name="connsiteX261" fmla="*/ 5803 w 10000"/>
              <a:gd name="connsiteY261" fmla="*/ 702 h 10000"/>
              <a:gd name="connsiteX262" fmla="*/ 5803 w 10000"/>
              <a:gd name="connsiteY262" fmla="*/ 661 h 10000"/>
              <a:gd name="connsiteX263" fmla="*/ 5803 w 10000"/>
              <a:gd name="connsiteY263" fmla="*/ 620 h 10000"/>
              <a:gd name="connsiteX264" fmla="*/ 5803 w 10000"/>
              <a:gd name="connsiteY264" fmla="*/ 579 h 10000"/>
              <a:gd name="connsiteX265" fmla="*/ 5855 w 10000"/>
              <a:gd name="connsiteY265" fmla="*/ 537 h 10000"/>
              <a:gd name="connsiteX266" fmla="*/ 5855 w 10000"/>
              <a:gd name="connsiteY266" fmla="*/ 496 h 10000"/>
              <a:gd name="connsiteX267" fmla="*/ 5855 w 10000"/>
              <a:gd name="connsiteY267" fmla="*/ 455 h 10000"/>
              <a:gd name="connsiteX268" fmla="*/ 5855 w 10000"/>
              <a:gd name="connsiteY268" fmla="*/ 413 h 10000"/>
              <a:gd name="connsiteX269" fmla="*/ 5855 w 10000"/>
              <a:gd name="connsiteY269" fmla="*/ 372 h 10000"/>
              <a:gd name="connsiteX270" fmla="*/ 5855 w 10000"/>
              <a:gd name="connsiteY270" fmla="*/ 331 h 10000"/>
              <a:gd name="connsiteX271" fmla="*/ 5803 w 10000"/>
              <a:gd name="connsiteY271" fmla="*/ 331 h 10000"/>
              <a:gd name="connsiteX272" fmla="*/ 5803 w 10000"/>
              <a:gd name="connsiteY272" fmla="*/ 289 h 10000"/>
              <a:gd name="connsiteX273" fmla="*/ 5803 w 10000"/>
              <a:gd name="connsiteY273" fmla="*/ 248 h 10000"/>
              <a:gd name="connsiteX274" fmla="*/ 5803 w 10000"/>
              <a:gd name="connsiteY274" fmla="*/ 207 h 10000"/>
              <a:gd name="connsiteX275" fmla="*/ 5803 w 10000"/>
              <a:gd name="connsiteY275" fmla="*/ 165 h 10000"/>
              <a:gd name="connsiteX276" fmla="*/ 5803 w 10000"/>
              <a:gd name="connsiteY276" fmla="*/ 124 h 10000"/>
              <a:gd name="connsiteX277" fmla="*/ 5803 w 10000"/>
              <a:gd name="connsiteY277" fmla="*/ 83 h 10000"/>
              <a:gd name="connsiteX278" fmla="*/ 5803 w 10000"/>
              <a:gd name="connsiteY278" fmla="*/ 41 h 10000"/>
              <a:gd name="connsiteX279" fmla="*/ 5803 w 10000"/>
              <a:gd name="connsiteY27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6373 w 10000"/>
              <a:gd name="connsiteY185" fmla="*/ 9298 h 10000"/>
              <a:gd name="connsiteX186" fmla="*/ 5233 w 10000"/>
              <a:gd name="connsiteY186" fmla="*/ 7934 h 10000"/>
              <a:gd name="connsiteX187" fmla="*/ 5181 w 10000"/>
              <a:gd name="connsiteY187" fmla="*/ 7851 h 10000"/>
              <a:gd name="connsiteX188" fmla="*/ 4456 w 10000"/>
              <a:gd name="connsiteY188" fmla="*/ 7727 h 10000"/>
              <a:gd name="connsiteX189" fmla="*/ 4404 w 10000"/>
              <a:gd name="connsiteY189" fmla="*/ 7769 h 10000"/>
              <a:gd name="connsiteX190" fmla="*/ 3886 w 10000"/>
              <a:gd name="connsiteY190" fmla="*/ 7975 h 10000"/>
              <a:gd name="connsiteX191" fmla="*/ 3575 w 10000"/>
              <a:gd name="connsiteY191" fmla="*/ 8264 h 10000"/>
              <a:gd name="connsiteX192" fmla="*/ 3420 w 10000"/>
              <a:gd name="connsiteY192" fmla="*/ 8140 h 10000"/>
              <a:gd name="connsiteX193" fmla="*/ 3368 w 10000"/>
              <a:gd name="connsiteY193" fmla="*/ 8099 h 10000"/>
              <a:gd name="connsiteX194" fmla="*/ 3264 w 10000"/>
              <a:gd name="connsiteY194" fmla="*/ 8058 h 10000"/>
              <a:gd name="connsiteX195" fmla="*/ 3161 w 10000"/>
              <a:gd name="connsiteY195" fmla="*/ 7975 h 10000"/>
              <a:gd name="connsiteX196" fmla="*/ 3161 w 10000"/>
              <a:gd name="connsiteY196" fmla="*/ 7893 h 10000"/>
              <a:gd name="connsiteX197" fmla="*/ 3109 w 10000"/>
              <a:gd name="connsiteY197" fmla="*/ 7851 h 10000"/>
              <a:gd name="connsiteX198" fmla="*/ 3109 w 10000"/>
              <a:gd name="connsiteY198" fmla="*/ 7810 h 10000"/>
              <a:gd name="connsiteX199" fmla="*/ 3057 w 10000"/>
              <a:gd name="connsiteY199" fmla="*/ 7769 h 10000"/>
              <a:gd name="connsiteX200" fmla="*/ 3057 w 10000"/>
              <a:gd name="connsiteY200" fmla="*/ 7727 h 10000"/>
              <a:gd name="connsiteX201" fmla="*/ 3005 w 10000"/>
              <a:gd name="connsiteY201" fmla="*/ 7686 h 10000"/>
              <a:gd name="connsiteX202" fmla="*/ 3005 w 10000"/>
              <a:gd name="connsiteY202" fmla="*/ 7645 h 10000"/>
              <a:gd name="connsiteX203" fmla="*/ 3005 w 10000"/>
              <a:gd name="connsiteY203" fmla="*/ 7562 h 10000"/>
              <a:gd name="connsiteX204" fmla="*/ 2953 w 10000"/>
              <a:gd name="connsiteY204" fmla="*/ 7521 h 10000"/>
              <a:gd name="connsiteX205" fmla="*/ 2953 w 10000"/>
              <a:gd name="connsiteY205" fmla="*/ 7479 h 10000"/>
              <a:gd name="connsiteX206" fmla="*/ 2902 w 10000"/>
              <a:gd name="connsiteY206" fmla="*/ 7438 h 10000"/>
              <a:gd name="connsiteX207" fmla="*/ 2902 w 10000"/>
              <a:gd name="connsiteY207" fmla="*/ 7355 h 10000"/>
              <a:gd name="connsiteX208" fmla="*/ 2902 w 10000"/>
              <a:gd name="connsiteY208" fmla="*/ 7314 h 10000"/>
              <a:gd name="connsiteX209" fmla="*/ 2850 w 10000"/>
              <a:gd name="connsiteY209" fmla="*/ 7314 h 10000"/>
              <a:gd name="connsiteX210" fmla="*/ 2798 w 10000"/>
              <a:gd name="connsiteY210" fmla="*/ 7273 h 10000"/>
              <a:gd name="connsiteX211" fmla="*/ 2746 w 10000"/>
              <a:gd name="connsiteY211" fmla="*/ 7190 h 10000"/>
              <a:gd name="connsiteX212" fmla="*/ 2746 w 10000"/>
              <a:gd name="connsiteY212" fmla="*/ 7149 h 10000"/>
              <a:gd name="connsiteX213" fmla="*/ 2746 w 10000"/>
              <a:gd name="connsiteY213" fmla="*/ 7066 h 10000"/>
              <a:gd name="connsiteX214" fmla="*/ 2694 w 10000"/>
              <a:gd name="connsiteY214" fmla="*/ 7025 h 10000"/>
              <a:gd name="connsiteX215" fmla="*/ 2694 w 10000"/>
              <a:gd name="connsiteY215" fmla="*/ 6983 h 10000"/>
              <a:gd name="connsiteX216" fmla="*/ 2591 w 10000"/>
              <a:gd name="connsiteY216" fmla="*/ 6983 h 10000"/>
              <a:gd name="connsiteX217" fmla="*/ 2332 w 10000"/>
              <a:gd name="connsiteY217" fmla="*/ 6983 h 10000"/>
              <a:gd name="connsiteX218" fmla="*/ 2228 w 10000"/>
              <a:gd name="connsiteY218" fmla="*/ 6983 h 10000"/>
              <a:gd name="connsiteX219" fmla="*/ 1036 w 10000"/>
              <a:gd name="connsiteY219" fmla="*/ 6612 h 10000"/>
              <a:gd name="connsiteX220" fmla="*/ 829 w 10000"/>
              <a:gd name="connsiteY220" fmla="*/ 6488 h 10000"/>
              <a:gd name="connsiteX221" fmla="*/ 829 w 10000"/>
              <a:gd name="connsiteY221" fmla="*/ 6446 h 10000"/>
              <a:gd name="connsiteX222" fmla="*/ 777 w 10000"/>
              <a:gd name="connsiteY222" fmla="*/ 6446 h 10000"/>
              <a:gd name="connsiteX223" fmla="*/ 725 w 10000"/>
              <a:gd name="connsiteY223" fmla="*/ 6446 h 10000"/>
              <a:gd name="connsiteX224" fmla="*/ 674 w 10000"/>
              <a:gd name="connsiteY224" fmla="*/ 6405 h 10000"/>
              <a:gd name="connsiteX225" fmla="*/ 622 w 10000"/>
              <a:gd name="connsiteY225" fmla="*/ 6405 h 10000"/>
              <a:gd name="connsiteX226" fmla="*/ 570 w 10000"/>
              <a:gd name="connsiteY226" fmla="*/ 6405 h 10000"/>
              <a:gd name="connsiteX227" fmla="*/ 570 w 10000"/>
              <a:gd name="connsiteY227" fmla="*/ 6364 h 10000"/>
              <a:gd name="connsiteX228" fmla="*/ 518 w 10000"/>
              <a:gd name="connsiteY228" fmla="*/ 6364 h 10000"/>
              <a:gd name="connsiteX229" fmla="*/ 466 w 10000"/>
              <a:gd name="connsiteY229" fmla="*/ 6364 h 10000"/>
              <a:gd name="connsiteX230" fmla="*/ 466 w 10000"/>
              <a:gd name="connsiteY230" fmla="*/ 6405 h 10000"/>
              <a:gd name="connsiteX231" fmla="*/ 415 w 10000"/>
              <a:gd name="connsiteY231" fmla="*/ 6405 h 10000"/>
              <a:gd name="connsiteX232" fmla="*/ 363 w 10000"/>
              <a:gd name="connsiteY232" fmla="*/ 6405 h 10000"/>
              <a:gd name="connsiteX233" fmla="*/ 311 w 10000"/>
              <a:gd name="connsiteY233" fmla="*/ 6405 h 10000"/>
              <a:gd name="connsiteX234" fmla="*/ 259 w 10000"/>
              <a:gd name="connsiteY234" fmla="*/ 6405 h 10000"/>
              <a:gd name="connsiteX235" fmla="*/ 207 w 10000"/>
              <a:gd name="connsiteY235" fmla="*/ 6405 h 10000"/>
              <a:gd name="connsiteX236" fmla="*/ 155 w 10000"/>
              <a:gd name="connsiteY236" fmla="*/ 6405 h 10000"/>
              <a:gd name="connsiteX237" fmla="*/ 104 w 10000"/>
              <a:gd name="connsiteY237" fmla="*/ 6405 h 10000"/>
              <a:gd name="connsiteX238" fmla="*/ 52 w 10000"/>
              <a:gd name="connsiteY238" fmla="*/ 6405 h 10000"/>
              <a:gd name="connsiteX239" fmla="*/ 0 w 10000"/>
              <a:gd name="connsiteY239" fmla="*/ 6405 h 10000"/>
              <a:gd name="connsiteX240" fmla="*/ 52 w 10000"/>
              <a:gd name="connsiteY240" fmla="*/ 5826 h 10000"/>
              <a:gd name="connsiteX241" fmla="*/ 207 w 10000"/>
              <a:gd name="connsiteY241" fmla="*/ 5909 h 10000"/>
              <a:gd name="connsiteX242" fmla="*/ 415 w 10000"/>
              <a:gd name="connsiteY242" fmla="*/ 5826 h 10000"/>
              <a:gd name="connsiteX243" fmla="*/ 1503 w 10000"/>
              <a:gd name="connsiteY243" fmla="*/ 5826 h 10000"/>
              <a:gd name="connsiteX244" fmla="*/ 1658 w 10000"/>
              <a:gd name="connsiteY244" fmla="*/ 5785 h 10000"/>
              <a:gd name="connsiteX245" fmla="*/ 1710 w 10000"/>
              <a:gd name="connsiteY245" fmla="*/ 5785 h 10000"/>
              <a:gd name="connsiteX246" fmla="*/ 2228 w 10000"/>
              <a:gd name="connsiteY246" fmla="*/ 5248 h 10000"/>
              <a:gd name="connsiteX247" fmla="*/ 2332 w 10000"/>
              <a:gd name="connsiteY247" fmla="*/ 5165 h 10000"/>
              <a:gd name="connsiteX248" fmla="*/ 2798 w 10000"/>
              <a:gd name="connsiteY248" fmla="*/ 4752 h 10000"/>
              <a:gd name="connsiteX249" fmla="*/ 3057 w 10000"/>
              <a:gd name="connsiteY249" fmla="*/ 4504 h 10000"/>
              <a:gd name="connsiteX250" fmla="*/ 3212 w 10000"/>
              <a:gd name="connsiteY250" fmla="*/ 4380 h 10000"/>
              <a:gd name="connsiteX251" fmla="*/ 3627 w 10000"/>
              <a:gd name="connsiteY251" fmla="*/ 3760 h 10000"/>
              <a:gd name="connsiteX252" fmla="*/ 4145 w 10000"/>
              <a:gd name="connsiteY252" fmla="*/ 3512 h 10000"/>
              <a:gd name="connsiteX253" fmla="*/ 5026 w 10000"/>
              <a:gd name="connsiteY253" fmla="*/ 2810 h 10000"/>
              <a:gd name="connsiteX254" fmla="*/ 4870 w 10000"/>
              <a:gd name="connsiteY254" fmla="*/ 2562 h 10000"/>
              <a:gd name="connsiteX255" fmla="*/ 4819 w 10000"/>
              <a:gd name="connsiteY255" fmla="*/ 2397 h 10000"/>
              <a:gd name="connsiteX256" fmla="*/ 4819 w 10000"/>
              <a:gd name="connsiteY256" fmla="*/ 1240 h 10000"/>
              <a:gd name="connsiteX257" fmla="*/ 4145 w 10000"/>
              <a:gd name="connsiteY257" fmla="*/ 744 h 10000"/>
              <a:gd name="connsiteX258" fmla="*/ 4974 w 10000"/>
              <a:gd name="connsiteY258" fmla="*/ 744 h 10000"/>
              <a:gd name="connsiteX259" fmla="*/ 5803 w 10000"/>
              <a:gd name="connsiteY259" fmla="*/ 744 h 10000"/>
              <a:gd name="connsiteX260" fmla="*/ 5803 w 10000"/>
              <a:gd name="connsiteY260" fmla="*/ 702 h 10000"/>
              <a:gd name="connsiteX261" fmla="*/ 5803 w 10000"/>
              <a:gd name="connsiteY261" fmla="*/ 661 h 10000"/>
              <a:gd name="connsiteX262" fmla="*/ 5803 w 10000"/>
              <a:gd name="connsiteY262" fmla="*/ 620 h 10000"/>
              <a:gd name="connsiteX263" fmla="*/ 5803 w 10000"/>
              <a:gd name="connsiteY263" fmla="*/ 579 h 10000"/>
              <a:gd name="connsiteX264" fmla="*/ 5855 w 10000"/>
              <a:gd name="connsiteY264" fmla="*/ 537 h 10000"/>
              <a:gd name="connsiteX265" fmla="*/ 5855 w 10000"/>
              <a:gd name="connsiteY265" fmla="*/ 496 h 10000"/>
              <a:gd name="connsiteX266" fmla="*/ 5855 w 10000"/>
              <a:gd name="connsiteY266" fmla="*/ 455 h 10000"/>
              <a:gd name="connsiteX267" fmla="*/ 5855 w 10000"/>
              <a:gd name="connsiteY267" fmla="*/ 413 h 10000"/>
              <a:gd name="connsiteX268" fmla="*/ 5855 w 10000"/>
              <a:gd name="connsiteY268" fmla="*/ 372 h 10000"/>
              <a:gd name="connsiteX269" fmla="*/ 5855 w 10000"/>
              <a:gd name="connsiteY269" fmla="*/ 331 h 10000"/>
              <a:gd name="connsiteX270" fmla="*/ 5803 w 10000"/>
              <a:gd name="connsiteY270" fmla="*/ 331 h 10000"/>
              <a:gd name="connsiteX271" fmla="*/ 5803 w 10000"/>
              <a:gd name="connsiteY271" fmla="*/ 289 h 10000"/>
              <a:gd name="connsiteX272" fmla="*/ 5803 w 10000"/>
              <a:gd name="connsiteY272" fmla="*/ 248 h 10000"/>
              <a:gd name="connsiteX273" fmla="*/ 5803 w 10000"/>
              <a:gd name="connsiteY273" fmla="*/ 207 h 10000"/>
              <a:gd name="connsiteX274" fmla="*/ 5803 w 10000"/>
              <a:gd name="connsiteY274" fmla="*/ 165 h 10000"/>
              <a:gd name="connsiteX275" fmla="*/ 5803 w 10000"/>
              <a:gd name="connsiteY275" fmla="*/ 124 h 10000"/>
              <a:gd name="connsiteX276" fmla="*/ 5803 w 10000"/>
              <a:gd name="connsiteY276" fmla="*/ 83 h 10000"/>
              <a:gd name="connsiteX277" fmla="*/ 5803 w 10000"/>
              <a:gd name="connsiteY277" fmla="*/ 41 h 10000"/>
              <a:gd name="connsiteX278" fmla="*/ 5803 w 10000"/>
              <a:gd name="connsiteY27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114 w 10000"/>
              <a:gd name="connsiteY184" fmla="*/ 10000 h 10000"/>
              <a:gd name="connsiteX185" fmla="*/ 5233 w 10000"/>
              <a:gd name="connsiteY185" fmla="*/ 7934 h 10000"/>
              <a:gd name="connsiteX186" fmla="*/ 5181 w 10000"/>
              <a:gd name="connsiteY186" fmla="*/ 7851 h 10000"/>
              <a:gd name="connsiteX187" fmla="*/ 4456 w 10000"/>
              <a:gd name="connsiteY187" fmla="*/ 7727 h 10000"/>
              <a:gd name="connsiteX188" fmla="*/ 4404 w 10000"/>
              <a:gd name="connsiteY188" fmla="*/ 7769 h 10000"/>
              <a:gd name="connsiteX189" fmla="*/ 3886 w 10000"/>
              <a:gd name="connsiteY189" fmla="*/ 7975 h 10000"/>
              <a:gd name="connsiteX190" fmla="*/ 3575 w 10000"/>
              <a:gd name="connsiteY190" fmla="*/ 8264 h 10000"/>
              <a:gd name="connsiteX191" fmla="*/ 3420 w 10000"/>
              <a:gd name="connsiteY191" fmla="*/ 8140 h 10000"/>
              <a:gd name="connsiteX192" fmla="*/ 3368 w 10000"/>
              <a:gd name="connsiteY192" fmla="*/ 8099 h 10000"/>
              <a:gd name="connsiteX193" fmla="*/ 3264 w 10000"/>
              <a:gd name="connsiteY193" fmla="*/ 8058 h 10000"/>
              <a:gd name="connsiteX194" fmla="*/ 3161 w 10000"/>
              <a:gd name="connsiteY194" fmla="*/ 7975 h 10000"/>
              <a:gd name="connsiteX195" fmla="*/ 3161 w 10000"/>
              <a:gd name="connsiteY195" fmla="*/ 7893 h 10000"/>
              <a:gd name="connsiteX196" fmla="*/ 3109 w 10000"/>
              <a:gd name="connsiteY196" fmla="*/ 7851 h 10000"/>
              <a:gd name="connsiteX197" fmla="*/ 3109 w 10000"/>
              <a:gd name="connsiteY197" fmla="*/ 7810 h 10000"/>
              <a:gd name="connsiteX198" fmla="*/ 3057 w 10000"/>
              <a:gd name="connsiteY198" fmla="*/ 7769 h 10000"/>
              <a:gd name="connsiteX199" fmla="*/ 3057 w 10000"/>
              <a:gd name="connsiteY199" fmla="*/ 7727 h 10000"/>
              <a:gd name="connsiteX200" fmla="*/ 3005 w 10000"/>
              <a:gd name="connsiteY200" fmla="*/ 7686 h 10000"/>
              <a:gd name="connsiteX201" fmla="*/ 3005 w 10000"/>
              <a:gd name="connsiteY201" fmla="*/ 7645 h 10000"/>
              <a:gd name="connsiteX202" fmla="*/ 3005 w 10000"/>
              <a:gd name="connsiteY202" fmla="*/ 7562 h 10000"/>
              <a:gd name="connsiteX203" fmla="*/ 2953 w 10000"/>
              <a:gd name="connsiteY203" fmla="*/ 7521 h 10000"/>
              <a:gd name="connsiteX204" fmla="*/ 2953 w 10000"/>
              <a:gd name="connsiteY204" fmla="*/ 7479 h 10000"/>
              <a:gd name="connsiteX205" fmla="*/ 2902 w 10000"/>
              <a:gd name="connsiteY205" fmla="*/ 7438 h 10000"/>
              <a:gd name="connsiteX206" fmla="*/ 2902 w 10000"/>
              <a:gd name="connsiteY206" fmla="*/ 7355 h 10000"/>
              <a:gd name="connsiteX207" fmla="*/ 2902 w 10000"/>
              <a:gd name="connsiteY207" fmla="*/ 7314 h 10000"/>
              <a:gd name="connsiteX208" fmla="*/ 2850 w 10000"/>
              <a:gd name="connsiteY208" fmla="*/ 7314 h 10000"/>
              <a:gd name="connsiteX209" fmla="*/ 2798 w 10000"/>
              <a:gd name="connsiteY209" fmla="*/ 7273 h 10000"/>
              <a:gd name="connsiteX210" fmla="*/ 2746 w 10000"/>
              <a:gd name="connsiteY210" fmla="*/ 7190 h 10000"/>
              <a:gd name="connsiteX211" fmla="*/ 2746 w 10000"/>
              <a:gd name="connsiteY211" fmla="*/ 7149 h 10000"/>
              <a:gd name="connsiteX212" fmla="*/ 2746 w 10000"/>
              <a:gd name="connsiteY212" fmla="*/ 7066 h 10000"/>
              <a:gd name="connsiteX213" fmla="*/ 2694 w 10000"/>
              <a:gd name="connsiteY213" fmla="*/ 7025 h 10000"/>
              <a:gd name="connsiteX214" fmla="*/ 2694 w 10000"/>
              <a:gd name="connsiteY214" fmla="*/ 6983 h 10000"/>
              <a:gd name="connsiteX215" fmla="*/ 2591 w 10000"/>
              <a:gd name="connsiteY215" fmla="*/ 6983 h 10000"/>
              <a:gd name="connsiteX216" fmla="*/ 2332 w 10000"/>
              <a:gd name="connsiteY216" fmla="*/ 6983 h 10000"/>
              <a:gd name="connsiteX217" fmla="*/ 2228 w 10000"/>
              <a:gd name="connsiteY217" fmla="*/ 6983 h 10000"/>
              <a:gd name="connsiteX218" fmla="*/ 1036 w 10000"/>
              <a:gd name="connsiteY218" fmla="*/ 6612 h 10000"/>
              <a:gd name="connsiteX219" fmla="*/ 829 w 10000"/>
              <a:gd name="connsiteY219" fmla="*/ 6488 h 10000"/>
              <a:gd name="connsiteX220" fmla="*/ 829 w 10000"/>
              <a:gd name="connsiteY220" fmla="*/ 6446 h 10000"/>
              <a:gd name="connsiteX221" fmla="*/ 777 w 10000"/>
              <a:gd name="connsiteY221" fmla="*/ 6446 h 10000"/>
              <a:gd name="connsiteX222" fmla="*/ 725 w 10000"/>
              <a:gd name="connsiteY222" fmla="*/ 6446 h 10000"/>
              <a:gd name="connsiteX223" fmla="*/ 674 w 10000"/>
              <a:gd name="connsiteY223" fmla="*/ 6405 h 10000"/>
              <a:gd name="connsiteX224" fmla="*/ 622 w 10000"/>
              <a:gd name="connsiteY224" fmla="*/ 6405 h 10000"/>
              <a:gd name="connsiteX225" fmla="*/ 570 w 10000"/>
              <a:gd name="connsiteY225" fmla="*/ 6405 h 10000"/>
              <a:gd name="connsiteX226" fmla="*/ 570 w 10000"/>
              <a:gd name="connsiteY226" fmla="*/ 6364 h 10000"/>
              <a:gd name="connsiteX227" fmla="*/ 518 w 10000"/>
              <a:gd name="connsiteY227" fmla="*/ 6364 h 10000"/>
              <a:gd name="connsiteX228" fmla="*/ 466 w 10000"/>
              <a:gd name="connsiteY228" fmla="*/ 6364 h 10000"/>
              <a:gd name="connsiteX229" fmla="*/ 466 w 10000"/>
              <a:gd name="connsiteY229" fmla="*/ 6405 h 10000"/>
              <a:gd name="connsiteX230" fmla="*/ 415 w 10000"/>
              <a:gd name="connsiteY230" fmla="*/ 6405 h 10000"/>
              <a:gd name="connsiteX231" fmla="*/ 363 w 10000"/>
              <a:gd name="connsiteY231" fmla="*/ 6405 h 10000"/>
              <a:gd name="connsiteX232" fmla="*/ 311 w 10000"/>
              <a:gd name="connsiteY232" fmla="*/ 6405 h 10000"/>
              <a:gd name="connsiteX233" fmla="*/ 259 w 10000"/>
              <a:gd name="connsiteY233" fmla="*/ 6405 h 10000"/>
              <a:gd name="connsiteX234" fmla="*/ 207 w 10000"/>
              <a:gd name="connsiteY234" fmla="*/ 6405 h 10000"/>
              <a:gd name="connsiteX235" fmla="*/ 155 w 10000"/>
              <a:gd name="connsiteY235" fmla="*/ 6405 h 10000"/>
              <a:gd name="connsiteX236" fmla="*/ 104 w 10000"/>
              <a:gd name="connsiteY236" fmla="*/ 6405 h 10000"/>
              <a:gd name="connsiteX237" fmla="*/ 52 w 10000"/>
              <a:gd name="connsiteY237" fmla="*/ 6405 h 10000"/>
              <a:gd name="connsiteX238" fmla="*/ 0 w 10000"/>
              <a:gd name="connsiteY238" fmla="*/ 6405 h 10000"/>
              <a:gd name="connsiteX239" fmla="*/ 52 w 10000"/>
              <a:gd name="connsiteY239" fmla="*/ 5826 h 10000"/>
              <a:gd name="connsiteX240" fmla="*/ 207 w 10000"/>
              <a:gd name="connsiteY240" fmla="*/ 5909 h 10000"/>
              <a:gd name="connsiteX241" fmla="*/ 415 w 10000"/>
              <a:gd name="connsiteY241" fmla="*/ 5826 h 10000"/>
              <a:gd name="connsiteX242" fmla="*/ 1503 w 10000"/>
              <a:gd name="connsiteY242" fmla="*/ 5826 h 10000"/>
              <a:gd name="connsiteX243" fmla="*/ 1658 w 10000"/>
              <a:gd name="connsiteY243" fmla="*/ 5785 h 10000"/>
              <a:gd name="connsiteX244" fmla="*/ 1710 w 10000"/>
              <a:gd name="connsiteY244" fmla="*/ 5785 h 10000"/>
              <a:gd name="connsiteX245" fmla="*/ 2228 w 10000"/>
              <a:gd name="connsiteY245" fmla="*/ 5248 h 10000"/>
              <a:gd name="connsiteX246" fmla="*/ 2332 w 10000"/>
              <a:gd name="connsiteY246" fmla="*/ 5165 h 10000"/>
              <a:gd name="connsiteX247" fmla="*/ 2798 w 10000"/>
              <a:gd name="connsiteY247" fmla="*/ 4752 h 10000"/>
              <a:gd name="connsiteX248" fmla="*/ 3057 w 10000"/>
              <a:gd name="connsiteY248" fmla="*/ 4504 h 10000"/>
              <a:gd name="connsiteX249" fmla="*/ 3212 w 10000"/>
              <a:gd name="connsiteY249" fmla="*/ 4380 h 10000"/>
              <a:gd name="connsiteX250" fmla="*/ 3627 w 10000"/>
              <a:gd name="connsiteY250" fmla="*/ 3760 h 10000"/>
              <a:gd name="connsiteX251" fmla="*/ 4145 w 10000"/>
              <a:gd name="connsiteY251" fmla="*/ 3512 h 10000"/>
              <a:gd name="connsiteX252" fmla="*/ 5026 w 10000"/>
              <a:gd name="connsiteY252" fmla="*/ 2810 h 10000"/>
              <a:gd name="connsiteX253" fmla="*/ 4870 w 10000"/>
              <a:gd name="connsiteY253" fmla="*/ 2562 h 10000"/>
              <a:gd name="connsiteX254" fmla="*/ 4819 w 10000"/>
              <a:gd name="connsiteY254" fmla="*/ 2397 h 10000"/>
              <a:gd name="connsiteX255" fmla="*/ 4819 w 10000"/>
              <a:gd name="connsiteY255" fmla="*/ 1240 h 10000"/>
              <a:gd name="connsiteX256" fmla="*/ 4145 w 10000"/>
              <a:gd name="connsiteY256" fmla="*/ 744 h 10000"/>
              <a:gd name="connsiteX257" fmla="*/ 4974 w 10000"/>
              <a:gd name="connsiteY257" fmla="*/ 744 h 10000"/>
              <a:gd name="connsiteX258" fmla="*/ 5803 w 10000"/>
              <a:gd name="connsiteY258" fmla="*/ 744 h 10000"/>
              <a:gd name="connsiteX259" fmla="*/ 5803 w 10000"/>
              <a:gd name="connsiteY259" fmla="*/ 702 h 10000"/>
              <a:gd name="connsiteX260" fmla="*/ 5803 w 10000"/>
              <a:gd name="connsiteY260" fmla="*/ 661 h 10000"/>
              <a:gd name="connsiteX261" fmla="*/ 5803 w 10000"/>
              <a:gd name="connsiteY261" fmla="*/ 620 h 10000"/>
              <a:gd name="connsiteX262" fmla="*/ 5803 w 10000"/>
              <a:gd name="connsiteY262" fmla="*/ 579 h 10000"/>
              <a:gd name="connsiteX263" fmla="*/ 5855 w 10000"/>
              <a:gd name="connsiteY263" fmla="*/ 537 h 10000"/>
              <a:gd name="connsiteX264" fmla="*/ 5855 w 10000"/>
              <a:gd name="connsiteY264" fmla="*/ 496 h 10000"/>
              <a:gd name="connsiteX265" fmla="*/ 5855 w 10000"/>
              <a:gd name="connsiteY265" fmla="*/ 455 h 10000"/>
              <a:gd name="connsiteX266" fmla="*/ 5855 w 10000"/>
              <a:gd name="connsiteY266" fmla="*/ 413 h 10000"/>
              <a:gd name="connsiteX267" fmla="*/ 5855 w 10000"/>
              <a:gd name="connsiteY267" fmla="*/ 372 h 10000"/>
              <a:gd name="connsiteX268" fmla="*/ 5855 w 10000"/>
              <a:gd name="connsiteY268" fmla="*/ 331 h 10000"/>
              <a:gd name="connsiteX269" fmla="*/ 5803 w 10000"/>
              <a:gd name="connsiteY269" fmla="*/ 331 h 10000"/>
              <a:gd name="connsiteX270" fmla="*/ 5803 w 10000"/>
              <a:gd name="connsiteY270" fmla="*/ 289 h 10000"/>
              <a:gd name="connsiteX271" fmla="*/ 5803 w 10000"/>
              <a:gd name="connsiteY271" fmla="*/ 248 h 10000"/>
              <a:gd name="connsiteX272" fmla="*/ 5803 w 10000"/>
              <a:gd name="connsiteY272" fmla="*/ 207 h 10000"/>
              <a:gd name="connsiteX273" fmla="*/ 5803 w 10000"/>
              <a:gd name="connsiteY273" fmla="*/ 165 h 10000"/>
              <a:gd name="connsiteX274" fmla="*/ 5803 w 10000"/>
              <a:gd name="connsiteY274" fmla="*/ 124 h 10000"/>
              <a:gd name="connsiteX275" fmla="*/ 5803 w 10000"/>
              <a:gd name="connsiteY275" fmla="*/ 83 h 10000"/>
              <a:gd name="connsiteX276" fmla="*/ 5803 w 10000"/>
              <a:gd name="connsiteY276" fmla="*/ 41 h 10000"/>
              <a:gd name="connsiteX277" fmla="*/ 5803 w 10000"/>
              <a:gd name="connsiteY27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5233 w 10000"/>
              <a:gd name="connsiteY184" fmla="*/ 7934 h 10000"/>
              <a:gd name="connsiteX185" fmla="*/ 5181 w 10000"/>
              <a:gd name="connsiteY185" fmla="*/ 7851 h 10000"/>
              <a:gd name="connsiteX186" fmla="*/ 4456 w 10000"/>
              <a:gd name="connsiteY186" fmla="*/ 7727 h 10000"/>
              <a:gd name="connsiteX187" fmla="*/ 4404 w 10000"/>
              <a:gd name="connsiteY187" fmla="*/ 7769 h 10000"/>
              <a:gd name="connsiteX188" fmla="*/ 3886 w 10000"/>
              <a:gd name="connsiteY188" fmla="*/ 7975 h 10000"/>
              <a:gd name="connsiteX189" fmla="*/ 3575 w 10000"/>
              <a:gd name="connsiteY189" fmla="*/ 8264 h 10000"/>
              <a:gd name="connsiteX190" fmla="*/ 3420 w 10000"/>
              <a:gd name="connsiteY190" fmla="*/ 8140 h 10000"/>
              <a:gd name="connsiteX191" fmla="*/ 3368 w 10000"/>
              <a:gd name="connsiteY191" fmla="*/ 8099 h 10000"/>
              <a:gd name="connsiteX192" fmla="*/ 3264 w 10000"/>
              <a:gd name="connsiteY192" fmla="*/ 8058 h 10000"/>
              <a:gd name="connsiteX193" fmla="*/ 3161 w 10000"/>
              <a:gd name="connsiteY193" fmla="*/ 7975 h 10000"/>
              <a:gd name="connsiteX194" fmla="*/ 3161 w 10000"/>
              <a:gd name="connsiteY194" fmla="*/ 7893 h 10000"/>
              <a:gd name="connsiteX195" fmla="*/ 3109 w 10000"/>
              <a:gd name="connsiteY195" fmla="*/ 7851 h 10000"/>
              <a:gd name="connsiteX196" fmla="*/ 3109 w 10000"/>
              <a:gd name="connsiteY196" fmla="*/ 7810 h 10000"/>
              <a:gd name="connsiteX197" fmla="*/ 3057 w 10000"/>
              <a:gd name="connsiteY197" fmla="*/ 7769 h 10000"/>
              <a:gd name="connsiteX198" fmla="*/ 3057 w 10000"/>
              <a:gd name="connsiteY198" fmla="*/ 7727 h 10000"/>
              <a:gd name="connsiteX199" fmla="*/ 3005 w 10000"/>
              <a:gd name="connsiteY199" fmla="*/ 7686 h 10000"/>
              <a:gd name="connsiteX200" fmla="*/ 3005 w 10000"/>
              <a:gd name="connsiteY200" fmla="*/ 7645 h 10000"/>
              <a:gd name="connsiteX201" fmla="*/ 3005 w 10000"/>
              <a:gd name="connsiteY201" fmla="*/ 7562 h 10000"/>
              <a:gd name="connsiteX202" fmla="*/ 2953 w 10000"/>
              <a:gd name="connsiteY202" fmla="*/ 7521 h 10000"/>
              <a:gd name="connsiteX203" fmla="*/ 2953 w 10000"/>
              <a:gd name="connsiteY203" fmla="*/ 7479 h 10000"/>
              <a:gd name="connsiteX204" fmla="*/ 2902 w 10000"/>
              <a:gd name="connsiteY204" fmla="*/ 7438 h 10000"/>
              <a:gd name="connsiteX205" fmla="*/ 2902 w 10000"/>
              <a:gd name="connsiteY205" fmla="*/ 7355 h 10000"/>
              <a:gd name="connsiteX206" fmla="*/ 2902 w 10000"/>
              <a:gd name="connsiteY206" fmla="*/ 7314 h 10000"/>
              <a:gd name="connsiteX207" fmla="*/ 2850 w 10000"/>
              <a:gd name="connsiteY207" fmla="*/ 7314 h 10000"/>
              <a:gd name="connsiteX208" fmla="*/ 2798 w 10000"/>
              <a:gd name="connsiteY208" fmla="*/ 7273 h 10000"/>
              <a:gd name="connsiteX209" fmla="*/ 2746 w 10000"/>
              <a:gd name="connsiteY209" fmla="*/ 7190 h 10000"/>
              <a:gd name="connsiteX210" fmla="*/ 2746 w 10000"/>
              <a:gd name="connsiteY210" fmla="*/ 7149 h 10000"/>
              <a:gd name="connsiteX211" fmla="*/ 2746 w 10000"/>
              <a:gd name="connsiteY211" fmla="*/ 7066 h 10000"/>
              <a:gd name="connsiteX212" fmla="*/ 2694 w 10000"/>
              <a:gd name="connsiteY212" fmla="*/ 7025 h 10000"/>
              <a:gd name="connsiteX213" fmla="*/ 2694 w 10000"/>
              <a:gd name="connsiteY213" fmla="*/ 6983 h 10000"/>
              <a:gd name="connsiteX214" fmla="*/ 2591 w 10000"/>
              <a:gd name="connsiteY214" fmla="*/ 6983 h 10000"/>
              <a:gd name="connsiteX215" fmla="*/ 2332 w 10000"/>
              <a:gd name="connsiteY215" fmla="*/ 6983 h 10000"/>
              <a:gd name="connsiteX216" fmla="*/ 2228 w 10000"/>
              <a:gd name="connsiteY216" fmla="*/ 6983 h 10000"/>
              <a:gd name="connsiteX217" fmla="*/ 1036 w 10000"/>
              <a:gd name="connsiteY217" fmla="*/ 6612 h 10000"/>
              <a:gd name="connsiteX218" fmla="*/ 829 w 10000"/>
              <a:gd name="connsiteY218" fmla="*/ 6488 h 10000"/>
              <a:gd name="connsiteX219" fmla="*/ 829 w 10000"/>
              <a:gd name="connsiteY219" fmla="*/ 6446 h 10000"/>
              <a:gd name="connsiteX220" fmla="*/ 777 w 10000"/>
              <a:gd name="connsiteY220" fmla="*/ 6446 h 10000"/>
              <a:gd name="connsiteX221" fmla="*/ 725 w 10000"/>
              <a:gd name="connsiteY221" fmla="*/ 6446 h 10000"/>
              <a:gd name="connsiteX222" fmla="*/ 674 w 10000"/>
              <a:gd name="connsiteY222" fmla="*/ 6405 h 10000"/>
              <a:gd name="connsiteX223" fmla="*/ 622 w 10000"/>
              <a:gd name="connsiteY223" fmla="*/ 6405 h 10000"/>
              <a:gd name="connsiteX224" fmla="*/ 570 w 10000"/>
              <a:gd name="connsiteY224" fmla="*/ 6405 h 10000"/>
              <a:gd name="connsiteX225" fmla="*/ 570 w 10000"/>
              <a:gd name="connsiteY225" fmla="*/ 6364 h 10000"/>
              <a:gd name="connsiteX226" fmla="*/ 518 w 10000"/>
              <a:gd name="connsiteY226" fmla="*/ 6364 h 10000"/>
              <a:gd name="connsiteX227" fmla="*/ 466 w 10000"/>
              <a:gd name="connsiteY227" fmla="*/ 6364 h 10000"/>
              <a:gd name="connsiteX228" fmla="*/ 466 w 10000"/>
              <a:gd name="connsiteY228" fmla="*/ 6405 h 10000"/>
              <a:gd name="connsiteX229" fmla="*/ 415 w 10000"/>
              <a:gd name="connsiteY229" fmla="*/ 6405 h 10000"/>
              <a:gd name="connsiteX230" fmla="*/ 363 w 10000"/>
              <a:gd name="connsiteY230" fmla="*/ 6405 h 10000"/>
              <a:gd name="connsiteX231" fmla="*/ 311 w 10000"/>
              <a:gd name="connsiteY231" fmla="*/ 6405 h 10000"/>
              <a:gd name="connsiteX232" fmla="*/ 259 w 10000"/>
              <a:gd name="connsiteY232" fmla="*/ 6405 h 10000"/>
              <a:gd name="connsiteX233" fmla="*/ 207 w 10000"/>
              <a:gd name="connsiteY233" fmla="*/ 6405 h 10000"/>
              <a:gd name="connsiteX234" fmla="*/ 155 w 10000"/>
              <a:gd name="connsiteY234" fmla="*/ 6405 h 10000"/>
              <a:gd name="connsiteX235" fmla="*/ 104 w 10000"/>
              <a:gd name="connsiteY235" fmla="*/ 6405 h 10000"/>
              <a:gd name="connsiteX236" fmla="*/ 52 w 10000"/>
              <a:gd name="connsiteY236" fmla="*/ 6405 h 10000"/>
              <a:gd name="connsiteX237" fmla="*/ 0 w 10000"/>
              <a:gd name="connsiteY237" fmla="*/ 6405 h 10000"/>
              <a:gd name="connsiteX238" fmla="*/ 52 w 10000"/>
              <a:gd name="connsiteY238" fmla="*/ 5826 h 10000"/>
              <a:gd name="connsiteX239" fmla="*/ 207 w 10000"/>
              <a:gd name="connsiteY239" fmla="*/ 5909 h 10000"/>
              <a:gd name="connsiteX240" fmla="*/ 415 w 10000"/>
              <a:gd name="connsiteY240" fmla="*/ 5826 h 10000"/>
              <a:gd name="connsiteX241" fmla="*/ 1503 w 10000"/>
              <a:gd name="connsiteY241" fmla="*/ 5826 h 10000"/>
              <a:gd name="connsiteX242" fmla="*/ 1658 w 10000"/>
              <a:gd name="connsiteY242" fmla="*/ 5785 h 10000"/>
              <a:gd name="connsiteX243" fmla="*/ 1710 w 10000"/>
              <a:gd name="connsiteY243" fmla="*/ 5785 h 10000"/>
              <a:gd name="connsiteX244" fmla="*/ 2228 w 10000"/>
              <a:gd name="connsiteY244" fmla="*/ 5248 h 10000"/>
              <a:gd name="connsiteX245" fmla="*/ 2332 w 10000"/>
              <a:gd name="connsiteY245" fmla="*/ 5165 h 10000"/>
              <a:gd name="connsiteX246" fmla="*/ 2798 w 10000"/>
              <a:gd name="connsiteY246" fmla="*/ 4752 h 10000"/>
              <a:gd name="connsiteX247" fmla="*/ 3057 w 10000"/>
              <a:gd name="connsiteY247" fmla="*/ 4504 h 10000"/>
              <a:gd name="connsiteX248" fmla="*/ 3212 w 10000"/>
              <a:gd name="connsiteY248" fmla="*/ 4380 h 10000"/>
              <a:gd name="connsiteX249" fmla="*/ 3627 w 10000"/>
              <a:gd name="connsiteY249" fmla="*/ 3760 h 10000"/>
              <a:gd name="connsiteX250" fmla="*/ 4145 w 10000"/>
              <a:gd name="connsiteY250" fmla="*/ 3512 h 10000"/>
              <a:gd name="connsiteX251" fmla="*/ 5026 w 10000"/>
              <a:gd name="connsiteY251" fmla="*/ 2810 h 10000"/>
              <a:gd name="connsiteX252" fmla="*/ 4870 w 10000"/>
              <a:gd name="connsiteY252" fmla="*/ 2562 h 10000"/>
              <a:gd name="connsiteX253" fmla="*/ 4819 w 10000"/>
              <a:gd name="connsiteY253" fmla="*/ 2397 h 10000"/>
              <a:gd name="connsiteX254" fmla="*/ 4819 w 10000"/>
              <a:gd name="connsiteY254" fmla="*/ 1240 h 10000"/>
              <a:gd name="connsiteX255" fmla="*/ 4145 w 10000"/>
              <a:gd name="connsiteY255" fmla="*/ 744 h 10000"/>
              <a:gd name="connsiteX256" fmla="*/ 4974 w 10000"/>
              <a:gd name="connsiteY256" fmla="*/ 744 h 10000"/>
              <a:gd name="connsiteX257" fmla="*/ 5803 w 10000"/>
              <a:gd name="connsiteY257" fmla="*/ 744 h 10000"/>
              <a:gd name="connsiteX258" fmla="*/ 5803 w 10000"/>
              <a:gd name="connsiteY258" fmla="*/ 702 h 10000"/>
              <a:gd name="connsiteX259" fmla="*/ 5803 w 10000"/>
              <a:gd name="connsiteY259" fmla="*/ 661 h 10000"/>
              <a:gd name="connsiteX260" fmla="*/ 5803 w 10000"/>
              <a:gd name="connsiteY260" fmla="*/ 620 h 10000"/>
              <a:gd name="connsiteX261" fmla="*/ 5803 w 10000"/>
              <a:gd name="connsiteY261" fmla="*/ 579 h 10000"/>
              <a:gd name="connsiteX262" fmla="*/ 5855 w 10000"/>
              <a:gd name="connsiteY262" fmla="*/ 537 h 10000"/>
              <a:gd name="connsiteX263" fmla="*/ 5855 w 10000"/>
              <a:gd name="connsiteY263" fmla="*/ 496 h 10000"/>
              <a:gd name="connsiteX264" fmla="*/ 5855 w 10000"/>
              <a:gd name="connsiteY264" fmla="*/ 455 h 10000"/>
              <a:gd name="connsiteX265" fmla="*/ 5855 w 10000"/>
              <a:gd name="connsiteY265" fmla="*/ 413 h 10000"/>
              <a:gd name="connsiteX266" fmla="*/ 5855 w 10000"/>
              <a:gd name="connsiteY266" fmla="*/ 372 h 10000"/>
              <a:gd name="connsiteX267" fmla="*/ 5855 w 10000"/>
              <a:gd name="connsiteY267" fmla="*/ 331 h 10000"/>
              <a:gd name="connsiteX268" fmla="*/ 5803 w 10000"/>
              <a:gd name="connsiteY268" fmla="*/ 331 h 10000"/>
              <a:gd name="connsiteX269" fmla="*/ 5803 w 10000"/>
              <a:gd name="connsiteY269" fmla="*/ 289 h 10000"/>
              <a:gd name="connsiteX270" fmla="*/ 5803 w 10000"/>
              <a:gd name="connsiteY270" fmla="*/ 248 h 10000"/>
              <a:gd name="connsiteX271" fmla="*/ 5803 w 10000"/>
              <a:gd name="connsiteY271" fmla="*/ 207 h 10000"/>
              <a:gd name="connsiteX272" fmla="*/ 5803 w 10000"/>
              <a:gd name="connsiteY272" fmla="*/ 165 h 10000"/>
              <a:gd name="connsiteX273" fmla="*/ 5803 w 10000"/>
              <a:gd name="connsiteY273" fmla="*/ 124 h 10000"/>
              <a:gd name="connsiteX274" fmla="*/ 5803 w 10000"/>
              <a:gd name="connsiteY274" fmla="*/ 83 h 10000"/>
              <a:gd name="connsiteX275" fmla="*/ 5803 w 10000"/>
              <a:gd name="connsiteY275" fmla="*/ 41 h 10000"/>
              <a:gd name="connsiteX276" fmla="*/ 5803 w 10000"/>
              <a:gd name="connsiteY27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88 w 10000"/>
              <a:gd name="connsiteY180" fmla="*/ 9917 h 10000"/>
              <a:gd name="connsiteX181" fmla="*/ 6736 w 10000"/>
              <a:gd name="connsiteY181" fmla="*/ 9917 h 10000"/>
              <a:gd name="connsiteX182" fmla="*/ 6736 w 10000"/>
              <a:gd name="connsiteY182" fmla="*/ 9959 h 10000"/>
              <a:gd name="connsiteX183" fmla="*/ 6684 w 10000"/>
              <a:gd name="connsiteY183" fmla="*/ 10000 h 10000"/>
              <a:gd name="connsiteX184" fmla="*/ 6545 w 10000"/>
              <a:gd name="connsiteY184" fmla="*/ 9917 h 10000"/>
              <a:gd name="connsiteX185" fmla="*/ 5233 w 10000"/>
              <a:gd name="connsiteY185" fmla="*/ 7934 h 10000"/>
              <a:gd name="connsiteX186" fmla="*/ 5181 w 10000"/>
              <a:gd name="connsiteY186" fmla="*/ 7851 h 10000"/>
              <a:gd name="connsiteX187" fmla="*/ 4456 w 10000"/>
              <a:gd name="connsiteY187" fmla="*/ 7727 h 10000"/>
              <a:gd name="connsiteX188" fmla="*/ 4404 w 10000"/>
              <a:gd name="connsiteY188" fmla="*/ 7769 h 10000"/>
              <a:gd name="connsiteX189" fmla="*/ 3886 w 10000"/>
              <a:gd name="connsiteY189" fmla="*/ 7975 h 10000"/>
              <a:gd name="connsiteX190" fmla="*/ 3575 w 10000"/>
              <a:gd name="connsiteY190" fmla="*/ 8264 h 10000"/>
              <a:gd name="connsiteX191" fmla="*/ 3420 w 10000"/>
              <a:gd name="connsiteY191" fmla="*/ 8140 h 10000"/>
              <a:gd name="connsiteX192" fmla="*/ 3368 w 10000"/>
              <a:gd name="connsiteY192" fmla="*/ 8099 h 10000"/>
              <a:gd name="connsiteX193" fmla="*/ 3264 w 10000"/>
              <a:gd name="connsiteY193" fmla="*/ 8058 h 10000"/>
              <a:gd name="connsiteX194" fmla="*/ 3161 w 10000"/>
              <a:gd name="connsiteY194" fmla="*/ 7975 h 10000"/>
              <a:gd name="connsiteX195" fmla="*/ 3161 w 10000"/>
              <a:gd name="connsiteY195" fmla="*/ 7893 h 10000"/>
              <a:gd name="connsiteX196" fmla="*/ 3109 w 10000"/>
              <a:gd name="connsiteY196" fmla="*/ 7851 h 10000"/>
              <a:gd name="connsiteX197" fmla="*/ 3109 w 10000"/>
              <a:gd name="connsiteY197" fmla="*/ 7810 h 10000"/>
              <a:gd name="connsiteX198" fmla="*/ 3057 w 10000"/>
              <a:gd name="connsiteY198" fmla="*/ 7769 h 10000"/>
              <a:gd name="connsiteX199" fmla="*/ 3057 w 10000"/>
              <a:gd name="connsiteY199" fmla="*/ 7727 h 10000"/>
              <a:gd name="connsiteX200" fmla="*/ 3005 w 10000"/>
              <a:gd name="connsiteY200" fmla="*/ 7686 h 10000"/>
              <a:gd name="connsiteX201" fmla="*/ 3005 w 10000"/>
              <a:gd name="connsiteY201" fmla="*/ 7645 h 10000"/>
              <a:gd name="connsiteX202" fmla="*/ 3005 w 10000"/>
              <a:gd name="connsiteY202" fmla="*/ 7562 h 10000"/>
              <a:gd name="connsiteX203" fmla="*/ 2953 w 10000"/>
              <a:gd name="connsiteY203" fmla="*/ 7521 h 10000"/>
              <a:gd name="connsiteX204" fmla="*/ 2953 w 10000"/>
              <a:gd name="connsiteY204" fmla="*/ 7479 h 10000"/>
              <a:gd name="connsiteX205" fmla="*/ 2902 w 10000"/>
              <a:gd name="connsiteY205" fmla="*/ 7438 h 10000"/>
              <a:gd name="connsiteX206" fmla="*/ 2902 w 10000"/>
              <a:gd name="connsiteY206" fmla="*/ 7355 h 10000"/>
              <a:gd name="connsiteX207" fmla="*/ 2902 w 10000"/>
              <a:gd name="connsiteY207" fmla="*/ 7314 h 10000"/>
              <a:gd name="connsiteX208" fmla="*/ 2850 w 10000"/>
              <a:gd name="connsiteY208" fmla="*/ 7314 h 10000"/>
              <a:gd name="connsiteX209" fmla="*/ 2798 w 10000"/>
              <a:gd name="connsiteY209" fmla="*/ 7273 h 10000"/>
              <a:gd name="connsiteX210" fmla="*/ 2746 w 10000"/>
              <a:gd name="connsiteY210" fmla="*/ 7190 h 10000"/>
              <a:gd name="connsiteX211" fmla="*/ 2746 w 10000"/>
              <a:gd name="connsiteY211" fmla="*/ 7149 h 10000"/>
              <a:gd name="connsiteX212" fmla="*/ 2746 w 10000"/>
              <a:gd name="connsiteY212" fmla="*/ 7066 h 10000"/>
              <a:gd name="connsiteX213" fmla="*/ 2694 w 10000"/>
              <a:gd name="connsiteY213" fmla="*/ 7025 h 10000"/>
              <a:gd name="connsiteX214" fmla="*/ 2694 w 10000"/>
              <a:gd name="connsiteY214" fmla="*/ 6983 h 10000"/>
              <a:gd name="connsiteX215" fmla="*/ 2591 w 10000"/>
              <a:gd name="connsiteY215" fmla="*/ 6983 h 10000"/>
              <a:gd name="connsiteX216" fmla="*/ 2332 w 10000"/>
              <a:gd name="connsiteY216" fmla="*/ 6983 h 10000"/>
              <a:gd name="connsiteX217" fmla="*/ 2228 w 10000"/>
              <a:gd name="connsiteY217" fmla="*/ 6983 h 10000"/>
              <a:gd name="connsiteX218" fmla="*/ 1036 w 10000"/>
              <a:gd name="connsiteY218" fmla="*/ 6612 h 10000"/>
              <a:gd name="connsiteX219" fmla="*/ 829 w 10000"/>
              <a:gd name="connsiteY219" fmla="*/ 6488 h 10000"/>
              <a:gd name="connsiteX220" fmla="*/ 829 w 10000"/>
              <a:gd name="connsiteY220" fmla="*/ 6446 h 10000"/>
              <a:gd name="connsiteX221" fmla="*/ 777 w 10000"/>
              <a:gd name="connsiteY221" fmla="*/ 6446 h 10000"/>
              <a:gd name="connsiteX222" fmla="*/ 725 w 10000"/>
              <a:gd name="connsiteY222" fmla="*/ 6446 h 10000"/>
              <a:gd name="connsiteX223" fmla="*/ 674 w 10000"/>
              <a:gd name="connsiteY223" fmla="*/ 6405 h 10000"/>
              <a:gd name="connsiteX224" fmla="*/ 622 w 10000"/>
              <a:gd name="connsiteY224" fmla="*/ 6405 h 10000"/>
              <a:gd name="connsiteX225" fmla="*/ 570 w 10000"/>
              <a:gd name="connsiteY225" fmla="*/ 6405 h 10000"/>
              <a:gd name="connsiteX226" fmla="*/ 570 w 10000"/>
              <a:gd name="connsiteY226" fmla="*/ 6364 h 10000"/>
              <a:gd name="connsiteX227" fmla="*/ 518 w 10000"/>
              <a:gd name="connsiteY227" fmla="*/ 6364 h 10000"/>
              <a:gd name="connsiteX228" fmla="*/ 466 w 10000"/>
              <a:gd name="connsiteY228" fmla="*/ 6364 h 10000"/>
              <a:gd name="connsiteX229" fmla="*/ 466 w 10000"/>
              <a:gd name="connsiteY229" fmla="*/ 6405 h 10000"/>
              <a:gd name="connsiteX230" fmla="*/ 415 w 10000"/>
              <a:gd name="connsiteY230" fmla="*/ 6405 h 10000"/>
              <a:gd name="connsiteX231" fmla="*/ 363 w 10000"/>
              <a:gd name="connsiteY231" fmla="*/ 6405 h 10000"/>
              <a:gd name="connsiteX232" fmla="*/ 311 w 10000"/>
              <a:gd name="connsiteY232" fmla="*/ 6405 h 10000"/>
              <a:gd name="connsiteX233" fmla="*/ 259 w 10000"/>
              <a:gd name="connsiteY233" fmla="*/ 6405 h 10000"/>
              <a:gd name="connsiteX234" fmla="*/ 207 w 10000"/>
              <a:gd name="connsiteY234" fmla="*/ 6405 h 10000"/>
              <a:gd name="connsiteX235" fmla="*/ 155 w 10000"/>
              <a:gd name="connsiteY235" fmla="*/ 6405 h 10000"/>
              <a:gd name="connsiteX236" fmla="*/ 104 w 10000"/>
              <a:gd name="connsiteY236" fmla="*/ 6405 h 10000"/>
              <a:gd name="connsiteX237" fmla="*/ 52 w 10000"/>
              <a:gd name="connsiteY237" fmla="*/ 6405 h 10000"/>
              <a:gd name="connsiteX238" fmla="*/ 0 w 10000"/>
              <a:gd name="connsiteY238" fmla="*/ 6405 h 10000"/>
              <a:gd name="connsiteX239" fmla="*/ 52 w 10000"/>
              <a:gd name="connsiteY239" fmla="*/ 5826 h 10000"/>
              <a:gd name="connsiteX240" fmla="*/ 207 w 10000"/>
              <a:gd name="connsiteY240" fmla="*/ 5909 h 10000"/>
              <a:gd name="connsiteX241" fmla="*/ 415 w 10000"/>
              <a:gd name="connsiteY241" fmla="*/ 5826 h 10000"/>
              <a:gd name="connsiteX242" fmla="*/ 1503 w 10000"/>
              <a:gd name="connsiteY242" fmla="*/ 5826 h 10000"/>
              <a:gd name="connsiteX243" fmla="*/ 1658 w 10000"/>
              <a:gd name="connsiteY243" fmla="*/ 5785 h 10000"/>
              <a:gd name="connsiteX244" fmla="*/ 1710 w 10000"/>
              <a:gd name="connsiteY244" fmla="*/ 5785 h 10000"/>
              <a:gd name="connsiteX245" fmla="*/ 2228 w 10000"/>
              <a:gd name="connsiteY245" fmla="*/ 5248 h 10000"/>
              <a:gd name="connsiteX246" fmla="*/ 2332 w 10000"/>
              <a:gd name="connsiteY246" fmla="*/ 5165 h 10000"/>
              <a:gd name="connsiteX247" fmla="*/ 2798 w 10000"/>
              <a:gd name="connsiteY247" fmla="*/ 4752 h 10000"/>
              <a:gd name="connsiteX248" fmla="*/ 3057 w 10000"/>
              <a:gd name="connsiteY248" fmla="*/ 4504 h 10000"/>
              <a:gd name="connsiteX249" fmla="*/ 3212 w 10000"/>
              <a:gd name="connsiteY249" fmla="*/ 4380 h 10000"/>
              <a:gd name="connsiteX250" fmla="*/ 3627 w 10000"/>
              <a:gd name="connsiteY250" fmla="*/ 3760 h 10000"/>
              <a:gd name="connsiteX251" fmla="*/ 4145 w 10000"/>
              <a:gd name="connsiteY251" fmla="*/ 3512 h 10000"/>
              <a:gd name="connsiteX252" fmla="*/ 5026 w 10000"/>
              <a:gd name="connsiteY252" fmla="*/ 2810 h 10000"/>
              <a:gd name="connsiteX253" fmla="*/ 4870 w 10000"/>
              <a:gd name="connsiteY253" fmla="*/ 2562 h 10000"/>
              <a:gd name="connsiteX254" fmla="*/ 4819 w 10000"/>
              <a:gd name="connsiteY254" fmla="*/ 2397 h 10000"/>
              <a:gd name="connsiteX255" fmla="*/ 4819 w 10000"/>
              <a:gd name="connsiteY255" fmla="*/ 1240 h 10000"/>
              <a:gd name="connsiteX256" fmla="*/ 4145 w 10000"/>
              <a:gd name="connsiteY256" fmla="*/ 744 h 10000"/>
              <a:gd name="connsiteX257" fmla="*/ 4974 w 10000"/>
              <a:gd name="connsiteY257" fmla="*/ 744 h 10000"/>
              <a:gd name="connsiteX258" fmla="*/ 5803 w 10000"/>
              <a:gd name="connsiteY258" fmla="*/ 744 h 10000"/>
              <a:gd name="connsiteX259" fmla="*/ 5803 w 10000"/>
              <a:gd name="connsiteY259" fmla="*/ 702 h 10000"/>
              <a:gd name="connsiteX260" fmla="*/ 5803 w 10000"/>
              <a:gd name="connsiteY260" fmla="*/ 661 h 10000"/>
              <a:gd name="connsiteX261" fmla="*/ 5803 w 10000"/>
              <a:gd name="connsiteY261" fmla="*/ 620 h 10000"/>
              <a:gd name="connsiteX262" fmla="*/ 5803 w 10000"/>
              <a:gd name="connsiteY262" fmla="*/ 579 h 10000"/>
              <a:gd name="connsiteX263" fmla="*/ 5855 w 10000"/>
              <a:gd name="connsiteY263" fmla="*/ 537 h 10000"/>
              <a:gd name="connsiteX264" fmla="*/ 5855 w 10000"/>
              <a:gd name="connsiteY264" fmla="*/ 496 h 10000"/>
              <a:gd name="connsiteX265" fmla="*/ 5855 w 10000"/>
              <a:gd name="connsiteY265" fmla="*/ 455 h 10000"/>
              <a:gd name="connsiteX266" fmla="*/ 5855 w 10000"/>
              <a:gd name="connsiteY266" fmla="*/ 413 h 10000"/>
              <a:gd name="connsiteX267" fmla="*/ 5855 w 10000"/>
              <a:gd name="connsiteY267" fmla="*/ 372 h 10000"/>
              <a:gd name="connsiteX268" fmla="*/ 5855 w 10000"/>
              <a:gd name="connsiteY268" fmla="*/ 331 h 10000"/>
              <a:gd name="connsiteX269" fmla="*/ 5803 w 10000"/>
              <a:gd name="connsiteY269" fmla="*/ 331 h 10000"/>
              <a:gd name="connsiteX270" fmla="*/ 5803 w 10000"/>
              <a:gd name="connsiteY270" fmla="*/ 289 h 10000"/>
              <a:gd name="connsiteX271" fmla="*/ 5803 w 10000"/>
              <a:gd name="connsiteY271" fmla="*/ 248 h 10000"/>
              <a:gd name="connsiteX272" fmla="*/ 5803 w 10000"/>
              <a:gd name="connsiteY272" fmla="*/ 207 h 10000"/>
              <a:gd name="connsiteX273" fmla="*/ 5803 w 10000"/>
              <a:gd name="connsiteY273" fmla="*/ 165 h 10000"/>
              <a:gd name="connsiteX274" fmla="*/ 5803 w 10000"/>
              <a:gd name="connsiteY274" fmla="*/ 124 h 10000"/>
              <a:gd name="connsiteX275" fmla="*/ 5803 w 10000"/>
              <a:gd name="connsiteY275" fmla="*/ 83 h 10000"/>
              <a:gd name="connsiteX276" fmla="*/ 5803 w 10000"/>
              <a:gd name="connsiteY276" fmla="*/ 41 h 10000"/>
              <a:gd name="connsiteX277" fmla="*/ 5803 w 10000"/>
              <a:gd name="connsiteY27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95 w 10000"/>
              <a:gd name="connsiteY169" fmla="*/ 9711 h 10000"/>
              <a:gd name="connsiteX170" fmla="*/ 6943 w 10000"/>
              <a:gd name="connsiteY170" fmla="*/ 9711 h 10000"/>
              <a:gd name="connsiteX171" fmla="*/ 6943 w 10000"/>
              <a:gd name="connsiteY171" fmla="*/ 9752 h 10000"/>
              <a:gd name="connsiteX172" fmla="*/ 6943 w 10000"/>
              <a:gd name="connsiteY172" fmla="*/ 9793 h 10000"/>
              <a:gd name="connsiteX173" fmla="*/ 6943 w 10000"/>
              <a:gd name="connsiteY173" fmla="*/ 9835 h 10000"/>
              <a:gd name="connsiteX174" fmla="*/ 6943 w 10000"/>
              <a:gd name="connsiteY174" fmla="*/ 9793 h 10000"/>
              <a:gd name="connsiteX175" fmla="*/ 6891 w 10000"/>
              <a:gd name="connsiteY175" fmla="*/ 9793 h 10000"/>
              <a:gd name="connsiteX176" fmla="*/ 6839 w 10000"/>
              <a:gd name="connsiteY176" fmla="*/ 9793 h 10000"/>
              <a:gd name="connsiteX177" fmla="*/ 6839 w 10000"/>
              <a:gd name="connsiteY177" fmla="*/ 9835 h 10000"/>
              <a:gd name="connsiteX178" fmla="*/ 6839 w 10000"/>
              <a:gd name="connsiteY178" fmla="*/ 9876 h 10000"/>
              <a:gd name="connsiteX179" fmla="*/ 6839 w 10000"/>
              <a:gd name="connsiteY179" fmla="*/ 9917 h 10000"/>
              <a:gd name="connsiteX180" fmla="*/ 6736 w 10000"/>
              <a:gd name="connsiteY180" fmla="*/ 9917 h 10000"/>
              <a:gd name="connsiteX181" fmla="*/ 6736 w 10000"/>
              <a:gd name="connsiteY181" fmla="*/ 9959 h 10000"/>
              <a:gd name="connsiteX182" fmla="*/ 6684 w 10000"/>
              <a:gd name="connsiteY182" fmla="*/ 10000 h 10000"/>
              <a:gd name="connsiteX183" fmla="*/ 6545 w 10000"/>
              <a:gd name="connsiteY183" fmla="*/ 9917 h 10000"/>
              <a:gd name="connsiteX184" fmla="*/ 5233 w 10000"/>
              <a:gd name="connsiteY184" fmla="*/ 7934 h 10000"/>
              <a:gd name="connsiteX185" fmla="*/ 5181 w 10000"/>
              <a:gd name="connsiteY185" fmla="*/ 7851 h 10000"/>
              <a:gd name="connsiteX186" fmla="*/ 4456 w 10000"/>
              <a:gd name="connsiteY186" fmla="*/ 7727 h 10000"/>
              <a:gd name="connsiteX187" fmla="*/ 4404 w 10000"/>
              <a:gd name="connsiteY187" fmla="*/ 7769 h 10000"/>
              <a:gd name="connsiteX188" fmla="*/ 3886 w 10000"/>
              <a:gd name="connsiteY188" fmla="*/ 7975 h 10000"/>
              <a:gd name="connsiteX189" fmla="*/ 3575 w 10000"/>
              <a:gd name="connsiteY189" fmla="*/ 8264 h 10000"/>
              <a:gd name="connsiteX190" fmla="*/ 3420 w 10000"/>
              <a:gd name="connsiteY190" fmla="*/ 8140 h 10000"/>
              <a:gd name="connsiteX191" fmla="*/ 3368 w 10000"/>
              <a:gd name="connsiteY191" fmla="*/ 8099 h 10000"/>
              <a:gd name="connsiteX192" fmla="*/ 3264 w 10000"/>
              <a:gd name="connsiteY192" fmla="*/ 8058 h 10000"/>
              <a:gd name="connsiteX193" fmla="*/ 3161 w 10000"/>
              <a:gd name="connsiteY193" fmla="*/ 7975 h 10000"/>
              <a:gd name="connsiteX194" fmla="*/ 3161 w 10000"/>
              <a:gd name="connsiteY194" fmla="*/ 7893 h 10000"/>
              <a:gd name="connsiteX195" fmla="*/ 3109 w 10000"/>
              <a:gd name="connsiteY195" fmla="*/ 7851 h 10000"/>
              <a:gd name="connsiteX196" fmla="*/ 3109 w 10000"/>
              <a:gd name="connsiteY196" fmla="*/ 7810 h 10000"/>
              <a:gd name="connsiteX197" fmla="*/ 3057 w 10000"/>
              <a:gd name="connsiteY197" fmla="*/ 7769 h 10000"/>
              <a:gd name="connsiteX198" fmla="*/ 3057 w 10000"/>
              <a:gd name="connsiteY198" fmla="*/ 7727 h 10000"/>
              <a:gd name="connsiteX199" fmla="*/ 3005 w 10000"/>
              <a:gd name="connsiteY199" fmla="*/ 7686 h 10000"/>
              <a:gd name="connsiteX200" fmla="*/ 3005 w 10000"/>
              <a:gd name="connsiteY200" fmla="*/ 7645 h 10000"/>
              <a:gd name="connsiteX201" fmla="*/ 3005 w 10000"/>
              <a:gd name="connsiteY201" fmla="*/ 7562 h 10000"/>
              <a:gd name="connsiteX202" fmla="*/ 2953 w 10000"/>
              <a:gd name="connsiteY202" fmla="*/ 7521 h 10000"/>
              <a:gd name="connsiteX203" fmla="*/ 2953 w 10000"/>
              <a:gd name="connsiteY203" fmla="*/ 7479 h 10000"/>
              <a:gd name="connsiteX204" fmla="*/ 2902 w 10000"/>
              <a:gd name="connsiteY204" fmla="*/ 7438 h 10000"/>
              <a:gd name="connsiteX205" fmla="*/ 2902 w 10000"/>
              <a:gd name="connsiteY205" fmla="*/ 7355 h 10000"/>
              <a:gd name="connsiteX206" fmla="*/ 2902 w 10000"/>
              <a:gd name="connsiteY206" fmla="*/ 7314 h 10000"/>
              <a:gd name="connsiteX207" fmla="*/ 2850 w 10000"/>
              <a:gd name="connsiteY207" fmla="*/ 7314 h 10000"/>
              <a:gd name="connsiteX208" fmla="*/ 2798 w 10000"/>
              <a:gd name="connsiteY208" fmla="*/ 7273 h 10000"/>
              <a:gd name="connsiteX209" fmla="*/ 2746 w 10000"/>
              <a:gd name="connsiteY209" fmla="*/ 7190 h 10000"/>
              <a:gd name="connsiteX210" fmla="*/ 2746 w 10000"/>
              <a:gd name="connsiteY210" fmla="*/ 7149 h 10000"/>
              <a:gd name="connsiteX211" fmla="*/ 2746 w 10000"/>
              <a:gd name="connsiteY211" fmla="*/ 7066 h 10000"/>
              <a:gd name="connsiteX212" fmla="*/ 2694 w 10000"/>
              <a:gd name="connsiteY212" fmla="*/ 7025 h 10000"/>
              <a:gd name="connsiteX213" fmla="*/ 2694 w 10000"/>
              <a:gd name="connsiteY213" fmla="*/ 6983 h 10000"/>
              <a:gd name="connsiteX214" fmla="*/ 2591 w 10000"/>
              <a:gd name="connsiteY214" fmla="*/ 6983 h 10000"/>
              <a:gd name="connsiteX215" fmla="*/ 2332 w 10000"/>
              <a:gd name="connsiteY215" fmla="*/ 6983 h 10000"/>
              <a:gd name="connsiteX216" fmla="*/ 2228 w 10000"/>
              <a:gd name="connsiteY216" fmla="*/ 6983 h 10000"/>
              <a:gd name="connsiteX217" fmla="*/ 1036 w 10000"/>
              <a:gd name="connsiteY217" fmla="*/ 6612 h 10000"/>
              <a:gd name="connsiteX218" fmla="*/ 829 w 10000"/>
              <a:gd name="connsiteY218" fmla="*/ 6488 h 10000"/>
              <a:gd name="connsiteX219" fmla="*/ 829 w 10000"/>
              <a:gd name="connsiteY219" fmla="*/ 6446 h 10000"/>
              <a:gd name="connsiteX220" fmla="*/ 777 w 10000"/>
              <a:gd name="connsiteY220" fmla="*/ 6446 h 10000"/>
              <a:gd name="connsiteX221" fmla="*/ 725 w 10000"/>
              <a:gd name="connsiteY221" fmla="*/ 6446 h 10000"/>
              <a:gd name="connsiteX222" fmla="*/ 674 w 10000"/>
              <a:gd name="connsiteY222" fmla="*/ 6405 h 10000"/>
              <a:gd name="connsiteX223" fmla="*/ 622 w 10000"/>
              <a:gd name="connsiteY223" fmla="*/ 6405 h 10000"/>
              <a:gd name="connsiteX224" fmla="*/ 570 w 10000"/>
              <a:gd name="connsiteY224" fmla="*/ 6405 h 10000"/>
              <a:gd name="connsiteX225" fmla="*/ 570 w 10000"/>
              <a:gd name="connsiteY225" fmla="*/ 6364 h 10000"/>
              <a:gd name="connsiteX226" fmla="*/ 518 w 10000"/>
              <a:gd name="connsiteY226" fmla="*/ 6364 h 10000"/>
              <a:gd name="connsiteX227" fmla="*/ 466 w 10000"/>
              <a:gd name="connsiteY227" fmla="*/ 6364 h 10000"/>
              <a:gd name="connsiteX228" fmla="*/ 466 w 10000"/>
              <a:gd name="connsiteY228" fmla="*/ 6405 h 10000"/>
              <a:gd name="connsiteX229" fmla="*/ 415 w 10000"/>
              <a:gd name="connsiteY229" fmla="*/ 6405 h 10000"/>
              <a:gd name="connsiteX230" fmla="*/ 363 w 10000"/>
              <a:gd name="connsiteY230" fmla="*/ 6405 h 10000"/>
              <a:gd name="connsiteX231" fmla="*/ 311 w 10000"/>
              <a:gd name="connsiteY231" fmla="*/ 6405 h 10000"/>
              <a:gd name="connsiteX232" fmla="*/ 259 w 10000"/>
              <a:gd name="connsiteY232" fmla="*/ 6405 h 10000"/>
              <a:gd name="connsiteX233" fmla="*/ 207 w 10000"/>
              <a:gd name="connsiteY233" fmla="*/ 6405 h 10000"/>
              <a:gd name="connsiteX234" fmla="*/ 155 w 10000"/>
              <a:gd name="connsiteY234" fmla="*/ 6405 h 10000"/>
              <a:gd name="connsiteX235" fmla="*/ 104 w 10000"/>
              <a:gd name="connsiteY235" fmla="*/ 6405 h 10000"/>
              <a:gd name="connsiteX236" fmla="*/ 52 w 10000"/>
              <a:gd name="connsiteY236" fmla="*/ 6405 h 10000"/>
              <a:gd name="connsiteX237" fmla="*/ 0 w 10000"/>
              <a:gd name="connsiteY237" fmla="*/ 6405 h 10000"/>
              <a:gd name="connsiteX238" fmla="*/ 52 w 10000"/>
              <a:gd name="connsiteY238" fmla="*/ 5826 h 10000"/>
              <a:gd name="connsiteX239" fmla="*/ 207 w 10000"/>
              <a:gd name="connsiteY239" fmla="*/ 5909 h 10000"/>
              <a:gd name="connsiteX240" fmla="*/ 415 w 10000"/>
              <a:gd name="connsiteY240" fmla="*/ 5826 h 10000"/>
              <a:gd name="connsiteX241" fmla="*/ 1503 w 10000"/>
              <a:gd name="connsiteY241" fmla="*/ 5826 h 10000"/>
              <a:gd name="connsiteX242" fmla="*/ 1658 w 10000"/>
              <a:gd name="connsiteY242" fmla="*/ 5785 h 10000"/>
              <a:gd name="connsiteX243" fmla="*/ 1710 w 10000"/>
              <a:gd name="connsiteY243" fmla="*/ 5785 h 10000"/>
              <a:gd name="connsiteX244" fmla="*/ 2228 w 10000"/>
              <a:gd name="connsiteY244" fmla="*/ 5248 h 10000"/>
              <a:gd name="connsiteX245" fmla="*/ 2332 w 10000"/>
              <a:gd name="connsiteY245" fmla="*/ 5165 h 10000"/>
              <a:gd name="connsiteX246" fmla="*/ 2798 w 10000"/>
              <a:gd name="connsiteY246" fmla="*/ 4752 h 10000"/>
              <a:gd name="connsiteX247" fmla="*/ 3057 w 10000"/>
              <a:gd name="connsiteY247" fmla="*/ 4504 h 10000"/>
              <a:gd name="connsiteX248" fmla="*/ 3212 w 10000"/>
              <a:gd name="connsiteY248" fmla="*/ 4380 h 10000"/>
              <a:gd name="connsiteX249" fmla="*/ 3627 w 10000"/>
              <a:gd name="connsiteY249" fmla="*/ 3760 h 10000"/>
              <a:gd name="connsiteX250" fmla="*/ 4145 w 10000"/>
              <a:gd name="connsiteY250" fmla="*/ 3512 h 10000"/>
              <a:gd name="connsiteX251" fmla="*/ 5026 w 10000"/>
              <a:gd name="connsiteY251" fmla="*/ 2810 h 10000"/>
              <a:gd name="connsiteX252" fmla="*/ 4870 w 10000"/>
              <a:gd name="connsiteY252" fmla="*/ 2562 h 10000"/>
              <a:gd name="connsiteX253" fmla="*/ 4819 w 10000"/>
              <a:gd name="connsiteY253" fmla="*/ 2397 h 10000"/>
              <a:gd name="connsiteX254" fmla="*/ 4819 w 10000"/>
              <a:gd name="connsiteY254" fmla="*/ 1240 h 10000"/>
              <a:gd name="connsiteX255" fmla="*/ 4145 w 10000"/>
              <a:gd name="connsiteY255" fmla="*/ 744 h 10000"/>
              <a:gd name="connsiteX256" fmla="*/ 4974 w 10000"/>
              <a:gd name="connsiteY256" fmla="*/ 744 h 10000"/>
              <a:gd name="connsiteX257" fmla="*/ 5803 w 10000"/>
              <a:gd name="connsiteY257" fmla="*/ 744 h 10000"/>
              <a:gd name="connsiteX258" fmla="*/ 5803 w 10000"/>
              <a:gd name="connsiteY258" fmla="*/ 702 h 10000"/>
              <a:gd name="connsiteX259" fmla="*/ 5803 w 10000"/>
              <a:gd name="connsiteY259" fmla="*/ 661 h 10000"/>
              <a:gd name="connsiteX260" fmla="*/ 5803 w 10000"/>
              <a:gd name="connsiteY260" fmla="*/ 620 h 10000"/>
              <a:gd name="connsiteX261" fmla="*/ 5803 w 10000"/>
              <a:gd name="connsiteY261" fmla="*/ 579 h 10000"/>
              <a:gd name="connsiteX262" fmla="*/ 5855 w 10000"/>
              <a:gd name="connsiteY262" fmla="*/ 537 h 10000"/>
              <a:gd name="connsiteX263" fmla="*/ 5855 w 10000"/>
              <a:gd name="connsiteY263" fmla="*/ 496 h 10000"/>
              <a:gd name="connsiteX264" fmla="*/ 5855 w 10000"/>
              <a:gd name="connsiteY264" fmla="*/ 455 h 10000"/>
              <a:gd name="connsiteX265" fmla="*/ 5855 w 10000"/>
              <a:gd name="connsiteY265" fmla="*/ 413 h 10000"/>
              <a:gd name="connsiteX266" fmla="*/ 5855 w 10000"/>
              <a:gd name="connsiteY266" fmla="*/ 372 h 10000"/>
              <a:gd name="connsiteX267" fmla="*/ 5855 w 10000"/>
              <a:gd name="connsiteY267" fmla="*/ 331 h 10000"/>
              <a:gd name="connsiteX268" fmla="*/ 5803 w 10000"/>
              <a:gd name="connsiteY268" fmla="*/ 331 h 10000"/>
              <a:gd name="connsiteX269" fmla="*/ 5803 w 10000"/>
              <a:gd name="connsiteY269" fmla="*/ 289 h 10000"/>
              <a:gd name="connsiteX270" fmla="*/ 5803 w 10000"/>
              <a:gd name="connsiteY270" fmla="*/ 248 h 10000"/>
              <a:gd name="connsiteX271" fmla="*/ 5803 w 10000"/>
              <a:gd name="connsiteY271" fmla="*/ 207 h 10000"/>
              <a:gd name="connsiteX272" fmla="*/ 5803 w 10000"/>
              <a:gd name="connsiteY272" fmla="*/ 165 h 10000"/>
              <a:gd name="connsiteX273" fmla="*/ 5803 w 10000"/>
              <a:gd name="connsiteY273" fmla="*/ 124 h 10000"/>
              <a:gd name="connsiteX274" fmla="*/ 5803 w 10000"/>
              <a:gd name="connsiteY274" fmla="*/ 83 h 10000"/>
              <a:gd name="connsiteX275" fmla="*/ 5803 w 10000"/>
              <a:gd name="connsiteY275" fmla="*/ 41 h 10000"/>
              <a:gd name="connsiteX276" fmla="*/ 5803 w 10000"/>
              <a:gd name="connsiteY27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098 w 10000"/>
              <a:gd name="connsiteY153" fmla="*/ 9256 h 10000"/>
              <a:gd name="connsiteX154" fmla="*/ 7150 w 10000"/>
              <a:gd name="connsiteY154" fmla="*/ 9298 h 10000"/>
              <a:gd name="connsiteX155" fmla="*/ 7098 w 10000"/>
              <a:gd name="connsiteY155" fmla="*/ 9339 h 10000"/>
              <a:gd name="connsiteX156" fmla="*/ 7150 w 10000"/>
              <a:gd name="connsiteY156" fmla="*/ 9380 h 10000"/>
              <a:gd name="connsiteX157" fmla="*/ 7202 w 10000"/>
              <a:gd name="connsiteY157" fmla="*/ 9380 h 10000"/>
              <a:gd name="connsiteX158" fmla="*/ 7202 w 10000"/>
              <a:gd name="connsiteY158" fmla="*/ 9421 h 10000"/>
              <a:gd name="connsiteX159" fmla="*/ 7202 w 10000"/>
              <a:gd name="connsiteY159" fmla="*/ 9463 h 10000"/>
              <a:gd name="connsiteX160" fmla="*/ 7150 w 10000"/>
              <a:gd name="connsiteY160" fmla="*/ 9463 h 10000"/>
              <a:gd name="connsiteX161" fmla="*/ 7098 w 10000"/>
              <a:gd name="connsiteY161" fmla="*/ 9504 h 10000"/>
              <a:gd name="connsiteX162" fmla="*/ 7150 w 10000"/>
              <a:gd name="connsiteY162" fmla="*/ 9545 h 10000"/>
              <a:gd name="connsiteX163" fmla="*/ 7150 w 10000"/>
              <a:gd name="connsiteY163" fmla="*/ 9587 h 10000"/>
              <a:gd name="connsiteX164" fmla="*/ 7150 w 10000"/>
              <a:gd name="connsiteY164" fmla="*/ 9628 h 10000"/>
              <a:gd name="connsiteX165" fmla="*/ 7150 w 10000"/>
              <a:gd name="connsiteY165" fmla="*/ 9669 h 10000"/>
              <a:gd name="connsiteX166" fmla="*/ 7098 w 10000"/>
              <a:gd name="connsiteY166" fmla="*/ 9669 h 10000"/>
              <a:gd name="connsiteX167" fmla="*/ 7098 w 10000"/>
              <a:gd name="connsiteY167" fmla="*/ 9711 h 10000"/>
              <a:gd name="connsiteX168" fmla="*/ 7047 w 10000"/>
              <a:gd name="connsiteY168" fmla="*/ 9711 h 10000"/>
              <a:gd name="connsiteX169" fmla="*/ 6943 w 10000"/>
              <a:gd name="connsiteY169" fmla="*/ 9711 h 10000"/>
              <a:gd name="connsiteX170" fmla="*/ 6943 w 10000"/>
              <a:gd name="connsiteY170" fmla="*/ 9752 h 10000"/>
              <a:gd name="connsiteX171" fmla="*/ 6943 w 10000"/>
              <a:gd name="connsiteY171" fmla="*/ 9793 h 10000"/>
              <a:gd name="connsiteX172" fmla="*/ 6943 w 10000"/>
              <a:gd name="connsiteY172" fmla="*/ 9835 h 10000"/>
              <a:gd name="connsiteX173" fmla="*/ 6943 w 10000"/>
              <a:gd name="connsiteY173" fmla="*/ 9793 h 10000"/>
              <a:gd name="connsiteX174" fmla="*/ 6891 w 10000"/>
              <a:gd name="connsiteY174" fmla="*/ 9793 h 10000"/>
              <a:gd name="connsiteX175" fmla="*/ 6839 w 10000"/>
              <a:gd name="connsiteY175" fmla="*/ 9793 h 10000"/>
              <a:gd name="connsiteX176" fmla="*/ 6839 w 10000"/>
              <a:gd name="connsiteY176" fmla="*/ 9835 h 10000"/>
              <a:gd name="connsiteX177" fmla="*/ 6839 w 10000"/>
              <a:gd name="connsiteY177" fmla="*/ 9876 h 10000"/>
              <a:gd name="connsiteX178" fmla="*/ 6839 w 10000"/>
              <a:gd name="connsiteY178" fmla="*/ 9917 h 10000"/>
              <a:gd name="connsiteX179" fmla="*/ 6736 w 10000"/>
              <a:gd name="connsiteY179" fmla="*/ 9917 h 10000"/>
              <a:gd name="connsiteX180" fmla="*/ 6736 w 10000"/>
              <a:gd name="connsiteY180" fmla="*/ 9959 h 10000"/>
              <a:gd name="connsiteX181" fmla="*/ 6684 w 10000"/>
              <a:gd name="connsiteY181" fmla="*/ 10000 h 10000"/>
              <a:gd name="connsiteX182" fmla="*/ 6545 w 10000"/>
              <a:gd name="connsiteY182" fmla="*/ 9917 h 10000"/>
              <a:gd name="connsiteX183" fmla="*/ 5233 w 10000"/>
              <a:gd name="connsiteY183" fmla="*/ 7934 h 10000"/>
              <a:gd name="connsiteX184" fmla="*/ 5181 w 10000"/>
              <a:gd name="connsiteY184" fmla="*/ 7851 h 10000"/>
              <a:gd name="connsiteX185" fmla="*/ 4456 w 10000"/>
              <a:gd name="connsiteY185" fmla="*/ 7727 h 10000"/>
              <a:gd name="connsiteX186" fmla="*/ 4404 w 10000"/>
              <a:gd name="connsiteY186" fmla="*/ 7769 h 10000"/>
              <a:gd name="connsiteX187" fmla="*/ 3886 w 10000"/>
              <a:gd name="connsiteY187" fmla="*/ 7975 h 10000"/>
              <a:gd name="connsiteX188" fmla="*/ 3575 w 10000"/>
              <a:gd name="connsiteY188" fmla="*/ 8264 h 10000"/>
              <a:gd name="connsiteX189" fmla="*/ 3420 w 10000"/>
              <a:gd name="connsiteY189" fmla="*/ 8140 h 10000"/>
              <a:gd name="connsiteX190" fmla="*/ 3368 w 10000"/>
              <a:gd name="connsiteY190" fmla="*/ 8099 h 10000"/>
              <a:gd name="connsiteX191" fmla="*/ 3264 w 10000"/>
              <a:gd name="connsiteY191" fmla="*/ 8058 h 10000"/>
              <a:gd name="connsiteX192" fmla="*/ 3161 w 10000"/>
              <a:gd name="connsiteY192" fmla="*/ 7975 h 10000"/>
              <a:gd name="connsiteX193" fmla="*/ 3161 w 10000"/>
              <a:gd name="connsiteY193" fmla="*/ 7893 h 10000"/>
              <a:gd name="connsiteX194" fmla="*/ 3109 w 10000"/>
              <a:gd name="connsiteY194" fmla="*/ 7851 h 10000"/>
              <a:gd name="connsiteX195" fmla="*/ 3109 w 10000"/>
              <a:gd name="connsiteY195" fmla="*/ 7810 h 10000"/>
              <a:gd name="connsiteX196" fmla="*/ 3057 w 10000"/>
              <a:gd name="connsiteY196" fmla="*/ 7769 h 10000"/>
              <a:gd name="connsiteX197" fmla="*/ 3057 w 10000"/>
              <a:gd name="connsiteY197" fmla="*/ 7727 h 10000"/>
              <a:gd name="connsiteX198" fmla="*/ 3005 w 10000"/>
              <a:gd name="connsiteY198" fmla="*/ 7686 h 10000"/>
              <a:gd name="connsiteX199" fmla="*/ 3005 w 10000"/>
              <a:gd name="connsiteY199" fmla="*/ 7645 h 10000"/>
              <a:gd name="connsiteX200" fmla="*/ 3005 w 10000"/>
              <a:gd name="connsiteY200" fmla="*/ 7562 h 10000"/>
              <a:gd name="connsiteX201" fmla="*/ 2953 w 10000"/>
              <a:gd name="connsiteY201" fmla="*/ 7521 h 10000"/>
              <a:gd name="connsiteX202" fmla="*/ 2953 w 10000"/>
              <a:gd name="connsiteY202" fmla="*/ 7479 h 10000"/>
              <a:gd name="connsiteX203" fmla="*/ 2902 w 10000"/>
              <a:gd name="connsiteY203" fmla="*/ 7438 h 10000"/>
              <a:gd name="connsiteX204" fmla="*/ 2902 w 10000"/>
              <a:gd name="connsiteY204" fmla="*/ 7355 h 10000"/>
              <a:gd name="connsiteX205" fmla="*/ 2902 w 10000"/>
              <a:gd name="connsiteY205" fmla="*/ 7314 h 10000"/>
              <a:gd name="connsiteX206" fmla="*/ 2850 w 10000"/>
              <a:gd name="connsiteY206" fmla="*/ 7314 h 10000"/>
              <a:gd name="connsiteX207" fmla="*/ 2798 w 10000"/>
              <a:gd name="connsiteY207" fmla="*/ 7273 h 10000"/>
              <a:gd name="connsiteX208" fmla="*/ 2746 w 10000"/>
              <a:gd name="connsiteY208" fmla="*/ 7190 h 10000"/>
              <a:gd name="connsiteX209" fmla="*/ 2746 w 10000"/>
              <a:gd name="connsiteY209" fmla="*/ 7149 h 10000"/>
              <a:gd name="connsiteX210" fmla="*/ 2746 w 10000"/>
              <a:gd name="connsiteY210" fmla="*/ 7066 h 10000"/>
              <a:gd name="connsiteX211" fmla="*/ 2694 w 10000"/>
              <a:gd name="connsiteY211" fmla="*/ 7025 h 10000"/>
              <a:gd name="connsiteX212" fmla="*/ 2694 w 10000"/>
              <a:gd name="connsiteY212" fmla="*/ 6983 h 10000"/>
              <a:gd name="connsiteX213" fmla="*/ 2591 w 10000"/>
              <a:gd name="connsiteY213" fmla="*/ 6983 h 10000"/>
              <a:gd name="connsiteX214" fmla="*/ 2332 w 10000"/>
              <a:gd name="connsiteY214" fmla="*/ 6983 h 10000"/>
              <a:gd name="connsiteX215" fmla="*/ 2228 w 10000"/>
              <a:gd name="connsiteY215" fmla="*/ 6983 h 10000"/>
              <a:gd name="connsiteX216" fmla="*/ 1036 w 10000"/>
              <a:gd name="connsiteY216" fmla="*/ 6612 h 10000"/>
              <a:gd name="connsiteX217" fmla="*/ 829 w 10000"/>
              <a:gd name="connsiteY217" fmla="*/ 6488 h 10000"/>
              <a:gd name="connsiteX218" fmla="*/ 829 w 10000"/>
              <a:gd name="connsiteY218" fmla="*/ 6446 h 10000"/>
              <a:gd name="connsiteX219" fmla="*/ 777 w 10000"/>
              <a:gd name="connsiteY219" fmla="*/ 6446 h 10000"/>
              <a:gd name="connsiteX220" fmla="*/ 725 w 10000"/>
              <a:gd name="connsiteY220" fmla="*/ 6446 h 10000"/>
              <a:gd name="connsiteX221" fmla="*/ 674 w 10000"/>
              <a:gd name="connsiteY221" fmla="*/ 6405 h 10000"/>
              <a:gd name="connsiteX222" fmla="*/ 622 w 10000"/>
              <a:gd name="connsiteY222" fmla="*/ 6405 h 10000"/>
              <a:gd name="connsiteX223" fmla="*/ 570 w 10000"/>
              <a:gd name="connsiteY223" fmla="*/ 6405 h 10000"/>
              <a:gd name="connsiteX224" fmla="*/ 570 w 10000"/>
              <a:gd name="connsiteY224" fmla="*/ 6364 h 10000"/>
              <a:gd name="connsiteX225" fmla="*/ 518 w 10000"/>
              <a:gd name="connsiteY225" fmla="*/ 6364 h 10000"/>
              <a:gd name="connsiteX226" fmla="*/ 466 w 10000"/>
              <a:gd name="connsiteY226" fmla="*/ 6364 h 10000"/>
              <a:gd name="connsiteX227" fmla="*/ 466 w 10000"/>
              <a:gd name="connsiteY227" fmla="*/ 6405 h 10000"/>
              <a:gd name="connsiteX228" fmla="*/ 415 w 10000"/>
              <a:gd name="connsiteY228" fmla="*/ 6405 h 10000"/>
              <a:gd name="connsiteX229" fmla="*/ 363 w 10000"/>
              <a:gd name="connsiteY229" fmla="*/ 6405 h 10000"/>
              <a:gd name="connsiteX230" fmla="*/ 311 w 10000"/>
              <a:gd name="connsiteY230" fmla="*/ 6405 h 10000"/>
              <a:gd name="connsiteX231" fmla="*/ 259 w 10000"/>
              <a:gd name="connsiteY231" fmla="*/ 6405 h 10000"/>
              <a:gd name="connsiteX232" fmla="*/ 207 w 10000"/>
              <a:gd name="connsiteY232" fmla="*/ 6405 h 10000"/>
              <a:gd name="connsiteX233" fmla="*/ 155 w 10000"/>
              <a:gd name="connsiteY233" fmla="*/ 6405 h 10000"/>
              <a:gd name="connsiteX234" fmla="*/ 104 w 10000"/>
              <a:gd name="connsiteY234" fmla="*/ 6405 h 10000"/>
              <a:gd name="connsiteX235" fmla="*/ 52 w 10000"/>
              <a:gd name="connsiteY235" fmla="*/ 6405 h 10000"/>
              <a:gd name="connsiteX236" fmla="*/ 0 w 10000"/>
              <a:gd name="connsiteY236" fmla="*/ 6405 h 10000"/>
              <a:gd name="connsiteX237" fmla="*/ 52 w 10000"/>
              <a:gd name="connsiteY237" fmla="*/ 5826 h 10000"/>
              <a:gd name="connsiteX238" fmla="*/ 207 w 10000"/>
              <a:gd name="connsiteY238" fmla="*/ 5909 h 10000"/>
              <a:gd name="connsiteX239" fmla="*/ 415 w 10000"/>
              <a:gd name="connsiteY239" fmla="*/ 5826 h 10000"/>
              <a:gd name="connsiteX240" fmla="*/ 1503 w 10000"/>
              <a:gd name="connsiteY240" fmla="*/ 5826 h 10000"/>
              <a:gd name="connsiteX241" fmla="*/ 1658 w 10000"/>
              <a:gd name="connsiteY241" fmla="*/ 5785 h 10000"/>
              <a:gd name="connsiteX242" fmla="*/ 1710 w 10000"/>
              <a:gd name="connsiteY242" fmla="*/ 5785 h 10000"/>
              <a:gd name="connsiteX243" fmla="*/ 2228 w 10000"/>
              <a:gd name="connsiteY243" fmla="*/ 5248 h 10000"/>
              <a:gd name="connsiteX244" fmla="*/ 2332 w 10000"/>
              <a:gd name="connsiteY244" fmla="*/ 5165 h 10000"/>
              <a:gd name="connsiteX245" fmla="*/ 2798 w 10000"/>
              <a:gd name="connsiteY245" fmla="*/ 4752 h 10000"/>
              <a:gd name="connsiteX246" fmla="*/ 3057 w 10000"/>
              <a:gd name="connsiteY246" fmla="*/ 4504 h 10000"/>
              <a:gd name="connsiteX247" fmla="*/ 3212 w 10000"/>
              <a:gd name="connsiteY247" fmla="*/ 4380 h 10000"/>
              <a:gd name="connsiteX248" fmla="*/ 3627 w 10000"/>
              <a:gd name="connsiteY248" fmla="*/ 3760 h 10000"/>
              <a:gd name="connsiteX249" fmla="*/ 4145 w 10000"/>
              <a:gd name="connsiteY249" fmla="*/ 3512 h 10000"/>
              <a:gd name="connsiteX250" fmla="*/ 5026 w 10000"/>
              <a:gd name="connsiteY250" fmla="*/ 2810 h 10000"/>
              <a:gd name="connsiteX251" fmla="*/ 4870 w 10000"/>
              <a:gd name="connsiteY251" fmla="*/ 2562 h 10000"/>
              <a:gd name="connsiteX252" fmla="*/ 4819 w 10000"/>
              <a:gd name="connsiteY252" fmla="*/ 2397 h 10000"/>
              <a:gd name="connsiteX253" fmla="*/ 4819 w 10000"/>
              <a:gd name="connsiteY253" fmla="*/ 1240 h 10000"/>
              <a:gd name="connsiteX254" fmla="*/ 4145 w 10000"/>
              <a:gd name="connsiteY254" fmla="*/ 744 h 10000"/>
              <a:gd name="connsiteX255" fmla="*/ 4974 w 10000"/>
              <a:gd name="connsiteY255" fmla="*/ 744 h 10000"/>
              <a:gd name="connsiteX256" fmla="*/ 5803 w 10000"/>
              <a:gd name="connsiteY256" fmla="*/ 744 h 10000"/>
              <a:gd name="connsiteX257" fmla="*/ 5803 w 10000"/>
              <a:gd name="connsiteY257" fmla="*/ 702 h 10000"/>
              <a:gd name="connsiteX258" fmla="*/ 5803 w 10000"/>
              <a:gd name="connsiteY258" fmla="*/ 661 h 10000"/>
              <a:gd name="connsiteX259" fmla="*/ 5803 w 10000"/>
              <a:gd name="connsiteY259" fmla="*/ 620 h 10000"/>
              <a:gd name="connsiteX260" fmla="*/ 5803 w 10000"/>
              <a:gd name="connsiteY260" fmla="*/ 579 h 10000"/>
              <a:gd name="connsiteX261" fmla="*/ 5855 w 10000"/>
              <a:gd name="connsiteY261" fmla="*/ 537 h 10000"/>
              <a:gd name="connsiteX262" fmla="*/ 5855 w 10000"/>
              <a:gd name="connsiteY262" fmla="*/ 496 h 10000"/>
              <a:gd name="connsiteX263" fmla="*/ 5855 w 10000"/>
              <a:gd name="connsiteY263" fmla="*/ 455 h 10000"/>
              <a:gd name="connsiteX264" fmla="*/ 5855 w 10000"/>
              <a:gd name="connsiteY264" fmla="*/ 413 h 10000"/>
              <a:gd name="connsiteX265" fmla="*/ 5855 w 10000"/>
              <a:gd name="connsiteY265" fmla="*/ 372 h 10000"/>
              <a:gd name="connsiteX266" fmla="*/ 5855 w 10000"/>
              <a:gd name="connsiteY266" fmla="*/ 331 h 10000"/>
              <a:gd name="connsiteX267" fmla="*/ 5803 w 10000"/>
              <a:gd name="connsiteY267" fmla="*/ 331 h 10000"/>
              <a:gd name="connsiteX268" fmla="*/ 5803 w 10000"/>
              <a:gd name="connsiteY268" fmla="*/ 289 h 10000"/>
              <a:gd name="connsiteX269" fmla="*/ 5803 w 10000"/>
              <a:gd name="connsiteY269" fmla="*/ 248 h 10000"/>
              <a:gd name="connsiteX270" fmla="*/ 5803 w 10000"/>
              <a:gd name="connsiteY270" fmla="*/ 207 h 10000"/>
              <a:gd name="connsiteX271" fmla="*/ 5803 w 10000"/>
              <a:gd name="connsiteY271" fmla="*/ 165 h 10000"/>
              <a:gd name="connsiteX272" fmla="*/ 5803 w 10000"/>
              <a:gd name="connsiteY272" fmla="*/ 124 h 10000"/>
              <a:gd name="connsiteX273" fmla="*/ 5803 w 10000"/>
              <a:gd name="connsiteY273" fmla="*/ 83 h 10000"/>
              <a:gd name="connsiteX274" fmla="*/ 5803 w 10000"/>
              <a:gd name="connsiteY274" fmla="*/ 41 h 10000"/>
              <a:gd name="connsiteX275" fmla="*/ 5803 w 10000"/>
              <a:gd name="connsiteY27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50 h 10000"/>
              <a:gd name="connsiteX144" fmla="*/ 7150 w 10000"/>
              <a:gd name="connsiteY144" fmla="*/ 9091 h 10000"/>
              <a:gd name="connsiteX145" fmla="*/ 7202 w 10000"/>
              <a:gd name="connsiteY145" fmla="*/ 9132 h 10000"/>
              <a:gd name="connsiteX146" fmla="*/ 7254 w 10000"/>
              <a:gd name="connsiteY146" fmla="*/ 9132 h 10000"/>
              <a:gd name="connsiteX147" fmla="*/ 7254 w 10000"/>
              <a:gd name="connsiteY147" fmla="*/ 9174 h 10000"/>
              <a:gd name="connsiteX148" fmla="*/ 7202 w 10000"/>
              <a:gd name="connsiteY148" fmla="*/ 9174 h 10000"/>
              <a:gd name="connsiteX149" fmla="*/ 7150 w 10000"/>
              <a:gd name="connsiteY149" fmla="*/ 9174 h 10000"/>
              <a:gd name="connsiteX150" fmla="*/ 7202 w 10000"/>
              <a:gd name="connsiteY150" fmla="*/ 9215 h 10000"/>
              <a:gd name="connsiteX151" fmla="*/ 7202 w 10000"/>
              <a:gd name="connsiteY151" fmla="*/ 9256 h 10000"/>
              <a:gd name="connsiteX152" fmla="*/ 7150 w 10000"/>
              <a:gd name="connsiteY152" fmla="*/ 9256 h 10000"/>
              <a:gd name="connsiteX153" fmla="*/ 7150 w 10000"/>
              <a:gd name="connsiteY153" fmla="*/ 9298 h 10000"/>
              <a:gd name="connsiteX154" fmla="*/ 7098 w 10000"/>
              <a:gd name="connsiteY154" fmla="*/ 9339 h 10000"/>
              <a:gd name="connsiteX155" fmla="*/ 7150 w 10000"/>
              <a:gd name="connsiteY155" fmla="*/ 9380 h 10000"/>
              <a:gd name="connsiteX156" fmla="*/ 7202 w 10000"/>
              <a:gd name="connsiteY156" fmla="*/ 9380 h 10000"/>
              <a:gd name="connsiteX157" fmla="*/ 7202 w 10000"/>
              <a:gd name="connsiteY157" fmla="*/ 9421 h 10000"/>
              <a:gd name="connsiteX158" fmla="*/ 7202 w 10000"/>
              <a:gd name="connsiteY158" fmla="*/ 9463 h 10000"/>
              <a:gd name="connsiteX159" fmla="*/ 7150 w 10000"/>
              <a:gd name="connsiteY159" fmla="*/ 9463 h 10000"/>
              <a:gd name="connsiteX160" fmla="*/ 7098 w 10000"/>
              <a:gd name="connsiteY160" fmla="*/ 9504 h 10000"/>
              <a:gd name="connsiteX161" fmla="*/ 7150 w 10000"/>
              <a:gd name="connsiteY161" fmla="*/ 9545 h 10000"/>
              <a:gd name="connsiteX162" fmla="*/ 7150 w 10000"/>
              <a:gd name="connsiteY162" fmla="*/ 9587 h 10000"/>
              <a:gd name="connsiteX163" fmla="*/ 7150 w 10000"/>
              <a:gd name="connsiteY163" fmla="*/ 9628 h 10000"/>
              <a:gd name="connsiteX164" fmla="*/ 7150 w 10000"/>
              <a:gd name="connsiteY164" fmla="*/ 9669 h 10000"/>
              <a:gd name="connsiteX165" fmla="*/ 7098 w 10000"/>
              <a:gd name="connsiteY165" fmla="*/ 9669 h 10000"/>
              <a:gd name="connsiteX166" fmla="*/ 7098 w 10000"/>
              <a:gd name="connsiteY166" fmla="*/ 9711 h 10000"/>
              <a:gd name="connsiteX167" fmla="*/ 7047 w 10000"/>
              <a:gd name="connsiteY167" fmla="*/ 9711 h 10000"/>
              <a:gd name="connsiteX168" fmla="*/ 6943 w 10000"/>
              <a:gd name="connsiteY168" fmla="*/ 9711 h 10000"/>
              <a:gd name="connsiteX169" fmla="*/ 6943 w 10000"/>
              <a:gd name="connsiteY169" fmla="*/ 9752 h 10000"/>
              <a:gd name="connsiteX170" fmla="*/ 6943 w 10000"/>
              <a:gd name="connsiteY170" fmla="*/ 9793 h 10000"/>
              <a:gd name="connsiteX171" fmla="*/ 6943 w 10000"/>
              <a:gd name="connsiteY171" fmla="*/ 9835 h 10000"/>
              <a:gd name="connsiteX172" fmla="*/ 6943 w 10000"/>
              <a:gd name="connsiteY172" fmla="*/ 9793 h 10000"/>
              <a:gd name="connsiteX173" fmla="*/ 6891 w 10000"/>
              <a:gd name="connsiteY173" fmla="*/ 9793 h 10000"/>
              <a:gd name="connsiteX174" fmla="*/ 6839 w 10000"/>
              <a:gd name="connsiteY174" fmla="*/ 9793 h 10000"/>
              <a:gd name="connsiteX175" fmla="*/ 6839 w 10000"/>
              <a:gd name="connsiteY175" fmla="*/ 9835 h 10000"/>
              <a:gd name="connsiteX176" fmla="*/ 6839 w 10000"/>
              <a:gd name="connsiteY176" fmla="*/ 9876 h 10000"/>
              <a:gd name="connsiteX177" fmla="*/ 6839 w 10000"/>
              <a:gd name="connsiteY177" fmla="*/ 9917 h 10000"/>
              <a:gd name="connsiteX178" fmla="*/ 6736 w 10000"/>
              <a:gd name="connsiteY178" fmla="*/ 9917 h 10000"/>
              <a:gd name="connsiteX179" fmla="*/ 6736 w 10000"/>
              <a:gd name="connsiteY179" fmla="*/ 9959 h 10000"/>
              <a:gd name="connsiteX180" fmla="*/ 6684 w 10000"/>
              <a:gd name="connsiteY180" fmla="*/ 10000 h 10000"/>
              <a:gd name="connsiteX181" fmla="*/ 6545 w 10000"/>
              <a:gd name="connsiteY181" fmla="*/ 9917 h 10000"/>
              <a:gd name="connsiteX182" fmla="*/ 5233 w 10000"/>
              <a:gd name="connsiteY182" fmla="*/ 7934 h 10000"/>
              <a:gd name="connsiteX183" fmla="*/ 5181 w 10000"/>
              <a:gd name="connsiteY183" fmla="*/ 7851 h 10000"/>
              <a:gd name="connsiteX184" fmla="*/ 4456 w 10000"/>
              <a:gd name="connsiteY184" fmla="*/ 7727 h 10000"/>
              <a:gd name="connsiteX185" fmla="*/ 4404 w 10000"/>
              <a:gd name="connsiteY185" fmla="*/ 7769 h 10000"/>
              <a:gd name="connsiteX186" fmla="*/ 3886 w 10000"/>
              <a:gd name="connsiteY186" fmla="*/ 7975 h 10000"/>
              <a:gd name="connsiteX187" fmla="*/ 3575 w 10000"/>
              <a:gd name="connsiteY187" fmla="*/ 8264 h 10000"/>
              <a:gd name="connsiteX188" fmla="*/ 3420 w 10000"/>
              <a:gd name="connsiteY188" fmla="*/ 8140 h 10000"/>
              <a:gd name="connsiteX189" fmla="*/ 3368 w 10000"/>
              <a:gd name="connsiteY189" fmla="*/ 8099 h 10000"/>
              <a:gd name="connsiteX190" fmla="*/ 3264 w 10000"/>
              <a:gd name="connsiteY190" fmla="*/ 8058 h 10000"/>
              <a:gd name="connsiteX191" fmla="*/ 3161 w 10000"/>
              <a:gd name="connsiteY191" fmla="*/ 7975 h 10000"/>
              <a:gd name="connsiteX192" fmla="*/ 3161 w 10000"/>
              <a:gd name="connsiteY192" fmla="*/ 7893 h 10000"/>
              <a:gd name="connsiteX193" fmla="*/ 3109 w 10000"/>
              <a:gd name="connsiteY193" fmla="*/ 7851 h 10000"/>
              <a:gd name="connsiteX194" fmla="*/ 3109 w 10000"/>
              <a:gd name="connsiteY194" fmla="*/ 7810 h 10000"/>
              <a:gd name="connsiteX195" fmla="*/ 3057 w 10000"/>
              <a:gd name="connsiteY195" fmla="*/ 7769 h 10000"/>
              <a:gd name="connsiteX196" fmla="*/ 3057 w 10000"/>
              <a:gd name="connsiteY196" fmla="*/ 7727 h 10000"/>
              <a:gd name="connsiteX197" fmla="*/ 3005 w 10000"/>
              <a:gd name="connsiteY197" fmla="*/ 7686 h 10000"/>
              <a:gd name="connsiteX198" fmla="*/ 3005 w 10000"/>
              <a:gd name="connsiteY198" fmla="*/ 7645 h 10000"/>
              <a:gd name="connsiteX199" fmla="*/ 3005 w 10000"/>
              <a:gd name="connsiteY199" fmla="*/ 7562 h 10000"/>
              <a:gd name="connsiteX200" fmla="*/ 2953 w 10000"/>
              <a:gd name="connsiteY200" fmla="*/ 7521 h 10000"/>
              <a:gd name="connsiteX201" fmla="*/ 2953 w 10000"/>
              <a:gd name="connsiteY201" fmla="*/ 7479 h 10000"/>
              <a:gd name="connsiteX202" fmla="*/ 2902 w 10000"/>
              <a:gd name="connsiteY202" fmla="*/ 7438 h 10000"/>
              <a:gd name="connsiteX203" fmla="*/ 2902 w 10000"/>
              <a:gd name="connsiteY203" fmla="*/ 7355 h 10000"/>
              <a:gd name="connsiteX204" fmla="*/ 2902 w 10000"/>
              <a:gd name="connsiteY204" fmla="*/ 7314 h 10000"/>
              <a:gd name="connsiteX205" fmla="*/ 2850 w 10000"/>
              <a:gd name="connsiteY205" fmla="*/ 7314 h 10000"/>
              <a:gd name="connsiteX206" fmla="*/ 2798 w 10000"/>
              <a:gd name="connsiteY206" fmla="*/ 7273 h 10000"/>
              <a:gd name="connsiteX207" fmla="*/ 2746 w 10000"/>
              <a:gd name="connsiteY207" fmla="*/ 7190 h 10000"/>
              <a:gd name="connsiteX208" fmla="*/ 2746 w 10000"/>
              <a:gd name="connsiteY208" fmla="*/ 7149 h 10000"/>
              <a:gd name="connsiteX209" fmla="*/ 2746 w 10000"/>
              <a:gd name="connsiteY209" fmla="*/ 7066 h 10000"/>
              <a:gd name="connsiteX210" fmla="*/ 2694 w 10000"/>
              <a:gd name="connsiteY210" fmla="*/ 7025 h 10000"/>
              <a:gd name="connsiteX211" fmla="*/ 2694 w 10000"/>
              <a:gd name="connsiteY211" fmla="*/ 6983 h 10000"/>
              <a:gd name="connsiteX212" fmla="*/ 2591 w 10000"/>
              <a:gd name="connsiteY212" fmla="*/ 6983 h 10000"/>
              <a:gd name="connsiteX213" fmla="*/ 2332 w 10000"/>
              <a:gd name="connsiteY213" fmla="*/ 6983 h 10000"/>
              <a:gd name="connsiteX214" fmla="*/ 2228 w 10000"/>
              <a:gd name="connsiteY214" fmla="*/ 6983 h 10000"/>
              <a:gd name="connsiteX215" fmla="*/ 1036 w 10000"/>
              <a:gd name="connsiteY215" fmla="*/ 6612 h 10000"/>
              <a:gd name="connsiteX216" fmla="*/ 829 w 10000"/>
              <a:gd name="connsiteY216" fmla="*/ 6488 h 10000"/>
              <a:gd name="connsiteX217" fmla="*/ 829 w 10000"/>
              <a:gd name="connsiteY217" fmla="*/ 6446 h 10000"/>
              <a:gd name="connsiteX218" fmla="*/ 777 w 10000"/>
              <a:gd name="connsiteY218" fmla="*/ 6446 h 10000"/>
              <a:gd name="connsiteX219" fmla="*/ 725 w 10000"/>
              <a:gd name="connsiteY219" fmla="*/ 6446 h 10000"/>
              <a:gd name="connsiteX220" fmla="*/ 674 w 10000"/>
              <a:gd name="connsiteY220" fmla="*/ 6405 h 10000"/>
              <a:gd name="connsiteX221" fmla="*/ 622 w 10000"/>
              <a:gd name="connsiteY221" fmla="*/ 6405 h 10000"/>
              <a:gd name="connsiteX222" fmla="*/ 570 w 10000"/>
              <a:gd name="connsiteY222" fmla="*/ 6405 h 10000"/>
              <a:gd name="connsiteX223" fmla="*/ 570 w 10000"/>
              <a:gd name="connsiteY223" fmla="*/ 6364 h 10000"/>
              <a:gd name="connsiteX224" fmla="*/ 518 w 10000"/>
              <a:gd name="connsiteY224" fmla="*/ 6364 h 10000"/>
              <a:gd name="connsiteX225" fmla="*/ 466 w 10000"/>
              <a:gd name="connsiteY225" fmla="*/ 6364 h 10000"/>
              <a:gd name="connsiteX226" fmla="*/ 466 w 10000"/>
              <a:gd name="connsiteY226" fmla="*/ 6405 h 10000"/>
              <a:gd name="connsiteX227" fmla="*/ 415 w 10000"/>
              <a:gd name="connsiteY227" fmla="*/ 6405 h 10000"/>
              <a:gd name="connsiteX228" fmla="*/ 363 w 10000"/>
              <a:gd name="connsiteY228" fmla="*/ 6405 h 10000"/>
              <a:gd name="connsiteX229" fmla="*/ 311 w 10000"/>
              <a:gd name="connsiteY229" fmla="*/ 6405 h 10000"/>
              <a:gd name="connsiteX230" fmla="*/ 259 w 10000"/>
              <a:gd name="connsiteY230" fmla="*/ 6405 h 10000"/>
              <a:gd name="connsiteX231" fmla="*/ 207 w 10000"/>
              <a:gd name="connsiteY231" fmla="*/ 6405 h 10000"/>
              <a:gd name="connsiteX232" fmla="*/ 155 w 10000"/>
              <a:gd name="connsiteY232" fmla="*/ 6405 h 10000"/>
              <a:gd name="connsiteX233" fmla="*/ 104 w 10000"/>
              <a:gd name="connsiteY233" fmla="*/ 6405 h 10000"/>
              <a:gd name="connsiteX234" fmla="*/ 52 w 10000"/>
              <a:gd name="connsiteY234" fmla="*/ 6405 h 10000"/>
              <a:gd name="connsiteX235" fmla="*/ 0 w 10000"/>
              <a:gd name="connsiteY235" fmla="*/ 6405 h 10000"/>
              <a:gd name="connsiteX236" fmla="*/ 52 w 10000"/>
              <a:gd name="connsiteY236" fmla="*/ 5826 h 10000"/>
              <a:gd name="connsiteX237" fmla="*/ 207 w 10000"/>
              <a:gd name="connsiteY237" fmla="*/ 5909 h 10000"/>
              <a:gd name="connsiteX238" fmla="*/ 415 w 10000"/>
              <a:gd name="connsiteY238" fmla="*/ 5826 h 10000"/>
              <a:gd name="connsiteX239" fmla="*/ 1503 w 10000"/>
              <a:gd name="connsiteY239" fmla="*/ 5826 h 10000"/>
              <a:gd name="connsiteX240" fmla="*/ 1658 w 10000"/>
              <a:gd name="connsiteY240" fmla="*/ 5785 h 10000"/>
              <a:gd name="connsiteX241" fmla="*/ 1710 w 10000"/>
              <a:gd name="connsiteY241" fmla="*/ 5785 h 10000"/>
              <a:gd name="connsiteX242" fmla="*/ 2228 w 10000"/>
              <a:gd name="connsiteY242" fmla="*/ 5248 h 10000"/>
              <a:gd name="connsiteX243" fmla="*/ 2332 w 10000"/>
              <a:gd name="connsiteY243" fmla="*/ 5165 h 10000"/>
              <a:gd name="connsiteX244" fmla="*/ 2798 w 10000"/>
              <a:gd name="connsiteY244" fmla="*/ 4752 h 10000"/>
              <a:gd name="connsiteX245" fmla="*/ 3057 w 10000"/>
              <a:gd name="connsiteY245" fmla="*/ 4504 h 10000"/>
              <a:gd name="connsiteX246" fmla="*/ 3212 w 10000"/>
              <a:gd name="connsiteY246" fmla="*/ 4380 h 10000"/>
              <a:gd name="connsiteX247" fmla="*/ 3627 w 10000"/>
              <a:gd name="connsiteY247" fmla="*/ 3760 h 10000"/>
              <a:gd name="connsiteX248" fmla="*/ 4145 w 10000"/>
              <a:gd name="connsiteY248" fmla="*/ 3512 h 10000"/>
              <a:gd name="connsiteX249" fmla="*/ 5026 w 10000"/>
              <a:gd name="connsiteY249" fmla="*/ 2810 h 10000"/>
              <a:gd name="connsiteX250" fmla="*/ 4870 w 10000"/>
              <a:gd name="connsiteY250" fmla="*/ 2562 h 10000"/>
              <a:gd name="connsiteX251" fmla="*/ 4819 w 10000"/>
              <a:gd name="connsiteY251" fmla="*/ 2397 h 10000"/>
              <a:gd name="connsiteX252" fmla="*/ 4819 w 10000"/>
              <a:gd name="connsiteY252" fmla="*/ 1240 h 10000"/>
              <a:gd name="connsiteX253" fmla="*/ 4145 w 10000"/>
              <a:gd name="connsiteY253" fmla="*/ 744 h 10000"/>
              <a:gd name="connsiteX254" fmla="*/ 4974 w 10000"/>
              <a:gd name="connsiteY254" fmla="*/ 744 h 10000"/>
              <a:gd name="connsiteX255" fmla="*/ 5803 w 10000"/>
              <a:gd name="connsiteY255" fmla="*/ 744 h 10000"/>
              <a:gd name="connsiteX256" fmla="*/ 5803 w 10000"/>
              <a:gd name="connsiteY256" fmla="*/ 702 h 10000"/>
              <a:gd name="connsiteX257" fmla="*/ 5803 w 10000"/>
              <a:gd name="connsiteY257" fmla="*/ 661 h 10000"/>
              <a:gd name="connsiteX258" fmla="*/ 5803 w 10000"/>
              <a:gd name="connsiteY258" fmla="*/ 620 h 10000"/>
              <a:gd name="connsiteX259" fmla="*/ 5803 w 10000"/>
              <a:gd name="connsiteY259" fmla="*/ 579 h 10000"/>
              <a:gd name="connsiteX260" fmla="*/ 5855 w 10000"/>
              <a:gd name="connsiteY260" fmla="*/ 537 h 10000"/>
              <a:gd name="connsiteX261" fmla="*/ 5855 w 10000"/>
              <a:gd name="connsiteY261" fmla="*/ 496 h 10000"/>
              <a:gd name="connsiteX262" fmla="*/ 5855 w 10000"/>
              <a:gd name="connsiteY262" fmla="*/ 455 h 10000"/>
              <a:gd name="connsiteX263" fmla="*/ 5855 w 10000"/>
              <a:gd name="connsiteY263" fmla="*/ 413 h 10000"/>
              <a:gd name="connsiteX264" fmla="*/ 5855 w 10000"/>
              <a:gd name="connsiteY264" fmla="*/ 372 h 10000"/>
              <a:gd name="connsiteX265" fmla="*/ 5855 w 10000"/>
              <a:gd name="connsiteY265" fmla="*/ 331 h 10000"/>
              <a:gd name="connsiteX266" fmla="*/ 5803 w 10000"/>
              <a:gd name="connsiteY266" fmla="*/ 331 h 10000"/>
              <a:gd name="connsiteX267" fmla="*/ 5803 w 10000"/>
              <a:gd name="connsiteY267" fmla="*/ 289 h 10000"/>
              <a:gd name="connsiteX268" fmla="*/ 5803 w 10000"/>
              <a:gd name="connsiteY268" fmla="*/ 248 h 10000"/>
              <a:gd name="connsiteX269" fmla="*/ 5803 w 10000"/>
              <a:gd name="connsiteY269" fmla="*/ 207 h 10000"/>
              <a:gd name="connsiteX270" fmla="*/ 5803 w 10000"/>
              <a:gd name="connsiteY270" fmla="*/ 165 h 10000"/>
              <a:gd name="connsiteX271" fmla="*/ 5803 w 10000"/>
              <a:gd name="connsiteY271" fmla="*/ 124 h 10000"/>
              <a:gd name="connsiteX272" fmla="*/ 5803 w 10000"/>
              <a:gd name="connsiteY272" fmla="*/ 83 h 10000"/>
              <a:gd name="connsiteX273" fmla="*/ 5803 w 10000"/>
              <a:gd name="connsiteY273" fmla="*/ 41 h 10000"/>
              <a:gd name="connsiteX274" fmla="*/ 5803 w 10000"/>
              <a:gd name="connsiteY27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58 w 10000"/>
              <a:gd name="connsiteY134" fmla="*/ 8926 h 10000"/>
              <a:gd name="connsiteX135" fmla="*/ 7306 w 10000"/>
              <a:gd name="connsiteY135" fmla="*/ 8967 h 10000"/>
              <a:gd name="connsiteX136" fmla="*/ 7254 w 10000"/>
              <a:gd name="connsiteY136" fmla="*/ 8967 h 10000"/>
              <a:gd name="connsiteX137" fmla="*/ 7254 w 10000"/>
              <a:gd name="connsiteY137" fmla="*/ 8926 h 10000"/>
              <a:gd name="connsiteX138" fmla="*/ 7254 w 10000"/>
              <a:gd name="connsiteY138" fmla="*/ 8967 h 10000"/>
              <a:gd name="connsiteX139" fmla="*/ 7254 w 10000"/>
              <a:gd name="connsiteY139" fmla="*/ 9008 h 10000"/>
              <a:gd name="connsiteX140" fmla="*/ 7202 w 10000"/>
              <a:gd name="connsiteY140" fmla="*/ 9008 h 10000"/>
              <a:gd name="connsiteX141" fmla="*/ 7150 w 10000"/>
              <a:gd name="connsiteY141" fmla="*/ 9008 h 10000"/>
              <a:gd name="connsiteX142" fmla="*/ 7202 w 10000"/>
              <a:gd name="connsiteY142" fmla="*/ 9050 h 10000"/>
              <a:gd name="connsiteX143" fmla="*/ 7150 w 10000"/>
              <a:gd name="connsiteY143" fmla="*/ 9091 h 10000"/>
              <a:gd name="connsiteX144" fmla="*/ 7202 w 10000"/>
              <a:gd name="connsiteY144" fmla="*/ 9132 h 10000"/>
              <a:gd name="connsiteX145" fmla="*/ 7254 w 10000"/>
              <a:gd name="connsiteY145" fmla="*/ 9132 h 10000"/>
              <a:gd name="connsiteX146" fmla="*/ 7254 w 10000"/>
              <a:gd name="connsiteY146" fmla="*/ 9174 h 10000"/>
              <a:gd name="connsiteX147" fmla="*/ 7202 w 10000"/>
              <a:gd name="connsiteY147" fmla="*/ 9174 h 10000"/>
              <a:gd name="connsiteX148" fmla="*/ 7150 w 10000"/>
              <a:gd name="connsiteY148" fmla="*/ 9174 h 10000"/>
              <a:gd name="connsiteX149" fmla="*/ 7202 w 10000"/>
              <a:gd name="connsiteY149" fmla="*/ 9215 h 10000"/>
              <a:gd name="connsiteX150" fmla="*/ 7202 w 10000"/>
              <a:gd name="connsiteY150" fmla="*/ 9256 h 10000"/>
              <a:gd name="connsiteX151" fmla="*/ 7150 w 10000"/>
              <a:gd name="connsiteY151" fmla="*/ 9256 h 10000"/>
              <a:gd name="connsiteX152" fmla="*/ 7150 w 10000"/>
              <a:gd name="connsiteY152" fmla="*/ 9298 h 10000"/>
              <a:gd name="connsiteX153" fmla="*/ 7098 w 10000"/>
              <a:gd name="connsiteY153" fmla="*/ 9339 h 10000"/>
              <a:gd name="connsiteX154" fmla="*/ 7150 w 10000"/>
              <a:gd name="connsiteY154" fmla="*/ 9380 h 10000"/>
              <a:gd name="connsiteX155" fmla="*/ 7202 w 10000"/>
              <a:gd name="connsiteY155" fmla="*/ 9380 h 10000"/>
              <a:gd name="connsiteX156" fmla="*/ 7202 w 10000"/>
              <a:gd name="connsiteY156" fmla="*/ 9421 h 10000"/>
              <a:gd name="connsiteX157" fmla="*/ 7202 w 10000"/>
              <a:gd name="connsiteY157" fmla="*/ 9463 h 10000"/>
              <a:gd name="connsiteX158" fmla="*/ 7150 w 10000"/>
              <a:gd name="connsiteY158" fmla="*/ 9463 h 10000"/>
              <a:gd name="connsiteX159" fmla="*/ 7098 w 10000"/>
              <a:gd name="connsiteY159" fmla="*/ 9504 h 10000"/>
              <a:gd name="connsiteX160" fmla="*/ 7150 w 10000"/>
              <a:gd name="connsiteY160" fmla="*/ 9545 h 10000"/>
              <a:gd name="connsiteX161" fmla="*/ 7150 w 10000"/>
              <a:gd name="connsiteY161" fmla="*/ 9587 h 10000"/>
              <a:gd name="connsiteX162" fmla="*/ 7150 w 10000"/>
              <a:gd name="connsiteY162" fmla="*/ 9628 h 10000"/>
              <a:gd name="connsiteX163" fmla="*/ 7150 w 10000"/>
              <a:gd name="connsiteY163" fmla="*/ 9669 h 10000"/>
              <a:gd name="connsiteX164" fmla="*/ 7098 w 10000"/>
              <a:gd name="connsiteY164" fmla="*/ 9669 h 10000"/>
              <a:gd name="connsiteX165" fmla="*/ 7098 w 10000"/>
              <a:gd name="connsiteY165" fmla="*/ 9711 h 10000"/>
              <a:gd name="connsiteX166" fmla="*/ 7047 w 10000"/>
              <a:gd name="connsiteY166" fmla="*/ 9711 h 10000"/>
              <a:gd name="connsiteX167" fmla="*/ 6943 w 10000"/>
              <a:gd name="connsiteY167" fmla="*/ 9711 h 10000"/>
              <a:gd name="connsiteX168" fmla="*/ 6943 w 10000"/>
              <a:gd name="connsiteY168" fmla="*/ 9752 h 10000"/>
              <a:gd name="connsiteX169" fmla="*/ 6943 w 10000"/>
              <a:gd name="connsiteY169" fmla="*/ 9793 h 10000"/>
              <a:gd name="connsiteX170" fmla="*/ 6943 w 10000"/>
              <a:gd name="connsiteY170" fmla="*/ 9835 h 10000"/>
              <a:gd name="connsiteX171" fmla="*/ 6943 w 10000"/>
              <a:gd name="connsiteY171" fmla="*/ 9793 h 10000"/>
              <a:gd name="connsiteX172" fmla="*/ 6891 w 10000"/>
              <a:gd name="connsiteY172" fmla="*/ 9793 h 10000"/>
              <a:gd name="connsiteX173" fmla="*/ 6839 w 10000"/>
              <a:gd name="connsiteY173" fmla="*/ 9793 h 10000"/>
              <a:gd name="connsiteX174" fmla="*/ 6839 w 10000"/>
              <a:gd name="connsiteY174" fmla="*/ 9835 h 10000"/>
              <a:gd name="connsiteX175" fmla="*/ 6839 w 10000"/>
              <a:gd name="connsiteY175" fmla="*/ 9876 h 10000"/>
              <a:gd name="connsiteX176" fmla="*/ 6839 w 10000"/>
              <a:gd name="connsiteY176" fmla="*/ 9917 h 10000"/>
              <a:gd name="connsiteX177" fmla="*/ 6736 w 10000"/>
              <a:gd name="connsiteY177" fmla="*/ 9917 h 10000"/>
              <a:gd name="connsiteX178" fmla="*/ 6736 w 10000"/>
              <a:gd name="connsiteY178" fmla="*/ 9959 h 10000"/>
              <a:gd name="connsiteX179" fmla="*/ 6684 w 10000"/>
              <a:gd name="connsiteY179" fmla="*/ 10000 h 10000"/>
              <a:gd name="connsiteX180" fmla="*/ 6545 w 10000"/>
              <a:gd name="connsiteY180" fmla="*/ 9917 h 10000"/>
              <a:gd name="connsiteX181" fmla="*/ 5233 w 10000"/>
              <a:gd name="connsiteY181" fmla="*/ 7934 h 10000"/>
              <a:gd name="connsiteX182" fmla="*/ 5181 w 10000"/>
              <a:gd name="connsiteY182" fmla="*/ 7851 h 10000"/>
              <a:gd name="connsiteX183" fmla="*/ 4456 w 10000"/>
              <a:gd name="connsiteY183" fmla="*/ 7727 h 10000"/>
              <a:gd name="connsiteX184" fmla="*/ 4404 w 10000"/>
              <a:gd name="connsiteY184" fmla="*/ 7769 h 10000"/>
              <a:gd name="connsiteX185" fmla="*/ 3886 w 10000"/>
              <a:gd name="connsiteY185" fmla="*/ 7975 h 10000"/>
              <a:gd name="connsiteX186" fmla="*/ 3575 w 10000"/>
              <a:gd name="connsiteY186" fmla="*/ 8264 h 10000"/>
              <a:gd name="connsiteX187" fmla="*/ 3420 w 10000"/>
              <a:gd name="connsiteY187" fmla="*/ 8140 h 10000"/>
              <a:gd name="connsiteX188" fmla="*/ 3368 w 10000"/>
              <a:gd name="connsiteY188" fmla="*/ 8099 h 10000"/>
              <a:gd name="connsiteX189" fmla="*/ 3264 w 10000"/>
              <a:gd name="connsiteY189" fmla="*/ 8058 h 10000"/>
              <a:gd name="connsiteX190" fmla="*/ 3161 w 10000"/>
              <a:gd name="connsiteY190" fmla="*/ 7975 h 10000"/>
              <a:gd name="connsiteX191" fmla="*/ 3161 w 10000"/>
              <a:gd name="connsiteY191" fmla="*/ 7893 h 10000"/>
              <a:gd name="connsiteX192" fmla="*/ 3109 w 10000"/>
              <a:gd name="connsiteY192" fmla="*/ 7851 h 10000"/>
              <a:gd name="connsiteX193" fmla="*/ 3109 w 10000"/>
              <a:gd name="connsiteY193" fmla="*/ 7810 h 10000"/>
              <a:gd name="connsiteX194" fmla="*/ 3057 w 10000"/>
              <a:gd name="connsiteY194" fmla="*/ 7769 h 10000"/>
              <a:gd name="connsiteX195" fmla="*/ 3057 w 10000"/>
              <a:gd name="connsiteY195" fmla="*/ 7727 h 10000"/>
              <a:gd name="connsiteX196" fmla="*/ 3005 w 10000"/>
              <a:gd name="connsiteY196" fmla="*/ 7686 h 10000"/>
              <a:gd name="connsiteX197" fmla="*/ 3005 w 10000"/>
              <a:gd name="connsiteY197" fmla="*/ 7645 h 10000"/>
              <a:gd name="connsiteX198" fmla="*/ 3005 w 10000"/>
              <a:gd name="connsiteY198" fmla="*/ 7562 h 10000"/>
              <a:gd name="connsiteX199" fmla="*/ 2953 w 10000"/>
              <a:gd name="connsiteY199" fmla="*/ 7521 h 10000"/>
              <a:gd name="connsiteX200" fmla="*/ 2953 w 10000"/>
              <a:gd name="connsiteY200" fmla="*/ 7479 h 10000"/>
              <a:gd name="connsiteX201" fmla="*/ 2902 w 10000"/>
              <a:gd name="connsiteY201" fmla="*/ 7438 h 10000"/>
              <a:gd name="connsiteX202" fmla="*/ 2902 w 10000"/>
              <a:gd name="connsiteY202" fmla="*/ 7355 h 10000"/>
              <a:gd name="connsiteX203" fmla="*/ 2902 w 10000"/>
              <a:gd name="connsiteY203" fmla="*/ 7314 h 10000"/>
              <a:gd name="connsiteX204" fmla="*/ 2850 w 10000"/>
              <a:gd name="connsiteY204" fmla="*/ 7314 h 10000"/>
              <a:gd name="connsiteX205" fmla="*/ 2798 w 10000"/>
              <a:gd name="connsiteY205" fmla="*/ 7273 h 10000"/>
              <a:gd name="connsiteX206" fmla="*/ 2746 w 10000"/>
              <a:gd name="connsiteY206" fmla="*/ 7190 h 10000"/>
              <a:gd name="connsiteX207" fmla="*/ 2746 w 10000"/>
              <a:gd name="connsiteY207" fmla="*/ 7149 h 10000"/>
              <a:gd name="connsiteX208" fmla="*/ 2746 w 10000"/>
              <a:gd name="connsiteY208" fmla="*/ 7066 h 10000"/>
              <a:gd name="connsiteX209" fmla="*/ 2694 w 10000"/>
              <a:gd name="connsiteY209" fmla="*/ 7025 h 10000"/>
              <a:gd name="connsiteX210" fmla="*/ 2694 w 10000"/>
              <a:gd name="connsiteY210" fmla="*/ 6983 h 10000"/>
              <a:gd name="connsiteX211" fmla="*/ 2591 w 10000"/>
              <a:gd name="connsiteY211" fmla="*/ 6983 h 10000"/>
              <a:gd name="connsiteX212" fmla="*/ 2332 w 10000"/>
              <a:gd name="connsiteY212" fmla="*/ 6983 h 10000"/>
              <a:gd name="connsiteX213" fmla="*/ 2228 w 10000"/>
              <a:gd name="connsiteY213" fmla="*/ 6983 h 10000"/>
              <a:gd name="connsiteX214" fmla="*/ 1036 w 10000"/>
              <a:gd name="connsiteY214" fmla="*/ 6612 h 10000"/>
              <a:gd name="connsiteX215" fmla="*/ 829 w 10000"/>
              <a:gd name="connsiteY215" fmla="*/ 6488 h 10000"/>
              <a:gd name="connsiteX216" fmla="*/ 829 w 10000"/>
              <a:gd name="connsiteY216" fmla="*/ 6446 h 10000"/>
              <a:gd name="connsiteX217" fmla="*/ 777 w 10000"/>
              <a:gd name="connsiteY217" fmla="*/ 6446 h 10000"/>
              <a:gd name="connsiteX218" fmla="*/ 725 w 10000"/>
              <a:gd name="connsiteY218" fmla="*/ 6446 h 10000"/>
              <a:gd name="connsiteX219" fmla="*/ 674 w 10000"/>
              <a:gd name="connsiteY219" fmla="*/ 6405 h 10000"/>
              <a:gd name="connsiteX220" fmla="*/ 622 w 10000"/>
              <a:gd name="connsiteY220" fmla="*/ 6405 h 10000"/>
              <a:gd name="connsiteX221" fmla="*/ 570 w 10000"/>
              <a:gd name="connsiteY221" fmla="*/ 6405 h 10000"/>
              <a:gd name="connsiteX222" fmla="*/ 570 w 10000"/>
              <a:gd name="connsiteY222" fmla="*/ 6364 h 10000"/>
              <a:gd name="connsiteX223" fmla="*/ 518 w 10000"/>
              <a:gd name="connsiteY223" fmla="*/ 6364 h 10000"/>
              <a:gd name="connsiteX224" fmla="*/ 466 w 10000"/>
              <a:gd name="connsiteY224" fmla="*/ 6364 h 10000"/>
              <a:gd name="connsiteX225" fmla="*/ 466 w 10000"/>
              <a:gd name="connsiteY225" fmla="*/ 6405 h 10000"/>
              <a:gd name="connsiteX226" fmla="*/ 415 w 10000"/>
              <a:gd name="connsiteY226" fmla="*/ 6405 h 10000"/>
              <a:gd name="connsiteX227" fmla="*/ 363 w 10000"/>
              <a:gd name="connsiteY227" fmla="*/ 6405 h 10000"/>
              <a:gd name="connsiteX228" fmla="*/ 311 w 10000"/>
              <a:gd name="connsiteY228" fmla="*/ 6405 h 10000"/>
              <a:gd name="connsiteX229" fmla="*/ 259 w 10000"/>
              <a:gd name="connsiteY229" fmla="*/ 6405 h 10000"/>
              <a:gd name="connsiteX230" fmla="*/ 207 w 10000"/>
              <a:gd name="connsiteY230" fmla="*/ 6405 h 10000"/>
              <a:gd name="connsiteX231" fmla="*/ 155 w 10000"/>
              <a:gd name="connsiteY231" fmla="*/ 6405 h 10000"/>
              <a:gd name="connsiteX232" fmla="*/ 104 w 10000"/>
              <a:gd name="connsiteY232" fmla="*/ 6405 h 10000"/>
              <a:gd name="connsiteX233" fmla="*/ 52 w 10000"/>
              <a:gd name="connsiteY233" fmla="*/ 6405 h 10000"/>
              <a:gd name="connsiteX234" fmla="*/ 0 w 10000"/>
              <a:gd name="connsiteY234" fmla="*/ 6405 h 10000"/>
              <a:gd name="connsiteX235" fmla="*/ 52 w 10000"/>
              <a:gd name="connsiteY235" fmla="*/ 5826 h 10000"/>
              <a:gd name="connsiteX236" fmla="*/ 207 w 10000"/>
              <a:gd name="connsiteY236" fmla="*/ 5909 h 10000"/>
              <a:gd name="connsiteX237" fmla="*/ 415 w 10000"/>
              <a:gd name="connsiteY237" fmla="*/ 5826 h 10000"/>
              <a:gd name="connsiteX238" fmla="*/ 1503 w 10000"/>
              <a:gd name="connsiteY238" fmla="*/ 5826 h 10000"/>
              <a:gd name="connsiteX239" fmla="*/ 1658 w 10000"/>
              <a:gd name="connsiteY239" fmla="*/ 5785 h 10000"/>
              <a:gd name="connsiteX240" fmla="*/ 1710 w 10000"/>
              <a:gd name="connsiteY240" fmla="*/ 5785 h 10000"/>
              <a:gd name="connsiteX241" fmla="*/ 2228 w 10000"/>
              <a:gd name="connsiteY241" fmla="*/ 5248 h 10000"/>
              <a:gd name="connsiteX242" fmla="*/ 2332 w 10000"/>
              <a:gd name="connsiteY242" fmla="*/ 5165 h 10000"/>
              <a:gd name="connsiteX243" fmla="*/ 2798 w 10000"/>
              <a:gd name="connsiteY243" fmla="*/ 4752 h 10000"/>
              <a:gd name="connsiteX244" fmla="*/ 3057 w 10000"/>
              <a:gd name="connsiteY244" fmla="*/ 4504 h 10000"/>
              <a:gd name="connsiteX245" fmla="*/ 3212 w 10000"/>
              <a:gd name="connsiteY245" fmla="*/ 4380 h 10000"/>
              <a:gd name="connsiteX246" fmla="*/ 3627 w 10000"/>
              <a:gd name="connsiteY246" fmla="*/ 3760 h 10000"/>
              <a:gd name="connsiteX247" fmla="*/ 4145 w 10000"/>
              <a:gd name="connsiteY247" fmla="*/ 3512 h 10000"/>
              <a:gd name="connsiteX248" fmla="*/ 5026 w 10000"/>
              <a:gd name="connsiteY248" fmla="*/ 2810 h 10000"/>
              <a:gd name="connsiteX249" fmla="*/ 4870 w 10000"/>
              <a:gd name="connsiteY249" fmla="*/ 2562 h 10000"/>
              <a:gd name="connsiteX250" fmla="*/ 4819 w 10000"/>
              <a:gd name="connsiteY250" fmla="*/ 2397 h 10000"/>
              <a:gd name="connsiteX251" fmla="*/ 4819 w 10000"/>
              <a:gd name="connsiteY251" fmla="*/ 1240 h 10000"/>
              <a:gd name="connsiteX252" fmla="*/ 4145 w 10000"/>
              <a:gd name="connsiteY252" fmla="*/ 744 h 10000"/>
              <a:gd name="connsiteX253" fmla="*/ 4974 w 10000"/>
              <a:gd name="connsiteY253" fmla="*/ 744 h 10000"/>
              <a:gd name="connsiteX254" fmla="*/ 5803 w 10000"/>
              <a:gd name="connsiteY254" fmla="*/ 744 h 10000"/>
              <a:gd name="connsiteX255" fmla="*/ 5803 w 10000"/>
              <a:gd name="connsiteY255" fmla="*/ 702 h 10000"/>
              <a:gd name="connsiteX256" fmla="*/ 5803 w 10000"/>
              <a:gd name="connsiteY256" fmla="*/ 661 h 10000"/>
              <a:gd name="connsiteX257" fmla="*/ 5803 w 10000"/>
              <a:gd name="connsiteY257" fmla="*/ 620 h 10000"/>
              <a:gd name="connsiteX258" fmla="*/ 5803 w 10000"/>
              <a:gd name="connsiteY258" fmla="*/ 579 h 10000"/>
              <a:gd name="connsiteX259" fmla="*/ 5855 w 10000"/>
              <a:gd name="connsiteY259" fmla="*/ 537 h 10000"/>
              <a:gd name="connsiteX260" fmla="*/ 5855 w 10000"/>
              <a:gd name="connsiteY260" fmla="*/ 496 h 10000"/>
              <a:gd name="connsiteX261" fmla="*/ 5855 w 10000"/>
              <a:gd name="connsiteY261" fmla="*/ 455 h 10000"/>
              <a:gd name="connsiteX262" fmla="*/ 5855 w 10000"/>
              <a:gd name="connsiteY262" fmla="*/ 413 h 10000"/>
              <a:gd name="connsiteX263" fmla="*/ 5855 w 10000"/>
              <a:gd name="connsiteY263" fmla="*/ 372 h 10000"/>
              <a:gd name="connsiteX264" fmla="*/ 5855 w 10000"/>
              <a:gd name="connsiteY264" fmla="*/ 331 h 10000"/>
              <a:gd name="connsiteX265" fmla="*/ 5803 w 10000"/>
              <a:gd name="connsiteY265" fmla="*/ 331 h 10000"/>
              <a:gd name="connsiteX266" fmla="*/ 5803 w 10000"/>
              <a:gd name="connsiteY266" fmla="*/ 289 h 10000"/>
              <a:gd name="connsiteX267" fmla="*/ 5803 w 10000"/>
              <a:gd name="connsiteY267" fmla="*/ 248 h 10000"/>
              <a:gd name="connsiteX268" fmla="*/ 5803 w 10000"/>
              <a:gd name="connsiteY268" fmla="*/ 207 h 10000"/>
              <a:gd name="connsiteX269" fmla="*/ 5803 w 10000"/>
              <a:gd name="connsiteY269" fmla="*/ 165 h 10000"/>
              <a:gd name="connsiteX270" fmla="*/ 5803 w 10000"/>
              <a:gd name="connsiteY270" fmla="*/ 124 h 10000"/>
              <a:gd name="connsiteX271" fmla="*/ 5803 w 10000"/>
              <a:gd name="connsiteY271" fmla="*/ 83 h 10000"/>
              <a:gd name="connsiteX272" fmla="*/ 5803 w 10000"/>
              <a:gd name="connsiteY272" fmla="*/ 41 h 10000"/>
              <a:gd name="connsiteX273" fmla="*/ 5803 w 10000"/>
              <a:gd name="connsiteY27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53 w 10000"/>
              <a:gd name="connsiteY199" fmla="*/ 7479 h 10000"/>
              <a:gd name="connsiteX200" fmla="*/ 2902 w 10000"/>
              <a:gd name="connsiteY200" fmla="*/ 7438 h 10000"/>
              <a:gd name="connsiteX201" fmla="*/ 2902 w 10000"/>
              <a:gd name="connsiteY201" fmla="*/ 7355 h 10000"/>
              <a:gd name="connsiteX202" fmla="*/ 2902 w 10000"/>
              <a:gd name="connsiteY202" fmla="*/ 7314 h 10000"/>
              <a:gd name="connsiteX203" fmla="*/ 2850 w 10000"/>
              <a:gd name="connsiteY203" fmla="*/ 7314 h 10000"/>
              <a:gd name="connsiteX204" fmla="*/ 2798 w 10000"/>
              <a:gd name="connsiteY204" fmla="*/ 7273 h 10000"/>
              <a:gd name="connsiteX205" fmla="*/ 2746 w 10000"/>
              <a:gd name="connsiteY205" fmla="*/ 7190 h 10000"/>
              <a:gd name="connsiteX206" fmla="*/ 2746 w 10000"/>
              <a:gd name="connsiteY206" fmla="*/ 7149 h 10000"/>
              <a:gd name="connsiteX207" fmla="*/ 2746 w 10000"/>
              <a:gd name="connsiteY207" fmla="*/ 7066 h 10000"/>
              <a:gd name="connsiteX208" fmla="*/ 2694 w 10000"/>
              <a:gd name="connsiteY208" fmla="*/ 7025 h 10000"/>
              <a:gd name="connsiteX209" fmla="*/ 2694 w 10000"/>
              <a:gd name="connsiteY209" fmla="*/ 6983 h 10000"/>
              <a:gd name="connsiteX210" fmla="*/ 2591 w 10000"/>
              <a:gd name="connsiteY210" fmla="*/ 6983 h 10000"/>
              <a:gd name="connsiteX211" fmla="*/ 2332 w 10000"/>
              <a:gd name="connsiteY211" fmla="*/ 6983 h 10000"/>
              <a:gd name="connsiteX212" fmla="*/ 2228 w 10000"/>
              <a:gd name="connsiteY212" fmla="*/ 6983 h 10000"/>
              <a:gd name="connsiteX213" fmla="*/ 1036 w 10000"/>
              <a:gd name="connsiteY213" fmla="*/ 6612 h 10000"/>
              <a:gd name="connsiteX214" fmla="*/ 829 w 10000"/>
              <a:gd name="connsiteY214" fmla="*/ 6488 h 10000"/>
              <a:gd name="connsiteX215" fmla="*/ 829 w 10000"/>
              <a:gd name="connsiteY215" fmla="*/ 6446 h 10000"/>
              <a:gd name="connsiteX216" fmla="*/ 777 w 10000"/>
              <a:gd name="connsiteY216" fmla="*/ 6446 h 10000"/>
              <a:gd name="connsiteX217" fmla="*/ 725 w 10000"/>
              <a:gd name="connsiteY217" fmla="*/ 6446 h 10000"/>
              <a:gd name="connsiteX218" fmla="*/ 674 w 10000"/>
              <a:gd name="connsiteY218" fmla="*/ 6405 h 10000"/>
              <a:gd name="connsiteX219" fmla="*/ 622 w 10000"/>
              <a:gd name="connsiteY219" fmla="*/ 6405 h 10000"/>
              <a:gd name="connsiteX220" fmla="*/ 570 w 10000"/>
              <a:gd name="connsiteY220" fmla="*/ 6405 h 10000"/>
              <a:gd name="connsiteX221" fmla="*/ 570 w 10000"/>
              <a:gd name="connsiteY221" fmla="*/ 6364 h 10000"/>
              <a:gd name="connsiteX222" fmla="*/ 518 w 10000"/>
              <a:gd name="connsiteY222" fmla="*/ 6364 h 10000"/>
              <a:gd name="connsiteX223" fmla="*/ 466 w 10000"/>
              <a:gd name="connsiteY223" fmla="*/ 6364 h 10000"/>
              <a:gd name="connsiteX224" fmla="*/ 466 w 10000"/>
              <a:gd name="connsiteY224" fmla="*/ 6405 h 10000"/>
              <a:gd name="connsiteX225" fmla="*/ 415 w 10000"/>
              <a:gd name="connsiteY225" fmla="*/ 6405 h 10000"/>
              <a:gd name="connsiteX226" fmla="*/ 363 w 10000"/>
              <a:gd name="connsiteY226" fmla="*/ 6405 h 10000"/>
              <a:gd name="connsiteX227" fmla="*/ 311 w 10000"/>
              <a:gd name="connsiteY227" fmla="*/ 6405 h 10000"/>
              <a:gd name="connsiteX228" fmla="*/ 259 w 10000"/>
              <a:gd name="connsiteY228" fmla="*/ 6405 h 10000"/>
              <a:gd name="connsiteX229" fmla="*/ 207 w 10000"/>
              <a:gd name="connsiteY229" fmla="*/ 6405 h 10000"/>
              <a:gd name="connsiteX230" fmla="*/ 155 w 10000"/>
              <a:gd name="connsiteY230" fmla="*/ 6405 h 10000"/>
              <a:gd name="connsiteX231" fmla="*/ 104 w 10000"/>
              <a:gd name="connsiteY231" fmla="*/ 6405 h 10000"/>
              <a:gd name="connsiteX232" fmla="*/ 52 w 10000"/>
              <a:gd name="connsiteY232" fmla="*/ 6405 h 10000"/>
              <a:gd name="connsiteX233" fmla="*/ 0 w 10000"/>
              <a:gd name="connsiteY233" fmla="*/ 6405 h 10000"/>
              <a:gd name="connsiteX234" fmla="*/ 52 w 10000"/>
              <a:gd name="connsiteY234" fmla="*/ 5826 h 10000"/>
              <a:gd name="connsiteX235" fmla="*/ 207 w 10000"/>
              <a:gd name="connsiteY235" fmla="*/ 5909 h 10000"/>
              <a:gd name="connsiteX236" fmla="*/ 415 w 10000"/>
              <a:gd name="connsiteY236" fmla="*/ 5826 h 10000"/>
              <a:gd name="connsiteX237" fmla="*/ 1503 w 10000"/>
              <a:gd name="connsiteY237" fmla="*/ 5826 h 10000"/>
              <a:gd name="connsiteX238" fmla="*/ 1658 w 10000"/>
              <a:gd name="connsiteY238" fmla="*/ 5785 h 10000"/>
              <a:gd name="connsiteX239" fmla="*/ 1710 w 10000"/>
              <a:gd name="connsiteY239" fmla="*/ 5785 h 10000"/>
              <a:gd name="connsiteX240" fmla="*/ 2228 w 10000"/>
              <a:gd name="connsiteY240" fmla="*/ 5248 h 10000"/>
              <a:gd name="connsiteX241" fmla="*/ 2332 w 10000"/>
              <a:gd name="connsiteY241" fmla="*/ 5165 h 10000"/>
              <a:gd name="connsiteX242" fmla="*/ 2798 w 10000"/>
              <a:gd name="connsiteY242" fmla="*/ 4752 h 10000"/>
              <a:gd name="connsiteX243" fmla="*/ 3057 w 10000"/>
              <a:gd name="connsiteY243" fmla="*/ 4504 h 10000"/>
              <a:gd name="connsiteX244" fmla="*/ 3212 w 10000"/>
              <a:gd name="connsiteY244" fmla="*/ 4380 h 10000"/>
              <a:gd name="connsiteX245" fmla="*/ 3627 w 10000"/>
              <a:gd name="connsiteY245" fmla="*/ 3760 h 10000"/>
              <a:gd name="connsiteX246" fmla="*/ 4145 w 10000"/>
              <a:gd name="connsiteY246" fmla="*/ 3512 h 10000"/>
              <a:gd name="connsiteX247" fmla="*/ 5026 w 10000"/>
              <a:gd name="connsiteY247" fmla="*/ 2810 h 10000"/>
              <a:gd name="connsiteX248" fmla="*/ 4870 w 10000"/>
              <a:gd name="connsiteY248" fmla="*/ 2562 h 10000"/>
              <a:gd name="connsiteX249" fmla="*/ 4819 w 10000"/>
              <a:gd name="connsiteY249" fmla="*/ 2397 h 10000"/>
              <a:gd name="connsiteX250" fmla="*/ 4819 w 10000"/>
              <a:gd name="connsiteY250" fmla="*/ 1240 h 10000"/>
              <a:gd name="connsiteX251" fmla="*/ 4145 w 10000"/>
              <a:gd name="connsiteY251" fmla="*/ 744 h 10000"/>
              <a:gd name="connsiteX252" fmla="*/ 4974 w 10000"/>
              <a:gd name="connsiteY252" fmla="*/ 744 h 10000"/>
              <a:gd name="connsiteX253" fmla="*/ 5803 w 10000"/>
              <a:gd name="connsiteY253" fmla="*/ 744 h 10000"/>
              <a:gd name="connsiteX254" fmla="*/ 5803 w 10000"/>
              <a:gd name="connsiteY254" fmla="*/ 702 h 10000"/>
              <a:gd name="connsiteX255" fmla="*/ 5803 w 10000"/>
              <a:gd name="connsiteY255" fmla="*/ 661 h 10000"/>
              <a:gd name="connsiteX256" fmla="*/ 5803 w 10000"/>
              <a:gd name="connsiteY256" fmla="*/ 620 h 10000"/>
              <a:gd name="connsiteX257" fmla="*/ 5803 w 10000"/>
              <a:gd name="connsiteY257" fmla="*/ 579 h 10000"/>
              <a:gd name="connsiteX258" fmla="*/ 5855 w 10000"/>
              <a:gd name="connsiteY258" fmla="*/ 537 h 10000"/>
              <a:gd name="connsiteX259" fmla="*/ 5855 w 10000"/>
              <a:gd name="connsiteY259" fmla="*/ 496 h 10000"/>
              <a:gd name="connsiteX260" fmla="*/ 5855 w 10000"/>
              <a:gd name="connsiteY260" fmla="*/ 455 h 10000"/>
              <a:gd name="connsiteX261" fmla="*/ 5855 w 10000"/>
              <a:gd name="connsiteY261" fmla="*/ 413 h 10000"/>
              <a:gd name="connsiteX262" fmla="*/ 5855 w 10000"/>
              <a:gd name="connsiteY262" fmla="*/ 372 h 10000"/>
              <a:gd name="connsiteX263" fmla="*/ 5855 w 10000"/>
              <a:gd name="connsiteY263" fmla="*/ 331 h 10000"/>
              <a:gd name="connsiteX264" fmla="*/ 5803 w 10000"/>
              <a:gd name="connsiteY264" fmla="*/ 331 h 10000"/>
              <a:gd name="connsiteX265" fmla="*/ 5803 w 10000"/>
              <a:gd name="connsiteY265" fmla="*/ 289 h 10000"/>
              <a:gd name="connsiteX266" fmla="*/ 5803 w 10000"/>
              <a:gd name="connsiteY266" fmla="*/ 248 h 10000"/>
              <a:gd name="connsiteX267" fmla="*/ 5803 w 10000"/>
              <a:gd name="connsiteY267" fmla="*/ 207 h 10000"/>
              <a:gd name="connsiteX268" fmla="*/ 5803 w 10000"/>
              <a:gd name="connsiteY268" fmla="*/ 165 h 10000"/>
              <a:gd name="connsiteX269" fmla="*/ 5803 w 10000"/>
              <a:gd name="connsiteY269" fmla="*/ 124 h 10000"/>
              <a:gd name="connsiteX270" fmla="*/ 5803 w 10000"/>
              <a:gd name="connsiteY270" fmla="*/ 83 h 10000"/>
              <a:gd name="connsiteX271" fmla="*/ 5803 w 10000"/>
              <a:gd name="connsiteY271" fmla="*/ 41 h 10000"/>
              <a:gd name="connsiteX272" fmla="*/ 5803 w 10000"/>
              <a:gd name="connsiteY27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53 w 10000"/>
              <a:gd name="connsiteY199" fmla="*/ 7479 h 10000"/>
              <a:gd name="connsiteX200" fmla="*/ 2902 w 10000"/>
              <a:gd name="connsiteY200" fmla="*/ 7438 h 10000"/>
              <a:gd name="connsiteX201" fmla="*/ 2902 w 10000"/>
              <a:gd name="connsiteY201" fmla="*/ 7355 h 10000"/>
              <a:gd name="connsiteX202" fmla="*/ 2902 w 10000"/>
              <a:gd name="connsiteY202" fmla="*/ 7314 h 10000"/>
              <a:gd name="connsiteX203" fmla="*/ 2850 w 10000"/>
              <a:gd name="connsiteY203" fmla="*/ 7314 h 10000"/>
              <a:gd name="connsiteX204" fmla="*/ 2798 w 10000"/>
              <a:gd name="connsiteY204" fmla="*/ 7273 h 10000"/>
              <a:gd name="connsiteX205" fmla="*/ 2746 w 10000"/>
              <a:gd name="connsiteY205" fmla="*/ 7190 h 10000"/>
              <a:gd name="connsiteX206" fmla="*/ 2746 w 10000"/>
              <a:gd name="connsiteY206" fmla="*/ 7149 h 10000"/>
              <a:gd name="connsiteX207" fmla="*/ 2746 w 10000"/>
              <a:gd name="connsiteY207" fmla="*/ 7066 h 10000"/>
              <a:gd name="connsiteX208" fmla="*/ 2694 w 10000"/>
              <a:gd name="connsiteY208" fmla="*/ 7025 h 10000"/>
              <a:gd name="connsiteX209" fmla="*/ 2694 w 10000"/>
              <a:gd name="connsiteY209" fmla="*/ 6983 h 10000"/>
              <a:gd name="connsiteX210" fmla="*/ 2332 w 10000"/>
              <a:gd name="connsiteY210" fmla="*/ 6983 h 10000"/>
              <a:gd name="connsiteX211" fmla="*/ 2228 w 10000"/>
              <a:gd name="connsiteY211" fmla="*/ 6983 h 10000"/>
              <a:gd name="connsiteX212" fmla="*/ 1036 w 10000"/>
              <a:gd name="connsiteY212" fmla="*/ 6612 h 10000"/>
              <a:gd name="connsiteX213" fmla="*/ 829 w 10000"/>
              <a:gd name="connsiteY213" fmla="*/ 6488 h 10000"/>
              <a:gd name="connsiteX214" fmla="*/ 829 w 10000"/>
              <a:gd name="connsiteY214" fmla="*/ 6446 h 10000"/>
              <a:gd name="connsiteX215" fmla="*/ 777 w 10000"/>
              <a:gd name="connsiteY215" fmla="*/ 6446 h 10000"/>
              <a:gd name="connsiteX216" fmla="*/ 725 w 10000"/>
              <a:gd name="connsiteY216" fmla="*/ 6446 h 10000"/>
              <a:gd name="connsiteX217" fmla="*/ 674 w 10000"/>
              <a:gd name="connsiteY217" fmla="*/ 6405 h 10000"/>
              <a:gd name="connsiteX218" fmla="*/ 622 w 10000"/>
              <a:gd name="connsiteY218" fmla="*/ 6405 h 10000"/>
              <a:gd name="connsiteX219" fmla="*/ 570 w 10000"/>
              <a:gd name="connsiteY219" fmla="*/ 6405 h 10000"/>
              <a:gd name="connsiteX220" fmla="*/ 570 w 10000"/>
              <a:gd name="connsiteY220" fmla="*/ 6364 h 10000"/>
              <a:gd name="connsiteX221" fmla="*/ 518 w 10000"/>
              <a:gd name="connsiteY221" fmla="*/ 6364 h 10000"/>
              <a:gd name="connsiteX222" fmla="*/ 466 w 10000"/>
              <a:gd name="connsiteY222" fmla="*/ 6364 h 10000"/>
              <a:gd name="connsiteX223" fmla="*/ 466 w 10000"/>
              <a:gd name="connsiteY223" fmla="*/ 6405 h 10000"/>
              <a:gd name="connsiteX224" fmla="*/ 415 w 10000"/>
              <a:gd name="connsiteY224" fmla="*/ 6405 h 10000"/>
              <a:gd name="connsiteX225" fmla="*/ 363 w 10000"/>
              <a:gd name="connsiteY225" fmla="*/ 6405 h 10000"/>
              <a:gd name="connsiteX226" fmla="*/ 311 w 10000"/>
              <a:gd name="connsiteY226" fmla="*/ 6405 h 10000"/>
              <a:gd name="connsiteX227" fmla="*/ 259 w 10000"/>
              <a:gd name="connsiteY227" fmla="*/ 6405 h 10000"/>
              <a:gd name="connsiteX228" fmla="*/ 207 w 10000"/>
              <a:gd name="connsiteY228" fmla="*/ 6405 h 10000"/>
              <a:gd name="connsiteX229" fmla="*/ 155 w 10000"/>
              <a:gd name="connsiteY229" fmla="*/ 6405 h 10000"/>
              <a:gd name="connsiteX230" fmla="*/ 104 w 10000"/>
              <a:gd name="connsiteY230" fmla="*/ 6405 h 10000"/>
              <a:gd name="connsiteX231" fmla="*/ 52 w 10000"/>
              <a:gd name="connsiteY231" fmla="*/ 6405 h 10000"/>
              <a:gd name="connsiteX232" fmla="*/ 0 w 10000"/>
              <a:gd name="connsiteY232" fmla="*/ 6405 h 10000"/>
              <a:gd name="connsiteX233" fmla="*/ 52 w 10000"/>
              <a:gd name="connsiteY233" fmla="*/ 5826 h 10000"/>
              <a:gd name="connsiteX234" fmla="*/ 207 w 10000"/>
              <a:gd name="connsiteY234" fmla="*/ 5909 h 10000"/>
              <a:gd name="connsiteX235" fmla="*/ 415 w 10000"/>
              <a:gd name="connsiteY235" fmla="*/ 5826 h 10000"/>
              <a:gd name="connsiteX236" fmla="*/ 1503 w 10000"/>
              <a:gd name="connsiteY236" fmla="*/ 5826 h 10000"/>
              <a:gd name="connsiteX237" fmla="*/ 1658 w 10000"/>
              <a:gd name="connsiteY237" fmla="*/ 5785 h 10000"/>
              <a:gd name="connsiteX238" fmla="*/ 1710 w 10000"/>
              <a:gd name="connsiteY238" fmla="*/ 5785 h 10000"/>
              <a:gd name="connsiteX239" fmla="*/ 2228 w 10000"/>
              <a:gd name="connsiteY239" fmla="*/ 5248 h 10000"/>
              <a:gd name="connsiteX240" fmla="*/ 2332 w 10000"/>
              <a:gd name="connsiteY240" fmla="*/ 5165 h 10000"/>
              <a:gd name="connsiteX241" fmla="*/ 2798 w 10000"/>
              <a:gd name="connsiteY241" fmla="*/ 4752 h 10000"/>
              <a:gd name="connsiteX242" fmla="*/ 3057 w 10000"/>
              <a:gd name="connsiteY242" fmla="*/ 4504 h 10000"/>
              <a:gd name="connsiteX243" fmla="*/ 3212 w 10000"/>
              <a:gd name="connsiteY243" fmla="*/ 4380 h 10000"/>
              <a:gd name="connsiteX244" fmla="*/ 3627 w 10000"/>
              <a:gd name="connsiteY244" fmla="*/ 3760 h 10000"/>
              <a:gd name="connsiteX245" fmla="*/ 4145 w 10000"/>
              <a:gd name="connsiteY245" fmla="*/ 3512 h 10000"/>
              <a:gd name="connsiteX246" fmla="*/ 5026 w 10000"/>
              <a:gd name="connsiteY246" fmla="*/ 2810 h 10000"/>
              <a:gd name="connsiteX247" fmla="*/ 4870 w 10000"/>
              <a:gd name="connsiteY247" fmla="*/ 2562 h 10000"/>
              <a:gd name="connsiteX248" fmla="*/ 4819 w 10000"/>
              <a:gd name="connsiteY248" fmla="*/ 2397 h 10000"/>
              <a:gd name="connsiteX249" fmla="*/ 4819 w 10000"/>
              <a:gd name="connsiteY249" fmla="*/ 1240 h 10000"/>
              <a:gd name="connsiteX250" fmla="*/ 4145 w 10000"/>
              <a:gd name="connsiteY250" fmla="*/ 744 h 10000"/>
              <a:gd name="connsiteX251" fmla="*/ 4974 w 10000"/>
              <a:gd name="connsiteY251" fmla="*/ 744 h 10000"/>
              <a:gd name="connsiteX252" fmla="*/ 5803 w 10000"/>
              <a:gd name="connsiteY252" fmla="*/ 744 h 10000"/>
              <a:gd name="connsiteX253" fmla="*/ 5803 w 10000"/>
              <a:gd name="connsiteY253" fmla="*/ 702 h 10000"/>
              <a:gd name="connsiteX254" fmla="*/ 5803 w 10000"/>
              <a:gd name="connsiteY254" fmla="*/ 661 h 10000"/>
              <a:gd name="connsiteX255" fmla="*/ 5803 w 10000"/>
              <a:gd name="connsiteY255" fmla="*/ 620 h 10000"/>
              <a:gd name="connsiteX256" fmla="*/ 5803 w 10000"/>
              <a:gd name="connsiteY256" fmla="*/ 579 h 10000"/>
              <a:gd name="connsiteX257" fmla="*/ 5855 w 10000"/>
              <a:gd name="connsiteY257" fmla="*/ 537 h 10000"/>
              <a:gd name="connsiteX258" fmla="*/ 5855 w 10000"/>
              <a:gd name="connsiteY258" fmla="*/ 496 h 10000"/>
              <a:gd name="connsiteX259" fmla="*/ 5855 w 10000"/>
              <a:gd name="connsiteY259" fmla="*/ 455 h 10000"/>
              <a:gd name="connsiteX260" fmla="*/ 5855 w 10000"/>
              <a:gd name="connsiteY260" fmla="*/ 413 h 10000"/>
              <a:gd name="connsiteX261" fmla="*/ 5855 w 10000"/>
              <a:gd name="connsiteY261" fmla="*/ 372 h 10000"/>
              <a:gd name="connsiteX262" fmla="*/ 5855 w 10000"/>
              <a:gd name="connsiteY262" fmla="*/ 331 h 10000"/>
              <a:gd name="connsiteX263" fmla="*/ 5803 w 10000"/>
              <a:gd name="connsiteY263" fmla="*/ 331 h 10000"/>
              <a:gd name="connsiteX264" fmla="*/ 5803 w 10000"/>
              <a:gd name="connsiteY264" fmla="*/ 289 h 10000"/>
              <a:gd name="connsiteX265" fmla="*/ 5803 w 10000"/>
              <a:gd name="connsiteY265" fmla="*/ 248 h 10000"/>
              <a:gd name="connsiteX266" fmla="*/ 5803 w 10000"/>
              <a:gd name="connsiteY266" fmla="*/ 207 h 10000"/>
              <a:gd name="connsiteX267" fmla="*/ 5803 w 10000"/>
              <a:gd name="connsiteY267" fmla="*/ 165 h 10000"/>
              <a:gd name="connsiteX268" fmla="*/ 5803 w 10000"/>
              <a:gd name="connsiteY268" fmla="*/ 124 h 10000"/>
              <a:gd name="connsiteX269" fmla="*/ 5803 w 10000"/>
              <a:gd name="connsiteY269" fmla="*/ 83 h 10000"/>
              <a:gd name="connsiteX270" fmla="*/ 5803 w 10000"/>
              <a:gd name="connsiteY270" fmla="*/ 41 h 10000"/>
              <a:gd name="connsiteX271" fmla="*/ 5803 w 10000"/>
              <a:gd name="connsiteY27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53 w 10000"/>
              <a:gd name="connsiteY199" fmla="*/ 7479 h 10000"/>
              <a:gd name="connsiteX200" fmla="*/ 2902 w 10000"/>
              <a:gd name="connsiteY200" fmla="*/ 7438 h 10000"/>
              <a:gd name="connsiteX201" fmla="*/ 2902 w 10000"/>
              <a:gd name="connsiteY201" fmla="*/ 7355 h 10000"/>
              <a:gd name="connsiteX202" fmla="*/ 2902 w 10000"/>
              <a:gd name="connsiteY202" fmla="*/ 7314 h 10000"/>
              <a:gd name="connsiteX203" fmla="*/ 2850 w 10000"/>
              <a:gd name="connsiteY203" fmla="*/ 7314 h 10000"/>
              <a:gd name="connsiteX204" fmla="*/ 2798 w 10000"/>
              <a:gd name="connsiteY204" fmla="*/ 7273 h 10000"/>
              <a:gd name="connsiteX205" fmla="*/ 2746 w 10000"/>
              <a:gd name="connsiteY205" fmla="*/ 7190 h 10000"/>
              <a:gd name="connsiteX206" fmla="*/ 2746 w 10000"/>
              <a:gd name="connsiteY206" fmla="*/ 7066 h 10000"/>
              <a:gd name="connsiteX207" fmla="*/ 2694 w 10000"/>
              <a:gd name="connsiteY207" fmla="*/ 7025 h 10000"/>
              <a:gd name="connsiteX208" fmla="*/ 2694 w 10000"/>
              <a:gd name="connsiteY208" fmla="*/ 6983 h 10000"/>
              <a:gd name="connsiteX209" fmla="*/ 2332 w 10000"/>
              <a:gd name="connsiteY209" fmla="*/ 6983 h 10000"/>
              <a:gd name="connsiteX210" fmla="*/ 2228 w 10000"/>
              <a:gd name="connsiteY210" fmla="*/ 6983 h 10000"/>
              <a:gd name="connsiteX211" fmla="*/ 1036 w 10000"/>
              <a:gd name="connsiteY211" fmla="*/ 6612 h 10000"/>
              <a:gd name="connsiteX212" fmla="*/ 829 w 10000"/>
              <a:gd name="connsiteY212" fmla="*/ 6488 h 10000"/>
              <a:gd name="connsiteX213" fmla="*/ 829 w 10000"/>
              <a:gd name="connsiteY213" fmla="*/ 6446 h 10000"/>
              <a:gd name="connsiteX214" fmla="*/ 777 w 10000"/>
              <a:gd name="connsiteY214" fmla="*/ 6446 h 10000"/>
              <a:gd name="connsiteX215" fmla="*/ 725 w 10000"/>
              <a:gd name="connsiteY215" fmla="*/ 6446 h 10000"/>
              <a:gd name="connsiteX216" fmla="*/ 674 w 10000"/>
              <a:gd name="connsiteY216" fmla="*/ 6405 h 10000"/>
              <a:gd name="connsiteX217" fmla="*/ 622 w 10000"/>
              <a:gd name="connsiteY217" fmla="*/ 6405 h 10000"/>
              <a:gd name="connsiteX218" fmla="*/ 570 w 10000"/>
              <a:gd name="connsiteY218" fmla="*/ 6405 h 10000"/>
              <a:gd name="connsiteX219" fmla="*/ 570 w 10000"/>
              <a:gd name="connsiteY219" fmla="*/ 6364 h 10000"/>
              <a:gd name="connsiteX220" fmla="*/ 518 w 10000"/>
              <a:gd name="connsiteY220" fmla="*/ 6364 h 10000"/>
              <a:gd name="connsiteX221" fmla="*/ 466 w 10000"/>
              <a:gd name="connsiteY221" fmla="*/ 6364 h 10000"/>
              <a:gd name="connsiteX222" fmla="*/ 466 w 10000"/>
              <a:gd name="connsiteY222" fmla="*/ 6405 h 10000"/>
              <a:gd name="connsiteX223" fmla="*/ 415 w 10000"/>
              <a:gd name="connsiteY223" fmla="*/ 6405 h 10000"/>
              <a:gd name="connsiteX224" fmla="*/ 363 w 10000"/>
              <a:gd name="connsiteY224" fmla="*/ 6405 h 10000"/>
              <a:gd name="connsiteX225" fmla="*/ 311 w 10000"/>
              <a:gd name="connsiteY225" fmla="*/ 6405 h 10000"/>
              <a:gd name="connsiteX226" fmla="*/ 259 w 10000"/>
              <a:gd name="connsiteY226" fmla="*/ 6405 h 10000"/>
              <a:gd name="connsiteX227" fmla="*/ 207 w 10000"/>
              <a:gd name="connsiteY227" fmla="*/ 6405 h 10000"/>
              <a:gd name="connsiteX228" fmla="*/ 155 w 10000"/>
              <a:gd name="connsiteY228" fmla="*/ 6405 h 10000"/>
              <a:gd name="connsiteX229" fmla="*/ 104 w 10000"/>
              <a:gd name="connsiteY229" fmla="*/ 6405 h 10000"/>
              <a:gd name="connsiteX230" fmla="*/ 52 w 10000"/>
              <a:gd name="connsiteY230" fmla="*/ 6405 h 10000"/>
              <a:gd name="connsiteX231" fmla="*/ 0 w 10000"/>
              <a:gd name="connsiteY231" fmla="*/ 6405 h 10000"/>
              <a:gd name="connsiteX232" fmla="*/ 52 w 10000"/>
              <a:gd name="connsiteY232" fmla="*/ 5826 h 10000"/>
              <a:gd name="connsiteX233" fmla="*/ 207 w 10000"/>
              <a:gd name="connsiteY233" fmla="*/ 5909 h 10000"/>
              <a:gd name="connsiteX234" fmla="*/ 415 w 10000"/>
              <a:gd name="connsiteY234" fmla="*/ 5826 h 10000"/>
              <a:gd name="connsiteX235" fmla="*/ 1503 w 10000"/>
              <a:gd name="connsiteY235" fmla="*/ 5826 h 10000"/>
              <a:gd name="connsiteX236" fmla="*/ 1658 w 10000"/>
              <a:gd name="connsiteY236" fmla="*/ 5785 h 10000"/>
              <a:gd name="connsiteX237" fmla="*/ 1710 w 10000"/>
              <a:gd name="connsiteY237" fmla="*/ 5785 h 10000"/>
              <a:gd name="connsiteX238" fmla="*/ 2228 w 10000"/>
              <a:gd name="connsiteY238" fmla="*/ 5248 h 10000"/>
              <a:gd name="connsiteX239" fmla="*/ 2332 w 10000"/>
              <a:gd name="connsiteY239" fmla="*/ 5165 h 10000"/>
              <a:gd name="connsiteX240" fmla="*/ 2798 w 10000"/>
              <a:gd name="connsiteY240" fmla="*/ 4752 h 10000"/>
              <a:gd name="connsiteX241" fmla="*/ 3057 w 10000"/>
              <a:gd name="connsiteY241" fmla="*/ 4504 h 10000"/>
              <a:gd name="connsiteX242" fmla="*/ 3212 w 10000"/>
              <a:gd name="connsiteY242" fmla="*/ 4380 h 10000"/>
              <a:gd name="connsiteX243" fmla="*/ 3627 w 10000"/>
              <a:gd name="connsiteY243" fmla="*/ 3760 h 10000"/>
              <a:gd name="connsiteX244" fmla="*/ 4145 w 10000"/>
              <a:gd name="connsiteY244" fmla="*/ 3512 h 10000"/>
              <a:gd name="connsiteX245" fmla="*/ 5026 w 10000"/>
              <a:gd name="connsiteY245" fmla="*/ 2810 h 10000"/>
              <a:gd name="connsiteX246" fmla="*/ 4870 w 10000"/>
              <a:gd name="connsiteY246" fmla="*/ 2562 h 10000"/>
              <a:gd name="connsiteX247" fmla="*/ 4819 w 10000"/>
              <a:gd name="connsiteY247" fmla="*/ 2397 h 10000"/>
              <a:gd name="connsiteX248" fmla="*/ 4819 w 10000"/>
              <a:gd name="connsiteY248" fmla="*/ 1240 h 10000"/>
              <a:gd name="connsiteX249" fmla="*/ 4145 w 10000"/>
              <a:gd name="connsiteY249" fmla="*/ 744 h 10000"/>
              <a:gd name="connsiteX250" fmla="*/ 4974 w 10000"/>
              <a:gd name="connsiteY250" fmla="*/ 744 h 10000"/>
              <a:gd name="connsiteX251" fmla="*/ 5803 w 10000"/>
              <a:gd name="connsiteY251" fmla="*/ 744 h 10000"/>
              <a:gd name="connsiteX252" fmla="*/ 5803 w 10000"/>
              <a:gd name="connsiteY252" fmla="*/ 702 h 10000"/>
              <a:gd name="connsiteX253" fmla="*/ 5803 w 10000"/>
              <a:gd name="connsiteY253" fmla="*/ 661 h 10000"/>
              <a:gd name="connsiteX254" fmla="*/ 5803 w 10000"/>
              <a:gd name="connsiteY254" fmla="*/ 620 h 10000"/>
              <a:gd name="connsiteX255" fmla="*/ 5803 w 10000"/>
              <a:gd name="connsiteY255" fmla="*/ 579 h 10000"/>
              <a:gd name="connsiteX256" fmla="*/ 5855 w 10000"/>
              <a:gd name="connsiteY256" fmla="*/ 537 h 10000"/>
              <a:gd name="connsiteX257" fmla="*/ 5855 w 10000"/>
              <a:gd name="connsiteY257" fmla="*/ 496 h 10000"/>
              <a:gd name="connsiteX258" fmla="*/ 5855 w 10000"/>
              <a:gd name="connsiteY258" fmla="*/ 455 h 10000"/>
              <a:gd name="connsiteX259" fmla="*/ 5855 w 10000"/>
              <a:gd name="connsiteY259" fmla="*/ 413 h 10000"/>
              <a:gd name="connsiteX260" fmla="*/ 5855 w 10000"/>
              <a:gd name="connsiteY260" fmla="*/ 372 h 10000"/>
              <a:gd name="connsiteX261" fmla="*/ 5855 w 10000"/>
              <a:gd name="connsiteY261" fmla="*/ 331 h 10000"/>
              <a:gd name="connsiteX262" fmla="*/ 5803 w 10000"/>
              <a:gd name="connsiteY262" fmla="*/ 331 h 10000"/>
              <a:gd name="connsiteX263" fmla="*/ 5803 w 10000"/>
              <a:gd name="connsiteY263" fmla="*/ 289 h 10000"/>
              <a:gd name="connsiteX264" fmla="*/ 5803 w 10000"/>
              <a:gd name="connsiteY264" fmla="*/ 248 h 10000"/>
              <a:gd name="connsiteX265" fmla="*/ 5803 w 10000"/>
              <a:gd name="connsiteY265" fmla="*/ 207 h 10000"/>
              <a:gd name="connsiteX266" fmla="*/ 5803 w 10000"/>
              <a:gd name="connsiteY266" fmla="*/ 165 h 10000"/>
              <a:gd name="connsiteX267" fmla="*/ 5803 w 10000"/>
              <a:gd name="connsiteY267" fmla="*/ 124 h 10000"/>
              <a:gd name="connsiteX268" fmla="*/ 5803 w 10000"/>
              <a:gd name="connsiteY268" fmla="*/ 83 h 10000"/>
              <a:gd name="connsiteX269" fmla="*/ 5803 w 10000"/>
              <a:gd name="connsiteY269" fmla="*/ 41 h 10000"/>
              <a:gd name="connsiteX270" fmla="*/ 5803 w 10000"/>
              <a:gd name="connsiteY27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53 w 10000"/>
              <a:gd name="connsiteY199" fmla="*/ 7479 h 10000"/>
              <a:gd name="connsiteX200" fmla="*/ 2902 w 10000"/>
              <a:gd name="connsiteY200" fmla="*/ 7355 h 10000"/>
              <a:gd name="connsiteX201" fmla="*/ 2902 w 10000"/>
              <a:gd name="connsiteY201" fmla="*/ 7314 h 10000"/>
              <a:gd name="connsiteX202" fmla="*/ 2850 w 10000"/>
              <a:gd name="connsiteY202" fmla="*/ 7314 h 10000"/>
              <a:gd name="connsiteX203" fmla="*/ 2798 w 10000"/>
              <a:gd name="connsiteY203" fmla="*/ 7273 h 10000"/>
              <a:gd name="connsiteX204" fmla="*/ 2746 w 10000"/>
              <a:gd name="connsiteY204" fmla="*/ 7190 h 10000"/>
              <a:gd name="connsiteX205" fmla="*/ 2746 w 10000"/>
              <a:gd name="connsiteY205" fmla="*/ 7066 h 10000"/>
              <a:gd name="connsiteX206" fmla="*/ 2694 w 10000"/>
              <a:gd name="connsiteY206" fmla="*/ 7025 h 10000"/>
              <a:gd name="connsiteX207" fmla="*/ 2694 w 10000"/>
              <a:gd name="connsiteY207" fmla="*/ 6983 h 10000"/>
              <a:gd name="connsiteX208" fmla="*/ 2332 w 10000"/>
              <a:gd name="connsiteY208" fmla="*/ 6983 h 10000"/>
              <a:gd name="connsiteX209" fmla="*/ 2228 w 10000"/>
              <a:gd name="connsiteY209" fmla="*/ 6983 h 10000"/>
              <a:gd name="connsiteX210" fmla="*/ 1036 w 10000"/>
              <a:gd name="connsiteY210" fmla="*/ 6612 h 10000"/>
              <a:gd name="connsiteX211" fmla="*/ 829 w 10000"/>
              <a:gd name="connsiteY211" fmla="*/ 6488 h 10000"/>
              <a:gd name="connsiteX212" fmla="*/ 829 w 10000"/>
              <a:gd name="connsiteY212" fmla="*/ 6446 h 10000"/>
              <a:gd name="connsiteX213" fmla="*/ 777 w 10000"/>
              <a:gd name="connsiteY213" fmla="*/ 6446 h 10000"/>
              <a:gd name="connsiteX214" fmla="*/ 725 w 10000"/>
              <a:gd name="connsiteY214" fmla="*/ 6446 h 10000"/>
              <a:gd name="connsiteX215" fmla="*/ 674 w 10000"/>
              <a:gd name="connsiteY215" fmla="*/ 6405 h 10000"/>
              <a:gd name="connsiteX216" fmla="*/ 622 w 10000"/>
              <a:gd name="connsiteY216" fmla="*/ 6405 h 10000"/>
              <a:gd name="connsiteX217" fmla="*/ 570 w 10000"/>
              <a:gd name="connsiteY217" fmla="*/ 6405 h 10000"/>
              <a:gd name="connsiteX218" fmla="*/ 570 w 10000"/>
              <a:gd name="connsiteY218" fmla="*/ 6364 h 10000"/>
              <a:gd name="connsiteX219" fmla="*/ 518 w 10000"/>
              <a:gd name="connsiteY219" fmla="*/ 6364 h 10000"/>
              <a:gd name="connsiteX220" fmla="*/ 466 w 10000"/>
              <a:gd name="connsiteY220" fmla="*/ 6364 h 10000"/>
              <a:gd name="connsiteX221" fmla="*/ 466 w 10000"/>
              <a:gd name="connsiteY221" fmla="*/ 6405 h 10000"/>
              <a:gd name="connsiteX222" fmla="*/ 415 w 10000"/>
              <a:gd name="connsiteY222" fmla="*/ 6405 h 10000"/>
              <a:gd name="connsiteX223" fmla="*/ 363 w 10000"/>
              <a:gd name="connsiteY223" fmla="*/ 6405 h 10000"/>
              <a:gd name="connsiteX224" fmla="*/ 311 w 10000"/>
              <a:gd name="connsiteY224" fmla="*/ 6405 h 10000"/>
              <a:gd name="connsiteX225" fmla="*/ 259 w 10000"/>
              <a:gd name="connsiteY225" fmla="*/ 6405 h 10000"/>
              <a:gd name="connsiteX226" fmla="*/ 207 w 10000"/>
              <a:gd name="connsiteY226" fmla="*/ 6405 h 10000"/>
              <a:gd name="connsiteX227" fmla="*/ 155 w 10000"/>
              <a:gd name="connsiteY227" fmla="*/ 6405 h 10000"/>
              <a:gd name="connsiteX228" fmla="*/ 104 w 10000"/>
              <a:gd name="connsiteY228" fmla="*/ 6405 h 10000"/>
              <a:gd name="connsiteX229" fmla="*/ 52 w 10000"/>
              <a:gd name="connsiteY229" fmla="*/ 6405 h 10000"/>
              <a:gd name="connsiteX230" fmla="*/ 0 w 10000"/>
              <a:gd name="connsiteY230" fmla="*/ 6405 h 10000"/>
              <a:gd name="connsiteX231" fmla="*/ 52 w 10000"/>
              <a:gd name="connsiteY231" fmla="*/ 5826 h 10000"/>
              <a:gd name="connsiteX232" fmla="*/ 207 w 10000"/>
              <a:gd name="connsiteY232" fmla="*/ 5909 h 10000"/>
              <a:gd name="connsiteX233" fmla="*/ 415 w 10000"/>
              <a:gd name="connsiteY233" fmla="*/ 5826 h 10000"/>
              <a:gd name="connsiteX234" fmla="*/ 1503 w 10000"/>
              <a:gd name="connsiteY234" fmla="*/ 5826 h 10000"/>
              <a:gd name="connsiteX235" fmla="*/ 1658 w 10000"/>
              <a:gd name="connsiteY235" fmla="*/ 5785 h 10000"/>
              <a:gd name="connsiteX236" fmla="*/ 1710 w 10000"/>
              <a:gd name="connsiteY236" fmla="*/ 5785 h 10000"/>
              <a:gd name="connsiteX237" fmla="*/ 2228 w 10000"/>
              <a:gd name="connsiteY237" fmla="*/ 5248 h 10000"/>
              <a:gd name="connsiteX238" fmla="*/ 2332 w 10000"/>
              <a:gd name="connsiteY238" fmla="*/ 5165 h 10000"/>
              <a:gd name="connsiteX239" fmla="*/ 2798 w 10000"/>
              <a:gd name="connsiteY239" fmla="*/ 4752 h 10000"/>
              <a:gd name="connsiteX240" fmla="*/ 3057 w 10000"/>
              <a:gd name="connsiteY240" fmla="*/ 4504 h 10000"/>
              <a:gd name="connsiteX241" fmla="*/ 3212 w 10000"/>
              <a:gd name="connsiteY241" fmla="*/ 4380 h 10000"/>
              <a:gd name="connsiteX242" fmla="*/ 3627 w 10000"/>
              <a:gd name="connsiteY242" fmla="*/ 3760 h 10000"/>
              <a:gd name="connsiteX243" fmla="*/ 4145 w 10000"/>
              <a:gd name="connsiteY243" fmla="*/ 3512 h 10000"/>
              <a:gd name="connsiteX244" fmla="*/ 5026 w 10000"/>
              <a:gd name="connsiteY244" fmla="*/ 2810 h 10000"/>
              <a:gd name="connsiteX245" fmla="*/ 4870 w 10000"/>
              <a:gd name="connsiteY245" fmla="*/ 2562 h 10000"/>
              <a:gd name="connsiteX246" fmla="*/ 4819 w 10000"/>
              <a:gd name="connsiteY246" fmla="*/ 2397 h 10000"/>
              <a:gd name="connsiteX247" fmla="*/ 4819 w 10000"/>
              <a:gd name="connsiteY247" fmla="*/ 1240 h 10000"/>
              <a:gd name="connsiteX248" fmla="*/ 4145 w 10000"/>
              <a:gd name="connsiteY248" fmla="*/ 744 h 10000"/>
              <a:gd name="connsiteX249" fmla="*/ 4974 w 10000"/>
              <a:gd name="connsiteY249" fmla="*/ 744 h 10000"/>
              <a:gd name="connsiteX250" fmla="*/ 5803 w 10000"/>
              <a:gd name="connsiteY250" fmla="*/ 744 h 10000"/>
              <a:gd name="connsiteX251" fmla="*/ 5803 w 10000"/>
              <a:gd name="connsiteY251" fmla="*/ 702 h 10000"/>
              <a:gd name="connsiteX252" fmla="*/ 5803 w 10000"/>
              <a:gd name="connsiteY252" fmla="*/ 661 h 10000"/>
              <a:gd name="connsiteX253" fmla="*/ 5803 w 10000"/>
              <a:gd name="connsiteY253" fmla="*/ 620 h 10000"/>
              <a:gd name="connsiteX254" fmla="*/ 5803 w 10000"/>
              <a:gd name="connsiteY254" fmla="*/ 579 h 10000"/>
              <a:gd name="connsiteX255" fmla="*/ 5855 w 10000"/>
              <a:gd name="connsiteY255" fmla="*/ 537 h 10000"/>
              <a:gd name="connsiteX256" fmla="*/ 5855 w 10000"/>
              <a:gd name="connsiteY256" fmla="*/ 496 h 10000"/>
              <a:gd name="connsiteX257" fmla="*/ 5855 w 10000"/>
              <a:gd name="connsiteY257" fmla="*/ 455 h 10000"/>
              <a:gd name="connsiteX258" fmla="*/ 5855 w 10000"/>
              <a:gd name="connsiteY258" fmla="*/ 413 h 10000"/>
              <a:gd name="connsiteX259" fmla="*/ 5855 w 10000"/>
              <a:gd name="connsiteY259" fmla="*/ 372 h 10000"/>
              <a:gd name="connsiteX260" fmla="*/ 5855 w 10000"/>
              <a:gd name="connsiteY260" fmla="*/ 331 h 10000"/>
              <a:gd name="connsiteX261" fmla="*/ 5803 w 10000"/>
              <a:gd name="connsiteY261" fmla="*/ 331 h 10000"/>
              <a:gd name="connsiteX262" fmla="*/ 5803 w 10000"/>
              <a:gd name="connsiteY262" fmla="*/ 289 h 10000"/>
              <a:gd name="connsiteX263" fmla="*/ 5803 w 10000"/>
              <a:gd name="connsiteY263" fmla="*/ 248 h 10000"/>
              <a:gd name="connsiteX264" fmla="*/ 5803 w 10000"/>
              <a:gd name="connsiteY264" fmla="*/ 207 h 10000"/>
              <a:gd name="connsiteX265" fmla="*/ 5803 w 10000"/>
              <a:gd name="connsiteY265" fmla="*/ 165 h 10000"/>
              <a:gd name="connsiteX266" fmla="*/ 5803 w 10000"/>
              <a:gd name="connsiteY266" fmla="*/ 124 h 10000"/>
              <a:gd name="connsiteX267" fmla="*/ 5803 w 10000"/>
              <a:gd name="connsiteY267" fmla="*/ 83 h 10000"/>
              <a:gd name="connsiteX268" fmla="*/ 5803 w 10000"/>
              <a:gd name="connsiteY268" fmla="*/ 41 h 10000"/>
              <a:gd name="connsiteX269" fmla="*/ 5803 w 10000"/>
              <a:gd name="connsiteY26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53 w 10000"/>
              <a:gd name="connsiteY199" fmla="*/ 7479 h 10000"/>
              <a:gd name="connsiteX200" fmla="*/ 2902 w 10000"/>
              <a:gd name="connsiteY200" fmla="*/ 7355 h 10000"/>
              <a:gd name="connsiteX201" fmla="*/ 2902 w 10000"/>
              <a:gd name="connsiteY201" fmla="*/ 7314 h 10000"/>
              <a:gd name="connsiteX202" fmla="*/ 2850 w 10000"/>
              <a:gd name="connsiteY202" fmla="*/ 7314 h 10000"/>
              <a:gd name="connsiteX203" fmla="*/ 2798 w 10000"/>
              <a:gd name="connsiteY203" fmla="*/ 7273 h 10000"/>
              <a:gd name="connsiteX204" fmla="*/ 2746 w 10000"/>
              <a:gd name="connsiteY204" fmla="*/ 7190 h 10000"/>
              <a:gd name="connsiteX205" fmla="*/ 2746 w 10000"/>
              <a:gd name="connsiteY205" fmla="*/ 7066 h 10000"/>
              <a:gd name="connsiteX206" fmla="*/ 2694 w 10000"/>
              <a:gd name="connsiteY206" fmla="*/ 6983 h 10000"/>
              <a:gd name="connsiteX207" fmla="*/ 2332 w 10000"/>
              <a:gd name="connsiteY207" fmla="*/ 6983 h 10000"/>
              <a:gd name="connsiteX208" fmla="*/ 2228 w 10000"/>
              <a:gd name="connsiteY208" fmla="*/ 6983 h 10000"/>
              <a:gd name="connsiteX209" fmla="*/ 1036 w 10000"/>
              <a:gd name="connsiteY209" fmla="*/ 6612 h 10000"/>
              <a:gd name="connsiteX210" fmla="*/ 829 w 10000"/>
              <a:gd name="connsiteY210" fmla="*/ 6488 h 10000"/>
              <a:gd name="connsiteX211" fmla="*/ 829 w 10000"/>
              <a:gd name="connsiteY211" fmla="*/ 6446 h 10000"/>
              <a:gd name="connsiteX212" fmla="*/ 777 w 10000"/>
              <a:gd name="connsiteY212" fmla="*/ 6446 h 10000"/>
              <a:gd name="connsiteX213" fmla="*/ 725 w 10000"/>
              <a:gd name="connsiteY213" fmla="*/ 6446 h 10000"/>
              <a:gd name="connsiteX214" fmla="*/ 674 w 10000"/>
              <a:gd name="connsiteY214" fmla="*/ 6405 h 10000"/>
              <a:gd name="connsiteX215" fmla="*/ 622 w 10000"/>
              <a:gd name="connsiteY215" fmla="*/ 6405 h 10000"/>
              <a:gd name="connsiteX216" fmla="*/ 570 w 10000"/>
              <a:gd name="connsiteY216" fmla="*/ 6405 h 10000"/>
              <a:gd name="connsiteX217" fmla="*/ 570 w 10000"/>
              <a:gd name="connsiteY217" fmla="*/ 6364 h 10000"/>
              <a:gd name="connsiteX218" fmla="*/ 518 w 10000"/>
              <a:gd name="connsiteY218" fmla="*/ 6364 h 10000"/>
              <a:gd name="connsiteX219" fmla="*/ 466 w 10000"/>
              <a:gd name="connsiteY219" fmla="*/ 6364 h 10000"/>
              <a:gd name="connsiteX220" fmla="*/ 466 w 10000"/>
              <a:gd name="connsiteY220" fmla="*/ 6405 h 10000"/>
              <a:gd name="connsiteX221" fmla="*/ 415 w 10000"/>
              <a:gd name="connsiteY221" fmla="*/ 6405 h 10000"/>
              <a:gd name="connsiteX222" fmla="*/ 363 w 10000"/>
              <a:gd name="connsiteY222" fmla="*/ 6405 h 10000"/>
              <a:gd name="connsiteX223" fmla="*/ 311 w 10000"/>
              <a:gd name="connsiteY223" fmla="*/ 6405 h 10000"/>
              <a:gd name="connsiteX224" fmla="*/ 259 w 10000"/>
              <a:gd name="connsiteY224" fmla="*/ 6405 h 10000"/>
              <a:gd name="connsiteX225" fmla="*/ 207 w 10000"/>
              <a:gd name="connsiteY225" fmla="*/ 6405 h 10000"/>
              <a:gd name="connsiteX226" fmla="*/ 155 w 10000"/>
              <a:gd name="connsiteY226" fmla="*/ 6405 h 10000"/>
              <a:gd name="connsiteX227" fmla="*/ 104 w 10000"/>
              <a:gd name="connsiteY227" fmla="*/ 6405 h 10000"/>
              <a:gd name="connsiteX228" fmla="*/ 52 w 10000"/>
              <a:gd name="connsiteY228" fmla="*/ 6405 h 10000"/>
              <a:gd name="connsiteX229" fmla="*/ 0 w 10000"/>
              <a:gd name="connsiteY229" fmla="*/ 6405 h 10000"/>
              <a:gd name="connsiteX230" fmla="*/ 52 w 10000"/>
              <a:gd name="connsiteY230" fmla="*/ 5826 h 10000"/>
              <a:gd name="connsiteX231" fmla="*/ 207 w 10000"/>
              <a:gd name="connsiteY231" fmla="*/ 5909 h 10000"/>
              <a:gd name="connsiteX232" fmla="*/ 415 w 10000"/>
              <a:gd name="connsiteY232" fmla="*/ 5826 h 10000"/>
              <a:gd name="connsiteX233" fmla="*/ 1503 w 10000"/>
              <a:gd name="connsiteY233" fmla="*/ 5826 h 10000"/>
              <a:gd name="connsiteX234" fmla="*/ 1658 w 10000"/>
              <a:gd name="connsiteY234" fmla="*/ 5785 h 10000"/>
              <a:gd name="connsiteX235" fmla="*/ 1710 w 10000"/>
              <a:gd name="connsiteY235" fmla="*/ 5785 h 10000"/>
              <a:gd name="connsiteX236" fmla="*/ 2228 w 10000"/>
              <a:gd name="connsiteY236" fmla="*/ 5248 h 10000"/>
              <a:gd name="connsiteX237" fmla="*/ 2332 w 10000"/>
              <a:gd name="connsiteY237" fmla="*/ 5165 h 10000"/>
              <a:gd name="connsiteX238" fmla="*/ 2798 w 10000"/>
              <a:gd name="connsiteY238" fmla="*/ 4752 h 10000"/>
              <a:gd name="connsiteX239" fmla="*/ 3057 w 10000"/>
              <a:gd name="connsiteY239" fmla="*/ 4504 h 10000"/>
              <a:gd name="connsiteX240" fmla="*/ 3212 w 10000"/>
              <a:gd name="connsiteY240" fmla="*/ 4380 h 10000"/>
              <a:gd name="connsiteX241" fmla="*/ 3627 w 10000"/>
              <a:gd name="connsiteY241" fmla="*/ 3760 h 10000"/>
              <a:gd name="connsiteX242" fmla="*/ 4145 w 10000"/>
              <a:gd name="connsiteY242" fmla="*/ 3512 h 10000"/>
              <a:gd name="connsiteX243" fmla="*/ 5026 w 10000"/>
              <a:gd name="connsiteY243" fmla="*/ 2810 h 10000"/>
              <a:gd name="connsiteX244" fmla="*/ 4870 w 10000"/>
              <a:gd name="connsiteY244" fmla="*/ 2562 h 10000"/>
              <a:gd name="connsiteX245" fmla="*/ 4819 w 10000"/>
              <a:gd name="connsiteY245" fmla="*/ 2397 h 10000"/>
              <a:gd name="connsiteX246" fmla="*/ 4819 w 10000"/>
              <a:gd name="connsiteY246" fmla="*/ 1240 h 10000"/>
              <a:gd name="connsiteX247" fmla="*/ 4145 w 10000"/>
              <a:gd name="connsiteY247" fmla="*/ 744 h 10000"/>
              <a:gd name="connsiteX248" fmla="*/ 4974 w 10000"/>
              <a:gd name="connsiteY248" fmla="*/ 744 h 10000"/>
              <a:gd name="connsiteX249" fmla="*/ 5803 w 10000"/>
              <a:gd name="connsiteY249" fmla="*/ 744 h 10000"/>
              <a:gd name="connsiteX250" fmla="*/ 5803 w 10000"/>
              <a:gd name="connsiteY250" fmla="*/ 702 h 10000"/>
              <a:gd name="connsiteX251" fmla="*/ 5803 w 10000"/>
              <a:gd name="connsiteY251" fmla="*/ 661 h 10000"/>
              <a:gd name="connsiteX252" fmla="*/ 5803 w 10000"/>
              <a:gd name="connsiteY252" fmla="*/ 620 h 10000"/>
              <a:gd name="connsiteX253" fmla="*/ 5803 w 10000"/>
              <a:gd name="connsiteY253" fmla="*/ 579 h 10000"/>
              <a:gd name="connsiteX254" fmla="*/ 5855 w 10000"/>
              <a:gd name="connsiteY254" fmla="*/ 537 h 10000"/>
              <a:gd name="connsiteX255" fmla="*/ 5855 w 10000"/>
              <a:gd name="connsiteY255" fmla="*/ 496 h 10000"/>
              <a:gd name="connsiteX256" fmla="*/ 5855 w 10000"/>
              <a:gd name="connsiteY256" fmla="*/ 455 h 10000"/>
              <a:gd name="connsiteX257" fmla="*/ 5855 w 10000"/>
              <a:gd name="connsiteY257" fmla="*/ 413 h 10000"/>
              <a:gd name="connsiteX258" fmla="*/ 5855 w 10000"/>
              <a:gd name="connsiteY258" fmla="*/ 372 h 10000"/>
              <a:gd name="connsiteX259" fmla="*/ 5855 w 10000"/>
              <a:gd name="connsiteY259" fmla="*/ 331 h 10000"/>
              <a:gd name="connsiteX260" fmla="*/ 5803 w 10000"/>
              <a:gd name="connsiteY260" fmla="*/ 331 h 10000"/>
              <a:gd name="connsiteX261" fmla="*/ 5803 w 10000"/>
              <a:gd name="connsiteY261" fmla="*/ 289 h 10000"/>
              <a:gd name="connsiteX262" fmla="*/ 5803 w 10000"/>
              <a:gd name="connsiteY262" fmla="*/ 248 h 10000"/>
              <a:gd name="connsiteX263" fmla="*/ 5803 w 10000"/>
              <a:gd name="connsiteY263" fmla="*/ 207 h 10000"/>
              <a:gd name="connsiteX264" fmla="*/ 5803 w 10000"/>
              <a:gd name="connsiteY264" fmla="*/ 165 h 10000"/>
              <a:gd name="connsiteX265" fmla="*/ 5803 w 10000"/>
              <a:gd name="connsiteY265" fmla="*/ 124 h 10000"/>
              <a:gd name="connsiteX266" fmla="*/ 5803 w 10000"/>
              <a:gd name="connsiteY266" fmla="*/ 83 h 10000"/>
              <a:gd name="connsiteX267" fmla="*/ 5803 w 10000"/>
              <a:gd name="connsiteY267" fmla="*/ 41 h 10000"/>
              <a:gd name="connsiteX268" fmla="*/ 5803 w 10000"/>
              <a:gd name="connsiteY26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2694 w 10000"/>
              <a:gd name="connsiteY205" fmla="*/ 6983 h 10000"/>
              <a:gd name="connsiteX206" fmla="*/ 2332 w 10000"/>
              <a:gd name="connsiteY206" fmla="*/ 6983 h 10000"/>
              <a:gd name="connsiteX207" fmla="*/ 2228 w 10000"/>
              <a:gd name="connsiteY207" fmla="*/ 6983 h 10000"/>
              <a:gd name="connsiteX208" fmla="*/ 1036 w 10000"/>
              <a:gd name="connsiteY208" fmla="*/ 6612 h 10000"/>
              <a:gd name="connsiteX209" fmla="*/ 829 w 10000"/>
              <a:gd name="connsiteY209" fmla="*/ 6488 h 10000"/>
              <a:gd name="connsiteX210" fmla="*/ 829 w 10000"/>
              <a:gd name="connsiteY210" fmla="*/ 6446 h 10000"/>
              <a:gd name="connsiteX211" fmla="*/ 777 w 10000"/>
              <a:gd name="connsiteY211" fmla="*/ 6446 h 10000"/>
              <a:gd name="connsiteX212" fmla="*/ 725 w 10000"/>
              <a:gd name="connsiteY212" fmla="*/ 6446 h 10000"/>
              <a:gd name="connsiteX213" fmla="*/ 674 w 10000"/>
              <a:gd name="connsiteY213" fmla="*/ 6405 h 10000"/>
              <a:gd name="connsiteX214" fmla="*/ 622 w 10000"/>
              <a:gd name="connsiteY214" fmla="*/ 6405 h 10000"/>
              <a:gd name="connsiteX215" fmla="*/ 570 w 10000"/>
              <a:gd name="connsiteY215" fmla="*/ 6405 h 10000"/>
              <a:gd name="connsiteX216" fmla="*/ 570 w 10000"/>
              <a:gd name="connsiteY216" fmla="*/ 6364 h 10000"/>
              <a:gd name="connsiteX217" fmla="*/ 518 w 10000"/>
              <a:gd name="connsiteY217" fmla="*/ 6364 h 10000"/>
              <a:gd name="connsiteX218" fmla="*/ 466 w 10000"/>
              <a:gd name="connsiteY218" fmla="*/ 6364 h 10000"/>
              <a:gd name="connsiteX219" fmla="*/ 466 w 10000"/>
              <a:gd name="connsiteY219" fmla="*/ 6405 h 10000"/>
              <a:gd name="connsiteX220" fmla="*/ 415 w 10000"/>
              <a:gd name="connsiteY220" fmla="*/ 6405 h 10000"/>
              <a:gd name="connsiteX221" fmla="*/ 363 w 10000"/>
              <a:gd name="connsiteY221" fmla="*/ 6405 h 10000"/>
              <a:gd name="connsiteX222" fmla="*/ 311 w 10000"/>
              <a:gd name="connsiteY222" fmla="*/ 6405 h 10000"/>
              <a:gd name="connsiteX223" fmla="*/ 259 w 10000"/>
              <a:gd name="connsiteY223" fmla="*/ 6405 h 10000"/>
              <a:gd name="connsiteX224" fmla="*/ 207 w 10000"/>
              <a:gd name="connsiteY224" fmla="*/ 6405 h 10000"/>
              <a:gd name="connsiteX225" fmla="*/ 155 w 10000"/>
              <a:gd name="connsiteY225" fmla="*/ 6405 h 10000"/>
              <a:gd name="connsiteX226" fmla="*/ 104 w 10000"/>
              <a:gd name="connsiteY226" fmla="*/ 6405 h 10000"/>
              <a:gd name="connsiteX227" fmla="*/ 52 w 10000"/>
              <a:gd name="connsiteY227" fmla="*/ 6405 h 10000"/>
              <a:gd name="connsiteX228" fmla="*/ 0 w 10000"/>
              <a:gd name="connsiteY228" fmla="*/ 6405 h 10000"/>
              <a:gd name="connsiteX229" fmla="*/ 52 w 10000"/>
              <a:gd name="connsiteY229" fmla="*/ 5826 h 10000"/>
              <a:gd name="connsiteX230" fmla="*/ 207 w 10000"/>
              <a:gd name="connsiteY230" fmla="*/ 5909 h 10000"/>
              <a:gd name="connsiteX231" fmla="*/ 415 w 10000"/>
              <a:gd name="connsiteY231" fmla="*/ 5826 h 10000"/>
              <a:gd name="connsiteX232" fmla="*/ 1503 w 10000"/>
              <a:gd name="connsiteY232" fmla="*/ 5826 h 10000"/>
              <a:gd name="connsiteX233" fmla="*/ 1658 w 10000"/>
              <a:gd name="connsiteY233" fmla="*/ 5785 h 10000"/>
              <a:gd name="connsiteX234" fmla="*/ 1710 w 10000"/>
              <a:gd name="connsiteY234" fmla="*/ 5785 h 10000"/>
              <a:gd name="connsiteX235" fmla="*/ 2228 w 10000"/>
              <a:gd name="connsiteY235" fmla="*/ 5248 h 10000"/>
              <a:gd name="connsiteX236" fmla="*/ 2332 w 10000"/>
              <a:gd name="connsiteY236" fmla="*/ 5165 h 10000"/>
              <a:gd name="connsiteX237" fmla="*/ 2798 w 10000"/>
              <a:gd name="connsiteY237" fmla="*/ 4752 h 10000"/>
              <a:gd name="connsiteX238" fmla="*/ 3057 w 10000"/>
              <a:gd name="connsiteY238" fmla="*/ 4504 h 10000"/>
              <a:gd name="connsiteX239" fmla="*/ 3212 w 10000"/>
              <a:gd name="connsiteY239" fmla="*/ 4380 h 10000"/>
              <a:gd name="connsiteX240" fmla="*/ 3627 w 10000"/>
              <a:gd name="connsiteY240" fmla="*/ 3760 h 10000"/>
              <a:gd name="connsiteX241" fmla="*/ 4145 w 10000"/>
              <a:gd name="connsiteY241" fmla="*/ 3512 h 10000"/>
              <a:gd name="connsiteX242" fmla="*/ 5026 w 10000"/>
              <a:gd name="connsiteY242" fmla="*/ 2810 h 10000"/>
              <a:gd name="connsiteX243" fmla="*/ 4870 w 10000"/>
              <a:gd name="connsiteY243" fmla="*/ 2562 h 10000"/>
              <a:gd name="connsiteX244" fmla="*/ 4819 w 10000"/>
              <a:gd name="connsiteY244" fmla="*/ 2397 h 10000"/>
              <a:gd name="connsiteX245" fmla="*/ 4819 w 10000"/>
              <a:gd name="connsiteY245" fmla="*/ 1240 h 10000"/>
              <a:gd name="connsiteX246" fmla="*/ 4145 w 10000"/>
              <a:gd name="connsiteY246" fmla="*/ 744 h 10000"/>
              <a:gd name="connsiteX247" fmla="*/ 4974 w 10000"/>
              <a:gd name="connsiteY247" fmla="*/ 744 h 10000"/>
              <a:gd name="connsiteX248" fmla="*/ 5803 w 10000"/>
              <a:gd name="connsiteY248" fmla="*/ 744 h 10000"/>
              <a:gd name="connsiteX249" fmla="*/ 5803 w 10000"/>
              <a:gd name="connsiteY249" fmla="*/ 702 h 10000"/>
              <a:gd name="connsiteX250" fmla="*/ 5803 w 10000"/>
              <a:gd name="connsiteY250" fmla="*/ 661 h 10000"/>
              <a:gd name="connsiteX251" fmla="*/ 5803 w 10000"/>
              <a:gd name="connsiteY251" fmla="*/ 620 h 10000"/>
              <a:gd name="connsiteX252" fmla="*/ 5803 w 10000"/>
              <a:gd name="connsiteY252" fmla="*/ 579 h 10000"/>
              <a:gd name="connsiteX253" fmla="*/ 5855 w 10000"/>
              <a:gd name="connsiteY253" fmla="*/ 537 h 10000"/>
              <a:gd name="connsiteX254" fmla="*/ 5855 w 10000"/>
              <a:gd name="connsiteY254" fmla="*/ 496 h 10000"/>
              <a:gd name="connsiteX255" fmla="*/ 5855 w 10000"/>
              <a:gd name="connsiteY255" fmla="*/ 455 h 10000"/>
              <a:gd name="connsiteX256" fmla="*/ 5855 w 10000"/>
              <a:gd name="connsiteY256" fmla="*/ 413 h 10000"/>
              <a:gd name="connsiteX257" fmla="*/ 5855 w 10000"/>
              <a:gd name="connsiteY257" fmla="*/ 372 h 10000"/>
              <a:gd name="connsiteX258" fmla="*/ 5855 w 10000"/>
              <a:gd name="connsiteY258" fmla="*/ 331 h 10000"/>
              <a:gd name="connsiteX259" fmla="*/ 5803 w 10000"/>
              <a:gd name="connsiteY259" fmla="*/ 331 h 10000"/>
              <a:gd name="connsiteX260" fmla="*/ 5803 w 10000"/>
              <a:gd name="connsiteY260" fmla="*/ 289 h 10000"/>
              <a:gd name="connsiteX261" fmla="*/ 5803 w 10000"/>
              <a:gd name="connsiteY261" fmla="*/ 248 h 10000"/>
              <a:gd name="connsiteX262" fmla="*/ 5803 w 10000"/>
              <a:gd name="connsiteY262" fmla="*/ 207 h 10000"/>
              <a:gd name="connsiteX263" fmla="*/ 5803 w 10000"/>
              <a:gd name="connsiteY263" fmla="*/ 165 h 10000"/>
              <a:gd name="connsiteX264" fmla="*/ 5803 w 10000"/>
              <a:gd name="connsiteY264" fmla="*/ 124 h 10000"/>
              <a:gd name="connsiteX265" fmla="*/ 5803 w 10000"/>
              <a:gd name="connsiteY265" fmla="*/ 83 h 10000"/>
              <a:gd name="connsiteX266" fmla="*/ 5803 w 10000"/>
              <a:gd name="connsiteY266" fmla="*/ 41 h 10000"/>
              <a:gd name="connsiteX267" fmla="*/ 5803 w 10000"/>
              <a:gd name="connsiteY26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2694 w 10000"/>
              <a:gd name="connsiteY205" fmla="*/ 6983 h 10000"/>
              <a:gd name="connsiteX206" fmla="*/ 2332 w 10000"/>
              <a:gd name="connsiteY206" fmla="*/ 6983 h 10000"/>
              <a:gd name="connsiteX207" fmla="*/ 2228 w 10000"/>
              <a:gd name="connsiteY207" fmla="*/ 6983 h 10000"/>
              <a:gd name="connsiteX208" fmla="*/ 2087 w 10000"/>
              <a:gd name="connsiteY208" fmla="*/ 6974 h 10000"/>
              <a:gd name="connsiteX209" fmla="*/ 1036 w 10000"/>
              <a:gd name="connsiteY209" fmla="*/ 6612 h 10000"/>
              <a:gd name="connsiteX210" fmla="*/ 829 w 10000"/>
              <a:gd name="connsiteY210" fmla="*/ 6488 h 10000"/>
              <a:gd name="connsiteX211" fmla="*/ 829 w 10000"/>
              <a:gd name="connsiteY211" fmla="*/ 6446 h 10000"/>
              <a:gd name="connsiteX212" fmla="*/ 777 w 10000"/>
              <a:gd name="connsiteY212" fmla="*/ 6446 h 10000"/>
              <a:gd name="connsiteX213" fmla="*/ 725 w 10000"/>
              <a:gd name="connsiteY213" fmla="*/ 6446 h 10000"/>
              <a:gd name="connsiteX214" fmla="*/ 674 w 10000"/>
              <a:gd name="connsiteY214" fmla="*/ 6405 h 10000"/>
              <a:gd name="connsiteX215" fmla="*/ 622 w 10000"/>
              <a:gd name="connsiteY215" fmla="*/ 6405 h 10000"/>
              <a:gd name="connsiteX216" fmla="*/ 570 w 10000"/>
              <a:gd name="connsiteY216" fmla="*/ 6405 h 10000"/>
              <a:gd name="connsiteX217" fmla="*/ 570 w 10000"/>
              <a:gd name="connsiteY217" fmla="*/ 6364 h 10000"/>
              <a:gd name="connsiteX218" fmla="*/ 518 w 10000"/>
              <a:gd name="connsiteY218" fmla="*/ 6364 h 10000"/>
              <a:gd name="connsiteX219" fmla="*/ 466 w 10000"/>
              <a:gd name="connsiteY219" fmla="*/ 6364 h 10000"/>
              <a:gd name="connsiteX220" fmla="*/ 466 w 10000"/>
              <a:gd name="connsiteY220" fmla="*/ 6405 h 10000"/>
              <a:gd name="connsiteX221" fmla="*/ 415 w 10000"/>
              <a:gd name="connsiteY221" fmla="*/ 6405 h 10000"/>
              <a:gd name="connsiteX222" fmla="*/ 363 w 10000"/>
              <a:gd name="connsiteY222" fmla="*/ 6405 h 10000"/>
              <a:gd name="connsiteX223" fmla="*/ 311 w 10000"/>
              <a:gd name="connsiteY223" fmla="*/ 6405 h 10000"/>
              <a:gd name="connsiteX224" fmla="*/ 259 w 10000"/>
              <a:gd name="connsiteY224" fmla="*/ 6405 h 10000"/>
              <a:gd name="connsiteX225" fmla="*/ 207 w 10000"/>
              <a:gd name="connsiteY225" fmla="*/ 6405 h 10000"/>
              <a:gd name="connsiteX226" fmla="*/ 155 w 10000"/>
              <a:gd name="connsiteY226" fmla="*/ 6405 h 10000"/>
              <a:gd name="connsiteX227" fmla="*/ 104 w 10000"/>
              <a:gd name="connsiteY227" fmla="*/ 6405 h 10000"/>
              <a:gd name="connsiteX228" fmla="*/ 52 w 10000"/>
              <a:gd name="connsiteY228" fmla="*/ 6405 h 10000"/>
              <a:gd name="connsiteX229" fmla="*/ 0 w 10000"/>
              <a:gd name="connsiteY229" fmla="*/ 6405 h 10000"/>
              <a:gd name="connsiteX230" fmla="*/ 52 w 10000"/>
              <a:gd name="connsiteY230" fmla="*/ 5826 h 10000"/>
              <a:gd name="connsiteX231" fmla="*/ 207 w 10000"/>
              <a:gd name="connsiteY231" fmla="*/ 5909 h 10000"/>
              <a:gd name="connsiteX232" fmla="*/ 415 w 10000"/>
              <a:gd name="connsiteY232" fmla="*/ 5826 h 10000"/>
              <a:gd name="connsiteX233" fmla="*/ 1503 w 10000"/>
              <a:gd name="connsiteY233" fmla="*/ 5826 h 10000"/>
              <a:gd name="connsiteX234" fmla="*/ 1658 w 10000"/>
              <a:gd name="connsiteY234" fmla="*/ 5785 h 10000"/>
              <a:gd name="connsiteX235" fmla="*/ 1710 w 10000"/>
              <a:gd name="connsiteY235" fmla="*/ 5785 h 10000"/>
              <a:gd name="connsiteX236" fmla="*/ 2228 w 10000"/>
              <a:gd name="connsiteY236" fmla="*/ 5248 h 10000"/>
              <a:gd name="connsiteX237" fmla="*/ 2332 w 10000"/>
              <a:gd name="connsiteY237" fmla="*/ 5165 h 10000"/>
              <a:gd name="connsiteX238" fmla="*/ 2798 w 10000"/>
              <a:gd name="connsiteY238" fmla="*/ 4752 h 10000"/>
              <a:gd name="connsiteX239" fmla="*/ 3057 w 10000"/>
              <a:gd name="connsiteY239" fmla="*/ 4504 h 10000"/>
              <a:gd name="connsiteX240" fmla="*/ 3212 w 10000"/>
              <a:gd name="connsiteY240" fmla="*/ 4380 h 10000"/>
              <a:gd name="connsiteX241" fmla="*/ 3627 w 10000"/>
              <a:gd name="connsiteY241" fmla="*/ 3760 h 10000"/>
              <a:gd name="connsiteX242" fmla="*/ 4145 w 10000"/>
              <a:gd name="connsiteY242" fmla="*/ 3512 h 10000"/>
              <a:gd name="connsiteX243" fmla="*/ 5026 w 10000"/>
              <a:gd name="connsiteY243" fmla="*/ 2810 h 10000"/>
              <a:gd name="connsiteX244" fmla="*/ 4870 w 10000"/>
              <a:gd name="connsiteY244" fmla="*/ 2562 h 10000"/>
              <a:gd name="connsiteX245" fmla="*/ 4819 w 10000"/>
              <a:gd name="connsiteY245" fmla="*/ 2397 h 10000"/>
              <a:gd name="connsiteX246" fmla="*/ 4819 w 10000"/>
              <a:gd name="connsiteY246" fmla="*/ 1240 h 10000"/>
              <a:gd name="connsiteX247" fmla="*/ 4145 w 10000"/>
              <a:gd name="connsiteY247" fmla="*/ 744 h 10000"/>
              <a:gd name="connsiteX248" fmla="*/ 4974 w 10000"/>
              <a:gd name="connsiteY248" fmla="*/ 744 h 10000"/>
              <a:gd name="connsiteX249" fmla="*/ 5803 w 10000"/>
              <a:gd name="connsiteY249" fmla="*/ 744 h 10000"/>
              <a:gd name="connsiteX250" fmla="*/ 5803 w 10000"/>
              <a:gd name="connsiteY250" fmla="*/ 702 h 10000"/>
              <a:gd name="connsiteX251" fmla="*/ 5803 w 10000"/>
              <a:gd name="connsiteY251" fmla="*/ 661 h 10000"/>
              <a:gd name="connsiteX252" fmla="*/ 5803 w 10000"/>
              <a:gd name="connsiteY252" fmla="*/ 620 h 10000"/>
              <a:gd name="connsiteX253" fmla="*/ 5803 w 10000"/>
              <a:gd name="connsiteY253" fmla="*/ 579 h 10000"/>
              <a:gd name="connsiteX254" fmla="*/ 5855 w 10000"/>
              <a:gd name="connsiteY254" fmla="*/ 537 h 10000"/>
              <a:gd name="connsiteX255" fmla="*/ 5855 w 10000"/>
              <a:gd name="connsiteY255" fmla="*/ 496 h 10000"/>
              <a:gd name="connsiteX256" fmla="*/ 5855 w 10000"/>
              <a:gd name="connsiteY256" fmla="*/ 455 h 10000"/>
              <a:gd name="connsiteX257" fmla="*/ 5855 w 10000"/>
              <a:gd name="connsiteY257" fmla="*/ 413 h 10000"/>
              <a:gd name="connsiteX258" fmla="*/ 5855 w 10000"/>
              <a:gd name="connsiteY258" fmla="*/ 372 h 10000"/>
              <a:gd name="connsiteX259" fmla="*/ 5855 w 10000"/>
              <a:gd name="connsiteY259" fmla="*/ 331 h 10000"/>
              <a:gd name="connsiteX260" fmla="*/ 5803 w 10000"/>
              <a:gd name="connsiteY260" fmla="*/ 331 h 10000"/>
              <a:gd name="connsiteX261" fmla="*/ 5803 w 10000"/>
              <a:gd name="connsiteY261" fmla="*/ 289 h 10000"/>
              <a:gd name="connsiteX262" fmla="*/ 5803 w 10000"/>
              <a:gd name="connsiteY262" fmla="*/ 248 h 10000"/>
              <a:gd name="connsiteX263" fmla="*/ 5803 w 10000"/>
              <a:gd name="connsiteY263" fmla="*/ 207 h 10000"/>
              <a:gd name="connsiteX264" fmla="*/ 5803 w 10000"/>
              <a:gd name="connsiteY264" fmla="*/ 165 h 10000"/>
              <a:gd name="connsiteX265" fmla="*/ 5803 w 10000"/>
              <a:gd name="connsiteY265" fmla="*/ 124 h 10000"/>
              <a:gd name="connsiteX266" fmla="*/ 5803 w 10000"/>
              <a:gd name="connsiteY266" fmla="*/ 83 h 10000"/>
              <a:gd name="connsiteX267" fmla="*/ 5803 w 10000"/>
              <a:gd name="connsiteY267" fmla="*/ 41 h 10000"/>
              <a:gd name="connsiteX268" fmla="*/ 5803 w 10000"/>
              <a:gd name="connsiteY26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2694 w 10000"/>
              <a:gd name="connsiteY205" fmla="*/ 6983 h 10000"/>
              <a:gd name="connsiteX206" fmla="*/ 2332 w 10000"/>
              <a:gd name="connsiteY206" fmla="*/ 6983 h 10000"/>
              <a:gd name="connsiteX207" fmla="*/ 2087 w 10000"/>
              <a:gd name="connsiteY207" fmla="*/ 6974 h 10000"/>
              <a:gd name="connsiteX208" fmla="*/ 1036 w 10000"/>
              <a:gd name="connsiteY208" fmla="*/ 6612 h 10000"/>
              <a:gd name="connsiteX209" fmla="*/ 829 w 10000"/>
              <a:gd name="connsiteY209" fmla="*/ 6488 h 10000"/>
              <a:gd name="connsiteX210" fmla="*/ 829 w 10000"/>
              <a:gd name="connsiteY210" fmla="*/ 6446 h 10000"/>
              <a:gd name="connsiteX211" fmla="*/ 777 w 10000"/>
              <a:gd name="connsiteY211" fmla="*/ 6446 h 10000"/>
              <a:gd name="connsiteX212" fmla="*/ 725 w 10000"/>
              <a:gd name="connsiteY212" fmla="*/ 6446 h 10000"/>
              <a:gd name="connsiteX213" fmla="*/ 674 w 10000"/>
              <a:gd name="connsiteY213" fmla="*/ 6405 h 10000"/>
              <a:gd name="connsiteX214" fmla="*/ 622 w 10000"/>
              <a:gd name="connsiteY214" fmla="*/ 6405 h 10000"/>
              <a:gd name="connsiteX215" fmla="*/ 570 w 10000"/>
              <a:gd name="connsiteY215" fmla="*/ 6405 h 10000"/>
              <a:gd name="connsiteX216" fmla="*/ 570 w 10000"/>
              <a:gd name="connsiteY216" fmla="*/ 6364 h 10000"/>
              <a:gd name="connsiteX217" fmla="*/ 518 w 10000"/>
              <a:gd name="connsiteY217" fmla="*/ 6364 h 10000"/>
              <a:gd name="connsiteX218" fmla="*/ 466 w 10000"/>
              <a:gd name="connsiteY218" fmla="*/ 6364 h 10000"/>
              <a:gd name="connsiteX219" fmla="*/ 466 w 10000"/>
              <a:gd name="connsiteY219" fmla="*/ 6405 h 10000"/>
              <a:gd name="connsiteX220" fmla="*/ 415 w 10000"/>
              <a:gd name="connsiteY220" fmla="*/ 6405 h 10000"/>
              <a:gd name="connsiteX221" fmla="*/ 363 w 10000"/>
              <a:gd name="connsiteY221" fmla="*/ 6405 h 10000"/>
              <a:gd name="connsiteX222" fmla="*/ 311 w 10000"/>
              <a:gd name="connsiteY222" fmla="*/ 6405 h 10000"/>
              <a:gd name="connsiteX223" fmla="*/ 259 w 10000"/>
              <a:gd name="connsiteY223" fmla="*/ 6405 h 10000"/>
              <a:gd name="connsiteX224" fmla="*/ 207 w 10000"/>
              <a:gd name="connsiteY224" fmla="*/ 6405 h 10000"/>
              <a:gd name="connsiteX225" fmla="*/ 155 w 10000"/>
              <a:gd name="connsiteY225" fmla="*/ 6405 h 10000"/>
              <a:gd name="connsiteX226" fmla="*/ 104 w 10000"/>
              <a:gd name="connsiteY226" fmla="*/ 6405 h 10000"/>
              <a:gd name="connsiteX227" fmla="*/ 52 w 10000"/>
              <a:gd name="connsiteY227" fmla="*/ 6405 h 10000"/>
              <a:gd name="connsiteX228" fmla="*/ 0 w 10000"/>
              <a:gd name="connsiteY228" fmla="*/ 6405 h 10000"/>
              <a:gd name="connsiteX229" fmla="*/ 52 w 10000"/>
              <a:gd name="connsiteY229" fmla="*/ 5826 h 10000"/>
              <a:gd name="connsiteX230" fmla="*/ 207 w 10000"/>
              <a:gd name="connsiteY230" fmla="*/ 5909 h 10000"/>
              <a:gd name="connsiteX231" fmla="*/ 415 w 10000"/>
              <a:gd name="connsiteY231" fmla="*/ 5826 h 10000"/>
              <a:gd name="connsiteX232" fmla="*/ 1503 w 10000"/>
              <a:gd name="connsiteY232" fmla="*/ 5826 h 10000"/>
              <a:gd name="connsiteX233" fmla="*/ 1658 w 10000"/>
              <a:gd name="connsiteY233" fmla="*/ 5785 h 10000"/>
              <a:gd name="connsiteX234" fmla="*/ 1710 w 10000"/>
              <a:gd name="connsiteY234" fmla="*/ 5785 h 10000"/>
              <a:gd name="connsiteX235" fmla="*/ 2228 w 10000"/>
              <a:gd name="connsiteY235" fmla="*/ 5248 h 10000"/>
              <a:gd name="connsiteX236" fmla="*/ 2332 w 10000"/>
              <a:gd name="connsiteY236" fmla="*/ 5165 h 10000"/>
              <a:gd name="connsiteX237" fmla="*/ 2798 w 10000"/>
              <a:gd name="connsiteY237" fmla="*/ 4752 h 10000"/>
              <a:gd name="connsiteX238" fmla="*/ 3057 w 10000"/>
              <a:gd name="connsiteY238" fmla="*/ 4504 h 10000"/>
              <a:gd name="connsiteX239" fmla="*/ 3212 w 10000"/>
              <a:gd name="connsiteY239" fmla="*/ 4380 h 10000"/>
              <a:gd name="connsiteX240" fmla="*/ 3627 w 10000"/>
              <a:gd name="connsiteY240" fmla="*/ 3760 h 10000"/>
              <a:gd name="connsiteX241" fmla="*/ 4145 w 10000"/>
              <a:gd name="connsiteY241" fmla="*/ 3512 h 10000"/>
              <a:gd name="connsiteX242" fmla="*/ 5026 w 10000"/>
              <a:gd name="connsiteY242" fmla="*/ 2810 h 10000"/>
              <a:gd name="connsiteX243" fmla="*/ 4870 w 10000"/>
              <a:gd name="connsiteY243" fmla="*/ 2562 h 10000"/>
              <a:gd name="connsiteX244" fmla="*/ 4819 w 10000"/>
              <a:gd name="connsiteY244" fmla="*/ 2397 h 10000"/>
              <a:gd name="connsiteX245" fmla="*/ 4819 w 10000"/>
              <a:gd name="connsiteY245" fmla="*/ 1240 h 10000"/>
              <a:gd name="connsiteX246" fmla="*/ 4145 w 10000"/>
              <a:gd name="connsiteY246" fmla="*/ 744 h 10000"/>
              <a:gd name="connsiteX247" fmla="*/ 4974 w 10000"/>
              <a:gd name="connsiteY247" fmla="*/ 744 h 10000"/>
              <a:gd name="connsiteX248" fmla="*/ 5803 w 10000"/>
              <a:gd name="connsiteY248" fmla="*/ 744 h 10000"/>
              <a:gd name="connsiteX249" fmla="*/ 5803 w 10000"/>
              <a:gd name="connsiteY249" fmla="*/ 702 h 10000"/>
              <a:gd name="connsiteX250" fmla="*/ 5803 w 10000"/>
              <a:gd name="connsiteY250" fmla="*/ 661 h 10000"/>
              <a:gd name="connsiteX251" fmla="*/ 5803 w 10000"/>
              <a:gd name="connsiteY251" fmla="*/ 620 h 10000"/>
              <a:gd name="connsiteX252" fmla="*/ 5803 w 10000"/>
              <a:gd name="connsiteY252" fmla="*/ 579 h 10000"/>
              <a:gd name="connsiteX253" fmla="*/ 5855 w 10000"/>
              <a:gd name="connsiteY253" fmla="*/ 537 h 10000"/>
              <a:gd name="connsiteX254" fmla="*/ 5855 w 10000"/>
              <a:gd name="connsiteY254" fmla="*/ 496 h 10000"/>
              <a:gd name="connsiteX255" fmla="*/ 5855 w 10000"/>
              <a:gd name="connsiteY255" fmla="*/ 455 h 10000"/>
              <a:gd name="connsiteX256" fmla="*/ 5855 w 10000"/>
              <a:gd name="connsiteY256" fmla="*/ 413 h 10000"/>
              <a:gd name="connsiteX257" fmla="*/ 5855 w 10000"/>
              <a:gd name="connsiteY257" fmla="*/ 372 h 10000"/>
              <a:gd name="connsiteX258" fmla="*/ 5855 w 10000"/>
              <a:gd name="connsiteY258" fmla="*/ 331 h 10000"/>
              <a:gd name="connsiteX259" fmla="*/ 5803 w 10000"/>
              <a:gd name="connsiteY259" fmla="*/ 331 h 10000"/>
              <a:gd name="connsiteX260" fmla="*/ 5803 w 10000"/>
              <a:gd name="connsiteY260" fmla="*/ 289 h 10000"/>
              <a:gd name="connsiteX261" fmla="*/ 5803 w 10000"/>
              <a:gd name="connsiteY261" fmla="*/ 248 h 10000"/>
              <a:gd name="connsiteX262" fmla="*/ 5803 w 10000"/>
              <a:gd name="connsiteY262" fmla="*/ 207 h 10000"/>
              <a:gd name="connsiteX263" fmla="*/ 5803 w 10000"/>
              <a:gd name="connsiteY263" fmla="*/ 165 h 10000"/>
              <a:gd name="connsiteX264" fmla="*/ 5803 w 10000"/>
              <a:gd name="connsiteY264" fmla="*/ 124 h 10000"/>
              <a:gd name="connsiteX265" fmla="*/ 5803 w 10000"/>
              <a:gd name="connsiteY265" fmla="*/ 83 h 10000"/>
              <a:gd name="connsiteX266" fmla="*/ 5803 w 10000"/>
              <a:gd name="connsiteY266" fmla="*/ 41 h 10000"/>
              <a:gd name="connsiteX267" fmla="*/ 5803 w 10000"/>
              <a:gd name="connsiteY26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2694 w 10000"/>
              <a:gd name="connsiteY205" fmla="*/ 6983 h 10000"/>
              <a:gd name="connsiteX206" fmla="*/ 2332 w 10000"/>
              <a:gd name="connsiteY206" fmla="*/ 6983 h 10000"/>
              <a:gd name="connsiteX207" fmla="*/ 1036 w 10000"/>
              <a:gd name="connsiteY207" fmla="*/ 6612 h 10000"/>
              <a:gd name="connsiteX208" fmla="*/ 829 w 10000"/>
              <a:gd name="connsiteY208" fmla="*/ 6488 h 10000"/>
              <a:gd name="connsiteX209" fmla="*/ 829 w 10000"/>
              <a:gd name="connsiteY209" fmla="*/ 6446 h 10000"/>
              <a:gd name="connsiteX210" fmla="*/ 777 w 10000"/>
              <a:gd name="connsiteY210" fmla="*/ 6446 h 10000"/>
              <a:gd name="connsiteX211" fmla="*/ 725 w 10000"/>
              <a:gd name="connsiteY211" fmla="*/ 6446 h 10000"/>
              <a:gd name="connsiteX212" fmla="*/ 674 w 10000"/>
              <a:gd name="connsiteY212" fmla="*/ 6405 h 10000"/>
              <a:gd name="connsiteX213" fmla="*/ 622 w 10000"/>
              <a:gd name="connsiteY213" fmla="*/ 6405 h 10000"/>
              <a:gd name="connsiteX214" fmla="*/ 570 w 10000"/>
              <a:gd name="connsiteY214" fmla="*/ 6405 h 10000"/>
              <a:gd name="connsiteX215" fmla="*/ 570 w 10000"/>
              <a:gd name="connsiteY215" fmla="*/ 6364 h 10000"/>
              <a:gd name="connsiteX216" fmla="*/ 518 w 10000"/>
              <a:gd name="connsiteY216" fmla="*/ 6364 h 10000"/>
              <a:gd name="connsiteX217" fmla="*/ 466 w 10000"/>
              <a:gd name="connsiteY217" fmla="*/ 6364 h 10000"/>
              <a:gd name="connsiteX218" fmla="*/ 466 w 10000"/>
              <a:gd name="connsiteY218" fmla="*/ 6405 h 10000"/>
              <a:gd name="connsiteX219" fmla="*/ 415 w 10000"/>
              <a:gd name="connsiteY219" fmla="*/ 6405 h 10000"/>
              <a:gd name="connsiteX220" fmla="*/ 363 w 10000"/>
              <a:gd name="connsiteY220" fmla="*/ 6405 h 10000"/>
              <a:gd name="connsiteX221" fmla="*/ 311 w 10000"/>
              <a:gd name="connsiteY221" fmla="*/ 6405 h 10000"/>
              <a:gd name="connsiteX222" fmla="*/ 259 w 10000"/>
              <a:gd name="connsiteY222" fmla="*/ 6405 h 10000"/>
              <a:gd name="connsiteX223" fmla="*/ 207 w 10000"/>
              <a:gd name="connsiteY223" fmla="*/ 6405 h 10000"/>
              <a:gd name="connsiteX224" fmla="*/ 155 w 10000"/>
              <a:gd name="connsiteY224" fmla="*/ 6405 h 10000"/>
              <a:gd name="connsiteX225" fmla="*/ 104 w 10000"/>
              <a:gd name="connsiteY225" fmla="*/ 6405 h 10000"/>
              <a:gd name="connsiteX226" fmla="*/ 52 w 10000"/>
              <a:gd name="connsiteY226" fmla="*/ 6405 h 10000"/>
              <a:gd name="connsiteX227" fmla="*/ 0 w 10000"/>
              <a:gd name="connsiteY227" fmla="*/ 6405 h 10000"/>
              <a:gd name="connsiteX228" fmla="*/ 52 w 10000"/>
              <a:gd name="connsiteY228" fmla="*/ 5826 h 10000"/>
              <a:gd name="connsiteX229" fmla="*/ 207 w 10000"/>
              <a:gd name="connsiteY229" fmla="*/ 5909 h 10000"/>
              <a:gd name="connsiteX230" fmla="*/ 415 w 10000"/>
              <a:gd name="connsiteY230" fmla="*/ 5826 h 10000"/>
              <a:gd name="connsiteX231" fmla="*/ 1503 w 10000"/>
              <a:gd name="connsiteY231" fmla="*/ 5826 h 10000"/>
              <a:gd name="connsiteX232" fmla="*/ 1658 w 10000"/>
              <a:gd name="connsiteY232" fmla="*/ 5785 h 10000"/>
              <a:gd name="connsiteX233" fmla="*/ 1710 w 10000"/>
              <a:gd name="connsiteY233" fmla="*/ 5785 h 10000"/>
              <a:gd name="connsiteX234" fmla="*/ 2228 w 10000"/>
              <a:gd name="connsiteY234" fmla="*/ 5248 h 10000"/>
              <a:gd name="connsiteX235" fmla="*/ 2332 w 10000"/>
              <a:gd name="connsiteY235" fmla="*/ 5165 h 10000"/>
              <a:gd name="connsiteX236" fmla="*/ 2798 w 10000"/>
              <a:gd name="connsiteY236" fmla="*/ 4752 h 10000"/>
              <a:gd name="connsiteX237" fmla="*/ 3057 w 10000"/>
              <a:gd name="connsiteY237" fmla="*/ 4504 h 10000"/>
              <a:gd name="connsiteX238" fmla="*/ 3212 w 10000"/>
              <a:gd name="connsiteY238" fmla="*/ 4380 h 10000"/>
              <a:gd name="connsiteX239" fmla="*/ 3627 w 10000"/>
              <a:gd name="connsiteY239" fmla="*/ 3760 h 10000"/>
              <a:gd name="connsiteX240" fmla="*/ 4145 w 10000"/>
              <a:gd name="connsiteY240" fmla="*/ 3512 h 10000"/>
              <a:gd name="connsiteX241" fmla="*/ 5026 w 10000"/>
              <a:gd name="connsiteY241" fmla="*/ 2810 h 10000"/>
              <a:gd name="connsiteX242" fmla="*/ 4870 w 10000"/>
              <a:gd name="connsiteY242" fmla="*/ 2562 h 10000"/>
              <a:gd name="connsiteX243" fmla="*/ 4819 w 10000"/>
              <a:gd name="connsiteY243" fmla="*/ 2397 h 10000"/>
              <a:gd name="connsiteX244" fmla="*/ 4819 w 10000"/>
              <a:gd name="connsiteY244" fmla="*/ 1240 h 10000"/>
              <a:gd name="connsiteX245" fmla="*/ 4145 w 10000"/>
              <a:gd name="connsiteY245" fmla="*/ 744 h 10000"/>
              <a:gd name="connsiteX246" fmla="*/ 4974 w 10000"/>
              <a:gd name="connsiteY246" fmla="*/ 744 h 10000"/>
              <a:gd name="connsiteX247" fmla="*/ 5803 w 10000"/>
              <a:gd name="connsiteY247" fmla="*/ 744 h 10000"/>
              <a:gd name="connsiteX248" fmla="*/ 5803 w 10000"/>
              <a:gd name="connsiteY248" fmla="*/ 702 h 10000"/>
              <a:gd name="connsiteX249" fmla="*/ 5803 w 10000"/>
              <a:gd name="connsiteY249" fmla="*/ 661 h 10000"/>
              <a:gd name="connsiteX250" fmla="*/ 5803 w 10000"/>
              <a:gd name="connsiteY250" fmla="*/ 620 h 10000"/>
              <a:gd name="connsiteX251" fmla="*/ 5803 w 10000"/>
              <a:gd name="connsiteY251" fmla="*/ 579 h 10000"/>
              <a:gd name="connsiteX252" fmla="*/ 5855 w 10000"/>
              <a:gd name="connsiteY252" fmla="*/ 537 h 10000"/>
              <a:gd name="connsiteX253" fmla="*/ 5855 w 10000"/>
              <a:gd name="connsiteY253" fmla="*/ 496 h 10000"/>
              <a:gd name="connsiteX254" fmla="*/ 5855 w 10000"/>
              <a:gd name="connsiteY254" fmla="*/ 455 h 10000"/>
              <a:gd name="connsiteX255" fmla="*/ 5855 w 10000"/>
              <a:gd name="connsiteY255" fmla="*/ 413 h 10000"/>
              <a:gd name="connsiteX256" fmla="*/ 5855 w 10000"/>
              <a:gd name="connsiteY256" fmla="*/ 372 h 10000"/>
              <a:gd name="connsiteX257" fmla="*/ 5855 w 10000"/>
              <a:gd name="connsiteY257" fmla="*/ 331 h 10000"/>
              <a:gd name="connsiteX258" fmla="*/ 5803 w 10000"/>
              <a:gd name="connsiteY258" fmla="*/ 331 h 10000"/>
              <a:gd name="connsiteX259" fmla="*/ 5803 w 10000"/>
              <a:gd name="connsiteY259" fmla="*/ 289 h 10000"/>
              <a:gd name="connsiteX260" fmla="*/ 5803 w 10000"/>
              <a:gd name="connsiteY260" fmla="*/ 248 h 10000"/>
              <a:gd name="connsiteX261" fmla="*/ 5803 w 10000"/>
              <a:gd name="connsiteY261" fmla="*/ 207 h 10000"/>
              <a:gd name="connsiteX262" fmla="*/ 5803 w 10000"/>
              <a:gd name="connsiteY262" fmla="*/ 165 h 10000"/>
              <a:gd name="connsiteX263" fmla="*/ 5803 w 10000"/>
              <a:gd name="connsiteY263" fmla="*/ 124 h 10000"/>
              <a:gd name="connsiteX264" fmla="*/ 5803 w 10000"/>
              <a:gd name="connsiteY264" fmla="*/ 83 h 10000"/>
              <a:gd name="connsiteX265" fmla="*/ 5803 w 10000"/>
              <a:gd name="connsiteY265" fmla="*/ 41 h 10000"/>
              <a:gd name="connsiteX266" fmla="*/ 5803 w 10000"/>
              <a:gd name="connsiteY26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2694 w 10000"/>
              <a:gd name="connsiteY205" fmla="*/ 6983 h 10000"/>
              <a:gd name="connsiteX206" fmla="*/ 1036 w 10000"/>
              <a:gd name="connsiteY206" fmla="*/ 6612 h 10000"/>
              <a:gd name="connsiteX207" fmla="*/ 829 w 10000"/>
              <a:gd name="connsiteY207" fmla="*/ 6488 h 10000"/>
              <a:gd name="connsiteX208" fmla="*/ 829 w 10000"/>
              <a:gd name="connsiteY208" fmla="*/ 6446 h 10000"/>
              <a:gd name="connsiteX209" fmla="*/ 777 w 10000"/>
              <a:gd name="connsiteY209" fmla="*/ 6446 h 10000"/>
              <a:gd name="connsiteX210" fmla="*/ 725 w 10000"/>
              <a:gd name="connsiteY210" fmla="*/ 6446 h 10000"/>
              <a:gd name="connsiteX211" fmla="*/ 674 w 10000"/>
              <a:gd name="connsiteY211" fmla="*/ 6405 h 10000"/>
              <a:gd name="connsiteX212" fmla="*/ 622 w 10000"/>
              <a:gd name="connsiteY212" fmla="*/ 6405 h 10000"/>
              <a:gd name="connsiteX213" fmla="*/ 570 w 10000"/>
              <a:gd name="connsiteY213" fmla="*/ 6405 h 10000"/>
              <a:gd name="connsiteX214" fmla="*/ 570 w 10000"/>
              <a:gd name="connsiteY214" fmla="*/ 6364 h 10000"/>
              <a:gd name="connsiteX215" fmla="*/ 518 w 10000"/>
              <a:gd name="connsiteY215" fmla="*/ 6364 h 10000"/>
              <a:gd name="connsiteX216" fmla="*/ 466 w 10000"/>
              <a:gd name="connsiteY216" fmla="*/ 6364 h 10000"/>
              <a:gd name="connsiteX217" fmla="*/ 466 w 10000"/>
              <a:gd name="connsiteY217" fmla="*/ 6405 h 10000"/>
              <a:gd name="connsiteX218" fmla="*/ 415 w 10000"/>
              <a:gd name="connsiteY218" fmla="*/ 6405 h 10000"/>
              <a:gd name="connsiteX219" fmla="*/ 363 w 10000"/>
              <a:gd name="connsiteY219" fmla="*/ 6405 h 10000"/>
              <a:gd name="connsiteX220" fmla="*/ 311 w 10000"/>
              <a:gd name="connsiteY220" fmla="*/ 6405 h 10000"/>
              <a:gd name="connsiteX221" fmla="*/ 259 w 10000"/>
              <a:gd name="connsiteY221" fmla="*/ 6405 h 10000"/>
              <a:gd name="connsiteX222" fmla="*/ 207 w 10000"/>
              <a:gd name="connsiteY222" fmla="*/ 6405 h 10000"/>
              <a:gd name="connsiteX223" fmla="*/ 155 w 10000"/>
              <a:gd name="connsiteY223" fmla="*/ 6405 h 10000"/>
              <a:gd name="connsiteX224" fmla="*/ 104 w 10000"/>
              <a:gd name="connsiteY224" fmla="*/ 6405 h 10000"/>
              <a:gd name="connsiteX225" fmla="*/ 52 w 10000"/>
              <a:gd name="connsiteY225" fmla="*/ 6405 h 10000"/>
              <a:gd name="connsiteX226" fmla="*/ 0 w 10000"/>
              <a:gd name="connsiteY226" fmla="*/ 6405 h 10000"/>
              <a:gd name="connsiteX227" fmla="*/ 52 w 10000"/>
              <a:gd name="connsiteY227" fmla="*/ 5826 h 10000"/>
              <a:gd name="connsiteX228" fmla="*/ 207 w 10000"/>
              <a:gd name="connsiteY228" fmla="*/ 5909 h 10000"/>
              <a:gd name="connsiteX229" fmla="*/ 415 w 10000"/>
              <a:gd name="connsiteY229" fmla="*/ 5826 h 10000"/>
              <a:gd name="connsiteX230" fmla="*/ 1503 w 10000"/>
              <a:gd name="connsiteY230" fmla="*/ 5826 h 10000"/>
              <a:gd name="connsiteX231" fmla="*/ 1658 w 10000"/>
              <a:gd name="connsiteY231" fmla="*/ 5785 h 10000"/>
              <a:gd name="connsiteX232" fmla="*/ 1710 w 10000"/>
              <a:gd name="connsiteY232" fmla="*/ 5785 h 10000"/>
              <a:gd name="connsiteX233" fmla="*/ 2228 w 10000"/>
              <a:gd name="connsiteY233" fmla="*/ 5248 h 10000"/>
              <a:gd name="connsiteX234" fmla="*/ 2332 w 10000"/>
              <a:gd name="connsiteY234" fmla="*/ 5165 h 10000"/>
              <a:gd name="connsiteX235" fmla="*/ 2798 w 10000"/>
              <a:gd name="connsiteY235" fmla="*/ 4752 h 10000"/>
              <a:gd name="connsiteX236" fmla="*/ 3057 w 10000"/>
              <a:gd name="connsiteY236" fmla="*/ 4504 h 10000"/>
              <a:gd name="connsiteX237" fmla="*/ 3212 w 10000"/>
              <a:gd name="connsiteY237" fmla="*/ 4380 h 10000"/>
              <a:gd name="connsiteX238" fmla="*/ 3627 w 10000"/>
              <a:gd name="connsiteY238" fmla="*/ 3760 h 10000"/>
              <a:gd name="connsiteX239" fmla="*/ 4145 w 10000"/>
              <a:gd name="connsiteY239" fmla="*/ 3512 h 10000"/>
              <a:gd name="connsiteX240" fmla="*/ 5026 w 10000"/>
              <a:gd name="connsiteY240" fmla="*/ 2810 h 10000"/>
              <a:gd name="connsiteX241" fmla="*/ 4870 w 10000"/>
              <a:gd name="connsiteY241" fmla="*/ 2562 h 10000"/>
              <a:gd name="connsiteX242" fmla="*/ 4819 w 10000"/>
              <a:gd name="connsiteY242" fmla="*/ 2397 h 10000"/>
              <a:gd name="connsiteX243" fmla="*/ 4819 w 10000"/>
              <a:gd name="connsiteY243" fmla="*/ 1240 h 10000"/>
              <a:gd name="connsiteX244" fmla="*/ 4145 w 10000"/>
              <a:gd name="connsiteY244" fmla="*/ 744 h 10000"/>
              <a:gd name="connsiteX245" fmla="*/ 4974 w 10000"/>
              <a:gd name="connsiteY245" fmla="*/ 744 h 10000"/>
              <a:gd name="connsiteX246" fmla="*/ 5803 w 10000"/>
              <a:gd name="connsiteY246" fmla="*/ 744 h 10000"/>
              <a:gd name="connsiteX247" fmla="*/ 5803 w 10000"/>
              <a:gd name="connsiteY247" fmla="*/ 702 h 10000"/>
              <a:gd name="connsiteX248" fmla="*/ 5803 w 10000"/>
              <a:gd name="connsiteY248" fmla="*/ 661 h 10000"/>
              <a:gd name="connsiteX249" fmla="*/ 5803 w 10000"/>
              <a:gd name="connsiteY249" fmla="*/ 620 h 10000"/>
              <a:gd name="connsiteX250" fmla="*/ 5803 w 10000"/>
              <a:gd name="connsiteY250" fmla="*/ 579 h 10000"/>
              <a:gd name="connsiteX251" fmla="*/ 5855 w 10000"/>
              <a:gd name="connsiteY251" fmla="*/ 537 h 10000"/>
              <a:gd name="connsiteX252" fmla="*/ 5855 w 10000"/>
              <a:gd name="connsiteY252" fmla="*/ 496 h 10000"/>
              <a:gd name="connsiteX253" fmla="*/ 5855 w 10000"/>
              <a:gd name="connsiteY253" fmla="*/ 455 h 10000"/>
              <a:gd name="connsiteX254" fmla="*/ 5855 w 10000"/>
              <a:gd name="connsiteY254" fmla="*/ 413 h 10000"/>
              <a:gd name="connsiteX255" fmla="*/ 5855 w 10000"/>
              <a:gd name="connsiteY255" fmla="*/ 372 h 10000"/>
              <a:gd name="connsiteX256" fmla="*/ 5855 w 10000"/>
              <a:gd name="connsiteY256" fmla="*/ 331 h 10000"/>
              <a:gd name="connsiteX257" fmla="*/ 5803 w 10000"/>
              <a:gd name="connsiteY257" fmla="*/ 331 h 10000"/>
              <a:gd name="connsiteX258" fmla="*/ 5803 w 10000"/>
              <a:gd name="connsiteY258" fmla="*/ 289 h 10000"/>
              <a:gd name="connsiteX259" fmla="*/ 5803 w 10000"/>
              <a:gd name="connsiteY259" fmla="*/ 248 h 10000"/>
              <a:gd name="connsiteX260" fmla="*/ 5803 w 10000"/>
              <a:gd name="connsiteY260" fmla="*/ 207 h 10000"/>
              <a:gd name="connsiteX261" fmla="*/ 5803 w 10000"/>
              <a:gd name="connsiteY261" fmla="*/ 165 h 10000"/>
              <a:gd name="connsiteX262" fmla="*/ 5803 w 10000"/>
              <a:gd name="connsiteY262" fmla="*/ 124 h 10000"/>
              <a:gd name="connsiteX263" fmla="*/ 5803 w 10000"/>
              <a:gd name="connsiteY263" fmla="*/ 83 h 10000"/>
              <a:gd name="connsiteX264" fmla="*/ 5803 w 10000"/>
              <a:gd name="connsiteY264" fmla="*/ 41 h 10000"/>
              <a:gd name="connsiteX265" fmla="*/ 5803 w 10000"/>
              <a:gd name="connsiteY26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2746 w 10000"/>
              <a:gd name="connsiteY204" fmla="*/ 7066 h 10000"/>
              <a:gd name="connsiteX205" fmla="*/ 1036 w 10000"/>
              <a:gd name="connsiteY205" fmla="*/ 6612 h 10000"/>
              <a:gd name="connsiteX206" fmla="*/ 829 w 10000"/>
              <a:gd name="connsiteY206" fmla="*/ 6488 h 10000"/>
              <a:gd name="connsiteX207" fmla="*/ 829 w 10000"/>
              <a:gd name="connsiteY207" fmla="*/ 6446 h 10000"/>
              <a:gd name="connsiteX208" fmla="*/ 777 w 10000"/>
              <a:gd name="connsiteY208" fmla="*/ 6446 h 10000"/>
              <a:gd name="connsiteX209" fmla="*/ 725 w 10000"/>
              <a:gd name="connsiteY209" fmla="*/ 6446 h 10000"/>
              <a:gd name="connsiteX210" fmla="*/ 674 w 10000"/>
              <a:gd name="connsiteY210" fmla="*/ 6405 h 10000"/>
              <a:gd name="connsiteX211" fmla="*/ 622 w 10000"/>
              <a:gd name="connsiteY211" fmla="*/ 6405 h 10000"/>
              <a:gd name="connsiteX212" fmla="*/ 570 w 10000"/>
              <a:gd name="connsiteY212" fmla="*/ 6405 h 10000"/>
              <a:gd name="connsiteX213" fmla="*/ 570 w 10000"/>
              <a:gd name="connsiteY213" fmla="*/ 6364 h 10000"/>
              <a:gd name="connsiteX214" fmla="*/ 518 w 10000"/>
              <a:gd name="connsiteY214" fmla="*/ 6364 h 10000"/>
              <a:gd name="connsiteX215" fmla="*/ 466 w 10000"/>
              <a:gd name="connsiteY215" fmla="*/ 6364 h 10000"/>
              <a:gd name="connsiteX216" fmla="*/ 466 w 10000"/>
              <a:gd name="connsiteY216" fmla="*/ 6405 h 10000"/>
              <a:gd name="connsiteX217" fmla="*/ 415 w 10000"/>
              <a:gd name="connsiteY217" fmla="*/ 6405 h 10000"/>
              <a:gd name="connsiteX218" fmla="*/ 363 w 10000"/>
              <a:gd name="connsiteY218" fmla="*/ 6405 h 10000"/>
              <a:gd name="connsiteX219" fmla="*/ 311 w 10000"/>
              <a:gd name="connsiteY219" fmla="*/ 6405 h 10000"/>
              <a:gd name="connsiteX220" fmla="*/ 259 w 10000"/>
              <a:gd name="connsiteY220" fmla="*/ 6405 h 10000"/>
              <a:gd name="connsiteX221" fmla="*/ 207 w 10000"/>
              <a:gd name="connsiteY221" fmla="*/ 6405 h 10000"/>
              <a:gd name="connsiteX222" fmla="*/ 155 w 10000"/>
              <a:gd name="connsiteY222" fmla="*/ 6405 h 10000"/>
              <a:gd name="connsiteX223" fmla="*/ 104 w 10000"/>
              <a:gd name="connsiteY223" fmla="*/ 6405 h 10000"/>
              <a:gd name="connsiteX224" fmla="*/ 52 w 10000"/>
              <a:gd name="connsiteY224" fmla="*/ 6405 h 10000"/>
              <a:gd name="connsiteX225" fmla="*/ 0 w 10000"/>
              <a:gd name="connsiteY225" fmla="*/ 6405 h 10000"/>
              <a:gd name="connsiteX226" fmla="*/ 52 w 10000"/>
              <a:gd name="connsiteY226" fmla="*/ 5826 h 10000"/>
              <a:gd name="connsiteX227" fmla="*/ 207 w 10000"/>
              <a:gd name="connsiteY227" fmla="*/ 5909 h 10000"/>
              <a:gd name="connsiteX228" fmla="*/ 415 w 10000"/>
              <a:gd name="connsiteY228" fmla="*/ 5826 h 10000"/>
              <a:gd name="connsiteX229" fmla="*/ 1503 w 10000"/>
              <a:gd name="connsiteY229" fmla="*/ 5826 h 10000"/>
              <a:gd name="connsiteX230" fmla="*/ 1658 w 10000"/>
              <a:gd name="connsiteY230" fmla="*/ 5785 h 10000"/>
              <a:gd name="connsiteX231" fmla="*/ 1710 w 10000"/>
              <a:gd name="connsiteY231" fmla="*/ 5785 h 10000"/>
              <a:gd name="connsiteX232" fmla="*/ 2228 w 10000"/>
              <a:gd name="connsiteY232" fmla="*/ 5248 h 10000"/>
              <a:gd name="connsiteX233" fmla="*/ 2332 w 10000"/>
              <a:gd name="connsiteY233" fmla="*/ 5165 h 10000"/>
              <a:gd name="connsiteX234" fmla="*/ 2798 w 10000"/>
              <a:gd name="connsiteY234" fmla="*/ 4752 h 10000"/>
              <a:gd name="connsiteX235" fmla="*/ 3057 w 10000"/>
              <a:gd name="connsiteY235" fmla="*/ 4504 h 10000"/>
              <a:gd name="connsiteX236" fmla="*/ 3212 w 10000"/>
              <a:gd name="connsiteY236" fmla="*/ 4380 h 10000"/>
              <a:gd name="connsiteX237" fmla="*/ 3627 w 10000"/>
              <a:gd name="connsiteY237" fmla="*/ 3760 h 10000"/>
              <a:gd name="connsiteX238" fmla="*/ 4145 w 10000"/>
              <a:gd name="connsiteY238" fmla="*/ 3512 h 10000"/>
              <a:gd name="connsiteX239" fmla="*/ 5026 w 10000"/>
              <a:gd name="connsiteY239" fmla="*/ 2810 h 10000"/>
              <a:gd name="connsiteX240" fmla="*/ 4870 w 10000"/>
              <a:gd name="connsiteY240" fmla="*/ 2562 h 10000"/>
              <a:gd name="connsiteX241" fmla="*/ 4819 w 10000"/>
              <a:gd name="connsiteY241" fmla="*/ 2397 h 10000"/>
              <a:gd name="connsiteX242" fmla="*/ 4819 w 10000"/>
              <a:gd name="connsiteY242" fmla="*/ 1240 h 10000"/>
              <a:gd name="connsiteX243" fmla="*/ 4145 w 10000"/>
              <a:gd name="connsiteY243" fmla="*/ 744 h 10000"/>
              <a:gd name="connsiteX244" fmla="*/ 4974 w 10000"/>
              <a:gd name="connsiteY244" fmla="*/ 744 h 10000"/>
              <a:gd name="connsiteX245" fmla="*/ 5803 w 10000"/>
              <a:gd name="connsiteY245" fmla="*/ 744 h 10000"/>
              <a:gd name="connsiteX246" fmla="*/ 5803 w 10000"/>
              <a:gd name="connsiteY246" fmla="*/ 702 h 10000"/>
              <a:gd name="connsiteX247" fmla="*/ 5803 w 10000"/>
              <a:gd name="connsiteY247" fmla="*/ 661 h 10000"/>
              <a:gd name="connsiteX248" fmla="*/ 5803 w 10000"/>
              <a:gd name="connsiteY248" fmla="*/ 620 h 10000"/>
              <a:gd name="connsiteX249" fmla="*/ 5803 w 10000"/>
              <a:gd name="connsiteY249" fmla="*/ 579 h 10000"/>
              <a:gd name="connsiteX250" fmla="*/ 5855 w 10000"/>
              <a:gd name="connsiteY250" fmla="*/ 537 h 10000"/>
              <a:gd name="connsiteX251" fmla="*/ 5855 w 10000"/>
              <a:gd name="connsiteY251" fmla="*/ 496 h 10000"/>
              <a:gd name="connsiteX252" fmla="*/ 5855 w 10000"/>
              <a:gd name="connsiteY252" fmla="*/ 455 h 10000"/>
              <a:gd name="connsiteX253" fmla="*/ 5855 w 10000"/>
              <a:gd name="connsiteY253" fmla="*/ 413 h 10000"/>
              <a:gd name="connsiteX254" fmla="*/ 5855 w 10000"/>
              <a:gd name="connsiteY254" fmla="*/ 372 h 10000"/>
              <a:gd name="connsiteX255" fmla="*/ 5855 w 10000"/>
              <a:gd name="connsiteY255" fmla="*/ 331 h 10000"/>
              <a:gd name="connsiteX256" fmla="*/ 5803 w 10000"/>
              <a:gd name="connsiteY256" fmla="*/ 331 h 10000"/>
              <a:gd name="connsiteX257" fmla="*/ 5803 w 10000"/>
              <a:gd name="connsiteY257" fmla="*/ 289 h 10000"/>
              <a:gd name="connsiteX258" fmla="*/ 5803 w 10000"/>
              <a:gd name="connsiteY258" fmla="*/ 248 h 10000"/>
              <a:gd name="connsiteX259" fmla="*/ 5803 w 10000"/>
              <a:gd name="connsiteY259" fmla="*/ 207 h 10000"/>
              <a:gd name="connsiteX260" fmla="*/ 5803 w 10000"/>
              <a:gd name="connsiteY260" fmla="*/ 165 h 10000"/>
              <a:gd name="connsiteX261" fmla="*/ 5803 w 10000"/>
              <a:gd name="connsiteY261" fmla="*/ 124 h 10000"/>
              <a:gd name="connsiteX262" fmla="*/ 5803 w 10000"/>
              <a:gd name="connsiteY262" fmla="*/ 83 h 10000"/>
              <a:gd name="connsiteX263" fmla="*/ 5803 w 10000"/>
              <a:gd name="connsiteY263" fmla="*/ 41 h 10000"/>
              <a:gd name="connsiteX264" fmla="*/ 5803 w 10000"/>
              <a:gd name="connsiteY26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2746 w 10000"/>
              <a:gd name="connsiteY203" fmla="*/ 7190 h 10000"/>
              <a:gd name="connsiteX204" fmla="*/ 1036 w 10000"/>
              <a:gd name="connsiteY204" fmla="*/ 6612 h 10000"/>
              <a:gd name="connsiteX205" fmla="*/ 829 w 10000"/>
              <a:gd name="connsiteY205" fmla="*/ 6488 h 10000"/>
              <a:gd name="connsiteX206" fmla="*/ 829 w 10000"/>
              <a:gd name="connsiteY206" fmla="*/ 6446 h 10000"/>
              <a:gd name="connsiteX207" fmla="*/ 777 w 10000"/>
              <a:gd name="connsiteY207" fmla="*/ 6446 h 10000"/>
              <a:gd name="connsiteX208" fmla="*/ 725 w 10000"/>
              <a:gd name="connsiteY208" fmla="*/ 6446 h 10000"/>
              <a:gd name="connsiteX209" fmla="*/ 674 w 10000"/>
              <a:gd name="connsiteY209" fmla="*/ 6405 h 10000"/>
              <a:gd name="connsiteX210" fmla="*/ 622 w 10000"/>
              <a:gd name="connsiteY210" fmla="*/ 6405 h 10000"/>
              <a:gd name="connsiteX211" fmla="*/ 570 w 10000"/>
              <a:gd name="connsiteY211" fmla="*/ 6405 h 10000"/>
              <a:gd name="connsiteX212" fmla="*/ 570 w 10000"/>
              <a:gd name="connsiteY212" fmla="*/ 6364 h 10000"/>
              <a:gd name="connsiteX213" fmla="*/ 518 w 10000"/>
              <a:gd name="connsiteY213" fmla="*/ 6364 h 10000"/>
              <a:gd name="connsiteX214" fmla="*/ 466 w 10000"/>
              <a:gd name="connsiteY214" fmla="*/ 6364 h 10000"/>
              <a:gd name="connsiteX215" fmla="*/ 466 w 10000"/>
              <a:gd name="connsiteY215" fmla="*/ 6405 h 10000"/>
              <a:gd name="connsiteX216" fmla="*/ 415 w 10000"/>
              <a:gd name="connsiteY216" fmla="*/ 6405 h 10000"/>
              <a:gd name="connsiteX217" fmla="*/ 363 w 10000"/>
              <a:gd name="connsiteY217" fmla="*/ 6405 h 10000"/>
              <a:gd name="connsiteX218" fmla="*/ 311 w 10000"/>
              <a:gd name="connsiteY218" fmla="*/ 6405 h 10000"/>
              <a:gd name="connsiteX219" fmla="*/ 259 w 10000"/>
              <a:gd name="connsiteY219" fmla="*/ 6405 h 10000"/>
              <a:gd name="connsiteX220" fmla="*/ 207 w 10000"/>
              <a:gd name="connsiteY220" fmla="*/ 6405 h 10000"/>
              <a:gd name="connsiteX221" fmla="*/ 155 w 10000"/>
              <a:gd name="connsiteY221" fmla="*/ 6405 h 10000"/>
              <a:gd name="connsiteX222" fmla="*/ 104 w 10000"/>
              <a:gd name="connsiteY222" fmla="*/ 6405 h 10000"/>
              <a:gd name="connsiteX223" fmla="*/ 52 w 10000"/>
              <a:gd name="connsiteY223" fmla="*/ 6405 h 10000"/>
              <a:gd name="connsiteX224" fmla="*/ 0 w 10000"/>
              <a:gd name="connsiteY224" fmla="*/ 6405 h 10000"/>
              <a:gd name="connsiteX225" fmla="*/ 52 w 10000"/>
              <a:gd name="connsiteY225" fmla="*/ 5826 h 10000"/>
              <a:gd name="connsiteX226" fmla="*/ 207 w 10000"/>
              <a:gd name="connsiteY226" fmla="*/ 5909 h 10000"/>
              <a:gd name="connsiteX227" fmla="*/ 415 w 10000"/>
              <a:gd name="connsiteY227" fmla="*/ 5826 h 10000"/>
              <a:gd name="connsiteX228" fmla="*/ 1503 w 10000"/>
              <a:gd name="connsiteY228" fmla="*/ 5826 h 10000"/>
              <a:gd name="connsiteX229" fmla="*/ 1658 w 10000"/>
              <a:gd name="connsiteY229" fmla="*/ 5785 h 10000"/>
              <a:gd name="connsiteX230" fmla="*/ 1710 w 10000"/>
              <a:gd name="connsiteY230" fmla="*/ 5785 h 10000"/>
              <a:gd name="connsiteX231" fmla="*/ 2228 w 10000"/>
              <a:gd name="connsiteY231" fmla="*/ 5248 h 10000"/>
              <a:gd name="connsiteX232" fmla="*/ 2332 w 10000"/>
              <a:gd name="connsiteY232" fmla="*/ 5165 h 10000"/>
              <a:gd name="connsiteX233" fmla="*/ 2798 w 10000"/>
              <a:gd name="connsiteY233" fmla="*/ 4752 h 10000"/>
              <a:gd name="connsiteX234" fmla="*/ 3057 w 10000"/>
              <a:gd name="connsiteY234" fmla="*/ 4504 h 10000"/>
              <a:gd name="connsiteX235" fmla="*/ 3212 w 10000"/>
              <a:gd name="connsiteY235" fmla="*/ 4380 h 10000"/>
              <a:gd name="connsiteX236" fmla="*/ 3627 w 10000"/>
              <a:gd name="connsiteY236" fmla="*/ 3760 h 10000"/>
              <a:gd name="connsiteX237" fmla="*/ 4145 w 10000"/>
              <a:gd name="connsiteY237" fmla="*/ 3512 h 10000"/>
              <a:gd name="connsiteX238" fmla="*/ 5026 w 10000"/>
              <a:gd name="connsiteY238" fmla="*/ 2810 h 10000"/>
              <a:gd name="connsiteX239" fmla="*/ 4870 w 10000"/>
              <a:gd name="connsiteY239" fmla="*/ 2562 h 10000"/>
              <a:gd name="connsiteX240" fmla="*/ 4819 w 10000"/>
              <a:gd name="connsiteY240" fmla="*/ 2397 h 10000"/>
              <a:gd name="connsiteX241" fmla="*/ 4819 w 10000"/>
              <a:gd name="connsiteY241" fmla="*/ 1240 h 10000"/>
              <a:gd name="connsiteX242" fmla="*/ 4145 w 10000"/>
              <a:gd name="connsiteY242" fmla="*/ 744 h 10000"/>
              <a:gd name="connsiteX243" fmla="*/ 4974 w 10000"/>
              <a:gd name="connsiteY243" fmla="*/ 744 h 10000"/>
              <a:gd name="connsiteX244" fmla="*/ 5803 w 10000"/>
              <a:gd name="connsiteY244" fmla="*/ 744 h 10000"/>
              <a:gd name="connsiteX245" fmla="*/ 5803 w 10000"/>
              <a:gd name="connsiteY245" fmla="*/ 702 h 10000"/>
              <a:gd name="connsiteX246" fmla="*/ 5803 w 10000"/>
              <a:gd name="connsiteY246" fmla="*/ 661 h 10000"/>
              <a:gd name="connsiteX247" fmla="*/ 5803 w 10000"/>
              <a:gd name="connsiteY247" fmla="*/ 620 h 10000"/>
              <a:gd name="connsiteX248" fmla="*/ 5803 w 10000"/>
              <a:gd name="connsiteY248" fmla="*/ 579 h 10000"/>
              <a:gd name="connsiteX249" fmla="*/ 5855 w 10000"/>
              <a:gd name="connsiteY249" fmla="*/ 537 h 10000"/>
              <a:gd name="connsiteX250" fmla="*/ 5855 w 10000"/>
              <a:gd name="connsiteY250" fmla="*/ 496 h 10000"/>
              <a:gd name="connsiteX251" fmla="*/ 5855 w 10000"/>
              <a:gd name="connsiteY251" fmla="*/ 455 h 10000"/>
              <a:gd name="connsiteX252" fmla="*/ 5855 w 10000"/>
              <a:gd name="connsiteY252" fmla="*/ 413 h 10000"/>
              <a:gd name="connsiteX253" fmla="*/ 5855 w 10000"/>
              <a:gd name="connsiteY253" fmla="*/ 372 h 10000"/>
              <a:gd name="connsiteX254" fmla="*/ 5855 w 10000"/>
              <a:gd name="connsiteY254" fmla="*/ 331 h 10000"/>
              <a:gd name="connsiteX255" fmla="*/ 5803 w 10000"/>
              <a:gd name="connsiteY255" fmla="*/ 331 h 10000"/>
              <a:gd name="connsiteX256" fmla="*/ 5803 w 10000"/>
              <a:gd name="connsiteY256" fmla="*/ 289 h 10000"/>
              <a:gd name="connsiteX257" fmla="*/ 5803 w 10000"/>
              <a:gd name="connsiteY257" fmla="*/ 248 h 10000"/>
              <a:gd name="connsiteX258" fmla="*/ 5803 w 10000"/>
              <a:gd name="connsiteY258" fmla="*/ 207 h 10000"/>
              <a:gd name="connsiteX259" fmla="*/ 5803 w 10000"/>
              <a:gd name="connsiteY259" fmla="*/ 165 h 10000"/>
              <a:gd name="connsiteX260" fmla="*/ 5803 w 10000"/>
              <a:gd name="connsiteY260" fmla="*/ 124 h 10000"/>
              <a:gd name="connsiteX261" fmla="*/ 5803 w 10000"/>
              <a:gd name="connsiteY261" fmla="*/ 83 h 10000"/>
              <a:gd name="connsiteX262" fmla="*/ 5803 w 10000"/>
              <a:gd name="connsiteY262" fmla="*/ 41 h 10000"/>
              <a:gd name="connsiteX263" fmla="*/ 5803 w 10000"/>
              <a:gd name="connsiteY26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2798 w 10000"/>
              <a:gd name="connsiteY202" fmla="*/ 7273 h 10000"/>
              <a:gd name="connsiteX203" fmla="*/ 1036 w 10000"/>
              <a:gd name="connsiteY203" fmla="*/ 6612 h 10000"/>
              <a:gd name="connsiteX204" fmla="*/ 829 w 10000"/>
              <a:gd name="connsiteY204" fmla="*/ 6488 h 10000"/>
              <a:gd name="connsiteX205" fmla="*/ 829 w 10000"/>
              <a:gd name="connsiteY205" fmla="*/ 6446 h 10000"/>
              <a:gd name="connsiteX206" fmla="*/ 777 w 10000"/>
              <a:gd name="connsiteY206" fmla="*/ 6446 h 10000"/>
              <a:gd name="connsiteX207" fmla="*/ 725 w 10000"/>
              <a:gd name="connsiteY207" fmla="*/ 6446 h 10000"/>
              <a:gd name="connsiteX208" fmla="*/ 674 w 10000"/>
              <a:gd name="connsiteY208" fmla="*/ 6405 h 10000"/>
              <a:gd name="connsiteX209" fmla="*/ 622 w 10000"/>
              <a:gd name="connsiteY209" fmla="*/ 6405 h 10000"/>
              <a:gd name="connsiteX210" fmla="*/ 570 w 10000"/>
              <a:gd name="connsiteY210" fmla="*/ 6405 h 10000"/>
              <a:gd name="connsiteX211" fmla="*/ 570 w 10000"/>
              <a:gd name="connsiteY211" fmla="*/ 6364 h 10000"/>
              <a:gd name="connsiteX212" fmla="*/ 518 w 10000"/>
              <a:gd name="connsiteY212" fmla="*/ 6364 h 10000"/>
              <a:gd name="connsiteX213" fmla="*/ 466 w 10000"/>
              <a:gd name="connsiteY213" fmla="*/ 6364 h 10000"/>
              <a:gd name="connsiteX214" fmla="*/ 466 w 10000"/>
              <a:gd name="connsiteY214" fmla="*/ 6405 h 10000"/>
              <a:gd name="connsiteX215" fmla="*/ 415 w 10000"/>
              <a:gd name="connsiteY215" fmla="*/ 6405 h 10000"/>
              <a:gd name="connsiteX216" fmla="*/ 363 w 10000"/>
              <a:gd name="connsiteY216" fmla="*/ 6405 h 10000"/>
              <a:gd name="connsiteX217" fmla="*/ 311 w 10000"/>
              <a:gd name="connsiteY217" fmla="*/ 6405 h 10000"/>
              <a:gd name="connsiteX218" fmla="*/ 259 w 10000"/>
              <a:gd name="connsiteY218" fmla="*/ 6405 h 10000"/>
              <a:gd name="connsiteX219" fmla="*/ 207 w 10000"/>
              <a:gd name="connsiteY219" fmla="*/ 6405 h 10000"/>
              <a:gd name="connsiteX220" fmla="*/ 155 w 10000"/>
              <a:gd name="connsiteY220" fmla="*/ 6405 h 10000"/>
              <a:gd name="connsiteX221" fmla="*/ 104 w 10000"/>
              <a:gd name="connsiteY221" fmla="*/ 6405 h 10000"/>
              <a:gd name="connsiteX222" fmla="*/ 52 w 10000"/>
              <a:gd name="connsiteY222" fmla="*/ 6405 h 10000"/>
              <a:gd name="connsiteX223" fmla="*/ 0 w 10000"/>
              <a:gd name="connsiteY223" fmla="*/ 6405 h 10000"/>
              <a:gd name="connsiteX224" fmla="*/ 52 w 10000"/>
              <a:gd name="connsiteY224" fmla="*/ 5826 h 10000"/>
              <a:gd name="connsiteX225" fmla="*/ 207 w 10000"/>
              <a:gd name="connsiteY225" fmla="*/ 5909 h 10000"/>
              <a:gd name="connsiteX226" fmla="*/ 415 w 10000"/>
              <a:gd name="connsiteY226" fmla="*/ 5826 h 10000"/>
              <a:gd name="connsiteX227" fmla="*/ 1503 w 10000"/>
              <a:gd name="connsiteY227" fmla="*/ 5826 h 10000"/>
              <a:gd name="connsiteX228" fmla="*/ 1658 w 10000"/>
              <a:gd name="connsiteY228" fmla="*/ 5785 h 10000"/>
              <a:gd name="connsiteX229" fmla="*/ 1710 w 10000"/>
              <a:gd name="connsiteY229" fmla="*/ 5785 h 10000"/>
              <a:gd name="connsiteX230" fmla="*/ 2228 w 10000"/>
              <a:gd name="connsiteY230" fmla="*/ 5248 h 10000"/>
              <a:gd name="connsiteX231" fmla="*/ 2332 w 10000"/>
              <a:gd name="connsiteY231" fmla="*/ 5165 h 10000"/>
              <a:gd name="connsiteX232" fmla="*/ 2798 w 10000"/>
              <a:gd name="connsiteY232" fmla="*/ 4752 h 10000"/>
              <a:gd name="connsiteX233" fmla="*/ 3057 w 10000"/>
              <a:gd name="connsiteY233" fmla="*/ 4504 h 10000"/>
              <a:gd name="connsiteX234" fmla="*/ 3212 w 10000"/>
              <a:gd name="connsiteY234" fmla="*/ 4380 h 10000"/>
              <a:gd name="connsiteX235" fmla="*/ 3627 w 10000"/>
              <a:gd name="connsiteY235" fmla="*/ 3760 h 10000"/>
              <a:gd name="connsiteX236" fmla="*/ 4145 w 10000"/>
              <a:gd name="connsiteY236" fmla="*/ 3512 h 10000"/>
              <a:gd name="connsiteX237" fmla="*/ 5026 w 10000"/>
              <a:gd name="connsiteY237" fmla="*/ 2810 h 10000"/>
              <a:gd name="connsiteX238" fmla="*/ 4870 w 10000"/>
              <a:gd name="connsiteY238" fmla="*/ 2562 h 10000"/>
              <a:gd name="connsiteX239" fmla="*/ 4819 w 10000"/>
              <a:gd name="connsiteY239" fmla="*/ 2397 h 10000"/>
              <a:gd name="connsiteX240" fmla="*/ 4819 w 10000"/>
              <a:gd name="connsiteY240" fmla="*/ 1240 h 10000"/>
              <a:gd name="connsiteX241" fmla="*/ 4145 w 10000"/>
              <a:gd name="connsiteY241" fmla="*/ 744 h 10000"/>
              <a:gd name="connsiteX242" fmla="*/ 4974 w 10000"/>
              <a:gd name="connsiteY242" fmla="*/ 744 h 10000"/>
              <a:gd name="connsiteX243" fmla="*/ 5803 w 10000"/>
              <a:gd name="connsiteY243" fmla="*/ 744 h 10000"/>
              <a:gd name="connsiteX244" fmla="*/ 5803 w 10000"/>
              <a:gd name="connsiteY244" fmla="*/ 702 h 10000"/>
              <a:gd name="connsiteX245" fmla="*/ 5803 w 10000"/>
              <a:gd name="connsiteY245" fmla="*/ 661 h 10000"/>
              <a:gd name="connsiteX246" fmla="*/ 5803 w 10000"/>
              <a:gd name="connsiteY246" fmla="*/ 620 h 10000"/>
              <a:gd name="connsiteX247" fmla="*/ 5803 w 10000"/>
              <a:gd name="connsiteY247" fmla="*/ 579 h 10000"/>
              <a:gd name="connsiteX248" fmla="*/ 5855 w 10000"/>
              <a:gd name="connsiteY248" fmla="*/ 537 h 10000"/>
              <a:gd name="connsiteX249" fmla="*/ 5855 w 10000"/>
              <a:gd name="connsiteY249" fmla="*/ 496 h 10000"/>
              <a:gd name="connsiteX250" fmla="*/ 5855 w 10000"/>
              <a:gd name="connsiteY250" fmla="*/ 455 h 10000"/>
              <a:gd name="connsiteX251" fmla="*/ 5855 w 10000"/>
              <a:gd name="connsiteY251" fmla="*/ 413 h 10000"/>
              <a:gd name="connsiteX252" fmla="*/ 5855 w 10000"/>
              <a:gd name="connsiteY252" fmla="*/ 372 h 10000"/>
              <a:gd name="connsiteX253" fmla="*/ 5855 w 10000"/>
              <a:gd name="connsiteY253" fmla="*/ 331 h 10000"/>
              <a:gd name="connsiteX254" fmla="*/ 5803 w 10000"/>
              <a:gd name="connsiteY254" fmla="*/ 331 h 10000"/>
              <a:gd name="connsiteX255" fmla="*/ 5803 w 10000"/>
              <a:gd name="connsiteY255" fmla="*/ 289 h 10000"/>
              <a:gd name="connsiteX256" fmla="*/ 5803 w 10000"/>
              <a:gd name="connsiteY256" fmla="*/ 248 h 10000"/>
              <a:gd name="connsiteX257" fmla="*/ 5803 w 10000"/>
              <a:gd name="connsiteY257" fmla="*/ 207 h 10000"/>
              <a:gd name="connsiteX258" fmla="*/ 5803 w 10000"/>
              <a:gd name="connsiteY258" fmla="*/ 165 h 10000"/>
              <a:gd name="connsiteX259" fmla="*/ 5803 w 10000"/>
              <a:gd name="connsiteY259" fmla="*/ 124 h 10000"/>
              <a:gd name="connsiteX260" fmla="*/ 5803 w 10000"/>
              <a:gd name="connsiteY260" fmla="*/ 83 h 10000"/>
              <a:gd name="connsiteX261" fmla="*/ 5803 w 10000"/>
              <a:gd name="connsiteY261" fmla="*/ 41 h 10000"/>
              <a:gd name="connsiteX262" fmla="*/ 5803 w 10000"/>
              <a:gd name="connsiteY26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902 w 10000"/>
              <a:gd name="connsiteY200" fmla="*/ 7314 h 10000"/>
              <a:gd name="connsiteX201" fmla="*/ 2850 w 10000"/>
              <a:gd name="connsiteY201" fmla="*/ 7314 h 10000"/>
              <a:gd name="connsiteX202" fmla="*/ 1036 w 10000"/>
              <a:gd name="connsiteY202" fmla="*/ 6612 h 10000"/>
              <a:gd name="connsiteX203" fmla="*/ 829 w 10000"/>
              <a:gd name="connsiteY203" fmla="*/ 6488 h 10000"/>
              <a:gd name="connsiteX204" fmla="*/ 829 w 10000"/>
              <a:gd name="connsiteY204" fmla="*/ 6446 h 10000"/>
              <a:gd name="connsiteX205" fmla="*/ 777 w 10000"/>
              <a:gd name="connsiteY205" fmla="*/ 6446 h 10000"/>
              <a:gd name="connsiteX206" fmla="*/ 725 w 10000"/>
              <a:gd name="connsiteY206" fmla="*/ 6446 h 10000"/>
              <a:gd name="connsiteX207" fmla="*/ 674 w 10000"/>
              <a:gd name="connsiteY207" fmla="*/ 6405 h 10000"/>
              <a:gd name="connsiteX208" fmla="*/ 622 w 10000"/>
              <a:gd name="connsiteY208" fmla="*/ 6405 h 10000"/>
              <a:gd name="connsiteX209" fmla="*/ 570 w 10000"/>
              <a:gd name="connsiteY209" fmla="*/ 6405 h 10000"/>
              <a:gd name="connsiteX210" fmla="*/ 570 w 10000"/>
              <a:gd name="connsiteY210" fmla="*/ 6364 h 10000"/>
              <a:gd name="connsiteX211" fmla="*/ 518 w 10000"/>
              <a:gd name="connsiteY211" fmla="*/ 6364 h 10000"/>
              <a:gd name="connsiteX212" fmla="*/ 466 w 10000"/>
              <a:gd name="connsiteY212" fmla="*/ 6364 h 10000"/>
              <a:gd name="connsiteX213" fmla="*/ 466 w 10000"/>
              <a:gd name="connsiteY213" fmla="*/ 6405 h 10000"/>
              <a:gd name="connsiteX214" fmla="*/ 415 w 10000"/>
              <a:gd name="connsiteY214" fmla="*/ 6405 h 10000"/>
              <a:gd name="connsiteX215" fmla="*/ 363 w 10000"/>
              <a:gd name="connsiteY215" fmla="*/ 6405 h 10000"/>
              <a:gd name="connsiteX216" fmla="*/ 311 w 10000"/>
              <a:gd name="connsiteY216" fmla="*/ 6405 h 10000"/>
              <a:gd name="connsiteX217" fmla="*/ 259 w 10000"/>
              <a:gd name="connsiteY217" fmla="*/ 6405 h 10000"/>
              <a:gd name="connsiteX218" fmla="*/ 207 w 10000"/>
              <a:gd name="connsiteY218" fmla="*/ 6405 h 10000"/>
              <a:gd name="connsiteX219" fmla="*/ 155 w 10000"/>
              <a:gd name="connsiteY219" fmla="*/ 6405 h 10000"/>
              <a:gd name="connsiteX220" fmla="*/ 104 w 10000"/>
              <a:gd name="connsiteY220" fmla="*/ 6405 h 10000"/>
              <a:gd name="connsiteX221" fmla="*/ 52 w 10000"/>
              <a:gd name="connsiteY221" fmla="*/ 6405 h 10000"/>
              <a:gd name="connsiteX222" fmla="*/ 0 w 10000"/>
              <a:gd name="connsiteY222" fmla="*/ 6405 h 10000"/>
              <a:gd name="connsiteX223" fmla="*/ 52 w 10000"/>
              <a:gd name="connsiteY223" fmla="*/ 5826 h 10000"/>
              <a:gd name="connsiteX224" fmla="*/ 207 w 10000"/>
              <a:gd name="connsiteY224" fmla="*/ 5909 h 10000"/>
              <a:gd name="connsiteX225" fmla="*/ 415 w 10000"/>
              <a:gd name="connsiteY225" fmla="*/ 5826 h 10000"/>
              <a:gd name="connsiteX226" fmla="*/ 1503 w 10000"/>
              <a:gd name="connsiteY226" fmla="*/ 5826 h 10000"/>
              <a:gd name="connsiteX227" fmla="*/ 1658 w 10000"/>
              <a:gd name="connsiteY227" fmla="*/ 5785 h 10000"/>
              <a:gd name="connsiteX228" fmla="*/ 1710 w 10000"/>
              <a:gd name="connsiteY228" fmla="*/ 5785 h 10000"/>
              <a:gd name="connsiteX229" fmla="*/ 2228 w 10000"/>
              <a:gd name="connsiteY229" fmla="*/ 5248 h 10000"/>
              <a:gd name="connsiteX230" fmla="*/ 2332 w 10000"/>
              <a:gd name="connsiteY230" fmla="*/ 5165 h 10000"/>
              <a:gd name="connsiteX231" fmla="*/ 2798 w 10000"/>
              <a:gd name="connsiteY231" fmla="*/ 4752 h 10000"/>
              <a:gd name="connsiteX232" fmla="*/ 3057 w 10000"/>
              <a:gd name="connsiteY232" fmla="*/ 4504 h 10000"/>
              <a:gd name="connsiteX233" fmla="*/ 3212 w 10000"/>
              <a:gd name="connsiteY233" fmla="*/ 4380 h 10000"/>
              <a:gd name="connsiteX234" fmla="*/ 3627 w 10000"/>
              <a:gd name="connsiteY234" fmla="*/ 3760 h 10000"/>
              <a:gd name="connsiteX235" fmla="*/ 4145 w 10000"/>
              <a:gd name="connsiteY235" fmla="*/ 3512 h 10000"/>
              <a:gd name="connsiteX236" fmla="*/ 5026 w 10000"/>
              <a:gd name="connsiteY236" fmla="*/ 2810 h 10000"/>
              <a:gd name="connsiteX237" fmla="*/ 4870 w 10000"/>
              <a:gd name="connsiteY237" fmla="*/ 2562 h 10000"/>
              <a:gd name="connsiteX238" fmla="*/ 4819 w 10000"/>
              <a:gd name="connsiteY238" fmla="*/ 2397 h 10000"/>
              <a:gd name="connsiteX239" fmla="*/ 4819 w 10000"/>
              <a:gd name="connsiteY239" fmla="*/ 1240 h 10000"/>
              <a:gd name="connsiteX240" fmla="*/ 4145 w 10000"/>
              <a:gd name="connsiteY240" fmla="*/ 744 h 10000"/>
              <a:gd name="connsiteX241" fmla="*/ 4974 w 10000"/>
              <a:gd name="connsiteY241" fmla="*/ 744 h 10000"/>
              <a:gd name="connsiteX242" fmla="*/ 5803 w 10000"/>
              <a:gd name="connsiteY242" fmla="*/ 744 h 10000"/>
              <a:gd name="connsiteX243" fmla="*/ 5803 w 10000"/>
              <a:gd name="connsiteY243" fmla="*/ 702 h 10000"/>
              <a:gd name="connsiteX244" fmla="*/ 5803 w 10000"/>
              <a:gd name="connsiteY244" fmla="*/ 661 h 10000"/>
              <a:gd name="connsiteX245" fmla="*/ 5803 w 10000"/>
              <a:gd name="connsiteY245" fmla="*/ 620 h 10000"/>
              <a:gd name="connsiteX246" fmla="*/ 5803 w 10000"/>
              <a:gd name="connsiteY246" fmla="*/ 579 h 10000"/>
              <a:gd name="connsiteX247" fmla="*/ 5855 w 10000"/>
              <a:gd name="connsiteY247" fmla="*/ 537 h 10000"/>
              <a:gd name="connsiteX248" fmla="*/ 5855 w 10000"/>
              <a:gd name="connsiteY248" fmla="*/ 496 h 10000"/>
              <a:gd name="connsiteX249" fmla="*/ 5855 w 10000"/>
              <a:gd name="connsiteY249" fmla="*/ 455 h 10000"/>
              <a:gd name="connsiteX250" fmla="*/ 5855 w 10000"/>
              <a:gd name="connsiteY250" fmla="*/ 413 h 10000"/>
              <a:gd name="connsiteX251" fmla="*/ 5855 w 10000"/>
              <a:gd name="connsiteY251" fmla="*/ 372 h 10000"/>
              <a:gd name="connsiteX252" fmla="*/ 5855 w 10000"/>
              <a:gd name="connsiteY252" fmla="*/ 331 h 10000"/>
              <a:gd name="connsiteX253" fmla="*/ 5803 w 10000"/>
              <a:gd name="connsiteY253" fmla="*/ 331 h 10000"/>
              <a:gd name="connsiteX254" fmla="*/ 5803 w 10000"/>
              <a:gd name="connsiteY254" fmla="*/ 289 h 10000"/>
              <a:gd name="connsiteX255" fmla="*/ 5803 w 10000"/>
              <a:gd name="connsiteY255" fmla="*/ 248 h 10000"/>
              <a:gd name="connsiteX256" fmla="*/ 5803 w 10000"/>
              <a:gd name="connsiteY256" fmla="*/ 207 h 10000"/>
              <a:gd name="connsiteX257" fmla="*/ 5803 w 10000"/>
              <a:gd name="connsiteY257" fmla="*/ 165 h 10000"/>
              <a:gd name="connsiteX258" fmla="*/ 5803 w 10000"/>
              <a:gd name="connsiteY258" fmla="*/ 124 h 10000"/>
              <a:gd name="connsiteX259" fmla="*/ 5803 w 10000"/>
              <a:gd name="connsiteY259" fmla="*/ 83 h 10000"/>
              <a:gd name="connsiteX260" fmla="*/ 5803 w 10000"/>
              <a:gd name="connsiteY260" fmla="*/ 41 h 10000"/>
              <a:gd name="connsiteX261" fmla="*/ 5803 w 10000"/>
              <a:gd name="connsiteY26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53 w 10000"/>
              <a:gd name="connsiteY198" fmla="*/ 7521 h 10000"/>
              <a:gd name="connsiteX199" fmla="*/ 2902 w 10000"/>
              <a:gd name="connsiteY199" fmla="*/ 7355 h 10000"/>
              <a:gd name="connsiteX200" fmla="*/ 2850 w 10000"/>
              <a:gd name="connsiteY200" fmla="*/ 7314 h 10000"/>
              <a:gd name="connsiteX201" fmla="*/ 1036 w 10000"/>
              <a:gd name="connsiteY201" fmla="*/ 6612 h 10000"/>
              <a:gd name="connsiteX202" fmla="*/ 829 w 10000"/>
              <a:gd name="connsiteY202" fmla="*/ 6488 h 10000"/>
              <a:gd name="connsiteX203" fmla="*/ 829 w 10000"/>
              <a:gd name="connsiteY203" fmla="*/ 6446 h 10000"/>
              <a:gd name="connsiteX204" fmla="*/ 777 w 10000"/>
              <a:gd name="connsiteY204" fmla="*/ 6446 h 10000"/>
              <a:gd name="connsiteX205" fmla="*/ 725 w 10000"/>
              <a:gd name="connsiteY205" fmla="*/ 6446 h 10000"/>
              <a:gd name="connsiteX206" fmla="*/ 674 w 10000"/>
              <a:gd name="connsiteY206" fmla="*/ 6405 h 10000"/>
              <a:gd name="connsiteX207" fmla="*/ 622 w 10000"/>
              <a:gd name="connsiteY207" fmla="*/ 6405 h 10000"/>
              <a:gd name="connsiteX208" fmla="*/ 570 w 10000"/>
              <a:gd name="connsiteY208" fmla="*/ 6405 h 10000"/>
              <a:gd name="connsiteX209" fmla="*/ 570 w 10000"/>
              <a:gd name="connsiteY209" fmla="*/ 6364 h 10000"/>
              <a:gd name="connsiteX210" fmla="*/ 518 w 10000"/>
              <a:gd name="connsiteY210" fmla="*/ 6364 h 10000"/>
              <a:gd name="connsiteX211" fmla="*/ 466 w 10000"/>
              <a:gd name="connsiteY211" fmla="*/ 6364 h 10000"/>
              <a:gd name="connsiteX212" fmla="*/ 466 w 10000"/>
              <a:gd name="connsiteY212" fmla="*/ 6405 h 10000"/>
              <a:gd name="connsiteX213" fmla="*/ 415 w 10000"/>
              <a:gd name="connsiteY213" fmla="*/ 6405 h 10000"/>
              <a:gd name="connsiteX214" fmla="*/ 363 w 10000"/>
              <a:gd name="connsiteY214" fmla="*/ 6405 h 10000"/>
              <a:gd name="connsiteX215" fmla="*/ 311 w 10000"/>
              <a:gd name="connsiteY215" fmla="*/ 6405 h 10000"/>
              <a:gd name="connsiteX216" fmla="*/ 259 w 10000"/>
              <a:gd name="connsiteY216" fmla="*/ 6405 h 10000"/>
              <a:gd name="connsiteX217" fmla="*/ 207 w 10000"/>
              <a:gd name="connsiteY217" fmla="*/ 6405 h 10000"/>
              <a:gd name="connsiteX218" fmla="*/ 155 w 10000"/>
              <a:gd name="connsiteY218" fmla="*/ 6405 h 10000"/>
              <a:gd name="connsiteX219" fmla="*/ 104 w 10000"/>
              <a:gd name="connsiteY219" fmla="*/ 6405 h 10000"/>
              <a:gd name="connsiteX220" fmla="*/ 52 w 10000"/>
              <a:gd name="connsiteY220" fmla="*/ 6405 h 10000"/>
              <a:gd name="connsiteX221" fmla="*/ 0 w 10000"/>
              <a:gd name="connsiteY221" fmla="*/ 6405 h 10000"/>
              <a:gd name="connsiteX222" fmla="*/ 52 w 10000"/>
              <a:gd name="connsiteY222" fmla="*/ 5826 h 10000"/>
              <a:gd name="connsiteX223" fmla="*/ 207 w 10000"/>
              <a:gd name="connsiteY223" fmla="*/ 5909 h 10000"/>
              <a:gd name="connsiteX224" fmla="*/ 415 w 10000"/>
              <a:gd name="connsiteY224" fmla="*/ 5826 h 10000"/>
              <a:gd name="connsiteX225" fmla="*/ 1503 w 10000"/>
              <a:gd name="connsiteY225" fmla="*/ 5826 h 10000"/>
              <a:gd name="connsiteX226" fmla="*/ 1658 w 10000"/>
              <a:gd name="connsiteY226" fmla="*/ 5785 h 10000"/>
              <a:gd name="connsiteX227" fmla="*/ 1710 w 10000"/>
              <a:gd name="connsiteY227" fmla="*/ 5785 h 10000"/>
              <a:gd name="connsiteX228" fmla="*/ 2228 w 10000"/>
              <a:gd name="connsiteY228" fmla="*/ 5248 h 10000"/>
              <a:gd name="connsiteX229" fmla="*/ 2332 w 10000"/>
              <a:gd name="connsiteY229" fmla="*/ 5165 h 10000"/>
              <a:gd name="connsiteX230" fmla="*/ 2798 w 10000"/>
              <a:gd name="connsiteY230" fmla="*/ 4752 h 10000"/>
              <a:gd name="connsiteX231" fmla="*/ 3057 w 10000"/>
              <a:gd name="connsiteY231" fmla="*/ 4504 h 10000"/>
              <a:gd name="connsiteX232" fmla="*/ 3212 w 10000"/>
              <a:gd name="connsiteY232" fmla="*/ 4380 h 10000"/>
              <a:gd name="connsiteX233" fmla="*/ 3627 w 10000"/>
              <a:gd name="connsiteY233" fmla="*/ 3760 h 10000"/>
              <a:gd name="connsiteX234" fmla="*/ 4145 w 10000"/>
              <a:gd name="connsiteY234" fmla="*/ 3512 h 10000"/>
              <a:gd name="connsiteX235" fmla="*/ 5026 w 10000"/>
              <a:gd name="connsiteY235" fmla="*/ 2810 h 10000"/>
              <a:gd name="connsiteX236" fmla="*/ 4870 w 10000"/>
              <a:gd name="connsiteY236" fmla="*/ 2562 h 10000"/>
              <a:gd name="connsiteX237" fmla="*/ 4819 w 10000"/>
              <a:gd name="connsiteY237" fmla="*/ 2397 h 10000"/>
              <a:gd name="connsiteX238" fmla="*/ 4819 w 10000"/>
              <a:gd name="connsiteY238" fmla="*/ 1240 h 10000"/>
              <a:gd name="connsiteX239" fmla="*/ 4145 w 10000"/>
              <a:gd name="connsiteY239" fmla="*/ 744 h 10000"/>
              <a:gd name="connsiteX240" fmla="*/ 4974 w 10000"/>
              <a:gd name="connsiteY240" fmla="*/ 744 h 10000"/>
              <a:gd name="connsiteX241" fmla="*/ 5803 w 10000"/>
              <a:gd name="connsiteY241" fmla="*/ 744 h 10000"/>
              <a:gd name="connsiteX242" fmla="*/ 5803 w 10000"/>
              <a:gd name="connsiteY242" fmla="*/ 702 h 10000"/>
              <a:gd name="connsiteX243" fmla="*/ 5803 w 10000"/>
              <a:gd name="connsiteY243" fmla="*/ 661 h 10000"/>
              <a:gd name="connsiteX244" fmla="*/ 5803 w 10000"/>
              <a:gd name="connsiteY244" fmla="*/ 620 h 10000"/>
              <a:gd name="connsiteX245" fmla="*/ 5803 w 10000"/>
              <a:gd name="connsiteY245" fmla="*/ 579 h 10000"/>
              <a:gd name="connsiteX246" fmla="*/ 5855 w 10000"/>
              <a:gd name="connsiteY246" fmla="*/ 537 h 10000"/>
              <a:gd name="connsiteX247" fmla="*/ 5855 w 10000"/>
              <a:gd name="connsiteY247" fmla="*/ 496 h 10000"/>
              <a:gd name="connsiteX248" fmla="*/ 5855 w 10000"/>
              <a:gd name="connsiteY248" fmla="*/ 455 h 10000"/>
              <a:gd name="connsiteX249" fmla="*/ 5855 w 10000"/>
              <a:gd name="connsiteY249" fmla="*/ 413 h 10000"/>
              <a:gd name="connsiteX250" fmla="*/ 5855 w 10000"/>
              <a:gd name="connsiteY250" fmla="*/ 372 h 10000"/>
              <a:gd name="connsiteX251" fmla="*/ 5855 w 10000"/>
              <a:gd name="connsiteY251" fmla="*/ 331 h 10000"/>
              <a:gd name="connsiteX252" fmla="*/ 5803 w 10000"/>
              <a:gd name="connsiteY252" fmla="*/ 331 h 10000"/>
              <a:gd name="connsiteX253" fmla="*/ 5803 w 10000"/>
              <a:gd name="connsiteY253" fmla="*/ 289 h 10000"/>
              <a:gd name="connsiteX254" fmla="*/ 5803 w 10000"/>
              <a:gd name="connsiteY254" fmla="*/ 248 h 10000"/>
              <a:gd name="connsiteX255" fmla="*/ 5803 w 10000"/>
              <a:gd name="connsiteY255" fmla="*/ 207 h 10000"/>
              <a:gd name="connsiteX256" fmla="*/ 5803 w 10000"/>
              <a:gd name="connsiteY256" fmla="*/ 165 h 10000"/>
              <a:gd name="connsiteX257" fmla="*/ 5803 w 10000"/>
              <a:gd name="connsiteY257" fmla="*/ 124 h 10000"/>
              <a:gd name="connsiteX258" fmla="*/ 5803 w 10000"/>
              <a:gd name="connsiteY258" fmla="*/ 83 h 10000"/>
              <a:gd name="connsiteX259" fmla="*/ 5803 w 10000"/>
              <a:gd name="connsiteY259" fmla="*/ 41 h 10000"/>
              <a:gd name="connsiteX260" fmla="*/ 5803 w 10000"/>
              <a:gd name="connsiteY26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645 h 10000"/>
              <a:gd name="connsiteX197" fmla="*/ 3005 w 10000"/>
              <a:gd name="connsiteY197" fmla="*/ 7562 h 10000"/>
              <a:gd name="connsiteX198" fmla="*/ 2902 w 10000"/>
              <a:gd name="connsiteY198" fmla="*/ 7355 h 10000"/>
              <a:gd name="connsiteX199" fmla="*/ 2850 w 10000"/>
              <a:gd name="connsiteY199" fmla="*/ 7314 h 10000"/>
              <a:gd name="connsiteX200" fmla="*/ 1036 w 10000"/>
              <a:gd name="connsiteY200" fmla="*/ 6612 h 10000"/>
              <a:gd name="connsiteX201" fmla="*/ 829 w 10000"/>
              <a:gd name="connsiteY201" fmla="*/ 6488 h 10000"/>
              <a:gd name="connsiteX202" fmla="*/ 829 w 10000"/>
              <a:gd name="connsiteY202" fmla="*/ 6446 h 10000"/>
              <a:gd name="connsiteX203" fmla="*/ 777 w 10000"/>
              <a:gd name="connsiteY203" fmla="*/ 6446 h 10000"/>
              <a:gd name="connsiteX204" fmla="*/ 725 w 10000"/>
              <a:gd name="connsiteY204" fmla="*/ 6446 h 10000"/>
              <a:gd name="connsiteX205" fmla="*/ 674 w 10000"/>
              <a:gd name="connsiteY205" fmla="*/ 6405 h 10000"/>
              <a:gd name="connsiteX206" fmla="*/ 622 w 10000"/>
              <a:gd name="connsiteY206" fmla="*/ 6405 h 10000"/>
              <a:gd name="connsiteX207" fmla="*/ 570 w 10000"/>
              <a:gd name="connsiteY207" fmla="*/ 6405 h 10000"/>
              <a:gd name="connsiteX208" fmla="*/ 570 w 10000"/>
              <a:gd name="connsiteY208" fmla="*/ 6364 h 10000"/>
              <a:gd name="connsiteX209" fmla="*/ 518 w 10000"/>
              <a:gd name="connsiteY209" fmla="*/ 6364 h 10000"/>
              <a:gd name="connsiteX210" fmla="*/ 466 w 10000"/>
              <a:gd name="connsiteY210" fmla="*/ 6364 h 10000"/>
              <a:gd name="connsiteX211" fmla="*/ 466 w 10000"/>
              <a:gd name="connsiteY211" fmla="*/ 6405 h 10000"/>
              <a:gd name="connsiteX212" fmla="*/ 415 w 10000"/>
              <a:gd name="connsiteY212" fmla="*/ 6405 h 10000"/>
              <a:gd name="connsiteX213" fmla="*/ 363 w 10000"/>
              <a:gd name="connsiteY213" fmla="*/ 6405 h 10000"/>
              <a:gd name="connsiteX214" fmla="*/ 311 w 10000"/>
              <a:gd name="connsiteY214" fmla="*/ 6405 h 10000"/>
              <a:gd name="connsiteX215" fmla="*/ 259 w 10000"/>
              <a:gd name="connsiteY215" fmla="*/ 6405 h 10000"/>
              <a:gd name="connsiteX216" fmla="*/ 207 w 10000"/>
              <a:gd name="connsiteY216" fmla="*/ 6405 h 10000"/>
              <a:gd name="connsiteX217" fmla="*/ 155 w 10000"/>
              <a:gd name="connsiteY217" fmla="*/ 6405 h 10000"/>
              <a:gd name="connsiteX218" fmla="*/ 104 w 10000"/>
              <a:gd name="connsiteY218" fmla="*/ 6405 h 10000"/>
              <a:gd name="connsiteX219" fmla="*/ 52 w 10000"/>
              <a:gd name="connsiteY219" fmla="*/ 6405 h 10000"/>
              <a:gd name="connsiteX220" fmla="*/ 0 w 10000"/>
              <a:gd name="connsiteY220" fmla="*/ 6405 h 10000"/>
              <a:gd name="connsiteX221" fmla="*/ 52 w 10000"/>
              <a:gd name="connsiteY221" fmla="*/ 5826 h 10000"/>
              <a:gd name="connsiteX222" fmla="*/ 207 w 10000"/>
              <a:gd name="connsiteY222" fmla="*/ 5909 h 10000"/>
              <a:gd name="connsiteX223" fmla="*/ 415 w 10000"/>
              <a:gd name="connsiteY223" fmla="*/ 5826 h 10000"/>
              <a:gd name="connsiteX224" fmla="*/ 1503 w 10000"/>
              <a:gd name="connsiteY224" fmla="*/ 5826 h 10000"/>
              <a:gd name="connsiteX225" fmla="*/ 1658 w 10000"/>
              <a:gd name="connsiteY225" fmla="*/ 5785 h 10000"/>
              <a:gd name="connsiteX226" fmla="*/ 1710 w 10000"/>
              <a:gd name="connsiteY226" fmla="*/ 5785 h 10000"/>
              <a:gd name="connsiteX227" fmla="*/ 2228 w 10000"/>
              <a:gd name="connsiteY227" fmla="*/ 5248 h 10000"/>
              <a:gd name="connsiteX228" fmla="*/ 2332 w 10000"/>
              <a:gd name="connsiteY228" fmla="*/ 5165 h 10000"/>
              <a:gd name="connsiteX229" fmla="*/ 2798 w 10000"/>
              <a:gd name="connsiteY229" fmla="*/ 4752 h 10000"/>
              <a:gd name="connsiteX230" fmla="*/ 3057 w 10000"/>
              <a:gd name="connsiteY230" fmla="*/ 4504 h 10000"/>
              <a:gd name="connsiteX231" fmla="*/ 3212 w 10000"/>
              <a:gd name="connsiteY231" fmla="*/ 4380 h 10000"/>
              <a:gd name="connsiteX232" fmla="*/ 3627 w 10000"/>
              <a:gd name="connsiteY232" fmla="*/ 3760 h 10000"/>
              <a:gd name="connsiteX233" fmla="*/ 4145 w 10000"/>
              <a:gd name="connsiteY233" fmla="*/ 3512 h 10000"/>
              <a:gd name="connsiteX234" fmla="*/ 5026 w 10000"/>
              <a:gd name="connsiteY234" fmla="*/ 2810 h 10000"/>
              <a:gd name="connsiteX235" fmla="*/ 4870 w 10000"/>
              <a:gd name="connsiteY235" fmla="*/ 2562 h 10000"/>
              <a:gd name="connsiteX236" fmla="*/ 4819 w 10000"/>
              <a:gd name="connsiteY236" fmla="*/ 2397 h 10000"/>
              <a:gd name="connsiteX237" fmla="*/ 4819 w 10000"/>
              <a:gd name="connsiteY237" fmla="*/ 1240 h 10000"/>
              <a:gd name="connsiteX238" fmla="*/ 4145 w 10000"/>
              <a:gd name="connsiteY238" fmla="*/ 744 h 10000"/>
              <a:gd name="connsiteX239" fmla="*/ 4974 w 10000"/>
              <a:gd name="connsiteY239" fmla="*/ 744 h 10000"/>
              <a:gd name="connsiteX240" fmla="*/ 5803 w 10000"/>
              <a:gd name="connsiteY240" fmla="*/ 744 h 10000"/>
              <a:gd name="connsiteX241" fmla="*/ 5803 w 10000"/>
              <a:gd name="connsiteY241" fmla="*/ 702 h 10000"/>
              <a:gd name="connsiteX242" fmla="*/ 5803 w 10000"/>
              <a:gd name="connsiteY242" fmla="*/ 661 h 10000"/>
              <a:gd name="connsiteX243" fmla="*/ 5803 w 10000"/>
              <a:gd name="connsiteY243" fmla="*/ 620 h 10000"/>
              <a:gd name="connsiteX244" fmla="*/ 5803 w 10000"/>
              <a:gd name="connsiteY244" fmla="*/ 579 h 10000"/>
              <a:gd name="connsiteX245" fmla="*/ 5855 w 10000"/>
              <a:gd name="connsiteY245" fmla="*/ 537 h 10000"/>
              <a:gd name="connsiteX246" fmla="*/ 5855 w 10000"/>
              <a:gd name="connsiteY246" fmla="*/ 496 h 10000"/>
              <a:gd name="connsiteX247" fmla="*/ 5855 w 10000"/>
              <a:gd name="connsiteY247" fmla="*/ 455 h 10000"/>
              <a:gd name="connsiteX248" fmla="*/ 5855 w 10000"/>
              <a:gd name="connsiteY248" fmla="*/ 413 h 10000"/>
              <a:gd name="connsiteX249" fmla="*/ 5855 w 10000"/>
              <a:gd name="connsiteY249" fmla="*/ 372 h 10000"/>
              <a:gd name="connsiteX250" fmla="*/ 5855 w 10000"/>
              <a:gd name="connsiteY250" fmla="*/ 331 h 10000"/>
              <a:gd name="connsiteX251" fmla="*/ 5803 w 10000"/>
              <a:gd name="connsiteY251" fmla="*/ 331 h 10000"/>
              <a:gd name="connsiteX252" fmla="*/ 5803 w 10000"/>
              <a:gd name="connsiteY252" fmla="*/ 289 h 10000"/>
              <a:gd name="connsiteX253" fmla="*/ 5803 w 10000"/>
              <a:gd name="connsiteY253" fmla="*/ 248 h 10000"/>
              <a:gd name="connsiteX254" fmla="*/ 5803 w 10000"/>
              <a:gd name="connsiteY254" fmla="*/ 207 h 10000"/>
              <a:gd name="connsiteX255" fmla="*/ 5803 w 10000"/>
              <a:gd name="connsiteY255" fmla="*/ 165 h 10000"/>
              <a:gd name="connsiteX256" fmla="*/ 5803 w 10000"/>
              <a:gd name="connsiteY256" fmla="*/ 124 h 10000"/>
              <a:gd name="connsiteX257" fmla="*/ 5803 w 10000"/>
              <a:gd name="connsiteY257" fmla="*/ 83 h 10000"/>
              <a:gd name="connsiteX258" fmla="*/ 5803 w 10000"/>
              <a:gd name="connsiteY258" fmla="*/ 41 h 10000"/>
              <a:gd name="connsiteX259" fmla="*/ 5803 w 10000"/>
              <a:gd name="connsiteY25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57 w 10000"/>
              <a:gd name="connsiteY194" fmla="*/ 7727 h 10000"/>
              <a:gd name="connsiteX195" fmla="*/ 3005 w 10000"/>
              <a:gd name="connsiteY195" fmla="*/ 7686 h 10000"/>
              <a:gd name="connsiteX196" fmla="*/ 3005 w 10000"/>
              <a:gd name="connsiteY196" fmla="*/ 7562 h 10000"/>
              <a:gd name="connsiteX197" fmla="*/ 2902 w 10000"/>
              <a:gd name="connsiteY197" fmla="*/ 7355 h 10000"/>
              <a:gd name="connsiteX198" fmla="*/ 2850 w 10000"/>
              <a:gd name="connsiteY198" fmla="*/ 7314 h 10000"/>
              <a:gd name="connsiteX199" fmla="*/ 1036 w 10000"/>
              <a:gd name="connsiteY199" fmla="*/ 6612 h 10000"/>
              <a:gd name="connsiteX200" fmla="*/ 829 w 10000"/>
              <a:gd name="connsiteY200" fmla="*/ 6488 h 10000"/>
              <a:gd name="connsiteX201" fmla="*/ 829 w 10000"/>
              <a:gd name="connsiteY201" fmla="*/ 6446 h 10000"/>
              <a:gd name="connsiteX202" fmla="*/ 777 w 10000"/>
              <a:gd name="connsiteY202" fmla="*/ 6446 h 10000"/>
              <a:gd name="connsiteX203" fmla="*/ 725 w 10000"/>
              <a:gd name="connsiteY203" fmla="*/ 6446 h 10000"/>
              <a:gd name="connsiteX204" fmla="*/ 674 w 10000"/>
              <a:gd name="connsiteY204" fmla="*/ 6405 h 10000"/>
              <a:gd name="connsiteX205" fmla="*/ 622 w 10000"/>
              <a:gd name="connsiteY205" fmla="*/ 6405 h 10000"/>
              <a:gd name="connsiteX206" fmla="*/ 570 w 10000"/>
              <a:gd name="connsiteY206" fmla="*/ 6405 h 10000"/>
              <a:gd name="connsiteX207" fmla="*/ 570 w 10000"/>
              <a:gd name="connsiteY207" fmla="*/ 6364 h 10000"/>
              <a:gd name="connsiteX208" fmla="*/ 518 w 10000"/>
              <a:gd name="connsiteY208" fmla="*/ 6364 h 10000"/>
              <a:gd name="connsiteX209" fmla="*/ 466 w 10000"/>
              <a:gd name="connsiteY209" fmla="*/ 6364 h 10000"/>
              <a:gd name="connsiteX210" fmla="*/ 466 w 10000"/>
              <a:gd name="connsiteY210" fmla="*/ 6405 h 10000"/>
              <a:gd name="connsiteX211" fmla="*/ 415 w 10000"/>
              <a:gd name="connsiteY211" fmla="*/ 6405 h 10000"/>
              <a:gd name="connsiteX212" fmla="*/ 363 w 10000"/>
              <a:gd name="connsiteY212" fmla="*/ 6405 h 10000"/>
              <a:gd name="connsiteX213" fmla="*/ 311 w 10000"/>
              <a:gd name="connsiteY213" fmla="*/ 6405 h 10000"/>
              <a:gd name="connsiteX214" fmla="*/ 259 w 10000"/>
              <a:gd name="connsiteY214" fmla="*/ 6405 h 10000"/>
              <a:gd name="connsiteX215" fmla="*/ 207 w 10000"/>
              <a:gd name="connsiteY215" fmla="*/ 6405 h 10000"/>
              <a:gd name="connsiteX216" fmla="*/ 155 w 10000"/>
              <a:gd name="connsiteY216" fmla="*/ 6405 h 10000"/>
              <a:gd name="connsiteX217" fmla="*/ 104 w 10000"/>
              <a:gd name="connsiteY217" fmla="*/ 6405 h 10000"/>
              <a:gd name="connsiteX218" fmla="*/ 52 w 10000"/>
              <a:gd name="connsiteY218" fmla="*/ 6405 h 10000"/>
              <a:gd name="connsiteX219" fmla="*/ 0 w 10000"/>
              <a:gd name="connsiteY219" fmla="*/ 6405 h 10000"/>
              <a:gd name="connsiteX220" fmla="*/ 52 w 10000"/>
              <a:gd name="connsiteY220" fmla="*/ 5826 h 10000"/>
              <a:gd name="connsiteX221" fmla="*/ 207 w 10000"/>
              <a:gd name="connsiteY221" fmla="*/ 5909 h 10000"/>
              <a:gd name="connsiteX222" fmla="*/ 415 w 10000"/>
              <a:gd name="connsiteY222" fmla="*/ 5826 h 10000"/>
              <a:gd name="connsiteX223" fmla="*/ 1503 w 10000"/>
              <a:gd name="connsiteY223" fmla="*/ 5826 h 10000"/>
              <a:gd name="connsiteX224" fmla="*/ 1658 w 10000"/>
              <a:gd name="connsiteY224" fmla="*/ 5785 h 10000"/>
              <a:gd name="connsiteX225" fmla="*/ 1710 w 10000"/>
              <a:gd name="connsiteY225" fmla="*/ 5785 h 10000"/>
              <a:gd name="connsiteX226" fmla="*/ 2228 w 10000"/>
              <a:gd name="connsiteY226" fmla="*/ 5248 h 10000"/>
              <a:gd name="connsiteX227" fmla="*/ 2332 w 10000"/>
              <a:gd name="connsiteY227" fmla="*/ 5165 h 10000"/>
              <a:gd name="connsiteX228" fmla="*/ 2798 w 10000"/>
              <a:gd name="connsiteY228" fmla="*/ 4752 h 10000"/>
              <a:gd name="connsiteX229" fmla="*/ 3057 w 10000"/>
              <a:gd name="connsiteY229" fmla="*/ 4504 h 10000"/>
              <a:gd name="connsiteX230" fmla="*/ 3212 w 10000"/>
              <a:gd name="connsiteY230" fmla="*/ 4380 h 10000"/>
              <a:gd name="connsiteX231" fmla="*/ 3627 w 10000"/>
              <a:gd name="connsiteY231" fmla="*/ 3760 h 10000"/>
              <a:gd name="connsiteX232" fmla="*/ 4145 w 10000"/>
              <a:gd name="connsiteY232" fmla="*/ 3512 h 10000"/>
              <a:gd name="connsiteX233" fmla="*/ 5026 w 10000"/>
              <a:gd name="connsiteY233" fmla="*/ 2810 h 10000"/>
              <a:gd name="connsiteX234" fmla="*/ 4870 w 10000"/>
              <a:gd name="connsiteY234" fmla="*/ 2562 h 10000"/>
              <a:gd name="connsiteX235" fmla="*/ 4819 w 10000"/>
              <a:gd name="connsiteY235" fmla="*/ 2397 h 10000"/>
              <a:gd name="connsiteX236" fmla="*/ 4819 w 10000"/>
              <a:gd name="connsiteY236" fmla="*/ 1240 h 10000"/>
              <a:gd name="connsiteX237" fmla="*/ 4145 w 10000"/>
              <a:gd name="connsiteY237" fmla="*/ 744 h 10000"/>
              <a:gd name="connsiteX238" fmla="*/ 4974 w 10000"/>
              <a:gd name="connsiteY238" fmla="*/ 744 h 10000"/>
              <a:gd name="connsiteX239" fmla="*/ 5803 w 10000"/>
              <a:gd name="connsiteY239" fmla="*/ 744 h 10000"/>
              <a:gd name="connsiteX240" fmla="*/ 5803 w 10000"/>
              <a:gd name="connsiteY240" fmla="*/ 702 h 10000"/>
              <a:gd name="connsiteX241" fmla="*/ 5803 w 10000"/>
              <a:gd name="connsiteY241" fmla="*/ 661 h 10000"/>
              <a:gd name="connsiteX242" fmla="*/ 5803 w 10000"/>
              <a:gd name="connsiteY242" fmla="*/ 620 h 10000"/>
              <a:gd name="connsiteX243" fmla="*/ 5803 w 10000"/>
              <a:gd name="connsiteY243" fmla="*/ 579 h 10000"/>
              <a:gd name="connsiteX244" fmla="*/ 5855 w 10000"/>
              <a:gd name="connsiteY244" fmla="*/ 537 h 10000"/>
              <a:gd name="connsiteX245" fmla="*/ 5855 w 10000"/>
              <a:gd name="connsiteY245" fmla="*/ 496 h 10000"/>
              <a:gd name="connsiteX246" fmla="*/ 5855 w 10000"/>
              <a:gd name="connsiteY246" fmla="*/ 455 h 10000"/>
              <a:gd name="connsiteX247" fmla="*/ 5855 w 10000"/>
              <a:gd name="connsiteY247" fmla="*/ 413 h 10000"/>
              <a:gd name="connsiteX248" fmla="*/ 5855 w 10000"/>
              <a:gd name="connsiteY248" fmla="*/ 372 h 10000"/>
              <a:gd name="connsiteX249" fmla="*/ 5855 w 10000"/>
              <a:gd name="connsiteY249" fmla="*/ 331 h 10000"/>
              <a:gd name="connsiteX250" fmla="*/ 5803 w 10000"/>
              <a:gd name="connsiteY250" fmla="*/ 331 h 10000"/>
              <a:gd name="connsiteX251" fmla="*/ 5803 w 10000"/>
              <a:gd name="connsiteY251" fmla="*/ 289 h 10000"/>
              <a:gd name="connsiteX252" fmla="*/ 5803 w 10000"/>
              <a:gd name="connsiteY252" fmla="*/ 248 h 10000"/>
              <a:gd name="connsiteX253" fmla="*/ 5803 w 10000"/>
              <a:gd name="connsiteY253" fmla="*/ 207 h 10000"/>
              <a:gd name="connsiteX254" fmla="*/ 5803 w 10000"/>
              <a:gd name="connsiteY254" fmla="*/ 165 h 10000"/>
              <a:gd name="connsiteX255" fmla="*/ 5803 w 10000"/>
              <a:gd name="connsiteY255" fmla="*/ 124 h 10000"/>
              <a:gd name="connsiteX256" fmla="*/ 5803 w 10000"/>
              <a:gd name="connsiteY256" fmla="*/ 83 h 10000"/>
              <a:gd name="connsiteX257" fmla="*/ 5803 w 10000"/>
              <a:gd name="connsiteY257" fmla="*/ 41 h 10000"/>
              <a:gd name="connsiteX258" fmla="*/ 5803 w 10000"/>
              <a:gd name="connsiteY25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109 w 10000"/>
              <a:gd name="connsiteY192" fmla="*/ 7810 h 10000"/>
              <a:gd name="connsiteX193" fmla="*/ 3057 w 10000"/>
              <a:gd name="connsiteY193" fmla="*/ 7769 h 10000"/>
              <a:gd name="connsiteX194" fmla="*/ 3005 w 10000"/>
              <a:gd name="connsiteY194" fmla="*/ 7686 h 10000"/>
              <a:gd name="connsiteX195" fmla="*/ 3005 w 10000"/>
              <a:gd name="connsiteY195" fmla="*/ 7562 h 10000"/>
              <a:gd name="connsiteX196" fmla="*/ 2902 w 10000"/>
              <a:gd name="connsiteY196" fmla="*/ 7355 h 10000"/>
              <a:gd name="connsiteX197" fmla="*/ 2850 w 10000"/>
              <a:gd name="connsiteY197" fmla="*/ 7314 h 10000"/>
              <a:gd name="connsiteX198" fmla="*/ 1036 w 10000"/>
              <a:gd name="connsiteY198" fmla="*/ 6612 h 10000"/>
              <a:gd name="connsiteX199" fmla="*/ 829 w 10000"/>
              <a:gd name="connsiteY199" fmla="*/ 6488 h 10000"/>
              <a:gd name="connsiteX200" fmla="*/ 829 w 10000"/>
              <a:gd name="connsiteY200" fmla="*/ 6446 h 10000"/>
              <a:gd name="connsiteX201" fmla="*/ 777 w 10000"/>
              <a:gd name="connsiteY201" fmla="*/ 6446 h 10000"/>
              <a:gd name="connsiteX202" fmla="*/ 725 w 10000"/>
              <a:gd name="connsiteY202" fmla="*/ 6446 h 10000"/>
              <a:gd name="connsiteX203" fmla="*/ 674 w 10000"/>
              <a:gd name="connsiteY203" fmla="*/ 6405 h 10000"/>
              <a:gd name="connsiteX204" fmla="*/ 622 w 10000"/>
              <a:gd name="connsiteY204" fmla="*/ 6405 h 10000"/>
              <a:gd name="connsiteX205" fmla="*/ 570 w 10000"/>
              <a:gd name="connsiteY205" fmla="*/ 6405 h 10000"/>
              <a:gd name="connsiteX206" fmla="*/ 570 w 10000"/>
              <a:gd name="connsiteY206" fmla="*/ 6364 h 10000"/>
              <a:gd name="connsiteX207" fmla="*/ 518 w 10000"/>
              <a:gd name="connsiteY207" fmla="*/ 6364 h 10000"/>
              <a:gd name="connsiteX208" fmla="*/ 466 w 10000"/>
              <a:gd name="connsiteY208" fmla="*/ 6364 h 10000"/>
              <a:gd name="connsiteX209" fmla="*/ 466 w 10000"/>
              <a:gd name="connsiteY209" fmla="*/ 6405 h 10000"/>
              <a:gd name="connsiteX210" fmla="*/ 415 w 10000"/>
              <a:gd name="connsiteY210" fmla="*/ 6405 h 10000"/>
              <a:gd name="connsiteX211" fmla="*/ 363 w 10000"/>
              <a:gd name="connsiteY211" fmla="*/ 6405 h 10000"/>
              <a:gd name="connsiteX212" fmla="*/ 311 w 10000"/>
              <a:gd name="connsiteY212" fmla="*/ 6405 h 10000"/>
              <a:gd name="connsiteX213" fmla="*/ 259 w 10000"/>
              <a:gd name="connsiteY213" fmla="*/ 6405 h 10000"/>
              <a:gd name="connsiteX214" fmla="*/ 207 w 10000"/>
              <a:gd name="connsiteY214" fmla="*/ 6405 h 10000"/>
              <a:gd name="connsiteX215" fmla="*/ 155 w 10000"/>
              <a:gd name="connsiteY215" fmla="*/ 6405 h 10000"/>
              <a:gd name="connsiteX216" fmla="*/ 104 w 10000"/>
              <a:gd name="connsiteY216" fmla="*/ 6405 h 10000"/>
              <a:gd name="connsiteX217" fmla="*/ 52 w 10000"/>
              <a:gd name="connsiteY217" fmla="*/ 6405 h 10000"/>
              <a:gd name="connsiteX218" fmla="*/ 0 w 10000"/>
              <a:gd name="connsiteY218" fmla="*/ 6405 h 10000"/>
              <a:gd name="connsiteX219" fmla="*/ 52 w 10000"/>
              <a:gd name="connsiteY219" fmla="*/ 5826 h 10000"/>
              <a:gd name="connsiteX220" fmla="*/ 207 w 10000"/>
              <a:gd name="connsiteY220" fmla="*/ 5909 h 10000"/>
              <a:gd name="connsiteX221" fmla="*/ 415 w 10000"/>
              <a:gd name="connsiteY221" fmla="*/ 5826 h 10000"/>
              <a:gd name="connsiteX222" fmla="*/ 1503 w 10000"/>
              <a:gd name="connsiteY222" fmla="*/ 5826 h 10000"/>
              <a:gd name="connsiteX223" fmla="*/ 1658 w 10000"/>
              <a:gd name="connsiteY223" fmla="*/ 5785 h 10000"/>
              <a:gd name="connsiteX224" fmla="*/ 1710 w 10000"/>
              <a:gd name="connsiteY224" fmla="*/ 5785 h 10000"/>
              <a:gd name="connsiteX225" fmla="*/ 2228 w 10000"/>
              <a:gd name="connsiteY225" fmla="*/ 5248 h 10000"/>
              <a:gd name="connsiteX226" fmla="*/ 2332 w 10000"/>
              <a:gd name="connsiteY226" fmla="*/ 5165 h 10000"/>
              <a:gd name="connsiteX227" fmla="*/ 2798 w 10000"/>
              <a:gd name="connsiteY227" fmla="*/ 4752 h 10000"/>
              <a:gd name="connsiteX228" fmla="*/ 3057 w 10000"/>
              <a:gd name="connsiteY228" fmla="*/ 4504 h 10000"/>
              <a:gd name="connsiteX229" fmla="*/ 3212 w 10000"/>
              <a:gd name="connsiteY229" fmla="*/ 4380 h 10000"/>
              <a:gd name="connsiteX230" fmla="*/ 3627 w 10000"/>
              <a:gd name="connsiteY230" fmla="*/ 3760 h 10000"/>
              <a:gd name="connsiteX231" fmla="*/ 4145 w 10000"/>
              <a:gd name="connsiteY231" fmla="*/ 3512 h 10000"/>
              <a:gd name="connsiteX232" fmla="*/ 5026 w 10000"/>
              <a:gd name="connsiteY232" fmla="*/ 2810 h 10000"/>
              <a:gd name="connsiteX233" fmla="*/ 4870 w 10000"/>
              <a:gd name="connsiteY233" fmla="*/ 2562 h 10000"/>
              <a:gd name="connsiteX234" fmla="*/ 4819 w 10000"/>
              <a:gd name="connsiteY234" fmla="*/ 2397 h 10000"/>
              <a:gd name="connsiteX235" fmla="*/ 4819 w 10000"/>
              <a:gd name="connsiteY235" fmla="*/ 1240 h 10000"/>
              <a:gd name="connsiteX236" fmla="*/ 4145 w 10000"/>
              <a:gd name="connsiteY236" fmla="*/ 744 h 10000"/>
              <a:gd name="connsiteX237" fmla="*/ 4974 w 10000"/>
              <a:gd name="connsiteY237" fmla="*/ 744 h 10000"/>
              <a:gd name="connsiteX238" fmla="*/ 5803 w 10000"/>
              <a:gd name="connsiteY238" fmla="*/ 744 h 10000"/>
              <a:gd name="connsiteX239" fmla="*/ 5803 w 10000"/>
              <a:gd name="connsiteY239" fmla="*/ 702 h 10000"/>
              <a:gd name="connsiteX240" fmla="*/ 5803 w 10000"/>
              <a:gd name="connsiteY240" fmla="*/ 661 h 10000"/>
              <a:gd name="connsiteX241" fmla="*/ 5803 w 10000"/>
              <a:gd name="connsiteY241" fmla="*/ 620 h 10000"/>
              <a:gd name="connsiteX242" fmla="*/ 5803 w 10000"/>
              <a:gd name="connsiteY242" fmla="*/ 579 h 10000"/>
              <a:gd name="connsiteX243" fmla="*/ 5855 w 10000"/>
              <a:gd name="connsiteY243" fmla="*/ 537 h 10000"/>
              <a:gd name="connsiteX244" fmla="*/ 5855 w 10000"/>
              <a:gd name="connsiteY244" fmla="*/ 496 h 10000"/>
              <a:gd name="connsiteX245" fmla="*/ 5855 w 10000"/>
              <a:gd name="connsiteY245" fmla="*/ 455 h 10000"/>
              <a:gd name="connsiteX246" fmla="*/ 5855 w 10000"/>
              <a:gd name="connsiteY246" fmla="*/ 413 h 10000"/>
              <a:gd name="connsiteX247" fmla="*/ 5855 w 10000"/>
              <a:gd name="connsiteY247" fmla="*/ 372 h 10000"/>
              <a:gd name="connsiteX248" fmla="*/ 5855 w 10000"/>
              <a:gd name="connsiteY248" fmla="*/ 331 h 10000"/>
              <a:gd name="connsiteX249" fmla="*/ 5803 w 10000"/>
              <a:gd name="connsiteY249" fmla="*/ 331 h 10000"/>
              <a:gd name="connsiteX250" fmla="*/ 5803 w 10000"/>
              <a:gd name="connsiteY250" fmla="*/ 289 h 10000"/>
              <a:gd name="connsiteX251" fmla="*/ 5803 w 10000"/>
              <a:gd name="connsiteY251" fmla="*/ 248 h 10000"/>
              <a:gd name="connsiteX252" fmla="*/ 5803 w 10000"/>
              <a:gd name="connsiteY252" fmla="*/ 207 h 10000"/>
              <a:gd name="connsiteX253" fmla="*/ 5803 w 10000"/>
              <a:gd name="connsiteY253" fmla="*/ 165 h 10000"/>
              <a:gd name="connsiteX254" fmla="*/ 5803 w 10000"/>
              <a:gd name="connsiteY254" fmla="*/ 124 h 10000"/>
              <a:gd name="connsiteX255" fmla="*/ 5803 w 10000"/>
              <a:gd name="connsiteY255" fmla="*/ 83 h 10000"/>
              <a:gd name="connsiteX256" fmla="*/ 5803 w 10000"/>
              <a:gd name="connsiteY256" fmla="*/ 41 h 10000"/>
              <a:gd name="connsiteX257" fmla="*/ 5803 w 10000"/>
              <a:gd name="connsiteY25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975 h 10000"/>
              <a:gd name="connsiteX190" fmla="*/ 3161 w 10000"/>
              <a:gd name="connsiteY190" fmla="*/ 7893 h 10000"/>
              <a:gd name="connsiteX191" fmla="*/ 3109 w 10000"/>
              <a:gd name="connsiteY191" fmla="*/ 7851 h 10000"/>
              <a:gd name="connsiteX192" fmla="*/ 3057 w 10000"/>
              <a:gd name="connsiteY192" fmla="*/ 7769 h 10000"/>
              <a:gd name="connsiteX193" fmla="*/ 3005 w 10000"/>
              <a:gd name="connsiteY193" fmla="*/ 7686 h 10000"/>
              <a:gd name="connsiteX194" fmla="*/ 3005 w 10000"/>
              <a:gd name="connsiteY194" fmla="*/ 7562 h 10000"/>
              <a:gd name="connsiteX195" fmla="*/ 2902 w 10000"/>
              <a:gd name="connsiteY195" fmla="*/ 7355 h 10000"/>
              <a:gd name="connsiteX196" fmla="*/ 2850 w 10000"/>
              <a:gd name="connsiteY196" fmla="*/ 7314 h 10000"/>
              <a:gd name="connsiteX197" fmla="*/ 1036 w 10000"/>
              <a:gd name="connsiteY197" fmla="*/ 6612 h 10000"/>
              <a:gd name="connsiteX198" fmla="*/ 829 w 10000"/>
              <a:gd name="connsiteY198" fmla="*/ 6488 h 10000"/>
              <a:gd name="connsiteX199" fmla="*/ 829 w 10000"/>
              <a:gd name="connsiteY199" fmla="*/ 6446 h 10000"/>
              <a:gd name="connsiteX200" fmla="*/ 777 w 10000"/>
              <a:gd name="connsiteY200" fmla="*/ 6446 h 10000"/>
              <a:gd name="connsiteX201" fmla="*/ 725 w 10000"/>
              <a:gd name="connsiteY201" fmla="*/ 6446 h 10000"/>
              <a:gd name="connsiteX202" fmla="*/ 674 w 10000"/>
              <a:gd name="connsiteY202" fmla="*/ 6405 h 10000"/>
              <a:gd name="connsiteX203" fmla="*/ 622 w 10000"/>
              <a:gd name="connsiteY203" fmla="*/ 6405 h 10000"/>
              <a:gd name="connsiteX204" fmla="*/ 570 w 10000"/>
              <a:gd name="connsiteY204" fmla="*/ 6405 h 10000"/>
              <a:gd name="connsiteX205" fmla="*/ 570 w 10000"/>
              <a:gd name="connsiteY205" fmla="*/ 6364 h 10000"/>
              <a:gd name="connsiteX206" fmla="*/ 518 w 10000"/>
              <a:gd name="connsiteY206" fmla="*/ 6364 h 10000"/>
              <a:gd name="connsiteX207" fmla="*/ 466 w 10000"/>
              <a:gd name="connsiteY207" fmla="*/ 6364 h 10000"/>
              <a:gd name="connsiteX208" fmla="*/ 466 w 10000"/>
              <a:gd name="connsiteY208" fmla="*/ 6405 h 10000"/>
              <a:gd name="connsiteX209" fmla="*/ 415 w 10000"/>
              <a:gd name="connsiteY209" fmla="*/ 6405 h 10000"/>
              <a:gd name="connsiteX210" fmla="*/ 363 w 10000"/>
              <a:gd name="connsiteY210" fmla="*/ 6405 h 10000"/>
              <a:gd name="connsiteX211" fmla="*/ 311 w 10000"/>
              <a:gd name="connsiteY211" fmla="*/ 6405 h 10000"/>
              <a:gd name="connsiteX212" fmla="*/ 259 w 10000"/>
              <a:gd name="connsiteY212" fmla="*/ 6405 h 10000"/>
              <a:gd name="connsiteX213" fmla="*/ 207 w 10000"/>
              <a:gd name="connsiteY213" fmla="*/ 6405 h 10000"/>
              <a:gd name="connsiteX214" fmla="*/ 155 w 10000"/>
              <a:gd name="connsiteY214" fmla="*/ 6405 h 10000"/>
              <a:gd name="connsiteX215" fmla="*/ 104 w 10000"/>
              <a:gd name="connsiteY215" fmla="*/ 6405 h 10000"/>
              <a:gd name="connsiteX216" fmla="*/ 52 w 10000"/>
              <a:gd name="connsiteY216" fmla="*/ 6405 h 10000"/>
              <a:gd name="connsiteX217" fmla="*/ 0 w 10000"/>
              <a:gd name="connsiteY217" fmla="*/ 6405 h 10000"/>
              <a:gd name="connsiteX218" fmla="*/ 52 w 10000"/>
              <a:gd name="connsiteY218" fmla="*/ 5826 h 10000"/>
              <a:gd name="connsiteX219" fmla="*/ 207 w 10000"/>
              <a:gd name="connsiteY219" fmla="*/ 5909 h 10000"/>
              <a:gd name="connsiteX220" fmla="*/ 415 w 10000"/>
              <a:gd name="connsiteY220" fmla="*/ 5826 h 10000"/>
              <a:gd name="connsiteX221" fmla="*/ 1503 w 10000"/>
              <a:gd name="connsiteY221" fmla="*/ 5826 h 10000"/>
              <a:gd name="connsiteX222" fmla="*/ 1658 w 10000"/>
              <a:gd name="connsiteY222" fmla="*/ 5785 h 10000"/>
              <a:gd name="connsiteX223" fmla="*/ 1710 w 10000"/>
              <a:gd name="connsiteY223" fmla="*/ 5785 h 10000"/>
              <a:gd name="connsiteX224" fmla="*/ 2228 w 10000"/>
              <a:gd name="connsiteY224" fmla="*/ 5248 h 10000"/>
              <a:gd name="connsiteX225" fmla="*/ 2332 w 10000"/>
              <a:gd name="connsiteY225" fmla="*/ 5165 h 10000"/>
              <a:gd name="connsiteX226" fmla="*/ 2798 w 10000"/>
              <a:gd name="connsiteY226" fmla="*/ 4752 h 10000"/>
              <a:gd name="connsiteX227" fmla="*/ 3057 w 10000"/>
              <a:gd name="connsiteY227" fmla="*/ 4504 h 10000"/>
              <a:gd name="connsiteX228" fmla="*/ 3212 w 10000"/>
              <a:gd name="connsiteY228" fmla="*/ 4380 h 10000"/>
              <a:gd name="connsiteX229" fmla="*/ 3627 w 10000"/>
              <a:gd name="connsiteY229" fmla="*/ 3760 h 10000"/>
              <a:gd name="connsiteX230" fmla="*/ 4145 w 10000"/>
              <a:gd name="connsiteY230" fmla="*/ 3512 h 10000"/>
              <a:gd name="connsiteX231" fmla="*/ 5026 w 10000"/>
              <a:gd name="connsiteY231" fmla="*/ 2810 h 10000"/>
              <a:gd name="connsiteX232" fmla="*/ 4870 w 10000"/>
              <a:gd name="connsiteY232" fmla="*/ 2562 h 10000"/>
              <a:gd name="connsiteX233" fmla="*/ 4819 w 10000"/>
              <a:gd name="connsiteY233" fmla="*/ 2397 h 10000"/>
              <a:gd name="connsiteX234" fmla="*/ 4819 w 10000"/>
              <a:gd name="connsiteY234" fmla="*/ 1240 h 10000"/>
              <a:gd name="connsiteX235" fmla="*/ 4145 w 10000"/>
              <a:gd name="connsiteY235" fmla="*/ 744 h 10000"/>
              <a:gd name="connsiteX236" fmla="*/ 4974 w 10000"/>
              <a:gd name="connsiteY236" fmla="*/ 744 h 10000"/>
              <a:gd name="connsiteX237" fmla="*/ 5803 w 10000"/>
              <a:gd name="connsiteY237" fmla="*/ 744 h 10000"/>
              <a:gd name="connsiteX238" fmla="*/ 5803 w 10000"/>
              <a:gd name="connsiteY238" fmla="*/ 702 h 10000"/>
              <a:gd name="connsiteX239" fmla="*/ 5803 w 10000"/>
              <a:gd name="connsiteY239" fmla="*/ 661 h 10000"/>
              <a:gd name="connsiteX240" fmla="*/ 5803 w 10000"/>
              <a:gd name="connsiteY240" fmla="*/ 620 h 10000"/>
              <a:gd name="connsiteX241" fmla="*/ 5803 w 10000"/>
              <a:gd name="connsiteY241" fmla="*/ 579 h 10000"/>
              <a:gd name="connsiteX242" fmla="*/ 5855 w 10000"/>
              <a:gd name="connsiteY242" fmla="*/ 537 h 10000"/>
              <a:gd name="connsiteX243" fmla="*/ 5855 w 10000"/>
              <a:gd name="connsiteY243" fmla="*/ 496 h 10000"/>
              <a:gd name="connsiteX244" fmla="*/ 5855 w 10000"/>
              <a:gd name="connsiteY244" fmla="*/ 455 h 10000"/>
              <a:gd name="connsiteX245" fmla="*/ 5855 w 10000"/>
              <a:gd name="connsiteY245" fmla="*/ 413 h 10000"/>
              <a:gd name="connsiteX246" fmla="*/ 5855 w 10000"/>
              <a:gd name="connsiteY246" fmla="*/ 372 h 10000"/>
              <a:gd name="connsiteX247" fmla="*/ 5855 w 10000"/>
              <a:gd name="connsiteY247" fmla="*/ 331 h 10000"/>
              <a:gd name="connsiteX248" fmla="*/ 5803 w 10000"/>
              <a:gd name="connsiteY248" fmla="*/ 331 h 10000"/>
              <a:gd name="connsiteX249" fmla="*/ 5803 w 10000"/>
              <a:gd name="connsiteY249" fmla="*/ 289 h 10000"/>
              <a:gd name="connsiteX250" fmla="*/ 5803 w 10000"/>
              <a:gd name="connsiteY250" fmla="*/ 248 h 10000"/>
              <a:gd name="connsiteX251" fmla="*/ 5803 w 10000"/>
              <a:gd name="connsiteY251" fmla="*/ 207 h 10000"/>
              <a:gd name="connsiteX252" fmla="*/ 5803 w 10000"/>
              <a:gd name="connsiteY252" fmla="*/ 165 h 10000"/>
              <a:gd name="connsiteX253" fmla="*/ 5803 w 10000"/>
              <a:gd name="connsiteY253" fmla="*/ 124 h 10000"/>
              <a:gd name="connsiteX254" fmla="*/ 5803 w 10000"/>
              <a:gd name="connsiteY254" fmla="*/ 83 h 10000"/>
              <a:gd name="connsiteX255" fmla="*/ 5803 w 10000"/>
              <a:gd name="connsiteY255" fmla="*/ 41 h 10000"/>
              <a:gd name="connsiteX256" fmla="*/ 5803 w 10000"/>
              <a:gd name="connsiteY25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368 w 10000"/>
              <a:gd name="connsiteY187" fmla="*/ 8099 h 10000"/>
              <a:gd name="connsiteX188" fmla="*/ 3264 w 10000"/>
              <a:gd name="connsiteY188" fmla="*/ 8058 h 10000"/>
              <a:gd name="connsiteX189" fmla="*/ 3161 w 10000"/>
              <a:gd name="connsiteY189" fmla="*/ 7893 h 10000"/>
              <a:gd name="connsiteX190" fmla="*/ 3109 w 10000"/>
              <a:gd name="connsiteY190" fmla="*/ 7851 h 10000"/>
              <a:gd name="connsiteX191" fmla="*/ 3057 w 10000"/>
              <a:gd name="connsiteY191" fmla="*/ 7769 h 10000"/>
              <a:gd name="connsiteX192" fmla="*/ 3005 w 10000"/>
              <a:gd name="connsiteY192" fmla="*/ 7686 h 10000"/>
              <a:gd name="connsiteX193" fmla="*/ 3005 w 10000"/>
              <a:gd name="connsiteY193" fmla="*/ 7562 h 10000"/>
              <a:gd name="connsiteX194" fmla="*/ 2902 w 10000"/>
              <a:gd name="connsiteY194" fmla="*/ 7355 h 10000"/>
              <a:gd name="connsiteX195" fmla="*/ 2850 w 10000"/>
              <a:gd name="connsiteY195" fmla="*/ 7314 h 10000"/>
              <a:gd name="connsiteX196" fmla="*/ 1036 w 10000"/>
              <a:gd name="connsiteY196" fmla="*/ 6612 h 10000"/>
              <a:gd name="connsiteX197" fmla="*/ 829 w 10000"/>
              <a:gd name="connsiteY197" fmla="*/ 6488 h 10000"/>
              <a:gd name="connsiteX198" fmla="*/ 829 w 10000"/>
              <a:gd name="connsiteY198" fmla="*/ 6446 h 10000"/>
              <a:gd name="connsiteX199" fmla="*/ 777 w 10000"/>
              <a:gd name="connsiteY199" fmla="*/ 6446 h 10000"/>
              <a:gd name="connsiteX200" fmla="*/ 725 w 10000"/>
              <a:gd name="connsiteY200" fmla="*/ 6446 h 10000"/>
              <a:gd name="connsiteX201" fmla="*/ 674 w 10000"/>
              <a:gd name="connsiteY201" fmla="*/ 6405 h 10000"/>
              <a:gd name="connsiteX202" fmla="*/ 622 w 10000"/>
              <a:gd name="connsiteY202" fmla="*/ 6405 h 10000"/>
              <a:gd name="connsiteX203" fmla="*/ 570 w 10000"/>
              <a:gd name="connsiteY203" fmla="*/ 6405 h 10000"/>
              <a:gd name="connsiteX204" fmla="*/ 570 w 10000"/>
              <a:gd name="connsiteY204" fmla="*/ 6364 h 10000"/>
              <a:gd name="connsiteX205" fmla="*/ 518 w 10000"/>
              <a:gd name="connsiteY205" fmla="*/ 6364 h 10000"/>
              <a:gd name="connsiteX206" fmla="*/ 466 w 10000"/>
              <a:gd name="connsiteY206" fmla="*/ 6364 h 10000"/>
              <a:gd name="connsiteX207" fmla="*/ 466 w 10000"/>
              <a:gd name="connsiteY207" fmla="*/ 6405 h 10000"/>
              <a:gd name="connsiteX208" fmla="*/ 415 w 10000"/>
              <a:gd name="connsiteY208" fmla="*/ 6405 h 10000"/>
              <a:gd name="connsiteX209" fmla="*/ 363 w 10000"/>
              <a:gd name="connsiteY209" fmla="*/ 6405 h 10000"/>
              <a:gd name="connsiteX210" fmla="*/ 311 w 10000"/>
              <a:gd name="connsiteY210" fmla="*/ 6405 h 10000"/>
              <a:gd name="connsiteX211" fmla="*/ 259 w 10000"/>
              <a:gd name="connsiteY211" fmla="*/ 6405 h 10000"/>
              <a:gd name="connsiteX212" fmla="*/ 207 w 10000"/>
              <a:gd name="connsiteY212" fmla="*/ 6405 h 10000"/>
              <a:gd name="connsiteX213" fmla="*/ 155 w 10000"/>
              <a:gd name="connsiteY213" fmla="*/ 6405 h 10000"/>
              <a:gd name="connsiteX214" fmla="*/ 104 w 10000"/>
              <a:gd name="connsiteY214" fmla="*/ 6405 h 10000"/>
              <a:gd name="connsiteX215" fmla="*/ 52 w 10000"/>
              <a:gd name="connsiteY215" fmla="*/ 6405 h 10000"/>
              <a:gd name="connsiteX216" fmla="*/ 0 w 10000"/>
              <a:gd name="connsiteY216" fmla="*/ 6405 h 10000"/>
              <a:gd name="connsiteX217" fmla="*/ 52 w 10000"/>
              <a:gd name="connsiteY217" fmla="*/ 5826 h 10000"/>
              <a:gd name="connsiteX218" fmla="*/ 207 w 10000"/>
              <a:gd name="connsiteY218" fmla="*/ 5909 h 10000"/>
              <a:gd name="connsiteX219" fmla="*/ 415 w 10000"/>
              <a:gd name="connsiteY219" fmla="*/ 5826 h 10000"/>
              <a:gd name="connsiteX220" fmla="*/ 1503 w 10000"/>
              <a:gd name="connsiteY220" fmla="*/ 5826 h 10000"/>
              <a:gd name="connsiteX221" fmla="*/ 1658 w 10000"/>
              <a:gd name="connsiteY221" fmla="*/ 5785 h 10000"/>
              <a:gd name="connsiteX222" fmla="*/ 1710 w 10000"/>
              <a:gd name="connsiteY222" fmla="*/ 5785 h 10000"/>
              <a:gd name="connsiteX223" fmla="*/ 2228 w 10000"/>
              <a:gd name="connsiteY223" fmla="*/ 5248 h 10000"/>
              <a:gd name="connsiteX224" fmla="*/ 2332 w 10000"/>
              <a:gd name="connsiteY224" fmla="*/ 5165 h 10000"/>
              <a:gd name="connsiteX225" fmla="*/ 2798 w 10000"/>
              <a:gd name="connsiteY225" fmla="*/ 4752 h 10000"/>
              <a:gd name="connsiteX226" fmla="*/ 3057 w 10000"/>
              <a:gd name="connsiteY226" fmla="*/ 4504 h 10000"/>
              <a:gd name="connsiteX227" fmla="*/ 3212 w 10000"/>
              <a:gd name="connsiteY227" fmla="*/ 4380 h 10000"/>
              <a:gd name="connsiteX228" fmla="*/ 3627 w 10000"/>
              <a:gd name="connsiteY228" fmla="*/ 3760 h 10000"/>
              <a:gd name="connsiteX229" fmla="*/ 4145 w 10000"/>
              <a:gd name="connsiteY229" fmla="*/ 3512 h 10000"/>
              <a:gd name="connsiteX230" fmla="*/ 5026 w 10000"/>
              <a:gd name="connsiteY230" fmla="*/ 2810 h 10000"/>
              <a:gd name="connsiteX231" fmla="*/ 4870 w 10000"/>
              <a:gd name="connsiteY231" fmla="*/ 2562 h 10000"/>
              <a:gd name="connsiteX232" fmla="*/ 4819 w 10000"/>
              <a:gd name="connsiteY232" fmla="*/ 2397 h 10000"/>
              <a:gd name="connsiteX233" fmla="*/ 4819 w 10000"/>
              <a:gd name="connsiteY233" fmla="*/ 1240 h 10000"/>
              <a:gd name="connsiteX234" fmla="*/ 4145 w 10000"/>
              <a:gd name="connsiteY234" fmla="*/ 744 h 10000"/>
              <a:gd name="connsiteX235" fmla="*/ 4974 w 10000"/>
              <a:gd name="connsiteY235" fmla="*/ 744 h 10000"/>
              <a:gd name="connsiteX236" fmla="*/ 5803 w 10000"/>
              <a:gd name="connsiteY236" fmla="*/ 744 h 10000"/>
              <a:gd name="connsiteX237" fmla="*/ 5803 w 10000"/>
              <a:gd name="connsiteY237" fmla="*/ 702 h 10000"/>
              <a:gd name="connsiteX238" fmla="*/ 5803 w 10000"/>
              <a:gd name="connsiteY238" fmla="*/ 661 h 10000"/>
              <a:gd name="connsiteX239" fmla="*/ 5803 w 10000"/>
              <a:gd name="connsiteY239" fmla="*/ 620 h 10000"/>
              <a:gd name="connsiteX240" fmla="*/ 5803 w 10000"/>
              <a:gd name="connsiteY240" fmla="*/ 579 h 10000"/>
              <a:gd name="connsiteX241" fmla="*/ 5855 w 10000"/>
              <a:gd name="connsiteY241" fmla="*/ 537 h 10000"/>
              <a:gd name="connsiteX242" fmla="*/ 5855 w 10000"/>
              <a:gd name="connsiteY242" fmla="*/ 496 h 10000"/>
              <a:gd name="connsiteX243" fmla="*/ 5855 w 10000"/>
              <a:gd name="connsiteY243" fmla="*/ 455 h 10000"/>
              <a:gd name="connsiteX244" fmla="*/ 5855 w 10000"/>
              <a:gd name="connsiteY244" fmla="*/ 413 h 10000"/>
              <a:gd name="connsiteX245" fmla="*/ 5855 w 10000"/>
              <a:gd name="connsiteY245" fmla="*/ 372 h 10000"/>
              <a:gd name="connsiteX246" fmla="*/ 5855 w 10000"/>
              <a:gd name="connsiteY246" fmla="*/ 331 h 10000"/>
              <a:gd name="connsiteX247" fmla="*/ 5803 w 10000"/>
              <a:gd name="connsiteY247" fmla="*/ 331 h 10000"/>
              <a:gd name="connsiteX248" fmla="*/ 5803 w 10000"/>
              <a:gd name="connsiteY248" fmla="*/ 289 h 10000"/>
              <a:gd name="connsiteX249" fmla="*/ 5803 w 10000"/>
              <a:gd name="connsiteY249" fmla="*/ 248 h 10000"/>
              <a:gd name="connsiteX250" fmla="*/ 5803 w 10000"/>
              <a:gd name="connsiteY250" fmla="*/ 207 h 10000"/>
              <a:gd name="connsiteX251" fmla="*/ 5803 w 10000"/>
              <a:gd name="connsiteY251" fmla="*/ 165 h 10000"/>
              <a:gd name="connsiteX252" fmla="*/ 5803 w 10000"/>
              <a:gd name="connsiteY252" fmla="*/ 124 h 10000"/>
              <a:gd name="connsiteX253" fmla="*/ 5803 w 10000"/>
              <a:gd name="connsiteY253" fmla="*/ 83 h 10000"/>
              <a:gd name="connsiteX254" fmla="*/ 5803 w 10000"/>
              <a:gd name="connsiteY254" fmla="*/ 41 h 10000"/>
              <a:gd name="connsiteX255" fmla="*/ 5803 w 10000"/>
              <a:gd name="connsiteY25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20 w 10000"/>
              <a:gd name="connsiteY186" fmla="*/ 8140 h 10000"/>
              <a:gd name="connsiteX187" fmla="*/ 3264 w 10000"/>
              <a:gd name="connsiteY187" fmla="*/ 8058 h 10000"/>
              <a:gd name="connsiteX188" fmla="*/ 3161 w 10000"/>
              <a:gd name="connsiteY188" fmla="*/ 7893 h 10000"/>
              <a:gd name="connsiteX189" fmla="*/ 3109 w 10000"/>
              <a:gd name="connsiteY189" fmla="*/ 7851 h 10000"/>
              <a:gd name="connsiteX190" fmla="*/ 3057 w 10000"/>
              <a:gd name="connsiteY190" fmla="*/ 7769 h 10000"/>
              <a:gd name="connsiteX191" fmla="*/ 3005 w 10000"/>
              <a:gd name="connsiteY191" fmla="*/ 7686 h 10000"/>
              <a:gd name="connsiteX192" fmla="*/ 3005 w 10000"/>
              <a:gd name="connsiteY192" fmla="*/ 7562 h 10000"/>
              <a:gd name="connsiteX193" fmla="*/ 2902 w 10000"/>
              <a:gd name="connsiteY193" fmla="*/ 7355 h 10000"/>
              <a:gd name="connsiteX194" fmla="*/ 2850 w 10000"/>
              <a:gd name="connsiteY194" fmla="*/ 7314 h 10000"/>
              <a:gd name="connsiteX195" fmla="*/ 1036 w 10000"/>
              <a:gd name="connsiteY195" fmla="*/ 6612 h 10000"/>
              <a:gd name="connsiteX196" fmla="*/ 829 w 10000"/>
              <a:gd name="connsiteY196" fmla="*/ 6488 h 10000"/>
              <a:gd name="connsiteX197" fmla="*/ 829 w 10000"/>
              <a:gd name="connsiteY197" fmla="*/ 6446 h 10000"/>
              <a:gd name="connsiteX198" fmla="*/ 777 w 10000"/>
              <a:gd name="connsiteY198" fmla="*/ 6446 h 10000"/>
              <a:gd name="connsiteX199" fmla="*/ 725 w 10000"/>
              <a:gd name="connsiteY199" fmla="*/ 6446 h 10000"/>
              <a:gd name="connsiteX200" fmla="*/ 674 w 10000"/>
              <a:gd name="connsiteY200" fmla="*/ 6405 h 10000"/>
              <a:gd name="connsiteX201" fmla="*/ 622 w 10000"/>
              <a:gd name="connsiteY201" fmla="*/ 6405 h 10000"/>
              <a:gd name="connsiteX202" fmla="*/ 570 w 10000"/>
              <a:gd name="connsiteY202" fmla="*/ 6405 h 10000"/>
              <a:gd name="connsiteX203" fmla="*/ 570 w 10000"/>
              <a:gd name="connsiteY203" fmla="*/ 6364 h 10000"/>
              <a:gd name="connsiteX204" fmla="*/ 518 w 10000"/>
              <a:gd name="connsiteY204" fmla="*/ 6364 h 10000"/>
              <a:gd name="connsiteX205" fmla="*/ 466 w 10000"/>
              <a:gd name="connsiteY205" fmla="*/ 6364 h 10000"/>
              <a:gd name="connsiteX206" fmla="*/ 466 w 10000"/>
              <a:gd name="connsiteY206" fmla="*/ 6405 h 10000"/>
              <a:gd name="connsiteX207" fmla="*/ 415 w 10000"/>
              <a:gd name="connsiteY207" fmla="*/ 6405 h 10000"/>
              <a:gd name="connsiteX208" fmla="*/ 363 w 10000"/>
              <a:gd name="connsiteY208" fmla="*/ 6405 h 10000"/>
              <a:gd name="connsiteX209" fmla="*/ 311 w 10000"/>
              <a:gd name="connsiteY209" fmla="*/ 6405 h 10000"/>
              <a:gd name="connsiteX210" fmla="*/ 259 w 10000"/>
              <a:gd name="connsiteY210" fmla="*/ 6405 h 10000"/>
              <a:gd name="connsiteX211" fmla="*/ 207 w 10000"/>
              <a:gd name="connsiteY211" fmla="*/ 6405 h 10000"/>
              <a:gd name="connsiteX212" fmla="*/ 155 w 10000"/>
              <a:gd name="connsiteY212" fmla="*/ 6405 h 10000"/>
              <a:gd name="connsiteX213" fmla="*/ 104 w 10000"/>
              <a:gd name="connsiteY213" fmla="*/ 6405 h 10000"/>
              <a:gd name="connsiteX214" fmla="*/ 52 w 10000"/>
              <a:gd name="connsiteY214" fmla="*/ 6405 h 10000"/>
              <a:gd name="connsiteX215" fmla="*/ 0 w 10000"/>
              <a:gd name="connsiteY215" fmla="*/ 6405 h 10000"/>
              <a:gd name="connsiteX216" fmla="*/ 52 w 10000"/>
              <a:gd name="connsiteY216" fmla="*/ 5826 h 10000"/>
              <a:gd name="connsiteX217" fmla="*/ 207 w 10000"/>
              <a:gd name="connsiteY217" fmla="*/ 5909 h 10000"/>
              <a:gd name="connsiteX218" fmla="*/ 415 w 10000"/>
              <a:gd name="connsiteY218" fmla="*/ 5826 h 10000"/>
              <a:gd name="connsiteX219" fmla="*/ 1503 w 10000"/>
              <a:gd name="connsiteY219" fmla="*/ 5826 h 10000"/>
              <a:gd name="connsiteX220" fmla="*/ 1658 w 10000"/>
              <a:gd name="connsiteY220" fmla="*/ 5785 h 10000"/>
              <a:gd name="connsiteX221" fmla="*/ 1710 w 10000"/>
              <a:gd name="connsiteY221" fmla="*/ 5785 h 10000"/>
              <a:gd name="connsiteX222" fmla="*/ 2228 w 10000"/>
              <a:gd name="connsiteY222" fmla="*/ 5248 h 10000"/>
              <a:gd name="connsiteX223" fmla="*/ 2332 w 10000"/>
              <a:gd name="connsiteY223" fmla="*/ 5165 h 10000"/>
              <a:gd name="connsiteX224" fmla="*/ 2798 w 10000"/>
              <a:gd name="connsiteY224" fmla="*/ 4752 h 10000"/>
              <a:gd name="connsiteX225" fmla="*/ 3057 w 10000"/>
              <a:gd name="connsiteY225" fmla="*/ 4504 h 10000"/>
              <a:gd name="connsiteX226" fmla="*/ 3212 w 10000"/>
              <a:gd name="connsiteY226" fmla="*/ 4380 h 10000"/>
              <a:gd name="connsiteX227" fmla="*/ 3627 w 10000"/>
              <a:gd name="connsiteY227" fmla="*/ 3760 h 10000"/>
              <a:gd name="connsiteX228" fmla="*/ 4145 w 10000"/>
              <a:gd name="connsiteY228" fmla="*/ 3512 h 10000"/>
              <a:gd name="connsiteX229" fmla="*/ 5026 w 10000"/>
              <a:gd name="connsiteY229" fmla="*/ 2810 h 10000"/>
              <a:gd name="connsiteX230" fmla="*/ 4870 w 10000"/>
              <a:gd name="connsiteY230" fmla="*/ 2562 h 10000"/>
              <a:gd name="connsiteX231" fmla="*/ 4819 w 10000"/>
              <a:gd name="connsiteY231" fmla="*/ 2397 h 10000"/>
              <a:gd name="connsiteX232" fmla="*/ 4819 w 10000"/>
              <a:gd name="connsiteY232" fmla="*/ 1240 h 10000"/>
              <a:gd name="connsiteX233" fmla="*/ 4145 w 10000"/>
              <a:gd name="connsiteY233" fmla="*/ 744 h 10000"/>
              <a:gd name="connsiteX234" fmla="*/ 4974 w 10000"/>
              <a:gd name="connsiteY234" fmla="*/ 744 h 10000"/>
              <a:gd name="connsiteX235" fmla="*/ 5803 w 10000"/>
              <a:gd name="connsiteY235" fmla="*/ 744 h 10000"/>
              <a:gd name="connsiteX236" fmla="*/ 5803 w 10000"/>
              <a:gd name="connsiteY236" fmla="*/ 702 h 10000"/>
              <a:gd name="connsiteX237" fmla="*/ 5803 w 10000"/>
              <a:gd name="connsiteY237" fmla="*/ 661 h 10000"/>
              <a:gd name="connsiteX238" fmla="*/ 5803 w 10000"/>
              <a:gd name="connsiteY238" fmla="*/ 620 h 10000"/>
              <a:gd name="connsiteX239" fmla="*/ 5803 w 10000"/>
              <a:gd name="connsiteY239" fmla="*/ 579 h 10000"/>
              <a:gd name="connsiteX240" fmla="*/ 5855 w 10000"/>
              <a:gd name="connsiteY240" fmla="*/ 537 h 10000"/>
              <a:gd name="connsiteX241" fmla="*/ 5855 w 10000"/>
              <a:gd name="connsiteY241" fmla="*/ 496 h 10000"/>
              <a:gd name="connsiteX242" fmla="*/ 5855 w 10000"/>
              <a:gd name="connsiteY242" fmla="*/ 455 h 10000"/>
              <a:gd name="connsiteX243" fmla="*/ 5855 w 10000"/>
              <a:gd name="connsiteY243" fmla="*/ 413 h 10000"/>
              <a:gd name="connsiteX244" fmla="*/ 5855 w 10000"/>
              <a:gd name="connsiteY244" fmla="*/ 372 h 10000"/>
              <a:gd name="connsiteX245" fmla="*/ 5855 w 10000"/>
              <a:gd name="connsiteY245" fmla="*/ 331 h 10000"/>
              <a:gd name="connsiteX246" fmla="*/ 5803 w 10000"/>
              <a:gd name="connsiteY246" fmla="*/ 331 h 10000"/>
              <a:gd name="connsiteX247" fmla="*/ 5803 w 10000"/>
              <a:gd name="connsiteY247" fmla="*/ 289 h 10000"/>
              <a:gd name="connsiteX248" fmla="*/ 5803 w 10000"/>
              <a:gd name="connsiteY248" fmla="*/ 248 h 10000"/>
              <a:gd name="connsiteX249" fmla="*/ 5803 w 10000"/>
              <a:gd name="connsiteY249" fmla="*/ 207 h 10000"/>
              <a:gd name="connsiteX250" fmla="*/ 5803 w 10000"/>
              <a:gd name="connsiteY250" fmla="*/ 165 h 10000"/>
              <a:gd name="connsiteX251" fmla="*/ 5803 w 10000"/>
              <a:gd name="connsiteY251" fmla="*/ 124 h 10000"/>
              <a:gd name="connsiteX252" fmla="*/ 5803 w 10000"/>
              <a:gd name="connsiteY252" fmla="*/ 83 h 10000"/>
              <a:gd name="connsiteX253" fmla="*/ 5803 w 10000"/>
              <a:gd name="connsiteY253" fmla="*/ 41 h 10000"/>
              <a:gd name="connsiteX254" fmla="*/ 5803 w 10000"/>
              <a:gd name="connsiteY25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575 w 10000"/>
              <a:gd name="connsiteY185" fmla="*/ 8264 h 10000"/>
              <a:gd name="connsiteX186" fmla="*/ 3472 w 10000"/>
              <a:gd name="connsiteY186" fmla="*/ 8161 h 10000"/>
              <a:gd name="connsiteX187" fmla="*/ 3420 w 10000"/>
              <a:gd name="connsiteY187" fmla="*/ 8140 h 10000"/>
              <a:gd name="connsiteX188" fmla="*/ 3264 w 10000"/>
              <a:gd name="connsiteY188" fmla="*/ 8058 h 10000"/>
              <a:gd name="connsiteX189" fmla="*/ 3161 w 10000"/>
              <a:gd name="connsiteY189" fmla="*/ 7893 h 10000"/>
              <a:gd name="connsiteX190" fmla="*/ 3109 w 10000"/>
              <a:gd name="connsiteY190" fmla="*/ 7851 h 10000"/>
              <a:gd name="connsiteX191" fmla="*/ 3057 w 10000"/>
              <a:gd name="connsiteY191" fmla="*/ 7769 h 10000"/>
              <a:gd name="connsiteX192" fmla="*/ 3005 w 10000"/>
              <a:gd name="connsiteY192" fmla="*/ 7686 h 10000"/>
              <a:gd name="connsiteX193" fmla="*/ 3005 w 10000"/>
              <a:gd name="connsiteY193" fmla="*/ 7562 h 10000"/>
              <a:gd name="connsiteX194" fmla="*/ 2902 w 10000"/>
              <a:gd name="connsiteY194" fmla="*/ 7355 h 10000"/>
              <a:gd name="connsiteX195" fmla="*/ 2850 w 10000"/>
              <a:gd name="connsiteY195" fmla="*/ 7314 h 10000"/>
              <a:gd name="connsiteX196" fmla="*/ 1036 w 10000"/>
              <a:gd name="connsiteY196" fmla="*/ 6612 h 10000"/>
              <a:gd name="connsiteX197" fmla="*/ 829 w 10000"/>
              <a:gd name="connsiteY197" fmla="*/ 6488 h 10000"/>
              <a:gd name="connsiteX198" fmla="*/ 829 w 10000"/>
              <a:gd name="connsiteY198" fmla="*/ 6446 h 10000"/>
              <a:gd name="connsiteX199" fmla="*/ 777 w 10000"/>
              <a:gd name="connsiteY199" fmla="*/ 6446 h 10000"/>
              <a:gd name="connsiteX200" fmla="*/ 725 w 10000"/>
              <a:gd name="connsiteY200" fmla="*/ 6446 h 10000"/>
              <a:gd name="connsiteX201" fmla="*/ 674 w 10000"/>
              <a:gd name="connsiteY201" fmla="*/ 6405 h 10000"/>
              <a:gd name="connsiteX202" fmla="*/ 622 w 10000"/>
              <a:gd name="connsiteY202" fmla="*/ 6405 h 10000"/>
              <a:gd name="connsiteX203" fmla="*/ 570 w 10000"/>
              <a:gd name="connsiteY203" fmla="*/ 6405 h 10000"/>
              <a:gd name="connsiteX204" fmla="*/ 570 w 10000"/>
              <a:gd name="connsiteY204" fmla="*/ 6364 h 10000"/>
              <a:gd name="connsiteX205" fmla="*/ 518 w 10000"/>
              <a:gd name="connsiteY205" fmla="*/ 6364 h 10000"/>
              <a:gd name="connsiteX206" fmla="*/ 466 w 10000"/>
              <a:gd name="connsiteY206" fmla="*/ 6364 h 10000"/>
              <a:gd name="connsiteX207" fmla="*/ 466 w 10000"/>
              <a:gd name="connsiteY207" fmla="*/ 6405 h 10000"/>
              <a:gd name="connsiteX208" fmla="*/ 415 w 10000"/>
              <a:gd name="connsiteY208" fmla="*/ 6405 h 10000"/>
              <a:gd name="connsiteX209" fmla="*/ 363 w 10000"/>
              <a:gd name="connsiteY209" fmla="*/ 6405 h 10000"/>
              <a:gd name="connsiteX210" fmla="*/ 311 w 10000"/>
              <a:gd name="connsiteY210" fmla="*/ 6405 h 10000"/>
              <a:gd name="connsiteX211" fmla="*/ 259 w 10000"/>
              <a:gd name="connsiteY211" fmla="*/ 6405 h 10000"/>
              <a:gd name="connsiteX212" fmla="*/ 207 w 10000"/>
              <a:gd name="connsiteY212" fmla="*/ 6405 h 10000"/>
              <a:gd name="connsiteX213" fmla="*/ 155 w 10000"/>
              <a:gd name="connsiteY213" fmla="*/ 6405 h 10000"/>
              <a:gd name="connsiteX214" fmla="*/ 104 w 10000"/>
              <a:gd name="connsiteY214" fmla="*/ 6405 h 10000"/>
              <a:gd name="connsiteX215" fmla="*/ 52 w 10000"/>
              <a:gd name="connsiteY215" fmla="*/ 6405 h 10000"/>
              <a:gd name="connsiteX216" fmla="*/ 0 w 10000"/>
              <a:gd name="connsiteY216" fmla="*/ 6405 h 10000"/>
              <a:gd name="connsiteX217" fmla="*/ 52 w 10000"/>
              <a:gd name="connsiteY217" fmla="*/ 5826 h 10000"/>
              <a:gd name="connsiteX218" fmla="*/ 207 w 10000"/>
              <a:gd name="connsiteY218" fmla="*/ 5909 h 10000"/>
              <a:gd name="connsiteX219" fmla="*/ 415 w 10000"/>
              <a:gd name="connsiteY219" fmla="*/ 5826 h 10000"/>
              <a:gd name="connsiteX220" fmla="*/ 1503 w 10000"/>
              <a:gd name="connsiteY220" fmla="*/ 5826 h 10000"/>
              <a:gd name="connsiteX221" fmla="*/ 1658 w 10000"/>
              <a:gd name="connsiteY221" fmla="*/ 5785 h 10000"/>
              <a:gd name="connsiteX222" fmla="*/ 1710 w 10000"/>
              <a:gd name="connsiteY222" fmla="*/ 5785 h 10000"/>
              <a:gd name="connsiteX223" fmla="*/ 2228 w 10000"/>
              <a:gd name="connsiteY223" fmla="*/ 5248 h 10000"/>
              <a:gd name="connsiteX224" fmla="*/ 2332 w 10000"/>
              <a:gd name="connsiteY224" fmla="*/ 5165 h 10000"/>
              <a:gd name="connsiteX225" fmla="*/ 2798 w 10000"/>
              <a:gd name="connsiteY225" fmla="*/ 4752 h 10000"/>
              <a:gd name="connsiteX226" fmla="*/ 3057 w 10000"/>
              <a:gd name="connsiteY226" fmla="*/ 4504 h 10000"/>
              <a:gd name="connsiteX227" fmla="*/ 3212 w 10000"/>
              <a:gd name="connsiteY227" fmla="*/ 4380 h 10000"/>
              <a:gd name="connsiteX228" fmla="*/ 3627 w 10000"/>
              <a:gd name="connsiteY228" fmla="*/ 3760 h 10000"/>
              <a:gd name="connsiteX229" fmla="*/ 4145 w 10000"/>
              <a:gd name="connsiteY229" fmla="*/ 3512 h 10000"/>
              <a:gd name="connsiteX230" fmla="*/ 5026 w 10000"/>
              <a:gd name="connsiteY230" fmla="*/ 2810 h 10000"/>
              <a:gd name="connsiteX231" fmla="*/ 4870 w 10000"/>
              <a:gd name="connsiteY231" fmla="*/ 2562 h 10000"/>
              <a:gd name="connsiteX232" fmla="*/ 4819 w 10000"/>
              <a:gd name="connsiteY232" fmla="*/ 2397 h 10000"/>
              <a:gd name="connsiteX233" fmla="*/ 4819 w 10000"/>
              <a:gd name="connsiteY233" fmla="*/ 1240 h 10000"/>
              <a:gd name="connsiteX234" fmla="*/ 4145 w 10000"/>
              <a:gd name="connsiteY234" fmla="*/ 744 h 10000"/>
              <a:gd name="connsiteX235" fmla="*/ 4974 w 10000"/>
              <a:gd name="connsiteY235" fmla="*/ 744 h 10000"/>
              <a:gd name="connsiteX236" fmla="*/ 5803 w 10000"/>
              <a:gd name="connsiteY236" fmla="*/ 744 h 10000"/>
              <a:gd name="connsiteX237" fmla="*/ 5803 w 10000"/>
              <a:gd name="connsiteY237" fmla="*/ 702 h 10000"/>
              <a:gd name="connsiteX238" fmla="*/ 5803 w 10000"/>
              <a:gd name="connsiteY238" fmla="*/ 661 h 10000"/>
              <a:gd name="connsiteX239" fmla="*/ 5803 w 10000"/>
              <a:gd name="connsiteY239" fmla="*/ 620 h 10000"/>
              <a:gd name="connsiteX240" fmla="*/ 5803 w 10000"/>
              <a:gd name="connsiteY240" fmla="*/ 579 h 10000"/>
              <a:gd name="connsiteX241" fmla="*/ 5855 w 10000"/>
              <a:gd name="connsiteY241" fmla="*/ 537 h 10000"/>
              <a:gd name="connsiteX242" fmla="*/ 5855 w 10000"/>
              <a:gd name="connsiteY242" fmla="*/ 496 h 10000"/>
              <a:gd name="connsiteX243" fmla="*/ 5855 w 10000"/>
              <a:gd name="connsiteY243" fmla="*/ 455 h 10000"/>
              <a:gd name="connsiteX244" fmla="*/ 5855 w 10000"/>
              <a:gd name="connsiteY244" fmla="*/ 413 h 10000"/>
              <a:gd name="connsiteX245" fmla="*/ 5855 w 10000"/>
              <a:gd name="connsiteY245" fmla="*/ 372 h 10000"/>
              <a:gd name="connsiteX246" fmla="*/ 5855 w 10000"/>
              <a:gd name="connsiteY246" fmla="*/ 331 h 10000"/>
              <a:gd name="connsiteX247" fmla="*/ 5803 w 10000"/>
              <a:gd name="connsiteY247" fmla="*/ 331 h 10000"/>
              <a:gd name="connsiteX248" fmla="*/ 5803 w 10000"/>
              <a:gd name="connsiteY248" fmla="*/ 289 h 10000"/>
              <a:gd name="connsiteX249" fmla="*/ 5803 w 10000"/>
              <a:gd name="connsiteY249" fmla="*/ 248 h 10000"/>
              <a:gd name="connsiteX250" fmla="*/ 5803 w 10000"/>
              <a:gd name="connsiteY250" fmla="*/ 207 h 10000"/>
              <a:gd name="connsiteX251" fmla="*/ 5803 w 10000"/>
              <a:gd name="connsiteY251" fmla="*/ 165 h 10000"/>
              <a:gd name="connsiteX252" fmla="*/ 5803 w 10000"/>
              <a:gd name="connsiteY252" fmla="*/ 124 h 10000"/>
              <a:gd name="connsiteX253" fmla="*/ 5803 w 10000"/>
              <a:gd name="connsiteY253" fmla="*/ 83 h 10000"/>
              <a:gd name="connsiteX254" fmla="*/ 5803 w 10000"/>
              <a:gd name="connsiteY254" fmla="*/ 41 h 10000"/>
              <a:gd name="connsiteX255" fmla="*/ 5803 w 10000"/>
              <a:gd name="connsiteY25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181 w 10000"/>
              <a:gd name="connsiteY181" fmla="*/ 7851 h 10000"/>
              <a:gd name="connsiteX182" fmla="*/ 4456 w 10000"/>
              <a:gd name="connsiteY182" fmla="*/ 7727 h 10000"/>
              <a:gd name="connsiteX183" fmla="*/ 4404 w 10000"/>
              <a:gd name="connsiteY183" fmla="*/ 7769 h 10000"/>
              <a:gd name="connsiteX184" fmla="*/ 3886 w 10000"/>
              <a:gd name="connsiteY184" fmla="*/ 7975 h 10000"/>
              <a:gd name="connsiteX185" fmla="*/ 3472 w 10000"/>
              <a:gd name="connsiteY185" fmla="*/ 8161 h 10000"/>
              <a:gd name="connsiteX186" fmla="*/ 3420 w 10000"/>
              <a:gd name="connsiteY186" fmla="*/ 8140 h 10000"/>
              <a:gd name="connsiteX187" fmla="*/ 3264 w 10000"/>
              <a:gd name="connsiteY187" fmla="*/ 8058 h 10000"/>
              <a:gd name="connsiteX188" fmla="*/ 3161 w 10000"/>
              <a:gd name="connsiteY188" fmla="*/ 7893 h 10000"/>
              <a:gd name="connsiteX189" fmla="*/ 3109 w 10000"/>
              <a:gd name="connsiteY189" fmla="*/ 7851 h 10000"/>
              <a:gd name="connsiteX190" fmla="*/ 3057 w 10000"/>
              <a:gd name="connsiteY190" fmla="*/ 7769 h 10000"/>
              <a:gd name="connsiteX191" fmla="*/ 3005 w 10000"/>
              <a:gd name="connsiteY191" fmla="*/ 7686 h 10000"/>
              <a:gd name="connsiteX192" fmla="*/ 3005 w 10000"/>
              <a:gd name="connsiteY192" fmla="*/ 7562 h 10000"/>
              <a:gd name="connsiteX193" fmla="*/ 2902 w 10000"/>
              <a:gd name="connsiteY193" fmla="*/ 7355 h 10000"/>
              <a:gd name="connsiteX194" fmla="*/ 2850 w 10000"/>
              <a:gd name="connsiteY194" fmla="*/ 7314 h 10000"/>
              <a:gd name="connsiteX195" fmla="*/ 1036 w 10000"/>
              <a:gd name="connsiteY195" fmla="*/ 6612 h 10000"/>
              <a:gd name="connsiteX196" fmla="*/ 829 w 10000"/>
              <a:gd name="connsiteY196" fmla="*/ 6488 h 10000"/>
              <a:gd name="connsiteX197" fmla="*/ 829 w 10000"/>
              <a:gd name="connsiteY197" fmla="*/ 6446 h 10000"/>
              <a:gd name="connsiteX198" fmla="*/ 777 w 10000"/>
              <a:gd name="connsiteY198" fmla="*/ 6446 h 10000"/>
              <a:gd name="connsiteX199" fmla="*/ 725 w 10000"/>
              <a:gd name="connsiteY199" fmla="*/ 6446 h 10000"/>
              <a:gd name="connsiteX200" fmla="*/ 674 w 10000"/>
              <a:gd name="connsiteY200" fmla="*/ 6405 h 10000"/>
              <a:gd name="connsiteX201" fmla="*/ 622 w 10000"/>
              <a:gd name="connsiteY201" fmla="*/ 6405 h 10000"/>
              <a:gd name="connsiteX202" fmla="*/ 570 w 10000"/>
              <a:gd name="connsiteY202" fmla="*/ 6405 h 10000"/>
              <a:gd name="connsiteX203" fmla="*/ 570 w 10000"/>
              <a:gd name="connsiteY203" fmla="*/ 6364 h 10000"/>
              <a:gd name="connsiteX204" fmla="*/ 518 w 10000"/>
              <a:gd name="connsiteY204" fmla="*/ 6364 h 10000"/>
              <a:gd name="connsiteX205" fmla="*/ 466 w 10000"/>
              <a:gd name="connsiteY205" fmla="*/ 6364 h 10000"/>
              <a:gd name="connsiteX206" fmla="*/ 466 w 10000"/>
              <a:gd name="connsiteY206" fmla="*/ 6405 h 10000"/>
              <a:gd name="connsiteX207" fmla="*/ 415 w 10000"/>
              <a:gd name="connsiteY207" fmla="*/ 6405 h 10000"/>
              <a:gd name="connsiteX208" fmla="*/ 363 w 10000"/>
              <a:gd name="connsiteY208" fmla="*/ 6405 h 10000"/>
              <a:gd name="connsiteX209" fmla="*/ 311 w 10000"/>
              <a:gd name="connsiteY209" fmla="*/ 6405 h 10000"/>
              <a:gd name="connsiteX210" fmla="*/ 259 w 10000"/>
              <a:gd name="connsiteY210" fmla="*/ 6405 h 10000"/>
              <a:gd name="connsiteX211" fmla="*/ 207 w 10000"/>
              <a:gd name="connsiteY211" fmla="*/ 6405 h 10000"/>
              <a:gd name="connsiteX212" fmla="*/ 155 w 10000"/>
              <a:gd name="connsiteY212" fmla="*/ 6405 h 10000"/>
              <a:gd name="connsiteX213" fmla="*/ 104 w 10000"/>
              <a:gd name="connsiteY213" fmla="*/ 6405 h 10000"/>
              <a:gd name="connsiteX214" fmla="*/ 52 w 10000"/>
              <a:gd name="connsiteY214" fmla="*/ 6405 h 10000"/>
              <a:gd name="connsiteX215" fmla="*/ 0 w 10000"/>
              <a:gd name="connsiteY215" fmla="*/ 6405 h 10000"/>
              <a:gd name="connsiteX216" fmla="*/ 52 w 10000"/>
              <a:gd name="connsiteY216" fmla="*/ 5826 h 10000"/>
              <a:gd name="connsiteX217" fmla="*/ 207 w 10000"/>
              <a:gd name="connsiteY217" fmla="*/ 5909 h 10000"/>
              <a:gd name="connsiteX218" fmla="*/ 415 w 10000"/>
              <a:gd name="connsiteY218" fmla="*/ 5826 h 10000"/>
              <a:gd name="connsiteX219" fmla="*/ 1503 w 10000"/>
              <a:gd name="connsiteY219" fmla="*/ 5826 h 10000"/>
              <a:gd name="connsiteX220" fmla="*/ 1658 w 10000"/>
              <a:gd name="connsiteY220" fmla="*/ 5785 h 10000"/>
              <a:gd name="connsiteX221" fmla="*/ 1710 w 10000"/>
              <a:gd name="connsiteY221" fmla="*/ 5785 h 10000"/>
              <a:gd name="connsiteX222" fmla="*/ 2228 w 10000"/>
              <a:gd name="connsiteY222" fmla="*/ 5248 h 10000"/>
              <a:gd name="connsiteX223" fmla="*/ 2332 w 10000"/>
              <a:gd name="connsiteY223" fmla="*/ 5165 h 10000"/>
              <a:gd name="connsiteX224" fmla="*/ 2798 w 10000"/>
              <a:gd name="connsiteY224" fmla="*/ 4752 h 10000"/>
              <a:gd name="connsiteX225" fmla="*/ 3057 w 10000"/>
              <a:gd name="connsiteY225" fmla="*/ 4504 h 10000"/>
              <a:gd name="connsiteX226" fmla="*/ 3212 w 10000"/>
              <a:gd name="connsiteY226" fmla="*/ 4380 h 10000"/>
              <a:gd name="connsiteX227" fmla="*/ 3627 w 10000"/>
              <a:gd name="connsiteY227" fmla="*/ 3760 h 10000"/>
              <a:gd name="connsiteX228" fmla="*/ 4145 w 10000"/>
              <a:gd name="connsiteY228" fmla="*/ 3512 h 10000"/>
              <a:gd name="connsiteX229" fmla="*/ 5026 w 10000"/>
              <a:gd name="connsiteY229" fmla="*/ 2810 h 10000"/>
              <a:gd name="connsiteX230" fmla="*/ 4870 w 10000"/>
              <a:gd name="connsiteY230" fmla="*/ 2562 h 10000"/>
              <a:gd name="connsiteX231" fmla="*/ 4819 w 10000"/>
              <a:gd name="connsiteY231" fmla="*/ 2397 h 10000"/>
              <a:gd name="connsiteX232" fmla="*/ 4819 w 10000"/>
              <a:gd name="connsiteY232" fmla="*/ 1240 h 10000"/>
              <a:gd name="connsiteX233" fmla="*/ 4145 w 10000"/>
              <a:gd name="connsiteY233" fmla="*/ 744 h 10000"/>
              <a:gd name="connsiteX234" fmla="*/ 4974 w 10000"/>
              <a:gd name="connsiteY234" fmla="*/ 744 h 10000"/>
              <a:gd name="connsiteX235" fmla="*/ 5803 w 10000"/>
              <a:gd name="connsiteY235" fmla="*/ 744 h 10000"/>
              <a:gd name="connsiteX236" fmla="*/ 5803 w 10000"/>
              <a:gd name="connsiteY236" fmla="*/ 702 h 10000"/>
              <a:gd name="connsiteX237" fmla="*/ 5803 w 10000"/>
              <a:gd name="connsiteY237" fmla="*/ 661 h 10000"/>
              <a:gd name="connsiteX238" fmla="*/ 5803 w 10000"/>
              <a:gd name="connsiteY238" fmla="*/ 620 h 10000"/>
              <a:gd name="connsiteX239" fmla="*/ 5803 w 10000"/>
              <a:gd name="connsiteY239" fmla="*/ 579 h 10000"/>
              <a:gd name="connsiteX240" fmla="*/ 5855 w 10000"/>
              <a:gd name="connsiteY240" fmla="*/ 537 h 10000"/>
              <a:gd name="connsiteX241" fmla="*/ 5855 w 10000"/>
              <a:gd name="connsiteY241" fmla="*/ 496 h 10000"/>
              <a:gd name="connsiteX242" fmla="*/ 5855 w 10000"/>
              <a:gd name="connsiteY242" fmla="*/ 455 h 10000"/>
              <a:gd name="connsiteX243" fmla="*/ 5855 w 10000"/>
              <a:gd name="connsiteY243" fmla="*/ 413 h 10000"/>
              <a:gd name="connsiteX244" fmla="*/ 5855 w 10000"/>
              <a:gd name="connsiteY244" fmla="*/ 372 h 10000"/>
              <a:gd name="connsiteX245" fmla="*/ 5855 w 10000"/>
              <a:gd name="connsiteY245" fmla="*/ 331 h 10000"/>
              <a:gd name="connsiteX246" fmla="*/ 5803 w 10000"/>
              <a:gd name="connsiteY246" fmla="*/ 331 h 10000"/>
              <a:gd name="connsiteX247" fmla="*/ 5803 w 10000"/>
              <a:gd name="connsiteY247" fmla="*/ 289 h 10000"/>
              <a:gd name="connsiteX248" fmla="*/ 5803 w 10000"/>
              <a:gd name="connsiteY248" fmla="*/ 248 h 10000"/>
              <a:gd name="connsiteX249" fmla="*/ 5803 w 10000"/>
              <a:gd name="connsiteY249" fmla="*/ 207 h 10000"/>
              <a:gd name="connsiteX250" fmla="*/ 5803 w 10000"/>
              <a:gd name="connsiteY250" fmla="*/ 165 h 10000"/>
              <a:gd name="connsiteX251" fmla="*/ 5803 w 10000"/>
              <a:gd name="connsiteY251" fmla="*/ 124 h 10000"/>
              <a:gd name="connsiteX252" fmla="*/ 5803 w 10000"/>
              <a:gd name="connsiteY252" fmla="*/ 83 h 10000"/>
              <a:gd name="connsiteX253" fmla="*/ 5803 w 10000"/>
              <a:gd name="connsiteY253" fmla="*/ 41 h 10000"/>
              <a:gd name="connsiteX254" fmla="*/ 5803 w 10000"/>
              <a:gd name="connsiteY25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4456 w 10000"/>
              <a:gd name="connsiteY181" fmla="*/ 7727 h 10000"/>
              <a:gd name="connsiteX182" fmla="*/ 4404 w 10000"/>
              <a:gd name="connsiteY182" fmla="*/ 7769 h 10000"/>
              <a:gd name="connsiteX183" fmla="*/ 3886 w 10000"/>
              <a:gd name="connsiteY183" fmla="*/ 7975 h 10000"/>
              <a:gd name="connsiteX184" fmla="*/ 3472 w 10000"/>
              <a:gd name="connsiteY184" fmla="*/ 8161 h 10000"/>
              <a:gd name="connsiteX185" fmla="*/ 3420 w 10000"/>
              <a:gd name="connsiteY185" fmla="*/ 8140 h 10000"/>
              <a:gd name="connsiteX186" fmla="*/ 3264 w 10000"/>
              <a:gd name="connsiteY186" fmla="*/ 8058 h 10000"/>
              <a:gd name="connsiteX187" fmla="*/ 3161 w 10000"/>
              <a:gd name="connsiteY187" fmla="*/ 7893 h 10000"/>
              <a:gd name="connsiteX188" fmla="*/ 3109 w 10000"/>
              <a:gd name="connsiteY188" fmla="*/ 7851 h 10000"/>
              <a:gd name="connsiteX189" fmla="*/ 3057 w 10000"/>
              <a:gd name="connsiteY189" fmla="*/ 7769 h 10000"/>
              <a:gd name="connsiteX190" fmla="*/ 3005 w 10000"/>
              <a:gd name="connsiteY190" fmla="*/ 7686 h 10000"/>
              <a:gd name="connsiteX191" fmla="*/ 3005 w 10000"/>
              <a:gd name="connsiteY191" fmla="*/ 7562 h 10000"/>
              <a:gd name="connsiteX192" fmla="*/ 2902 w 10000"/>
              <a:gd name="connsiteY192" fmla="*/ 7355 h 10000"/>
              <a:gd name="connsiteX193" fmla="*/ 2850 w 10000"/>
              <a:gd name="connsiteY193" fmla="*/ 7314 h 10000"/>
              <a:gd name="connsiteX194" fmla="*/ 1036 w 10000"/>
              <a:gd name="connsiteY194" fmla="*/ 6612 h 10000"/>
              <a:gd name="connsiteX195" fmla="*/ 829 w 10000"/>
              <a:gd name="connsiteY195" fmla="*/ 6488 h 10000"/>
              <a:gd name="connsiteX196" fmla="*/ 829 w 10000"/>
              <a:gd name="connsiteY196" fmla="*/ 6446 h 10000"/>
              <a:gd name="connsiteX197" fmla="*/ 777 w 10000"/>
              <a:gd name="connsiteY197" fmla="*/ 6446 h 10000"/>
              <a:gd name="connsiteX198" fmla="*/ 725 w 10000"/>
              <a:gd name="connsiteY198" fmla="*/ 6446 h 10000"/>
              <a:gd name="connsiteX199" fmla="*/ 674 w 10000"/>
              <a:gd name="connsiteY199" fmla="*/ 6405 h 10000"/>
              <a:gd name="connsiteX200" fmla="*/ 622 w 10000"/>
              <a:gd name="connsiteY200" fmla="*/ 6405 h 10000"/>
              <a:gd name="connsiteX201" fmla="*/ 570 w 10000"/>
              <a:gd name="connsiteY201" fmla="*/ 6405 h 10000"/>
              <a:gd name="connsiteX202" fmla="*/ 570 w 10000"/>
              <a:gd name="connsiteY202" fmla="*/ 6364 h 10000"/>
              <a:gd name="connsiteX203" fmla="*/ 518 w 10000"/>
              <a:gd name="connsiteY203" fmla="*/ 6364 h 10000"/>
              <a:gd name="connsiteX204" fmla="*/ 466 w 10000"/>
              <a:gd name="connsiteY204" fmla="*/ 6364 h 10000"/>
              <a:gd name="connsiteX205" fmla="*/ 466 w 10000"/>
              <a:gd name="connsiteY205" fmla="*/ 6405 h 10000"/>
              <a:gd name="connsiteX206" fmla="*/ 415 w 10000"/>
              <a:gd name="connsiteY206" fmla="*/ 6405 h 10000"/>
              <a:gd name="connsiteX207" fmla="*/ 363 w 10000"/>
              <a:gd name="connsiteY207" fmla="*/ 6405 h 10000"/>
              <a:gd name="connsiteX208" fmla="*/ 311 w 10000"/>
              <a:gd name="connsiteY208" fmla="*/ 6405 h 10000"/>
              <a:gd name="connsiteX209" fmla="*/ 259 w 10000"/>
              <a:gd name="connsiteY209" fmla="*/ 6405 h 10000"/>
              <a:gd name="connsiteX210" fmla="*/ 207 w 10000"/>
              <a:gd name="connsiteY210" fmla="*/ 6405 h 10000"/>
              <a:gd name="connsiteX211" fmla="*/ 155 w 10000"/>
              <a:gd name="connsiteY211" fmla="*/ 6405 h 10000"/>
              <a:gd name="connsiteX212" fmla="*/ 104 w 10000"/>
              <a:gd name="connsiteY212" fmla="*/ 6405 h 10000"/>
              <a:gd name="connsiteX213" fmla="*/ 52 w 10000"/>
              <a:gd name="connsiteY213" fmla="*/ 6405 h 10000"/>
              <a:gd name="connsiteX214" fmla="*/ 0 w 10000"/>
              <a:gd name="connsiteY214" fmla="*/ 6405 h 10000"/>
              <a:gd name="connsiteX215" fmla="*/ 52 w 10000"/>
              <a:gd name="connsiteY215" fmla="*/ 5826 h 10000"/>
              <a:gd name="connsiteX216" fmla="*/ 207 w 10000"/>
              <a:gd name="connsiteY216" fmla="*/ 5909 h 10000"/>
              <a:gd name="connsiteX217" fmla="*/ 415 w 10000"/>
              <a:gd name="connsiteY217" fmla="*/ 5826 h 10000"/>
              <a:gd name="connsiteX218" fmla="*/ 1503 w 10000"/>
              <a:gd name="connsiteY218" fmla="*/ 5826 h 10000"/>
              <a:gd name="connsiteX219" fmla="*/ 1658 w 10000"/>
              <a:gd name="connsiteY219" fmla="*/ 5785 h 10000"/>
              <a:gd name="connsiteX220" fmla="*/ 1710 w 10000"/>
              <a:gd name="connsiteY220" fmla="*/ 5785 h 10000"/>
              <a:gd name="connsiteX221" fmla="*/ 2228 w 10000"/>
              <a:gd name="connsiteY221" fmla="*/ 5248 h 10000"/>
              <a:gd name="connsiteX222" fmla="*/ 2332 w 10000"/>
              <a:gd name="connsiteY222" fmla="*/ 5165 h 10000"/>
              <a:gd name="connsiteX223" fmla="*/ 2798 w 10000"/>
              <a:gd name="connsiteY223" fmla="*/ 4752 h 10000"/>
              <a:gd name="connsiteX224" fmla="*/ 3057 w 10000"/>
              <a:gd name="connsiteY224" fmla="*/ 4504 h 10000"/>
              <a:gd name="connsiteX225" fmla="*/ 3212 w 10000"/>
              <a:gd name="connsiteY225" fmla="*/ 4380 h 10000"/>
              <a:gd name="connsiteX226" fmla="*/ 3627 w 10000"/>
              <a:gd name="connsiteY226" fmla="*/ 3760 h 10000"/>
              <a:gd name="connsiteX227" fmla="*/ 4145 w 10000"/>
              <a:gd name="connsiteY227" fmla="*/ 3512 h 10000"/>
              <a:gd name="connsiteX228" fmla="*/ 5026 w 10000"/>
              <a:gd name="connsiteY228" fmla="*/ 2810 h 10000"/>
              <a:gd name="connsiteX229" fmla="*/ 4870 w 10000"/>
              <a:gd name="connsiteY229" fmla="*/ 2562 h 10000"/>
              <a:gd name="connsiteX230" fmla="*/ 4819 w 10000"/>
              <a:gd name="connsiteY230" fmla="*/ 2397 h 10000"/>
              <a:gd name="connsiteX231" fmla="*/ 4819 w 10000"/>
              <a:gd name="connsiteY231" fmla="*/ 1240 h 10000"/>
              <a:gd name="connsiteX232" fmla="*/ 4145 w 10000"/>
              <a:gd name="connsiteY232" fmla="*/ 744 h 10000"/>
              <a:gd name="connsiteX233" fmla="*/ 4974 w 10000"/>
              <a:gd name="connsiteY233" fmla="*/ 744 h 10000"/>
              <a:gd name="connsiteX234" fmla="*/ 5803 w 10000"/>
              <a:gd name="connsiteY234" fmla="*/ 744 h 10000"/>
              <a:gd name="connsiteX235" fmla="*/ 5803 w 10000"/>
              <a:gd name="connsiteY235" fmla="*/ 702 h 10000"/>
              <a:gd name="connsiteX236" fmla="*/ 5803 w 10000"/>
              <a:gd name="connsiteY236" fmla="*/ 661 h 10000"/>
              <a:gd name="connsiteX237" fmla="*/ 5803 w 10000"/>
              <a:gd name="connsiteY237" fmla="*/ 620 h 10000"/>
              <a:gd name="connsiteX238" fmla="*/ 5803 w 10000"/>
              <a:gd name="connsiteY238" fmla="*/ 579 h 10000"/>
              <a:gd name="connsiteX239" fmla="*/ 5855 w 10000"/>
              <a:gd name="connsiteY239" fmla="*/ 537 h 10000"/>
              <a:gd name="connsiteX240" fmla="*/ 5855 w 10000"/>
              <a:gd name="connsiteY240" fmla="*/ 496 h 10000"/>
              <a:gd name="connsiteX241" fmla="*/ 5855 w 10000"/>
              <a:gd name="connsiteY241" fmla="*/ 455 h 10000"/>
              <a:gd name="connsiteX242" fmla="*/ 5855 w 10000"/>
              <a:gd name="connsiteY242" fmla="*/ 413 h 10000"/>
              <a:gd name="connsiteX243" fmla="*/ 5855 w 10000"/>
              <a:gd name="connsiteY243" fmla="*/ 372 h 10000"/>
              <a:gd name="connsiteX244" fmla="*/ 5855 w 10000"/>
              <a:gd name="connsiteY244" fmla="*/ 331 h 10000"/>
              <a:gd name="connsiteX245" fmla="*/ 5803 w 10000"/>
              <a:gd name="connsiteY245" fmla="*/ 331 h 10000"/>
              <a:gd name="connsiteX246" fmla="*/ 5803 w 10000"/>
              <a:gd name="connsiteY246" fmla="*/ 289 h 10000"/>
              <a:gd name="connsiteX247" fmla="*/ 5803 w 10000"/>
              <a:gd name="connsiteY247" fmla="*/ 248 h 10000"/>
              <a:gd name="connsiteX248" fmla="*/ 5803 w 10000"/>
              <a:gd name="connsiteY248" fmla="*/ 207 h 10000"/>
              <a:gd name="connsiteX249" fmla="*/ 5803 w 10000"/>
              <a:gd name="connsiteY249" fmla="*/ 165 h 10000"/>
              <a:gd name="connsiteX250" fmla="*/ 5803 w 10000"/>
              <a:gd name="connsiteY250" fmla="*/ 124 h 10000"/>
              <a:gd name="connsiteX251" fmla="*/ 5803 w 10000"/>
              <a:gd name="connsiteY251" fmla="*/ 83 h 10000"/>
              <a:gd name="connsiteX252" fmla="*/ 5803 w 10000"/>
              <a:gd name="connsiteY252" fmla="*/ 41 h 10000"/>
              <a:gd name="connsiteX253" fmla="*/ 5803 w 10000"/>
              <a:gd name="connsiteY25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4456 w 10000"/>
              <a:gd name="connsiteY181" fmla="*/ 7727 h 10000"/>
              <a:gd name="connsiteX182" fmla="*/ 3886 w 10000"/>
              <a:gd name="connsiteY182" fmla="*/ 7975 h 10000"/>
              <a:gd name="connsiteX183" fmla="*/ 3472 w 10000"/>
              <a:gd name="connsiteY183" fmla="*/ 8161 h 10000"/>
              <a:gd name="connsiteX184" fmla="*/ 3420 w 10000"/>
              <a:gd name="connsiteY184" fmla="*/ 8140 h 10000"/>
              <a:gd name="connsiteX185" fmla="*/ 3264 w 10000"/>
              <a:gd name="connsiteY185" fmla="*/ 8058 h 10000"/>
              <a:gd name="connsiteX186" fmla="*/ 3161 w 10000"/>
              <a:gd name="connsiteY186" fmla="*/ 7893 h 10000"/>
              <a:gd name="connsiteX187" fmla="*/ 3109 w 10000"/>
              <a:gd name="connsiteY187" fmla="*/ 7851 h 10000"/>
              <a:gd name="connsiteX188" fmla="*/ 3057 w 10000"/>
              <a:gd name="connsiteY188" fmla="*/ 7769 h 10000"/>
              <a:gd name="connsiteX189" fmla="*/ 3005 w 10000"/>
              <a:gd name="connsiteY189" fmla="*/ 7686 h 10000"/>
              <a:gd name="connsiteX190" fmla="*/ 3005 w 10000"/>
              <a:gd name="connsiteY190" fmla="*/ 7562 h 10000"/>
              <a:gd name="connsiteX191" fmla="*/ 2902 w 10000"/>
              <a:gd name="connsiteY191" fmla="*/ 7355 h 10000"/>
              <a:gd name="connsiteX192" fmla="*/ 2850 w 10000"/>
              <a:gd name="connsiteY192" fmla="*/ 7314 h 10000"/>
              <a:gd name="connsiteX193" fmla="*/ 1036 w 10000"/>
              <a:gd name="connsiteY193" fmla="*/ 6612 h 10000"/>
              <a:gd name="connsiteX194" fmla="*/ 829 w 10000"/>
              <a:gd name="connsiteY194" fmla="*/ 6488 h 10000"/>
              <a:gd name="connsiteX195" fmla="*/ 829 w 10000"/>
              <a:gd name="connsiteY195" fmla="*/ 6446 h 10000"/>
              <a:gd name="connsiteX196" fmla="*/ 777 w 10000"/>
              <a:gd name="connsiteY196" fmla="*/ 6446 h 10000"/>
              <a:gd name="connsiteX197" fmla="*/ 725 w 10000"/>
              <a:gd name="connsiteY197" fmla="*/ 6446 h 10000"/>
              <a:gd name="connsiteX198" fmla="*/ 674 w 10000"/>
              <a:gd name="connsiteY198" fmla="*/ 6405 h 10000"/>
              <a:gd name="connsiteX199" fmla="*/ 622 w 10000"/>
              <a:gd name="connsiteY199" fmla="*/ 6405 h 10000"/>
              <a:gd name="connsiteX200" fmla="*/ 570 w 10000"/>
              <a:gd name="connsiteY200" fmla="*/ 6405 h 10000"/>
              <a:gd name="connsiteX201" fmla="*/ 570 w 10000"/>
              <a:gd name="connsiteY201" fmla="*/ 6364 h 10000"/>
              <a:gd name="connsiteX202" fmla="*/ 518 w 10000"/>
              <a:gd name="connsiteY202" fmla="*/ 6364 h 10000"/>
              <a:gd name="connsiteX203" fmla="*/ 466 w 10000"/>
              <a:gd name="connsiteY203" fmla="*/ 6364 h 10000"/>
              <a:gd name="connsiteX204" fmla="*/ 466 w 10000"/>
              <a:gd name="connsiteY204" fmla="*/ 6405 h 10000"/>
              <a:gd name="connsiteX205" fmla="*/ 415 w 10000"/>
              <a:gd name="connsiteY205" fmla="*/ 6405 h 10000"/>
              <a:gd name="connsiteX206" fmla="*/ 363 w 10000"/>
              <a:gd name="connsiteY206" fmla="*/ 6405 h 10000"/>
              <a:gd name="connsiteX207" fmla="*/ 311 w 10000"/>
              <a:gd name="connsiteY207" fmla="*/ 6405 h 10000"/>
              <a:gd name="connsiteX208" fmla="*/ 259 w 10000"/>
              <a:gd name="connsiteY208" fmla="*/ 6405 h 10000"/>
              <a:gd name="connsiteX209" fmla="*/ 207 w 10000"/>
              <a:gd name="connsiteY209" fmla="*/ 6405 h 10000"/>
              <a:gd name="connsiteX210" fmla="*/ 155 w 10000"/>
              <a:gd name="connsiteY210" fmla="*/ 6405 h 10000"/>
              <a:gd name="connsiteX211" fmla="*/ 104 w 10000"/>
              <a:gd name="connsiteY211" fmla="*/ 6405 h 10000"/>
              <a:gd name="connsiteX212" fmla="*/ 52 w 10000"/>
              <a:gd name="connsiteY212" fmla="*/ 6405 h 10000"/>
              <a:gd name="connsiteX213" fmla="*/ 0 w 10000"/>
              <a:gd name="connsiteY213" fmla="*/ 6405 h 10000"/>
              <a:gd name="connsiteX214" fmla="*/ 52 w 10000"/>
              <a:gd name="connsiteY214" fmla="*/ 5826 h 10000"/>
              <a:gd name="connsiteX215" fmla="*/ 207 w 10000"/>
              <a:gd name="connsiteY215" fmla="*/ 5909 h 10000"/>
              <a:gd name="connsiteX216" fmla="*/ 415 w 10000"/>
              <a:gd name="connsiteY216" fmla="*/ 5826 h 10000"/>
              <a:gd name="connsiteX217" fmla="*/ 1503 w 10000"/>
              <a:gd name="connsiteY217" fmla="*/ 5826 h 10000"/>
              <a:gd name="connsiteX218" fmla="*/ 1658 w 10000"/>
              <a:gd name="connsiteY218" fmla="*/ 5785 h 10000"/>
              <a:gd name="connsiteX219" fmla="*/ 1710 w 10000"/>
              <a:gd name="connsiteY219" fmla="*/ 5785 h 10000"/>
              <a:gd name="connsiteX220" fmla="*/ 2228 w 10000"/>
              <a:gd name="connsiteY220" fmla="*/ 5248 h 10000"/>
              <a:gd name="connsiteX221" fmla="*/ 2332 w 10000"/>
              <a:gd name="connsiteY221" fmla="*/ 5165 h 10000"/>
              <a:gd name="connsiteX222" fmla="*/ 2798 w 10000"/>
              <a:gd name="connsiteY222" fmla="*/ 4752 h 10000"/>
              <a:gd name="connsiteX223" fmla="*/ 3057 w 10000"/>
              <a:gd name="connsiteY223" fmla="*/ 4504 h 10000"/>
              <a:gd name="connsiteX224" fmla="*/ 3212 w 10000"/>
              <a:gd name="connsiteY224" fmla="*/ 4380 h 10000"/>
              <a:gd name="connsiteX225" fmla="*/ 3627 w 10000"/>
              <a:gd name="connsiteY225" fmla="*/ 3760 h 10000"/>
              <a:gd name="connsiteX226" fmla="*/ 4145 w 10000"/>
              <a:gd name="connsiteY226" fmla="*/ 3512 h 10000"/>
              <a:gd name="connsiteX227" fmla="*/ 5026 w 10000"/>
              <a:gd name="connsiteY227" fmla="*/ 2810 h 10000"/>
              <a:gd name="connsiteX228" fmla="*/ 4870 w 10000"/>
              <a:gd name="connsiteY228" fmla="*/ 2562 h 10000"/>
              <a:gd name="connsiteX229" fmla="*/ 4819 w 10000"/>
              <a:gd name="connsiteY229" fmla="*/ 2397 h 10000"/>
              <a:gd name="connsiteX230" fmla="*/ 4819 w 10000"/>
              <a:gd name="connsiteY230" fmla="*/ 1240 h 10000"/>
              <a:gd name="connsiteX231" fmla="*/ 4145 w 10000"/>
              <a:gd name="connsiteY231" fmla="*/ 744 h 10000"/>
              <a:gd name="connsiteX232" fmla="*/ 4974 w 10000"/>
              <a:gd name="connsiteY232" fmla="*/ 744 h 10000"/>
              <a:gd name="connsiteX233" fmla="*/ 5803 w 10000"/>
              <a:gd name="connsiteY233" fmla="*/ 744 h 10000"/>
              <a:gd name="connsiteX234" fmla="*/ 5803 w 10000"/>
              <a:gd name="connsiteY234" fmla="*/ 702 h 10000"/>
              <a:gd name="connsiteX235" fmla="*/ 5803 w 10000"/>
              <a:gd name="connsiteY235" fmla="*/ 661 h 10000"/>
              <a:gd name="connsiteX236" fmla="*/ 5803 w 10000"/>
              <a:gd name="connsiteY236" fmla="*/ 620 h 10000"/>
              <a:gd name="connsiteX237" fmla="*/ 5803 w 10000"/>
              <a:gd name="connsiteY237" fmla="*/ 579 h 10000"/>
              <a:gd name="connsiteX238" fmla="*/ 5855 w 10000"/>
              <a:gd name="connsiteY238" fmla="*/ 537 h 10000"/>
              <a:gd name="connsiteX239" fmla="*/ 5855 w 10000"/>
              <a:gd name="connsiteY239" fmla="*/ 496 h 10000"/>
              <a:gd name="connsiteX240" fmla="*/ 5855 w 10000"/>
              <a:gd name="connsiteY240" fmla="*/ 455 h 10000"/>
              <a:gd name="connsiteX241" fmla="*/ 5855 w 10000"/>
              <a:gd name="connsiteY241" fmla="*/ 413 h 10000"/>
              <a:gd name="connsiteX242" fmla="*/ 5855 w 10000"/>
              <a:gd name="connsiteY242" fmla="*/ 372 h 10000"/>
              <a:gd name="connsiteX243" fmla="*/ 5855 w 10000"/>
              <a:gd name="connsiteY243" fmla="*/ 331 h 10000"/>
              <a:gd name="connsiteX244" fmla="*/ 5803 w 10000"/>
              <a:gd name="connsiteY244" fmla="*/ 331 h 10000"/>
              <a:gd name="connsiteX245" fmla="*/ 5803 w 10000"/>
              <a:gd name="connsiteY245" fmla="*/ 289 h 10000"/>
              <a:gd name="connsiteX246" fmla="*/ 5803 w 10000"/>
              <a:gd name="connsiteY246" fmla="*/ 248 h 10000"/>
              <a:gd name="connsiteX247" fmla="*/ 5803 w 10000"/>
              <a:gd name="connsiteY247" fmla="*/ 207 h 10000"/>
              <a:gd name="connsiteX248" fmla="*/ 5803 w 10000"/>
              <a:gd name="connsiteY248" fmla="*/ 165 h 10000"/>
              <a:gd name="connsiteX249" fmla="*/ 5803 w 10000"/>
              <a:gd name="connsiteY249" fmla="*/ 124 h 10000"/>
              <a:gd name="connsiteX250" fmla="*/ 5803 w 10000"/>
              <a:gd name="connsiteY250" fmla="*/ 83 h 10000"/>
              <a:gd name="connsiteX251" fmla="*/ 5803 w 10000"/>
              <a:gd name="connsiteY251" fmla="*/ 41 h 10000"/>
              <a:gd name="connsiteX252" fmla="*/ 5803 w 10000"/>
              <a:gd name="connsiteY25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886 w 10000"/>
              <a:gd name="connsiteY181" fmla="*/ 7975 h 10000"/>
              <a:gd name="connsiteX182" fmla="*/ 3472 w 10000"/>
              <a:gd name="connsiteY182" fmla="*/ 8161 h 10000"/>
              <a:gd name="connsiteX183" fmla="*/ 3420 w 10000"/>
              <a:gd name="connsiteY183" fmla="*/ 8140 h 10000"/>
              <a:gd name="connsiteX184" fmla="*/ 3264 w 10000"/>
              <a:gd name="connsiteY184" fmla="*/ 8058 h 10000"/>
              <a:gd name="connsiteX185" fmla="*/ 3161 w 10000"/>
              <a:gd name="connsiteY185" fmla="*/ 7893 h 10000"/>
              <a:gd name="connsiteX186" fmla="*/ 3109 w 10000"/>
              <a:gd name="connsiteY186" fmla="*/ 7851 h 10000"/>
              <a:gd name="connsiteX187" fmla="*/ 3057 w 10000"/>
              <a:gd name="connsiteY187" fmla="*/ 7769 h 10000"/>
              <a:gd name="connsiteX188" fmla="*/ 3005 w 10000"/>
              <a:gd name="connsiteY188" fmla="*/ 7686 h 10000"/>
              <a:gd name="connsiteX189" fmla="*/ 3005 w 10000"/>
              <a:gd name="connsiteY189" fmla="*/ 7562 h 10000"/>
              <a:gd name="connsiteX190" fmla="*/ 2902 w 10000"/>
              <a:gd name="connsiteY190" fmla="*/ 7355 h 10000"/>
              <a:gd name="connsiteX191" fmla="*/ 2850 w 10000"/>
              <a:gd name="connsiteY191" fmla="*/ 7314 h 10000"/>
              <a:gd name="connsiteX192" fmla="*/ 1036 w 10000"/>
              <a:gd name="connsiteY192" fmla="*/ 6612 h 10000"/>
              <a:gd name="connsiteX193" fmla="*/ 829 w 10000"/>
              <a:gd name="connsiteY193" fmla="*/ 6488 h 10000"/>
              <a:gd name="connsiteX194" fmla="*/ 829 w 10000"/>
              <a:gd name="connsiteY194" fmla="*/ 6446 h 10000"/>
              <a:gd name="connsiteX195" fmla="*/ 777 w 10000"/>
              <a:gd name="connsiteY195" fmla="*/ 6446 h 10000"/>
              <a:gd name="connsiteX196" fmla="*/ 725 w 10000"/>
              <a:gd name="connsiteY196" fmla="*/ 6446 h 10000"/>
              <a:gd name="connsiteX197" fmla="*/ 674 w 10000"/>
              <a:gd name="connsiteY197" fmla="*/ 6405 h 10000"/>
              <a:gd name="connsiteX198" fmla="*/ 622 w 10000"/>
              <a:gd name="connsiteY198" fmla="*/ 6405 h 10000"/>
              <a:gd name="connsiteX199" fmla="*/ 570 w 10000"/>
              <a:gd name="connsiteY199" fmla="*/ 6405 h 10000"/>
              <a:gd name="connsiteX200" fmla="*/ 570 w 10000"/>
              <a:gd name="connsiteY200" fmla="*/ 6364 h 10000"/>
              <a:gd name="connsiteX201" fmla="*/ 518 w 10000"/>
              <a:gd name="connsiteY201" fmla="*/ 6364 h 10000"/>
              <a:gd name="connsiteX202" fmla="*/ 466 w 10000"/>
              <a:gd name="connsiteY202" fmla="*/ 6364 h 10000"/>
              <a:gd name="connsiteX203" fmla="*/ 466 w 10000"/>
              <a:gd name="connsiteY203" fmla="*/ 6405 h 10000"/>
              <a:gd name="connsiteX204" fmla="*/ 415 w 10000"/>
              <a:gd name="connsiteY204" fmla="*/ 6405 h 10000"/>
              <a:gd name="connsiteX205" fmla="*/ 363 w 10000"/>
              <a:gd name="connsiteY205" fmla="*/ 6405 h 10000"/>
              <a:gd name="connsiteX206" fmla="*/ 311 w 10000"/>
              <a:gd name="connsiteY206" fmla="*/ 6405 h 10000"/>
              <a:gd name="connsiteX207" fmla="*/ 259 w 10000"/>
              <a:gd name="connsiteY207" fmla="*/ 6405 h 10000"/>
              <a:gd name="connsiteX208" fmla="*/ 207 w 10000"/>
              <a:gd name="connsiteY208" fmla="*/ 6405 h 10000"/>
              <a:gd name="connsiteX209" fmla="*/ 155 w 10000"/>
              <a:gd name="connsiteY209" fmla="*/ 6405 h 10000"/>
              <a:gd name="connsiteX210" fmla="*/ 104 w 10000"/>
              <a:gd name="connsiteY210" fmla="*/ 6405 h 10000"/>
              <a:gd name="connsiteX211" fmla="*/ 52 w 10000"/>
              <a:gd name="connsiteY211" fmla="*/ 6405 h 10000"/>
              <a:gd name="connsiteX212" fmla="*/ 0 w 10000"/>
              <a:gd name="connsiteY212" fmla="*/ 6405 h 10000"/>
              <a:gd name="connsiteX213" fmla="*/ 52 w 10000"/>
              <a:gd name="connsiteY213" fmla="*/ 5826 h 10000"/>
              <a:gd name="connsiteX214" fmla="*/ 207 w 10000"/>
              <a:gd name="connsiteY214" fmla="*/ 5909 h 10000"/>
              <a:gd name="connsiteX215" fmla="*/ 415 w 10000"/>
              <a:gd name="connsiteY215" fmla="*/ 5826 h 10000"/>
              <a:gd name="connsiteX216" fmla="*/ 1503 w 10000"/>
              <a:gd name="connsiteY216" fmla="*/ 5826 h 10000"/>
              <a:gd name="connsiteX217" fmla="*/ 1658 w 10000"/>
              <a:gd name="connsiteY217" fmla="*/ 5785 h 10000"/>
              <a:gd name="connsiteX218" fmla="*/ 1710 w 10000"/>
              <a:gd name="connsiteY218" fmla="*/ 5785 h 10000"/>
              <a:gd name="connsiteX219" fmla="*/ 2228 w 10000"/>
              <a:gd name="connsiteY219" fmla="*/ 5248 h 10000"/>
              <a:gd name="connsiteX220" fmla="*/ 2332 w 10000"/>
              <a:gd name="connsiteY220" fmla="*/ 5165 h 10000"/>
              <a:gd name="connsiteX221" fmla="*/ 2798 w 10000"/>
              <a:gd name="connsiteY221" fmla="*/ 4752 h 10000"/>
              <a:gd name="connsiteX222" fmla="*/ 3057 w 10000"/>
              <a:gd name="connsiteY222" fmla="*/ 4504 h 10000"/>
              <a:gd name="connsiteX223" fmla="*/ 3212 w 10000"/>
              <a:gd name="connsiteY223" fmla="*/ 4380 h 10000"/>
              <a:gd name="connsiteX224" fmla="*/ 3627 w 10000"/>
              <a:gd name="connsiteY224" fmla="*/ 3760 h 10000"/>
              <a:gd name="connsiteX225" fmla="*/ 4145 w 10000"/>
              <a:gd name="connsiteY225" fmla="*/ 3512 h 10000"/>
              <a:gd name="connsiteX226" fmla="*/ 5026 w 10000"/>
              <a:gd name="connsiteY226" fmla="*/ 2810 h 10000"/>
              <a:gd name="connsiteX227" fmla="*/ 4870 w 10000"/>
              <a:gd name="connsiteY227" fmla="*/ 2562 h 10000"/>
              <a:gd name="connsiteX228" fmla="*/ 4819 w 10000"/>
              <a:gd name="connsiteY228" fmla="*/ 2397 h 10000"/>
              <a:gd name="connsiteX229" fmla="*/ 4819 w 10000"/>
              <a:gd name="connsiteY229" fmla="*/ 1240 h 10000"/>
              <a:gd name="connsiteX230" fmla="*/ 4145 w 10000"/>
              <a:gd name="connsiteY230" fmla="*/ 744 h 10000"/>
              <a:gd name="connsiteX231" fmla="*/ 4974 w 10000"/>
              <a:gd name="connsiteY231" fmla="*/ 744 h 10000"/>
              <a:gd name="connsiteX232" fmla="*/ 5803 w 10000"/>
              <a:gd name="connsiteY232" fmla="*/ 744 h 10000"/>
              <a:gd name="connsiteX233" fmla="*/ 5803 w 10000"/>
              <a:gd name="connsiteY233" fmla="*/ 702 h 10000"/>
              <a:gd name="connsiteX234" fmla="*/ 5803 w 10000"/>
              <a:gd name="connsiteY234" fmla="*/ 661 h 10000"/>
              <a:gd name="connsiteX235" fmla="*/ 5803 w 10000"/>
              <a:gd name="connsiteY235" fmla="*/ 620 h 10000"/>
              <a:gd name="connsiteX236" fmla="*/ 5803 w 10000"/>
              <a:gd name="connsiteY236" fmla="*/ 579 h 10000"/>
              <a:gd name="connsiteX237" fmla="*/ 5855 w 10000"/>
              <a:gd name="connsiteY237" fmla="*/ 537 h 10000"/>
              <a:gd name="connsiteX238" fmla="*/ 5855 w 10000"/>
              <a:gd name="connsiteY238" fmla="*/ 496 h 10000"/>
              <a:gd name="connsiteX239" fmla="*/ 5855 w 10000"/>
              <a:gd name="connsiteY239" fmla="*/ 455 h 10000"/>
              <a:gd name="connsiteX240" fmla="*/ 5855 w 10000"/>
              <a:gd name="connsiteY240" fmla="*/ 413 h 10000"/>
              <a:gd name="connsiteX241" fmla="*/ 5855 w 10000"/>
              <a:gd name="connsiteY241" fmla="*/ 372 h 10000"/>
              <a:gd name="connsiteX242" fmla="*/ 5855 w 10000"/>
              <a:gd name="connsiteY242" fmla="*/ 331 h 10000"/>
              <a:gd name="connsiteX243" fmla="*/ 5803 w 10000"/>
              <a:gd name="connsiteY243" fmla="*/ 331 h 10000"/>
              <a:gd name="connsiteX244" fmla="*/ 5803 w 10000"/>
              <a:gd name="connsiteY244" fmla="*/ 289 h 10000"/>
              <a:gd name="connsiteX245" fmla="*/ 5803 w 10000"/>
              <a:gd name="connsiteY245" fmla="*/ 248 h 10000"/>
              <a:gd name="connsiteX246" fmla="*/ 5803 w 10000"/>
              <a:gd name="connsiteY246" fmla="*/ 207 h 10000"/>
              <a:gd name="connsiteX247" fmla="*/ 5803 w 10000"/>
              <a:gd name="connsiteY247" fmla="*/ 165 h 10000"/>
              <a:gd name="connsiteX248" fmla="*/ 5803 w 10000"/>
              <a:gd name="connsiteY248" fmla="*/ 124 h 10000"/>
              <a:gd name="connsiteX249" fmla="*/ 5803 w 10000"/>
              <a:gd name="connsiteY249" fmla="*/ 83 h 10000"/>
              <a:gd name="connsiteX250" fmla="*/ 5803 w 10000"/>
              <a:gd name="connsiteY250" fmla="*/ 41 h 10000"/>
              <a:gd name="connsiteX251" fmla="*/ 5803 w 10000"/>
              <a:gd name="connsiteY25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472 w 10000"/>
              <a:gd name="connsiteY181" fmla="*/ 8161 h 10000"/>
              <a:gd name="connsiteX182" fmla="*/ 3420 w 10000"/>
              <a:gd name="connsiteY182" fmla="*/ 8140 h 10000"/>
              <a:gd name="connsiteX183" fmla="*/ 3264 w 10000"/>
              <a:gd name="connsiteY183" fmla="*/ 8058 h 10000"/>
              <a:gd name="connsiteX184" fmla="*/ 3161 w 10000"/>
              <a:gd name="connsiteY184" fmla="*/ 7893 h 10000"/>
              <a:gd name="connsiteX185" fmla="*/ 3109 w 10000"/>
              <a:gd name="connsiteY185" fmla="*/ 7851 h 10000"/>
              <a:gd name="connsiteX186" fmla="*/ 3057 w 10000"/>
              <a:gd name="connsiteY186" fmla="*/ 7769 h 10000"/>
              <a:gd name="connsiteX187" fmla="*/ 3005 w 10000"/>
              <a:gd name="connsiteY187" fmla="*/ 7686 h 10000"/>
              <a:gd name="connsiteX188" fmla="*/ 3005 w 10000"/>
              <a:gd name="connsiteY188" fmla="*/ 7562 h 10000"/>
              <a:gd name="connsiteX189" fmla="*/ 2902 w 10000"/>
              <a:gd name="connsiteY189" fmla="*/ 7355 h 10000"/>
              <a:gd name="connsiteX190" fmla="*/ 2850 w 10000"/>
              <a:gd name="connsiteY190" fmla="*/ 7314 h 10000"/>
              <a:gd name="connsiteX191" fmla="*/ 1036 w 10000"/>
              <a:gd name="connsiteY191" fmla="*/ 6612 h 10000"/>
              <a:gd name="connsiteX192" fmla="*/ 829 w 10000"/>
              <a:gd name="connsiteY192" fmla="*/ 6488 h 10000"/>
              <a:gd name="connsiteX193" fmla="*/ 829 w 10000"/>
              <a:gd name="connsiteY193" fmla="*/ 6446 h 10000"/>
              <a:gd name="connsiteX194" fmla="*/ 777 w 10000"/>
              <a:gd name="connsiteY194" fmla="*/ 6446 h 10000"/>
              <a:gd name="connsiteX195" fmla="*/ 725 w 10000"/>
              <a:gd name="connsiteY195" fmla="*/ 6446 h 10000"/>
              <a:gd name="connsiteX196" fmla="*/ 674 w 10000"/>
              <a:gd name="connsiteY196" fmla="*/ 6405 h 10000"/>
              <a:gd name="connsiteX197" fmla="*/ 622 w 10000"/>
              <a:gd name="connsiteY197" fmla="*/ 6405 h 10000"/>
              <a:gd name="connsiteX198" fmla="*/ 570 w 10000"/>
              <a:gd name="connsiteY198" fmla="*/ 6405 h 10000"/>
              <a:gd name="connsiteX199" fmla="*/ 570 w 10000"/>
              <a:gd name="connsiteY199" fmla="*/ 6364 h 10000"/>
              <a:gd name="connsiteX200" fmla="*/ 518 w 10000"/>
              <a:gd name="connsiteY200" fmla="*/ 6364 h 10000"/>
              <a:gd name="connsiteX201" fmla="*/ 466 w 10000"/>
              <a:gd name="connsiteY201" fmla="*/ 6364 h 10000"/>
              <a:gd name="connsiteX202" fmla="*/ 466 w 10000"/>
              <a:gd name="connsiteY202" fmla="*/ 6405 h 10000"/>
              <a:gd name="connsiteX203" fmla="*/ 415 w 10000"/>
              <a:gd name="connsiteY203" fmla="*/ 6405 h 10000"/>
              <a:gd name="connsiteX204" fmla="*/ 363 w 10000"/>
              <a:gd name="connsiteY204" fmla="*/ 6405 h 10000"/>
              <a:gd name="connsiteX205" fmla="*/ 311 w 10000"/>
              <a:gd name="connsiteY205" fmla="*/ 6405 h 10000"/>
              <a:gd name="connsiteX206" fmla="*/ 259 w 10000"/>
              <a:gd name="connsiteY206" fmla="*/ 6405 h 10000"/>
              <a:gd name="connsiteX207" fmla="*/ 207 w 10000"/>
              <a:gd name="connsiteY207" fmla="*/ 6405 h 10000"/>
              <a:gd name="connsiteX208" fmla="*/ 155 w 10000"/>
              <a:gd name="connsiteY208" fmla="*/ 6405 h 10000"/>
              <a:gd name="connsiteX209" fmla="*/ 104 w 10000"/>
              <a:gd name="connsiteY209" fmla="*/ 6405 h 10000"/>
              <a:gd name="connsiteX210" fmla="*/ 52 w 10000"/>
              <a:gd name="connsiteY210" fmla="*/ 6405 h 10000"/>
              <a:gd name="connsiteX211" fmla="*/ 0 w 10000"/>
              <a:gd name="connsiteY211" fmla="*/ 6405 h 10000"/>
              <a:gd name="connsiteX212" fmla="*/ 52 w 10000"/>
              <a:gd name="connsiteY212" fmla="*/ 5826 h 10000"/>
              <a:gd name="connsiteX213" fmla="*/ 207 w 10000"/>
              <a:gd name="connsiteY213" fmla="*/ 5909 h 10000"/>
              <a:gd name="connsiteX214" fmla="*/ 415 w 10000"/>
              <a:gd name="connsiteY214" fmla="*/ 5826 h 10000"/>
              <a:gd name="connsiteX215" fmla="*/ 1503 w 10000"/>
              <a:gd name="connsiteY215" fmla="*/ 5826 h 10000"/>
              <a:gd name="connsiteX216" fmla="*/ 1658 w 10000"/>
              <a:gd name="connsiteY216" fmla="*/ 5785 h 10000"/>
              <a:gd name="connsiteX217" fmla="*/ 1710 w 10000"/>
              <a:gd name="connsiteY217" fmla="*/ 5785 h 10000"/>
              <a:gd name="connsiteX218" fmla="*/ 2228 w 10000"/>
              <a:gd name="connsiteY218" fmla="*/ 5248 h 10000"/>
              <a:gd name="connsiteX219" fmla="*/ 2332 w 10000"/>
              <a:gd name="connsiteY219" fmla="*/ 5165 h 10000"/>
              <a:gd name="connsiteX220" fmla="*/ 2798 w 10000"/>
              <a:gd name="connsiteY220" fmla="*/ 4752 h 10000"/>
              <a:gd name="connsiteX221" fmla="*/ 3057 w 10000"/>
              <a:gd name="connsiteY221" fmla="*/ 4504 h 10000"/>
              <a:gd name="connsiteX222" fmla="*/ 3212 w 10000"/>
              <a:gd name="connsiteY222" fmla="*/ 4380 h 10000"/>
              <a:gd name="connsiteX223" fmla="*/ 3627 w 10000"/>
              <a:gd name="connsiteY223" fmla="*/ 3760 h 10000"/>
              <a:gd name="connsiteX224" fmla="*/ 4145 w 10000"/>
              <a:gd name="connsiteY224" fmla="*/ 3512 h 10000"/>
              <a:gd name="connsiteX225" fmla="*/ 5026 w 10000"/>
              <a:gd name="connsiteY225" fmla="*/ 2810 h 10000"/>
              <a:gd name="connsiteX226" fmla="*/ 4870 w 10000"/>
              <a:gd name="connsiteY226" fmla="*/ 2562 h 10000"/>
              <a:gd name="connsiteX227" fmla="*/ 4819 w 10000"/>
              <a:gd name="connsiteY227" fmla="*/ 2397 h 10000"/>
              <a:gd name="connsiteX228" fmla="*/ 4819 w 10000"/>
              <a:gd name="connsiteY228" fmla="*/ 1240 h 10000"/>
              <a:gd name="connsiteX229" fmla="*/ 4145 w 10000"/>
              <a:gd name="connsiteY229" fmla="*/ 744 h 10000"/>
              <a:gd name="connsiteX230" fmla="*/ 4974 w 10000"/>
              <a:gd name="connsiteY230" fmla="*/ 744 h 10000"/>
              <a:gd name="connsiteX231" fmla="*/ 5803 w 10000"/>
              <a:gd name="connsiteY231" fmla="*/ 744 h 10000"/>
              <a:gd name="connsiteX232" fmla="*/ 5803 w 10000"/>
              <a:gd name="connsiteY232" fmla="*/ 702 h 10000"/>
              <a:gd name="connsiteX233" fmla="*/ 5803 w 10000"/>
              <a:gd name="connsiteY233" fmla="*/ 661 h 10000"/>
              <a:gd name="connsiteX234" fmla="*/ 5803 w 10000"/>
              <a:gd name="connsiteY234" fmla="*/ 620 h 10000"/>
              <a:gd name="connsiteX235" fmla="*/ 5803 w 10000"/>
              <a:gd name="connsiteY235" fmla="*/ 579 h 10000"/>
              <a:gd name="connsiteX236" fmla="*/ 5855 w 10000"/>
              <a:gd name="connsiteY236" fmla="*/ 537 h 10000"/>
              <a:gd name="connsiteX237" fmla="*/ 5855 w 10000"/>
              <a:gd name="connsiteY237" fmla="*/ 496 h 10000"/>
              <a:gd name="connsiteX238" fmla="*/ 5855 w 10000"/>
              <a:gd name="connsiteY238" fmla="*/ 455 h 10000"/>
              <a:gd name="connsiteX239" fmla="*/ 5855 w 10000"/>
              <a:gd name="connsiteY239" fmla="*/ 413 h 10000"/>
              <a:gd name="connsiteX240" fmla="*/ 5855 w 10000"/>
              <a:gd name="connsiteY240" fmla="*/ 372 h 10000"/>
              <a:gd name="connsiteX241" fmla="*/ 5855 w 10000"/>
              <a:gd name="connsiteY241" fmla="*/ 331 h 10000"/>
              <a:gd name="connsiteX242" fmla="*/ 5803 w 10000"/>
              <a:gd name="connsiteY242" fmla="*/ 331 h 10000"/>
              <a:gd name="connsiteX243" fmla="*/ 5803 w 10000"/>
              <a:gd name="connsiteY243" fmla="*/ 289 h 10000"/>
              <a:gd name="connsiteX244" fmla="*/ 5803 w 10000"/>
              <a:gd name="connsiteY244" fmla="*/ 248 h 10000"/>
              <a:gd name="connsiteX245" fmla="*/ 5803 w 10000"/>
              <a:gd name="connsiteY245" fmla="*/ 207 h 10000"/>
              <a:gd name="connsiteX246" fmla="*/ 5803 w 10000"/>
              <a:gd name="connsiteY246" fmla="*/ 165 h 10000"/>
              <a:gd name="connsiteX247" fmla="*/ 5803 w 10000"/>
              <a:gd name="connsiteY247" fmla="*/ 124 h 10000"/>
              <a:gd name="connsiteX248" fmla="*/ 5803 w 10000"/>
              <a:gd name="connsiteY248" fmla="*/ 83 h 10000"/>
              <a:gd name="connsiteX249" fmla="*/ 5803 w 10000"/>
              <a:gd name="connsiteY249" fmla="*/ 41 h 10000"/>
              <a:gd name="connsiteX250" fmla="*/ 5803 w 10000"/>
              <a:gd name="connsiteY25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420 w 10000"/>
              <a:gd name="connsiteY181" fmla="*/ 8140 h 10000"/>
              <a:gd name="connsiteX182" fmla="*/ 3264 w 10000"/>
              <a:gd name="connsiteY182" fmla="*/ 8058 h 10000"/>
              <a:gd name="connsiteX183" fmla="*/ 3161 w 10000"/>
              <a:gd name="connsiteY183" fmla="*/ 7893 h 10000"/>
              <a:gd name="connsiteX184" fmla="*/ 3109 w 10000"/>
              <a:gd name="connsiteY184" fmla="*/ 7851 h 10000"/>
              <a:gd name="connsiteX185" fmla="*/ 3057 w 10000"/>
              <a:gd name="connsiteY185" fmla="*/ 7769 h 10000"/>
              <a:gd name="connsiteX186" fmla="*/ 3005 w 10000"/>
              <a:gd name="connsiteY186" fmla="*/ 7686 h 10000"/>
              <a:gd name="connsiteX187" fmla="*/ 3005 w 10000"/>
              <a:gd name="connsiteY187" fmla="*/ 7562 h 10000"/>
              <a:gd name="connsiteX188" fmla="*/ 2902 w 10000"/>
              <a:gd name="connsiteY188" fmla="*/ 7355 h 10000"/>
              <a:gd name="connsiteX189" fmla="*/ 2850 w 10000"/>
              <a:gd name="connsiteY189" fmla="*/ 7314 h 10000"/>
              <a:gd name="connsiteX190" fmla="*/ 1036 w 10000"/>
              <a:gd name="connsiteY190" fmla="*/ 6612 h 10000"/>
              <a:gd name="connsiteX191" fmla="*/ 829 w 10000"/>
              <a:gd name="connsiteY191" fmla="*/ 6488 h 10000"/>
              <a:gd name="connsiteX192" fmla="*/ 829 w 10000"/>
              <a:gd name="connsiteY192" fmla="*/ 6446 h 10000"/>
              <a:gd name="connsiteX193" fmla="*/ 777 w 10000"/>
              <a:gd name="connsiteY193" fmla="*/ 6446 h 10000"/>
              <a:gd name="connsiteX194" fmla="*/ 725 w 10000"/>
              <a:gd name="connsiteY194" fmla="*/ 6446 h 10000"/>
              <a:gd name="connsiteX195" fmla="*/ 674 w 10000"/>
              <a:gd name="connsiteY195" fmla="*/ 6405 h 10000"/>
              <a:gd name="connsiteX196" fmla="*/ 622 w 10000"/>
              <a:gd name="connsiteY196" fmla="*/ 6405 h 10000"/>
              <a:gd name="connsiteX197" fmla="*/ 570 w 10000"/>
              <a:gd name="connsiteY197" fmla="*/ 6405 h 10000"/>
              <a:gd name="connsiteX198" fmla="*/ 570 w 10000"/>
              <a:gd name="connsiteY198" fmla="*/ 6364 h 10000"/>
              <a:gd name="connsiteX199" fmla="*/ 518 w 10000"/>
              <a:gd name="connsiteY199" fmla="*/ 6364 h 10000"/>
              <a:gd name="connsiteX200" fmla="*/ 466 w 10000"/>
              <a:gd name="connsiteY200" fmla="*/ 6364 h 10000"/>
              <a:gd name="connsiteX201" fmla="*/ 466 w 10000"/>
              <a:gd name="connsiteY201" fmla="*/ 6405 h 10000"/>
              <a:gd name="connsiteX202" fmla="*/ 415 w 10000"/>
              <a:gd name="connsiteY202" fmla="*/ 6405 h 10000"/>
              <a:gd name="connsiteX203" fmla="*/ 363 w 10000"/>
              <a:gd name="connsiteY203" fmla="*/ 6405 h 10000"/>
              <a:gd name="connsiteX204" fmla="*/ 311 w 10000"/>
              <a:gd name="connsiteY204" fmla="*/ 6405 h 10000"/>
              <a:gd name="connsiteX205" fmla="*/ 259 w 10000"/>
              <a:gd name="connsiteY205" fmla="*/ 6405 h 10000"/>
              <a:gd name="connsiteX206" fmla="*/ 207 w 10000"/>
              <a:gd name="connsiteY206" fmla="*/ 6405 h 10000"/>
              <a:gd name="connsiteX207" fmla="*/ 155 w 10000"/>
              <a:gd name="connsiteY207" fmla="*/ 6405 h 10000"/>
              <a:gd name="connsiteX208" fmla="*/ 104 w 10000"/>
              <a:gd name="connsiteY208" fmla="*/ 6405 h 10000"/>
              <a:gd name="connsiteX209" fmla="*/ 52 w 10000"/>
              <a:gd name="connsiteY209" fmla="*/ 6405 h 10000"/>
              <a:gd name="connsiteX210" fmla="*/ 0 w 10000"/>
              <a:gd name="connsiteY210" fmla="*/ 6405 h 10000"/>
              <a:gd name="connsiteX211" fmla="*/ 52 w 10000"/>
              <a:gd name="connsiteY211" fmla="*/ 5826 h 10000"/>
              <a:gd name="connsiteX212" fmla="*/ 207 w 10000"/>
              <a:gd name="connsiteY212" fmla="*/ 5909 h 10000"/>
              <a:gd name="connsiteX213" fmla="*/ 415 w 10000"/>
              <a:gd name="connsiteY213" fmla="*/ 5826 h 10000"/>
              <a:gd name="connsiteX214" fmla="*/ 1503 w 10000"/>
              <a:gd name="connsiteY214" fmla="*/ 5826 h 10000"/>
              <a:gd name="connsiteX215" fmla="*/ 1658 w 10000"/>
              <a:gd name="connsiteY215" fmla="*/ 5785 h 10000"/>
              <a:gd name="connsiteX216" fmla="*/ 1710 w 10000"/>
              <a:gd name="connsiteY216" fmla="*/ 5785 h 10000"/>
              <a:gd name="connsiteX217" fmla="*/ 2228 w 10000"/>
              <a:gd name="connsiteY217" fmla="*/ 5248 h 10000"/>
              <a:gd name="connsiteX218" fmla="*/ 2332 w 10000"/>
              <a:gd name="connsiteY218" fmla="*/ 5165 h 10000"/>
              <a:gd name="connsiteX219" fmla="*/ 2798 w 10000"/>
              <a:gd name="connsiteY219" fmla="*/ 4752 h 10000"/>
              <a:gd name="connsiteX220" fmla="*/ 3057 w 10000"/>
              <a:gd name="connsiteY220" fmla="*/ 4504 h 10000"/>
              <a:gd name="connsiteX221" fmla="*/ 3212 w 10000"/>
              <a:gd name="connsiteY221" fmla="*/ 4380 h 10000"/>
              <a:gd name="connsiteX222" fmla="*/ 3627 w 10000"/>
              <a:gd name="connsiteY222" fmla="*/ 3760 h 10000"/>
              <a:gd name="connsiteX223" fmla="*/ 4145 w 10000"/>
              <a:gd name="connsiteY223" fmla="*/ 3512 h 10000"/>
              <a:gd name="connsiteX224" fmla="*/ 5026 w 10000"/>
              <a:gd name="connsiteY224" fmla="*/ 2810 h 10000"/>
              <a:gd name="connsiteX225" fmla="*/ 4870 w 10000"/>
              <a:gd name="connsiteY225" fmla="*/ 2562 h 10000"/>
              <a:gd name="connsiteX226" fmla="*/ 4819 w 10000"/>
              <a:gd name="connsiteY226" fmla="*/ 2397 h 10000"/>
              <a:gd name="connsiteX227" fmla="*/ 4819 w 10000"/>
              <a:gd name="connsiteY227" fmla="*/ 1240 h 10000"/>
              <a:gd name="connsiteX228" fmla="*/ 4145 w 10000"/>
              <a:gd name="connsiteY228" fmla="*/ 744 h 10000"/>
              <a:gd name="connsiteX229" fmla="*/ 4974 w 10000"/>
              <a:gd name="connsiteY229" fmla="*/ 744 h 10000"/>
              <a:gd name="connsiteX230" fmla="*/ 5803 w 10000"/>
              <a:gd name="connsiteY230" fmla="*/ 744 h 10000"/>
              <a:gd name="connsiteX231" fmla="*/ 5803 w 10000"/>
              <a:gd name="connsiteY231" fmla="*/ 702 h 10000"/>
              <a:gd name="connsiteX232" fmla="*/ 5803 w 10000"/>
              <a:gd name="connsiteY232" fmla="*/ 661 h 10000"/>
              <a:gd name="connsiteX233" fmla="*/ 5803 w 10000"/>
              <a:gd name="connsiteY233" fmla="*/ 620 h 10000"/>
              <a:gd name="connsiteX234" fmla="*/ 5803 w 10000"/>
              <a:gd name="connsiteY234" fmla="*/ 579 h 10000"/>
              <a:gd name="connsiteX235" fmla="*/ 5855 w 10000"/>
              <a:gd name="connsiteY235" fmla="*/ 537 h 10000"/>
              <a:gd name="connsiteX236" fmla="*/ 5855 w 10000"/>
              <a:gd name="connsiteY236" fmla="*/ 496 h 10000"/>
              <a:gd name="connsiteX237" fmla="*/ 5855 w 10000"/>
              <a:gd name="connsiteY237" fmla="*/ 455 h 10000"/>
              <a:gd name="connsiteX238" fmla="*/ 5855 w 10000"/>
              <a:gd name="connsiteY238" fmla="*/ 413 h 10000"/>
              <a:gd name="connsiteX239" fmla="*/ 5855 w 10000"/>
              <a:gd name="connsiteY239" fmla="*/ 372 h 10000"/>
              <a:gd name="connsiteX240" fmla="*/ 5855 w 10000"/>
              <a:gd name="connsiteY240" fmla="*/ 331 h 10000"/>
              <a:gd name="connsiteX241" fmla="*/ 5803 w 10000"/>
              <a:gd name="connsiteY241" fmla="*/ 331 h 10000"/>
              <a:gd name="connsiteX242" fmla="*/ 5803 w 10000"/>
              <a:gd name="connsiteY242" fmla="*/ 289 h 10000"/>
              <a:gd name="connsiteX243" fmla="*/ 5803 w 10000"/>
              <a:gd name="connsiteY243" fmla="*/ 248 h 10000"/>
              <a:gd name="connsiteX244" fmla="*/ 5803 w 10000"/>
              <a:gd name="connsiteY244" fmla="*/ 207 h 10000"/>
              <a:gd name="connsiteX245" fmla="*/ 5803 w 10000"/>
              <a:gd name="connsiteY245" fmla="*/ 165 h 10000"/>
              <a:gd name="connsiteX246" fmla="*/ 5803 w 10000"/>
              <a:gd name="connsiteY246" fmla="*/ 124 h 10000"/>
              <a:gd name="connsiteX247" fmla="*/ 5803 w 10000"/>
              <a:gd name="connsiteY247" fmla="*/ 83 h 10000"/>
              <a:gd name="connsiteX248" fmla="*/ 5803 w 10000"/>
              <a:gd name="connsiteY248" fmla="*/ 41 h 10000"/>
              <a:gd name="connsiteX249" fmla="*/ 5803 w 10000"/>
              <a:gd name="connsiteY24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264 w 10000"/>
              <a:gd name="connsiteY181" fmla="*/ 8058 h 10000"/>
              <a:gd name="connsiteX182" fmla="*/ 3161 w 10000"/>
              <a:gd name="connsiteY182" fmla="*/ 7893 h 10000"/>
              <a:gd name="connsiteX183" fmla="*/ 3109 w 10000"/>
              <a:gd name="connsiteY183" fmla="*/ 7851 h 10000"/>
              <a:gd name="connsiteX184" fmla="*/ 3057 w 10000"/>
              <a:gd name="connsiteY184" fmla="*/ 7769 h 10000"/>
              <a:gd name="connsiteX185" fmla="*/ 3005 w 10000"/>
              <a:gd name="connsiteY185" fmla="*/ 7686 h 10000"/>
              <a:gd name="connsiteX186" fmla="*/ 3005 w 10000"/>
              <a:gd name="connsiteY186" fmla="*/ 7562 h 10000"/>
              <a:gd name="connsiteX187" fmla="*/ 2902 w 10000"/>
              <a:gd name="connsiteY187" fmla="*/ 7355 h 10000"/>
              <a:gd name="connsiteX188" fmla="*/ 2850 w 10000"/>
              <a:gd name="connsiteY188" fmla="*/ 7314 h 10000"/>
              <a:gd name="connsiteX189" fmla="*/ 1036 w 10000"/>
              <a:gd name="connsiteY189" fmla="*/ 6612 h 10000"/>
              <a:gd name="connsiteX190" fmla="*/ 829 w 10000"/>
              <a:gd name="connsiteY190" fmla="*/ 6488 h 10000"/>
              <a:gd name="connsiteX191" fmla="*/ 829 w 10000"/>
              <a:gd name="connsiteY191" fmla="*/ 6446 h 10000"/>
              <a:gd name="connsiteX192" fmla="*/ 777 w 10000"/>
              <a:gd name="connsiteY192" fmla="*/ 6446 h 10000"/>
              <a:gd name="connsiteX193" fmla="*/ 725 w 10000"/>
              <a:gd name="connsiteY193" fmla="*/ 6446 h 10000"/>
              <a:gd name="connsiteX194" fmla="*/ 674 w 10000"/>
              <a:gd name="connsiteY194" fmla="*/ 6405 h 10000"/>
              <a:gd name="connsiteX195" fmla="*/ 622 w 10000"/>
              <a:gd name="connsiteY195" fmla="*/ 6405 h 10000"/>
              <a:gd name="connsiteX196" fmla="*/ 570 w 10000"/>
              <a:gd name="connsiteY196" fmla="*/ 6405 h 10000"/>
              <a:gd name="connsiteX197" fmla="*/ 570 w 10000"/>
              <a:gd name="connsiteY197" fmla="*/ 6364 h 10000"/>
              <a:gd name="connsiteX198" fmla="*/ 518 w 10000"/>
              <a:gd name="connsiteY198" fmla="*/ 6364 h 10000"/>
              <a:gd name="connsiteX199" fmla="*/ 466 w 10000"/>
              <a:gd name="connsiteY199" fmla="*/ 6364 h 10000"/>
              <a:gd name="connsiteX200" fmla="*/ 466 w 10000"/>
              <a:gd name="connsiteY200" fmla="*/ 6405 h 10000"/>
              <a:gd name="connsiteX201" fmla="*/ 415 w 10000"/>
              <a:gd name="connsiteY201" fmla="*/ 6405 h 10000"/>
              <a:gd name="connsiteX202" fmla="*/ 363 w 10000"/>
              <a:gd name="connsiteY202" fmla="*/ 6405 h 10000"/>
              <a:gd name="connsiteX203" fmla="*/ 311 w 10000"/>
              <a:gd name="connsiteY203" fmla="*/ 6405 h 10000"/>
              <a:gd name="connsiteX204" fmla="*/ 259 w 10000"/>
              <a:gd name="connsiteY204" fmla="*/ 6405 h 10000"/>
              <a:gd name="connsiteX205" fmla="*/ 207 w 10000"/>
              <a:gd name="connsiteY205" fmla="*/ 6405 h 10000"/>
              <a:gd name="connsiteX206" fmla="*/ 155 w 10000"/>
              <a:gd name="connsiteY206" fmla="*/ 6405 h 10000"/>
              <a:gd name="connsiteX207" fmla="*/ 104 w 10000"/>
              <a:gd name="connsiteY207" fmla="*/ 6405 h 10000"/>
              <a:gd name="connsiteX208" fmla="*/ 52 w 10000"/>
              <a:gd name="connsiteY208" fmla="*/ 6405 h 10000"/>
              <a:gd name="connsiteX209" fmla="*/ 0 w 10000"/>
              <a:gd name="connsiteY209" fmla="*/ 6405 h 10000"/>
              <a:gd name="connsiteX210" fmla="*/ 52 w 10000"/>
              <a:gd name="connsiteY210" fmla="*/ 5826 h 10000"/>
              <a:gd name="connsiteX211" fmla="*/ 207 w 10000"/>
              <a:gd name="connsiteY211" fmla="*/ 5909 h 10000"/>
              <a:gd name="connsiteX212" fmla="*/ 415 w 10000"/>
              <a:gd name="connsiteY212" fmla="*/ 5826 h 10000"/>
              <a:gd name="connsiteX213" fmla="*/ 1503 w 10000"/>
              <a:gd name="connsiteY213" fmla="*/ 5826 h 10000"/>
              <a:gd name="connsiteX214" fmla="*/ 1658 w 10000"/>
              <a:gd name="connsiteY214" fmla="*/ 5785 h 10000"/>
              <a:gd name="connsiteX215" fmla="*/ 1710 w 10000"/>
              <a:gd name="connsiteY215" fmla="*/ 5785 h 10000"/>
              <a:gd name="connsiteX216" fmla="*/ 2228 w 10000"/>
              <a:gd name="connsiteY216" fmla="*/ 5248 h 10000"/>
              <a:gd name="connsiteX217" fmla="*/ 2332 w 10000"/>
              <a:gd name="connsiteY217" fmla="*/ 5165 h 10000"/>
              <a:gd name="connsiteX218" fmla="*/ 2798 w 10000"/>
              <a:gd name="connsiteY218" fmla="*/ 4752 h 10000"/>
              <a:gd name="connsiteX219" fmla="*/ 3057 w 10000"/>
              <a:gd name="connsiteY219" fmla="*/ 4504 h 10000"/>
              <a:gd name="connsiteX220" fmla="*/ 3212 w 10000"/>
              <a:gd name="connsiteY220" fmla="*/ 4380 h 10000"/>
              <a:gd name="connsiteX221" fmla="*/ 3627 w 10000"/>
              <a:gd name="connsiteY221" fmla="*/ 3760 h 10000"/>
              <a:gd name="connsiteX222" fmla="*/ 4145 w 10000"/>
              <a:gd name="connsiteY222" fmla="*/ 3512 h 10000"/>
              <a:gd name="connsiteX223" fmla="*/ 5026 w 10000"/>
              <a:gd name="connsiteY223" fmla="*/ 2810 h 10000"/>
              <a:gd name="connsiteX224" fmla="*/ 4870 w 10000"/>
              <a:gd name="connsiteY224" fmla="*/ 2562 h 10000"/>
              <a:gd name="connsiteX225" fmla="*/ 4819 w 10000"/>
              <a:gd name="connsiteY225" fmla="*/ 2397 h 10000"/>
              <a:gd name="connsiteX226" fmla="*/ 4819 w 10000"/>
              <a:gd name="connsiteY226" fmla="*/ 1240 h 10000"/>
              <a:gd name="connsiteX227" fmla="*/ 4145 w 10000"/>
              <a:gd name="connsiteY227" fmla="*/ 744 h 10000"/>
              <a:gd name="connsiteX228" fmla="*/ 4974 w 10000"/>
              <a:gd name="connsiteY228" fmla="*/ 744 h 10000"/>
              <a:gd name="connsiteX229" fmla="*/ 5803 w 10000"/>
              <a:gd name="connsiteY229" fmla="*/ 744 h 10000"/>
              <a:gd name="connsiteX230" fmla="*/ 5803 w 10000"/>
              <a:gd name="connsiteY230" fmla="*/ 702 h 10000"/>
              <a:gd name="connsiteX231" fmla="*/ 5803 w 10000"/>
              <a:gd name="connsiteY231" fmla="*/ 661 h 10000"/>
              <a:gd name="connsiteX232" fmla="*/ 5803 w 10000"/>
              <a:gd name="connsiteY232" fmla="*/ 620 h 10000"/>
              <a:gd name="connsiteX233" fmla="*/ 5803 w 10000"/>
              <a:gd name="connsiteY233" fmla="*/ 579 h 10000"/>
              <a:gd name="connsiteX234" fmla="*/ 5855 w 10000"/>
              <a:gd name="connsiteY234" fmla="*/ 537 h 10000"/>
              <a:gd name="connsiteX235" fmla="*/ 5855 w 10000"/>
              <a:gd name="connsiteY235" fmla="*/ 496 h 10000"/>
              <a:gd name="connsiteX236" fmla="*/ 5855 w 10000"/>
              <a:gd name="connsiteY236" fmla="*/ 455 h 10000"/>
              <a:gd name="connsiteX237" fmla="*/ 5855 w 10000"/>
              <a:gd name="connsiteY237" fmla="*/ 413 h 10000"/>
              <a:gd name="connsiteX238" fmla="*/ 5855 w 10000"/>
              <a:gd name="connsiteY238" fmla="*/ 372 h 10000"/>
              <a:gd name="connsiteX239" fmla="*/ 5855 w 10000"/>
              <a:gd name="connsiteY239" fmla="*/ 331 h 10000"/>
              <a:gd name="connsiteX240" fmla="*/ 5803 w 10000"/>
              <a:gd name="connsiteY240" fmla="*/ 331 h 10000"/>
              <a:gd name="connsiteX241" fmla="*/ 5803 w 10000"/>
              <a:gd name="connsiteY241" fmla="*/ 289 h 10000"/>
              <a:gd name="connsiteX242" fmla="*/ 5803 w 10000"/>
              <a:gd name="connsiteY242" fmla="*/ 248 h 10000"/>
              <a:gd name="connsiteX243" fmla="*/ 5803 w 10000"/>
              <a:gd name="connsiteY243" fmla="*/ 207 h 10000"/>
              <a:gd name="connsiteX244" fmla="*/ 5803 w 10000"/>
              <a:gd name="connsiteY244" fmla="*/ 165 h 10000"/>
              <a:gd name="connsiteX245" fmla="*/ 5803 w 10000"/>
              <a:gd name="connsiteY245" fmla="*/ 124 h 10000"/>
              <a:gd name="connsiteX246" fmla="*/ 5803 w 10000"/>
              <a:gd name="connsiteY246" fmla="*/ 83 h 10000"/>
              <a:gd name="connsiteX247" fmla="*/ 5803 w 10000"/>
              <a:gd name="connsiteY247" fmla="*/ 41 h 10000"/>
              <a:gd name="connsiteX248" fmla="*/ 5803 w 10000"/>
              <a:gd name="connsiteY24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161 w 10000"/>
              <a:gd name="connsiteY181" fmla="*/ 7893 h 10000"/>
              <a:gd name="connsiteX182" fmla="*/ 3109 w 10000"/>
              <a:gd name="connsiteY182" fmla="*/ 7851 h 10000"/>
              <a:gd name="connsiteX183" fmla="*/ 3057 w 10000"/>
              <a:gd name="connsiteY183" fmla="*/ 7769 h 10000"/>
              <a:gd name="connsiteX184" fmla="*/ 3005 w 10000"/>
              <a:gd name="connsiteY184" fmla="*/ 7686 h 10000"/>
              <a:gd name="connsiteX185" fmla="*/ 3005 w 10000"/>
              <a:gd name="connsiteY185" fmla="*/ 7562 h 10000"/>
              <a:gd name="connsiteX186" fmla="*/ 2902 w 10000"/>
              <a:gd name="connsiteY186" fmla="*/ 7355 h 10000"/>
              <a:gd name="connsiteX187" fmla="*/ 2850 w 10000"/>
              <a:gd name="connsiteY187" fmla="*/ 7314 h 10000"/>
              <a:gd name="connsiteX188" fmla="*/ 1036 w 10000"/>
              <a:gd name="connsiteY188" fmla="*/ 6612 h 10000"/>
              <a:gd name="connsiteX189" fmla="*/ 829 w 10000"/>
              <a:gd name="connsiteY189" fmla="*/ 6488 h 10000"/>
              <a:gd name="connsiteX190" fmla="*/ 829 w 10000"/>
              <a:gd name="connsiteY190" fmla="*/ 6446 h 10000"/>
              <a:gd name="connsiteX191" fmla="*/ 777 w 10000"/>
              <a:gd name="connsiteY191" fmla="*/ 6446 h 10000"/>
              <a:gd name="connsiteX192" fmla="*/ 725 w 10000"/>
              <a:gd name="connsiteY192" fmla="*/ 6446 h 10000"/>
              <a:gd name="connsiteX193" fmla="*/ 674 w 10000"/>
              <a:gd name="connsiteY193" fmla="*/ 6405 h 10000"/>
              <a:gd name="connsiteX194" fmla="*/ 622 w 10000"/>
              <a:gd name="connsiteY194" fmla="*/ 6405 h 10000"/>
              <a:gd name="connsiteX195" fmla="*/ 570 w 10000"/>
              <a:gd name="connsiteY195" fmla="*/ 6405 h 10000"/>
              <a:gd name="connsiteX196" fmla="*/ 570 w 10000"/>
              <a:gd name="connsiteY196" fmla="*/ 6364 h 10000"/>
              <a:gd name="connsiteX197" fmla="*/ 518 w 10000"/>
              <a:gd name="connsiteY197" fmla="*/ 6364 h 10000"/>
              <a:gd name="connsiteX198" fmla="*/ 466 w 10000"/>
              <a:gd name="connsiteY198" fmla="*/ 6364 h 10000"/>
              <a:gd name="connsiteX199" fmla="*/ 466 w 10000"/>
              <a:gd name="connsiteY199" fmla="*/ 6405 h 10000"/>
              <a:gd name="connsiteX200" fmla="*/ 415 w 10000"/>
              <a:gd name="connsiteY200" fmla="*/ 6405 h 10000"/>
              <a:gd name="connsiteX201" fmla="*/ 363 w 10000"/>
              <a:gd name="connsiteY201" fmla="*/ 6405 h 10000"/>
              <a:gd name="connsiteX202" fmla="*/ 311 w 10000"/>
              <a:gd name="connsiteY202" fmla="*/ 6405 h 10000"/>
              <a:gd name="connsiteX203" fmla="*/ 259 w 10000"/>
              <a:gd name="connsiteY203" fmla="*/ 6405 h 10000"/>
              <a:gd name="connsiteX204" fmla="*/ 207 w 10000"/>
              <a:gd name="connsiteY204" fmla="*/ 6405 h 10000"/>
              <a:gd name="connsiteX205" fmla="*/ 155 w 10000"/>
              <a:gd name="connsiteY205" fmla="*/ 6405 h 10000"/>
              <a:gd name="connsiteX206" fmla="*/ 104 w 10000"/>
              <a:gd name="connsiteY206" fmla="*/ 6405 h 10000"/>
              <a:gd name="connsiteX207" fmla="*/ 52 w 10000"/>
              <a:gd name="connsiteY207" fmla="*/ 6405 h 10000"/>
              <a:gd name="connsiteX208" fmla="*/ 0 w 10000"/>
              <a:gd name="connsiteY208" fmla="*/ 6405 h 10000"/>
              <a:gd name="connsiteX209" fmla="*/ 52 w 10000"/>
              <a:gd name="connsiteY209" fmla="*/ 5826 h 10000"/>
              <a:gd name="connsiteX210" fmla="*/ 207 w 10000"/>
              <a:gd name="connsiteY210" fmla="*/ 5909 h 10000"/>
              <a:gd name="connsiteX211" fmla="*/ 415 w 10000"/>
              <a:gd name="connsiteY211" fmla="*/ 5826 h 10000"/>
              <a:gd name="connsiteX212" fmla="*/ 1503 w 10000"/>
              <a:gd name="connsiteY212" fmla="*/ 5826 h 10000"/>
              <a:gd name="connsiteX213" fmla="*/ 1658 w 10000"/>
              <a:gd name="connsiteY213" fmla="*/ 5785 h 10000"/>
              <a:gd name="connsiteX214" fmla="*/ 1710 w 10000"/>
              <a:gd name="connsiteY214" fmla="*/ 5785 h 10000"/>
              <a:gd name="connsiteX215" fmla="*/ 2228 w 10000"/>
              <a:gd name="connsiteY215" fmla="*/ 5248 h 10000"/>
              <a:gd name="connsiteX216" fmla="*/ 2332 w 10000"/>
              <a:gd name="connsiteY216" fmla="*/ 5165 h 10000"/>
              <a:gd name="connsiteX217" fmla="*/ 2798 w 10000"/>
              <a:gd name="connsiteY217" fmla="*/ 4752 h 10000"/>
              <a:gd name="connsiteX218" fmla="*/ 3057 w 10000"/>
              <a:gd name="connsiteY218" fmla="*/ 4504 h 10000"/>
              <a:gd name="connsiteX219" fmla="*/ 3212 w 10000"/>
              <a:gd name="connsiteY219" fmla="*/ 4380 h 10000"/>
              <a:gd name="connsiteX220" fmla="*/ 3627 w 10000"/>
              <a:gd name="connsiteY220" fmla="*/ 3760 h 10000"/>
              <a:gd name="connsiteX221" fmla="*/ 4145 w 10000"/>
              <a:gd name="connsiteY221" fmla="*/ 3512 h 10000"/>
              <a:gd name="connsiteX222" fmla="*/ 5026 w 10000"/>
              <a:gd name="connsiteY222" fmla="*/ 2810 h 10000"/>
              <a:gd name="connsiteX223" fmla="*/ 4870 w 10000"/>
              <a:gd name="connsiteY223" fmla="*/ 2562 h 10000"/>
              <a:gd name="connsiteX224" fmla="*/ 4819 w 10000"/>
              <a:gd name="connsiteY224" fmla="*/ 2397 h 10000"/>
              <a:gd name="connsiteX225" fmla="*/ 4819 w 10000"/>
              <a:gd name="connsiteY225" fmla="*/ 1240 h 10000"/>
              <a:gd name="connsiteX226" fmla="*/ 4145 w 10000"/>
              <a:gd name="connsiteY226" fmla="*/ 744 h 10000"/>
              <a:gd name="connsiteX227" fmla="*/ 4974 w 10000"/>
              <a:gd name="connsiteY227" fmla="*/ 744 h 10000"/>
              <a:gd name="connsiteX228" fmla="*/ 5803 w 10000"/>
              <a:gd name="connsiteY228" fmla="*/ 744 h 10000"/>
              <a:gd name="connsiteX229" fmla="*/ 5803 w 10000"/>
              <a:gd name="connsiteY229" fmla="*/ 702 h 10000"/>
              <a:gd name="connsiteX230" fmla="*/ 5803 w 10000"/>
              <a:gd name="connsiteY230" fmla="*/ 661 h 10000"/>
              <a:gd name="connsiteX231" fmla="*/ 5803 w 10000"/>
              <a:gd name="connsiteY231" fmla="*/ 620 h 10000"/>
              <a:gd name="connsiteX232" fmla="*/ 5803 w 10000"/>
              <a:gd name="connsiteY232" fmla="*/ 579 h 10000"/>
              <a:gd name="connsiteX233" fmla="*/ 5855 w 10000"/>
              <a:gd name="connsiteY233" fmla="*/ 537 h 10000"/>
              <a:gd name="connsiteX234" fmla="*/ 5855 w 10000"/>
              <a:gd name="connsiteY234" fmla="*/ 496 h 10000"/>
              <a:gd name="connsiteX235" fmla="*/ 5855 w 10000"/>
              <a:gd name="connsiteY235" fmla="*/ 455 h 10000"/>
              <a:gd name="connsiteX236" fmla="*/ 5855 w 10000"/>
              <a:gd name="connsiteY236" fmla="*/ 413 h 10000"/>
              <a:gd name="connsiteX237" fmla="*/ 5855 w 10000"/>
              <a:gd name="connsiteY237" fmla="*/ 372 h 10000"/>
              <a:gd name="connsiteX238" fmla="*/ 5855 w 10000"/>
              <a:gd name="connsiteY238" fmla="*/ 331 h 10000"/>
              <a:gd name="connsiteX239" fmla="*/ 5803 w 10000"/>
              <a:gd name="connsiteY239" fmla="*/ 331 h 10000"/>
              <a:gd name="connsiteX240" fmla="*/ 5803 w 10000"/>
              <a:gd name="connsiteY240" fmla="*/ 289 h 10000"/>
              <a:gd name="connsiteX241" fmla="*/ 5803 w 10000"/>
              <a:gd name="connsiteY241" fmla="*/ 248 h 10000"/>
              <a:gd name="connsiteX242" fmla="*/ 5803 w 10000"/>
              <a:gd name="connsiteY242" fmla="*/ 207 h 10000"/>
              <a:gd name="connsiteX243" fmla="*/ 5803 w 10000"/>
              <a:gd name="connsiteY243" fmla="*/ 165 h 10000"/>
              <a:gd name="connsiteX244" fmla="*/ 5803 w 10000"/>
              <a:gd name="connsiteY244" fmla="*/ 124 h 10000"/>
              <a:gd name="connsiteX245" fmla="*/ 5803 w 10000"/>
              <a:gd name="connsiteY245" fmla="*/ 83 h 10000"/>
              <a:gd name="connsiteX246" fmla="*/ 5803 w 10000"/>
              <a:gd name="connsiteY246" fmla="*/ 41 h 10000"/>
              <a:gd name="connsiteX247" fmla="*/ 5803 w 10000"/>
              <a:gd name="connsiteY24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161 w 10000"/>
              <a:gd name="connsiteY181" fmla="*/ 7893 h 10000"/>
              <a:gd name="connsiteX182" fmla="*/ 3057 w 10000"/>
              <a:gd name="connsiteY182" fmla="*/ 7769 h 10000"/>
              <a:gd name="connsiteX183" fmla="*/ 3005 w 10000"/>
              <a:gd name="connsiteY183" fmla="*/ 7686 h 10000"/>
              <a:gd name="connsiteX184" fmla="*/ 3005 w 10000"/>
              <a:gd name="connsiteY184" fmla="*/ 7562 h 10000"/>
              <a:gd name="connsiteX185" fmla="*/ 2902 w 10000"/>
              <a:gd name="connsiteY185" fmla="*/ 7355 h 10000"/>
              <a:gd name="connsiteX186" fmla="*/ 2850 w 10000"/>
              <a:gd name="connsiteY186" fmla="*/ 7314 h 10000"/>
              <a:gd name="connsiteX187" fmla="*/ 1036 w 10000"/>
              <a:gd name="connsiteY187" fmla="*/ 6612 h 10000"/>
              <a:gd name="connsiteX188" fmla="*/ 829 w 10000"/>
              <a:gd name="connsiteY188" fmla="*/ 6488 h 10000"/>
              <a:gd name="connsiteX189" fmla="*/ 829 w 10000"/>
              <a:gd name="connsiteY189" fmla="*/ 6446 h 10000"/>
              <a:gd name="connsiteX190" fmla="*/ 777 w 10000"/>
              <a:gd name="connsiteY190" fmla="*/ 6446 h 10000"/>
              <a:gd name="connsiteX191" fmla="*/ 725 w 10000"/>
              <a:gd name="connsiteY191" fmla="*/ 6446 h 10000"/>
              <a:gd name="connsiteX192" fmla="*/ 674 w 10000"/>
              <a:gd name="connsiteY192" fmla="*/ 6405 h 10000"/>
              <a:gd name="connsiteX193" fmla="*/ 622 w 10000"/>
              <a:gd name="connsiteY193" fmla="*/ 6405 h 10000"/>
              <a:gd name="connsiteX194" fmla="*/ 570 w 10000"/>
              <a:gd name="connsiteY194" fmla="*/ 6405 h 10000"/>
              <a:gd name="connsiteX195" fmla="*/ 570 w 10000"/>
              <a:gd name="connsiteY195" fmla="*/ 6364 h 10000"/>
              <a:gd name="connsiteX196" fmla="*/ 518 w 10000"/>
              <a:gd name="connsiteY196" fmla="*/ 6364 h 10000"/>
              <a:gd name="connsiteX197" fmla="*/ 466 w 10000"/>
              <a:gd name="connsiteY197" fmla="*/ 6364 h 10000"/>
              <a:gd name="connsiteX198" fmla="*/ 466 w 10000"/>
              <a:gd name="connsiteY198" fmla="*/ 6405 h 10000"/>
              <a:gd name="connsiteX199" fmla="*/ 415 w 10000"/>
              <a:gd name="connsiteY199" fmla="*/ 6405 h 10000"/>
              <a:gd name="connsiteX200" fmla="*/ 363 w 10000"/>
              <a:gd name="connsiteY200" fmla="*/ 6405 h 10000"/>
              <a:gd name="connsiteX201" fmla="*/ 311 w 10000"/>
              <a:gd name="connsiteY201" fmla="*/ 6405 h 10000"/>
              <a:gd name="connsiteX202" fmla="*/ 259 w 10000"/>
              <a:gd name="connsiteY202" fmla="*/ 6405 h 10000"/>
              <a:gd name="connsiteX203" fmla="*/ 207 w 10000"/>
              <a:gd name="connsiteY203" fmla="*/ 6405 h 10000"/>
              <a:gd name="connsiteX204" fmla="*/ 155 w 10000"/>
              <a:gd name="connsiteY204" fmla="*/ 6405 h 10000"/>
              <a:gd name="connsiteX205" fmla="*/ 104 w 10000"/>
              <a:gd name="connsiteY205" fmla="*/ 6405 h 10000"/>
              <a:gd name="connsiteX206" fmla="*/ 52 w 10000"/>
              <a:gd name="connsiteY206" fmla="*/ 6405 h 10000"/>
              <a:gd name="connsiteX207" fmla="*/ 0 w 10000"/>
              <a:gd name="connsiteY207" fmla="*/ 6405 h 10000"/>
              <a:gd name="connsiteX208" fmla="*/ 52 w 10000"/>
              <a:gd name="connsiteY208" fmla="*/ 5826 h 10000"/>
              <a:gd name="connsiteX209" fmla="*/ 207 w 10000"/>
              <a:gd name="connsiteY209" fmla="*/ 5909 h 10000"/>
              <a:gd name="connsiteX210" fmla="*/ 415 w 10000"/>
              <a:gd name="connsiteY210" fmla="*/ 5826 h 10000"/>
              <a:gd name="connsiteX211" fmla="*/ 1503 w 10000"/>
              <a:gd name="connsiteY211" fmla="*/ 5826 h 10000"/>
              <a:gd name="connsiteX212" fmla="*/ 1658 w 10000"/>
              <a:gd name="connsiteY212" fmla="*/ 5785 h 10000"/>
              <a:gd name="connsiteX213" fmla="*/ 1710 w 10000"/>
              <a:gd name="connsiteY213" fmla="*/ 5785 h 10000"/>
              <a:gd name="connsiteX214" fmla="*/ 2228 w 10000"/>
              <a:gd name="connsiteY214" fmla="*/ 5248 h 10000"/>
              <a:gd name="connsiteX215" fmla="*/ 2332 w 10000"/>
              <a:gd name="connsiteY215" fmla="*/ 5165 h 10000"/>
              <a:gd name="connsiteX216" fmla="*/ 2798 w 10000"/>
              <a:gd name="connsiteY216" fmla="*/ 4752 h 10000"/>
              <a:gd name="connsiteX217" fmla="*/ 3057 w 10000"/>
              <a:gd name="connsiteY217" fmla="*/ 4504 h 10000"/>
              <a:gd name="connsiteX218" fmla="*/ 3212 w 10000"/>
              <a:gd name="connsiteY218" fmla="*/ 4380 h 10000"/>
              <a:gd name="connsiteX219" fmla="*/ 3627 w 10000"/>
              <a:gd name="connsiteY219" fmla="*/ 3760 h 10000"/>
              <a:gd name="connsiteX220" fmla="*/ 4145 w 10000"/>
              <a:gd name="connsiteY220" fmla="*/ 3512 h 10000"/>
              <a:gd name="connsiteX221" fmla="*/ 5026 w 10000"/>
              <a:gd name="connsiteY221" fmla="*/ 2810 h 10000"/>
              <a:gd name="connsiteX222" fmla="*/ 4870 w 10000"/>
              <a:gd name="connsiteY222" fmla="*/ 2562 h 10000"/>
              <a:gd name="connsiteX223" fmla="*/ 4819 w 10000"/>
              <a:gd name="connsiteY223" fmla="*/ 2397 h 10000"/>
              <a:gd name="connsiteX224" fmla="*/ 4819 w 10000"/>
              <a:gd name="connsiteY224" fmla="*/ 1240 h 10000"/>
              <a:gd name="connsiteX225" fmla="*/ 4145 w 10000"/>
              <a:gd name="connsiteY225" fmla="*/ 744 h 10000"/>
              <a:gd name="connsiteX226" fmla="*/ 4974 w 10000"/>
              <a:gd name="connsiteY226" fmla="*/ 744 h 10000"/>
              <a:gd name="connsiteX227" fmla="*/ 5803 w 10000"/>
              <a:gd name="connsiteY227" fmla="*/ 744 h 10000"/>
              <a:gd name="connsiteX228" fmla="*/ 5803 w 10000"/>
              <a:gd name="connsiteY228" fmla="*/ 702 h 10000"/>
              <a:gd name="connsiteX229" fmla="*/ 5803 w 10000"/>
              <a:gd name="connsiteY229" fmla="*/ 661 h 10000"/>
              <a:gd name="connsiteX230" fmla="*/ 5803 w 10000"/>
              <a:gd name="connsiteY230" fmla="*/ 620 h 10000"/>
              <a:gd name="connsiteX231" fmla="*/ 5803 w 10000"/>
              <a:gd name="connsiteY231" fmla="*/ 579 h 10000"/>
              <a:gd name="connsiteX232" fmla="*/ 5855 w 10000"/>
              <a:gd name="connsiteY232" fmla="*/ 537 h 10000"/>
              <a:gd name="connsiteX233" fmla="*/ 5855 w 10000"/>
              <a:gd name="connsiteY233" fmla="*/ 496 h 10000"/>
              <a:gd name="connsiteX234" fmla="*/ 5855 w 10000"/>
              <a:gd name="connsiteY234" fmla="*/ 455 h 10000"/>
              <a:gd name="connsiteX235" fmla="*/ 5855 w 10000"/>
              <a:gd name="connsiteY235" fmla="*/ 413 h 10000"/>
              <a:gd name="connsiteX236" fmla="*/ 5855 w 10000"/>
              <a:gd name="connsiteY236" fmla="*/ 372 h 10000"/>
              <a:gd name="connsiteX237" fmla="*/ 5855 w 10000"/>
              <a:gd name="connsiteY237" fmla="*/ 331 h 10000"/>
              <a:gd name="connsiteX238" fmla="*/ 5803 w 10000"/>
              <a:gd name="connsiteY238" fmla="*/ 331 h 10000"/>
              <a:gd name="connsiteX239" fmla="*/ 5803 w 10000"/>
              <a:gd name="connsiteY239" fmla="*/ 289 h 10000"/>
              <a:gd name="connsiteX240" fmla="*/ 5803 w 10000"/>
              <a:gd name="connsiteY240" fmla="*/ 248 h 10000"/>
              <a:gd name="connsiteX241" fmla="*/ 5803 w 10000"/>
              <a:gd name="connsiteY241" fmla="*/ 207 h 10000"/>
              <a:gd name="connsiteX242" fmla="*/ 5803 w 10000"/>
              <a:gd name="connsiteY242" fmla="*/ 165 h 10000"/>
              <a:gd name="connsiteX243" fmla="*/ 5803 w 10000"/>
              <a:gd name="connsiteY243" fmla="*/ 124 h 10000"/>
              <a:gd name="connsiteX244" fmla="*/ 5803 w 10000"/>
              <a:gd name="connsiteY244" fmla="*/ 83 h 10000"/>
              <a:gd name="connsiteX245" fmla="*/ 5803 w 10000"/>
              <a:gd name="connsiteY245" fmla="*/ 41 h 10000"/>
              <a:gd name="connsiteX246" fmla="*/ 5803 w 10000"/>
              <a:gd name="connsiteY24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057 w 10000"/>
              <a:gd name="connsiteY181" fmla="*/ 7769 h 10000"/>
              <a:gd name="connsiteX182" fmla="*/ 3005 w 10000"/>
              <a:gd name="connsiteY182" fmla="*/ 7686 h 10000"/>
              <a:gd name="connsiteX183" fmla="*/ 3005 w 10000"/>
              <a:gd name="connsiteY183" fmla="*/ 7562 h 10000"/>
              <a:gd name="connsiteX184" fmla="*/ 2902 w 10000"/>
              <a:gd name="connsiteY184" fmla="*/ 7355 h 10000"/>
              <a:gd name="connsiteX185" fmla="*/ 2850 w 10000"/>
              <a:gd name="connsiteY185" fmla="*/ 7314 h 10000"/>
              <a:gd name="connsiteX186" fmla="*/ 1036 w 10000"/>
              <a:gd name="connsiteY186" fmla="*/ 6612 h 10000"/>
              <a:gd name="connsiteX187" fmla="*/ 829 w 10000"/>
              <a:gd name="connsiteY187" fmla="*/ 6488 h 10000"/>
              <a:gd name="connsiteX188" fmla="*/ 829 w 10000"/>
              <a:gd name="connsiteY188" fmla="*/ 6446 h 10000"/>
              <a:gd name="connsiteX189" fmla="*/ 777 w 10000"/>
              <a:gd name="connsiteY189" fmla="*/ 6446 h 10000"/>
              <a:gd name="connsiteX190" fmla="*/ 725 w 10000"/>
              <a:gd name="connsiteY190" fmla="*/ 6446 h 10000"/>
              <a:gd name="connsiteX191" fmla="*/ 674 w 10000"/>
              <a:gd name="connsiteY191" fmla="*/ 6405 h 10000"/>
              <a:gd name="connsiteX192" fmla="*/ 622 w 10000"/>
              <a:gd name="connsiteY192" fmla="*/ 6405 h 10000"/>
              <a:gd name="connsiteX193" fmla="*/ 570 w 10000"/>
              <a:gd name="connsiteY193" fmla="*/ 6405 h 10000"/>
              <a:gd name="connsiteX194" fmla="*/ 570 w 10000"/>
              <a:gd name="connsiteY194" fmla="*/ 6364 h 10000"/>
              <a:gd name="connsiteX195" fmla="*/ 518 w 10000"/>
              <a:gd name="connsiteY195" fmla="*/ 6364 h 10000"/>
              <a:gd name="connsiteX196" fmla="*/ 466 w 10000"/>
              <a:gd name="connsiteY196" fmla="*/ 6364 h 10000"/>
              <a:gd name="connsiteX197" fmla="*/ 466 w 10000"/>
              <a:gd name="connsiteY197" fmla="*/ 6405 h 10000"/>
              <a:gd name="connsiteX198" fmla="*/ 415 w 10000"/>
              <a:gd name="connsiteY198" fmla="*/ 6405 h 10000"/>
              <a:gd name="connsiteX199" fmla="*/ 363 w 10000"/>
              <a:gd name="connsiteY199" fmla="*/ 6405 h 10000"/>
              <a:gd name="connsiteX200" fmla="*/ 311 w 10000"/>
              <a:gd name="connsiteY200" fmla="*/ 6405 h 10000"/>
              <a:gd name="connsiteX201" fmla="*/ 259 w 10000"/>
              <a:gd name="connsiteY201" fmla="*/ 6405 h 10000"/>
              <a:gd name="connsiteX202" fmla="*/ 207 w 10000"/>
              <a:gd name="connsiteY202" fmla="*/ 6405 h 10000"/>
              <a:gd name="connsiteX203" fmla="*/ 155 w 10000"/>
              <a:gd name="connsiteY203" fmla="*/ 6405 h 10000"/>
              <a:gd name="connsiteX204" fmla="*/ 104 w 10000"/>
              <a:gd name="connsiteY204" fmla="*/ 6405 h 10000"/>
              <a:gd name="connsiteX205" fmla="*/ 52 w 10000"/>
              <a:gd name="connsiteY205" fmla="*/ 6405 h 10000"/>
              <a:gd name="connsiteX206" fmla="*/ 0 w 10000"/>
              <a:gd name="connsiteY206" fmla="*/ 6405 h 10000"/>
              <a:gd name="connsiteX207" fmla="*/ 52 w 10000"/>
              <a:gd name="connsiteY207" fmla="*/ 5826 h 10000"/>
              <a:gd name="connsiteX208" fmla="*/ 207 w 10000"/>
              <a:gd name="connsiteY208" fmla="*/ 5909 h 10000"/>
              <a:gd name="connsiteX209" fmla="*/ 415 w 10000"/>
              <a:gd name="connsiteY209" fmla="*/ 5826 h 10000"/>
              <a:gd name="connsiteX210" fmla="*/ 1503 w 10000"/>
              <a:gd name="connsiteY210" fmla="*/ 5826 h 10000"/>
              <a:gd name="connsiteX211" fmla="*/ 1658 w 10000"/>
              <a:gd name="connsiteY211" fmla="*/ 5785 h 10000"/>
              <a:gd name="connsiteX212" fmla="*/ 1710 w 10000"/>
              <a:gd name="connsiteY212" fmla="*/ 5785 h 10000"/>
              <a:gd name="connsiteX213" fmla="*/ 2228 w 10000"/>
              <a:gd name="connsiteY213" fmla="*/ 5248 h 10000"/>
              <a:gd name="connsiteX214" fmla="*/ 2332 w 10000"/>
              <a:gd name="connsiteY214" fmla="*/ 5165 h 10000"/>
              <a:gd name="connsiteX215" fmla="*/ 2798 w 10000"/>
              <a:gd name="connsiteY215" fmla="*/ 4752 h 10000"/>
              <a:gd name="connsiteX216" fmla="*/ 3057 w 10000"/>
              <a:gd name="connsiteY216" fmla="*/ 4504 h 10000"/>
              <a:gd name="connsiteX217" fmla="*/ 3212 w 10000"/>
              <a:gd name="connsiteY217" fmla="*/ 4380 h 10000"/>
              <a:gd name="connsiteX218" fmla="*/ 3627 w 10000"/>
              <a:gd name="connsiteY218" fmla="*/ 3760 h 10000"/>
              <a:gd name="connsiteX219" fmla="*/ 4145 w 10000"/>
              <a:gd name="connsiteY219" fmla="*/ 3512 h 10000"/>
              <a:gd name="connsiteX220" fmla="*/ 5026 w 10000"/>
              <a:gd name="connsiteY220" fmla="*/ 2810 h 10000"/>
              <a:gd name="connsiteX221" fmla="*/ 4870 w 10000"/>
              <a:gd name="connsiteY221" fmla="*/ 2562 h 10000"/>
              <a:gd name="connsiteX222" fmla="*/ 4819 w 10000"/>
              <a:gd name="connsiteY222" fmla="*/ 2397 h 10000"/>
              <a:gd name="connsiteX223" fmla="*/ 4819 w 10000"/>
              <a:gd name="connsiteY223" fmla="*/ 1240 h 10000"/>
              <a:gd name="connsiteX224" fmla="*/ 4145 w 10000"/>
              <a:gd name="connsiteY224" fmla="*/ 744 h 10000"/>
              <a:gd name="connsiteX225" fmla="*/ 4974 w 10000"/>
              <a:gd name="connsiteY225" fmla="*/ 744 h 10000"/>
              <a:gd name="connsiteX226" fmla="*/ 5803 w 10000"/>
              <a:gd name="connsiteY226" fmla="*/ 744 h 10000"/>
              <a:gd name="connsiteX227" fmla="*/ 5803 w 10000"/>
              <a:gd name="connsiteY227" fmla="*/ 702 h 10000"/>
              <a:gd name="connsiteX228" fmla="*/ 5803 w 10000"/>
              <a:gd name="connsiteY228" fmla="*/ 661 h 10000"/>
              <a:gd name="connsiteX229" fmla="*/ 5803 w 10000"/>
              <a:gd name="connsiteY229" fmla="*/ 620 h 10000"/>
              <a:gd name="connsiteX230" fmla="*/ 5803 w 10000"/>
              <a:gd name="connsiteY230" fmla="*/ 579 h 10000"/>
              <a:gd name="connsiteX231" fmla="*/ 5855 w 10000"/>
              <a:gd name="connsiteY231" fmla="*/ 537 h 10000"/>
              <a:gd name="connsiteX232" fmla="*/ 5855 w 10000"/>
              <a:gd name="connsiteY232" fmla="*/ 496 h 10000"/>
              <a:gd name="connsiteX233" fmla="*/ 5855 w 10000"/>
              <a:gd name="connsiteY233" fmla="*/ 455 h 10000"/>
              <a:gd name="connsiteX234" fmla="*/ 5855 w 10000"/>
              <a:gd name="connsiteY234" fmla="*/ 413 h 10000"/>
              <a:gd name="connsiteX235" fmla="*/ 5855 w 10000"/>
              <a:gd name="connsiteY235" fmla="*/ 372 h 10000"/>
              <a:gd name="connsiteX236" fmla="*/ 5855 w 10000"/>
              <a:gd name="connsiteY236" fmla="*/ 331 h 10000"/>
              <a:gd name="connsiteX237" fmla="*/ 5803 w 10000"/>
              <a:gd name="connsiteY237" fmla="*/ 331 h 10000"/>
              <a:gd name="connsiteX238" fmla="*/ 5803 w 10000"/>
              <a:gd name="connsiteY238" fmla="*/ 289 h 10000"/>
              <a:gd name="connsiteX239" fmla="*/ 5803 w 10000"/>
              <a:gd name="connsiteY239" fmla="*/ 248 h 10000"/>
              <a:gd name="connsiteX240" fmla="*/ 5803 w 10000"/>
              <a:gd name="connsiteY240" fmla="*/ 207 h 10000"/>
              <a:gd name="connsiteX241" fmla="*/ 5803 w 10000"/>
              <a:gd name="connsiteY241" fmla="*/ 165 h 10000"/>
              <a:gd name="connsiteX242" fmla="*/ 5803 w 10000"/>
              <a:gd name="connsiteY242" fmla="*/ 124 h 10000"/>
              <a:gd name="connsiteX243" fmla="*/ 5803 w 10000"/>
              <a:gd name="connsiteY243" fmla="*/ 83 h 10000"/>
              <a:gd name="connsiteX244" fmla="*/ 5803 w 10000"/>
              <a:gd name="connsiteY244" fmla="*/ 41 h 10000"/>
              <a:gd name="connsiteX245" fmla="*/ 5803 w 10000"/>
              <a:gd name="connsiteY24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005 w 10000"/>
              <a:gd name="connsiteY181" fmla="*/ 7686 h 10000"/>
              <a:gd name="connsiteX182" fmla="*/ 3005 w 10000"/>
              <a:gd name="connsiteY182" fmla="*/ 7562 h 10000"/>
              <a:gd name="connsiteX183" fmla="*/ 2902 w 10000"/>
              <a:gd name="connsiteY183" fmla="*/ 7355 h 10000"/>
              <a:gd name="connsiteX184" fmla="*/ 2850 w 10000"/>
              <a:gd name="connsiteY184" fmla="*/ 7314 h 10000"/>
              <a:gd name="connsiteX185" fmla="*/ 1036 w 10000"/>
              <a:gd name="connsiteY185" fmla="*/ 6612 h 10000"/>
              <a:gd name="connsiteX186" fmla="*/ 829 w 10000"/>
              <a:gd name="connsiteY186" fmla="*/ 6488 h 10000"/>
              <a:gd name="connsiteX187" fmla="*/ 829 w 10000"/>
              <a:gd name="connsiteY187" fmla="*/ 6446 h 10000"/>
              <a:gd name="connsiteX188" fmla="*/ 777 w 10000"/>
              <a:gd name="connsiteY188" fmla="*/ 6446 h 10000"/>
              <a:gd name="connsiteX189" fmla="*/ 725 w 10000"/>
              <a:gd name="connsiteY189" fmla="*/ 6446 h 10000"/>
              <a:gd name="connsiteX190" fmla="*/ 674 w 10000"/>
              <a:gd name="connsiteY190" fmla="*/ 6405 h 10000"/>
              <a:gd name="connsiteX191" fmla="*/ 622 w 10000"/>
              <a:gd name="connsiteY191" fmla="*/ 6405 h 10000"/>
              <a:gd name="connsiteX192" fmla="*/ 570 w 10000"/>
              <a:gd name="connsiteY192" fmla="*/ 6405 h 10000"/>
              <a:gd name="connsiteX193" fmla="*/ 570 w 10000"/>
              <a:gd name="connsiteY193" fmla="*/ 6364 h 10000"/>
              <a:gd name="connsiteX194" fmla="*/ 518 w 10000"/>
              <a:gd name="connsiteY194" fmla="*/ 6364 h 10000"/>
              <a:gd name="connsiteX195" fmla="*/ 466 w 10000"/>
              <a:gd name="connsiteY195" fmla="*/ 6364 h 10000"/>
              <a:gd name="connsiteX196" fmla="*/ 466 w 10000"/>
              <a:gd name="connsiteY196" fmla="*/ 6405 h 10000"/>
              <a:gd name="connsiteX197" fmla="*/ 415 w 10000"/>
              <a:gd name="connsiteY197" fmla="*/ 6405 h 10000"/>
              <a:gd name="connsiteX198" fmla="*/ 363 w 10000"/>
              <a:gd name="connsiteY198" fmla="*/ 6405 h 10000"/>
              <a:gd name="connsiteX199" fmla="*/ 311 w 10000"/>
              <a:gd name="connsiteY199" fmla="*/ 6405 h 10000"/>
              <a:gd name="connsiteX200" fmla="*/ 259 w 10000"/>
              <a:gd name="connsiteY200" fmla="*/ 6405 h 10000"/>
              <a:gd name="connsiteX201" fmla="*/ 207 w 10000"/>
              <a:gd name="connsiteY201" fmla="*/ 6405 h 10000"/>
              <a:gd name="connsiteX202" fmla="*/ 155 w 10000"/>
              <a:gd name="connsiteY202" fmla="*/ 6405 h 10000"/>
              <a:gd name="connsiteX203" fmla="*/ 104 w 10000"/>
              <a:gd name="connsiteY203" fmla="*/ 6405 h 10000"/>
              <a:gd name="connsiteX204" fmla="*/ 52 w 10000"/>
              <a:gd name="connsiteY204" fmla="*/ 6405 h 10000"/>
              <a:gd name="connsiteX205" fmla="*/ 0 w 10000"/>
              <a:gd name="connsiteY205" fmla="*/ 6405 h 10000"/>
              <a:gd name="connsiteX206" fmla="*/ 52 w 10000"/>
              <a:gd name="connsiteY206" fmla="*/ 5826 h 10000"/>
              <a:gd name="connsiteX207" fmla="*/ 207 w 10000"/>
              <a:gd name="connsiteY207" fmla="*/ 5909 h 10000"/>
              <a:gd name="connsiteX208" fmla="*/ 415 w 10000"/>
              <a:gd name="connsiteY208" fmla="*/ 5826 h 10000"/>
              <a:gd name="connsiteX209" fmla="*/ 1503 w 10000"/>
              <a:gd name="connsiteY209" fmla="*/ 5826 h 10000"/>
              <a:gd name="connsiteX210" fmla="*/ 1658 w 10000"/>
              <a:gd name="connsiteY210" fmla="*/ 5785 h 10000"/>
              <a:gd name="connsiteX211" fmla="*/ 1710 w 10000"/>
              <a:gd name="connsiteY211" fmla="*/ 5785 h 10000"/>
              <a:gd name="connsiteX212" fmla="*/ 2228 w 10000"/>
              <a:gd name="connsiteY212" fmla="*/ 5248 h 10000"/>
              <a:gd name="connsiteX213" fmla="*/ 2332 w 10000"/>
              <a:gd name="connsiteY213" fmla="*/ 5165 h 10000"/>
              <a:gd name="connsiteX214" fmla="*/ 2798 w 10000"/>
              <a:gd name="connsiteY214" fmla="*/ 4752 h 10000"/>
              <a:gd name="connsiteX215" fmla="*/ 3057 w 10000"/>
              <a:gd name="connsiteY215" fmla="*/ 4504 h 10000"/>
              <a:gd name="connsiteX216" fmla="*/ 3212 w 10000"/>
              <a:gd name="connsiteY216" fmla="*/ 4380 h 10000"/>
              <a:gd name="connsiteX217" fmla="*/ 3627 w 10000"/>
              <a:gd name="connsiteY217" fmla="*/ 3760 h 10000"/>
              <a:gd name="connsiteX218" fmla="*/ 4145 w 10000"/>
              <a:gd name="connsiteY218" fmla="*/ 3512 h 10000"/>
              <a:gd name="connsiteX219" fmla="*/ 5026 w 10000"/>
              <a:gd name="connsiteY219" fmla="*/ 2810 h 10000"/>
              <a:gd name="connsiteX220" fmla="*/ 4870 w 10000"/>
              <a:gd name="connsiteY220" fmla="*/ 2562 h 10000"/>
              <a:gd name="connsiteX221" fmla="*/ 4819 w 10000"/>
              <a:gd name="connsiteY221" fmla="*/ 2397 h 10000"/>
              <a:gd name="connsiteX222" fmla="*/ 4819 w 10000"/>
              <a:gd name="connsiteY222" fmla="*/ 1240 h 10000"/>
              <a:gd name="connsiteX223" fmla="*/ 4145 w 10000"/>
              <a:gd name="connsiteY223" fmla="*/ 744 h 10000"/>
              <a:gd name="connsiteX224" fmla="*/ 4974 w 10000"/>
              <a:gd name="connsiteY224" fmla="*/ 744 h 10000"/>
              <a:gd name="connsiteX225" fmla="*/ 5803 w 10000"/>
              <a:gd name="connsiteY225" fmla="*/ 744 h 10000"/>
              <a:gd name="connsiteX226" fmla="*/ 5803 w 10000"/>
              <a:gd name="connsiteY226" fmla="*/ 702 h 10000"/>
              <a:gd name="connsiteX227" fmla="*/ 5803 w 10000"/>
              <a:gd name="connsiteY227" fmla="*/ 661 h 10000"/>
              <a:gd name="connsiteX228" fmla="*/ 5803 w 10000"/>
              <a:gd name="connsiteY228" fmla="*/ 620 h 10000"/>
              <a:gd name="connsiteX229" fmla="*/ 5803 w 10000"/>
              <a:gd name="connsiteY229" fmla="*/ 579 h 10000"/>
              <a:gd name="connsiteX230" fmla="*/ 5855 w 10000"/>
              <a:gd name="connsiteY230" fmla="*/ 537 h 10000"/>
              <a:gd name="connsiteX231" fmla="*/ 5855 w 10000"/>
              <a:gd name="connsiteY231" fmla="*/ 496 h 10000"/>
              <a:gd name="connsiteX232" fmla="*/ 5855 w 10000"/>
              <a:gd name="connsiteY232" fmla="*/ 455 h 10000"/>
              <a:gd name="connsiteX233" fmla="*/ 5855 w 10000"/>
              <a:gd name="connsiteY233" fmla="*/ 413 h 10000"/>
              <a:gd name="connsiteX234" fmla="*/ 5855 w 10000"/>
              <a:gd name="connsiteY234" fmla="*/ 372 h 10000"/>
              <a:gd name="connsiteX235" fmla="*/ 5855 w 10000"/>
              <a:gd name="connsiteY235" fmla="*/ 331 h 10000"/>
              <a:gd name="connsiteX236" fmla="*/ 5803 w 10000"/>
              <a:gd name="connsiteY236" fmla="*/ 331 h 10000"/>
              <a:gd name="connsiteX237" fmla="*/ 5803 w 10000"/>
              <a:gd name="connsiteY237" fmla="*/ 289 h 10000"/>
              <a:gd name="connsiteX238" fmla="*/ 5803 w 10000"/>
              <a:gd name="connsiteY238" fmla="*/ 248 h 10000"/>
              <a:gd name="connsiteX239" fmla="*/ 5803 w 10000"/>
              <a:gd name="connsiteY239" fmla="*/ 207 h 10000"/>
              <a:gd name="connsiteX240" fmla="*/ 5803 w 10000"/>
              <a:gd name="connsiteY240" fmla="*/ 165 h 10000"/>
              <a:gd name="connsiteX241" fmla="*/ 5803 w 10000"/>
              <a:gd name="connsiteY241" fmla="*/ 124 h 10000"/>
              <a:gd name="connsiteX242" fmla="*/ 5803 w 10000"/>
              <a:gd name="connsiteY242" fmla="*/ 83 h 10000"/>
              <a:gd name="connsiteX243" fmla="*/ 5803 w 10000"/>
              <a:gd name="connsiteY243" fmla="*/ 41 h 10000"/>
              <a:gd name="connsiteX244" fmla="*/ 5803 w 10000"/>
              <a:gd name="connsiteY24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3005 w 10000"/>
              <a:gd name="connsiteY181" fmla="*/ 7562 h 10000"/>
              <a:gd name="connsiteX182" fmla="*/ 2902 w 10000"/>
              <a:gd name="connsiteY182" fmla="*/ 7355 h 10000"/>
              <a:gd name="connsiteX183" fmla="*/ 2850 w 10000"/>
              <a:gd name="connsiteY183" fmla="*/ 7314 h 10000"/>
              <a:gd name="connsiteX184" fmla="*/ 1036 w 10000"/>
              <a:gd name="connsiteY184" fmla="*/ 6612 h 10000"/>
              <a:gd name="connsiteX185" fmla="*/ 829 w 10000"/>
              <a:gd name="connsiteY185" fmla="*/ 6488 h 10000"/>
              <a:gd name="connsiteX186" fmla="*/ 829 w 10000"/>
              <a:gd name="connsiteY186" fmla="*/ 6446 h 10000"/>
              <a:gd name="connsiteX187" fmla="*/ 777 w 10000"/>
              <a:gd name="connsiteY187" fmla="*/ 6446 h 10000"/>
              <a:gd name="connsiteX188" fmla="*/ 725 w 10000"/>
              <a:gd name="connsiteY188" fmla="*/ 6446 h 10000"/>
              <a:gd name="connsiteX189" fmla="*/ 674 w 10000"/>
              <a:gd name="connsiteY189" fmla="*/ 6405 h 10000"/>
              <a:gd name="connsiteX190" fmla="*/ 622 w 10000"/>
              <a:gd name="connsiteY190" fmla="*/ 6405 h 10000"/>
              <a:gd name="connsiteX191" fmla="*/ 570 w 10000"/>
              <a:gd name="connsiteY191" fmla="*/ 6405 h 10000"/>
              <a:gd name="connsiteX192" fmla="*/ 570 w 10000"/>
              <a:gd name="connsiteY192" fmla="*/ 6364 h 10000"/>
              <a:gd name="connsiteX193" fmla="*/ 518 w 10000"/>
              <a:gd name="connsiteY193" fmla="*/ 6364 h 10000"/>
              <a:gd name="connsiteX194" fmla="*/ 466 w 10000"/>
              <a:gd name="connsiteY194" fmla="*/ 6364 h 10000"/>
              <a:gd name="connsiteX195" fmla="*/ 466 w 10000"/>
              <a:gd name="connsiteY195" fmla="*/ 6405 h 10000"/>
              <a:gd name="connsiteX196" fmla="*/ 415 w 10000"/>
              <a:gd name="connsiteY196" fmla="*/ 6405 h 10000"/>
              <a:gd name="connsiteX197" fmla="*/ 363 w 10000"/>
              <a:gd name="connsiteY197" fmla="*/ 6405 h 10000"/>
              <a:gd name="connsiteX198" fmla="*/ 311 w 10000"/>
              <a:gd name="connsiteY198" fmla="*/ 6405 h 10000"/>
              <a:gd name="connsiteX199" fmla="*/ 259 w 10000"/>
              <a:gd name="connsiteY199" fmla="*/ 6405 h 10000"/>
              <a:gd name="connsiteX200" fmla="*/ 207 w 10000"/>
              <a:gd name="connsiteY200" fmla="*/ 6405 h 10000"/>
              <a:gd name="connsiteX201" fmla="*/ 155 w 10000"/>
              <a:gd name="connsiteY201" fmla="*/ 6405 h 10000"/>
              <a:gd name="connsiteX202" fmla="*/ 104 w 10000"/>
              <a:gd name="connsiteY202" fmla="*/ 6405 h 10000"/>
              <a:gd name="connsiteX203" fmla="*/ 52 w 10000"/>
              <a:gd name="connsiteY203" fmla="*/ 6405 h 10000"/>
              <a:gd name="connsiteX204" fmla="*/ 0 w 10000"/>
              <a:gd name="connsiteY204" fmla="*/ 6405 h 10000"/>
              <a:gd name="connsiteX205" fmla="*/ 52 w 10000"/>
              <a:gd name="connsiteY205" fmla="*/ 5826 h 10000"/>
              <a:gd name="connsiteX206" fmla="*/ 207 w 10000"/>
              <a:gd name="connsiteY206" fmla="*/ 5909 h 10000"/>
              <a:gd name="connsiteX207" fmla="*/ 415 w 10000"/>
              <a:gd name="connsiteY207" fmla="*/ 5826 h 10000"/>
              <a:gd name="connsiteX208" fmla="*/ 1503 w 10000"/>
              <a:gd name="connsiteY208" fmla="*/ 5826 h 10000"/>
              <a:gd name="connsiteX209" fmla="*/ 1658 w 10000"/>
              <a:gd name="connsiteY209" fmla="*/ 5785 h 10000"/>
              <a:gd name="connsiteX210" fmla="*/ 1710 w 10000"/>
              <a:gd name="connsiteY210" fmla="*/ 5785 h 10000"/>
              <a:gd name="connsiteX211" fmla="*/ 2228 w 10000"/>
              <a:gd name="connsiteY211" fmla="*/ 5248 h 10000"/>
              <a:gd name="connsiteX212" fmla="*/ 2332 w 10000"/>
              <a:gd name="connsiteY212" fmla="*/ 5165 h 10000"/>
              <a:gd name="connsiteX213" fmla="*/ 2798 w 10000"/>
              <a:gd name="connsiteY213" fmla="*/ 4752 h 10000"/>
              <a:gd name="connsiteX214" fmla="*/ 3057 w 10000"/>
              <a:gd name="connsiteY214" fmla="*/ 4504 h 10000"/>
              <a:gd name="connsiteX215" fmla="*/ 3212 w 10000"/>
              <a:gd name="connsiteY215" fmla="*/ 4380 h 10000"/>
              <a:gd name="connsiteX216" fmla="*/ 3627 w 10000"/>
              <a:gd name="connsiteY216" fmla="*/ 3760 h 10000"/>
              <a:gd name="connsiteX217" fmla="*/ 4145 w 10000"/>
              <a:gd name="connsiteY217" fmla="*/ 3512 h 10000"/>
              <a:gd name="connsiteX218" fmla="*/ 5026 w 10000"/>
              <a:gd name="connsiteY218" fmla="*/ 2810 h 10000"/>
              <a:gd name="connsiteX219" fmla="*/ 4870 w 10000"/>
              <a:gd name="connsiteY219" fmla="*/ 2562 h 10000"/>
              <a:gd name="connsiteX220" fmla="*/ 4819 w 10000"/>
              <a:gd name="connsiteY220" fmla="*/ 2397 h 10000"/>
              <a:gd name="connsiteX221" fmla="*/ 4819 w 10000"/>
              <a:gd name="connsiteY221" fmla="*/ 1240 h 10000"/>
              <a:gd name="connsiteX222" fmla="*/ 4145 w 10000"/>
              <a:gd name="connsiteY222" fmla="*/ 744 h 10000"/>
              <a:gd name="connsiteX223" fmla="*/ 4974 w 10000"/>
              <a:gd name="connsiteY223" fmla="*/ 744 h 10000"/>
              <a:gd name="connsiteX224" fmla="*/ 5803 w 10000"/>
              <a:gd name="connsiteY224" fmla="*/ 744 h 10000"/>
              <a:gd name="connsiteX225" fmla="*/ 5803 w 10000"/>
              <a:gd name="connsiteY225" fmla="*/ 702 h 10000"/>
              <a:gd name="connsiteX226" fmla="*/ 5803 w 10000"/>
              <a:gd name="connsiteY226" fmla="*/ 661 h 10000"/>
              <a:gd name="connsiteX227" fmla="*/ 5803 w 10000"/>
              <a:gd name="connsiteY227" fmla="*/ 620 h 10000"/>
              <a:gd name="connsiteX228" fmla="*/ 5803 w 10000"/>
              <a:gd name="connsiteY228" fmla="*/ 579 h 10000"/>
              <a:gd name="connsiteX229" fmla="*/ 5855 w 10000"/>
              <a:gd name="connsiteY229" fmla="*/ 537 h 10000"/>
              <a:gd name="connsiteX230" fmla="*/ 5855 w 10000"/>
              <a:gd name="connsiteY230" fmla="*/ 496 h 10000"/>
              <a:gd name="connsiteX231" fmla="*/ 5855 w 10000"/>
              <a:gd name="connsiteY231" fmla="*/ 455 h 10000"/>
              <a:gd name="connsiteX232" fmla="*/ 5855 w 10000"/>
              <a:gd name="connsiteY232" fmla="*/ 413 h 10000"/>
              <a:gd name="connsiteX233" fmla="*/ 5855 w 10000"/>
              <a:gd name="connsiteY233" fmla="*/ 372 h 10000"/>
              <a:gd name="connsiteX234" fmla="*/ 5855 w 10000"/>
              <a:gd name="connsiteY234" fmla="*/ 331 h 10000"/>
              <a:gd name="connsiteX235" fmla="*/ 5803 w 10000"/>
              <a:gd name="connsiteY235" fmla="*/ 331 h 10000"/>
              <a:gd name="connsiteX236" fmla="*/ 5803 w 10000"/>
              <a:gd name="connsiteY236" fmla="*/ 289 h 10000"/>
              <a:gd name="connsiteX237" fmla="*/ 5803 w 10000"/>
              <a:gd name="connsiteY237" fmla="*/ 248 h 10000"/>
              <a:gd name="connsiteX238" fmla="*/ 5803 w 10000"/>
              <a:gd name="connsiteY238" fmla="*/ 207 h 10000"/>
              <a:gd name="connsiteX239" fmla="*/ 5803 w 10000"/>
              <a:gd name="connsiteY239" fmla="*/ 165 h 10000"/>
              <a:gd name="connsiteX240" fmla="*/ 5803 w 10000"/>
              <a:gd name="connsiteY240" fmla="*/ 124 h 10000"/>
              <a:gd name="connsiteX241" fmla="*/ 5803 w 10000"/>
              <a:gd name="connsiteY241" fmla="*/ 83 h 10000"/>
              <a:gd name="connsiteX242" fmla="*/ 5803 w 10000"/>
              <a:gd name="connsiteY242" fmla="*/ 41 h 10000"/>
              <a:gd name="connsiteX243" fmla="*/ 5803 w 10000"/>
              <a:gd name="connsiteY24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2902 w 10000"/>
              <a:gd name="connsiteY181" fmla="*/ 7355 h 10000"/>
              <a:gd name="connsiteX182" fmla="*/ 2850 w 10000"/>
              <a:gd name="connsiteY182" fmla="*/ 7314 h 10000"/>
              <a:gd name="connsiteX183" fmla="*/ 1036 w 10000"/>
              <a:gd name="connsiteY183" fmla="*/ 6612 h 10000"/>
              <a:gd name="connsiteX184" fmla="*/ 829 w 10000"/>
              <a:gd name="connsiteY184" fmla="*/ 6488 h 10000"/>
              <a:gd name="connsiteX185" fmla="*/ 829 w 10000"/>
              <a:gd name="connsiteY185" fmla="*/ 6446 h 10000"/>
              <a:gd name="connsiteX186" fmla="*/ 777 w 10000"/>
              <a:gd name="connsiteY186" fmla="*/ 6446 h 10000"/>
              <a:gd name="connsiteX187" fmla="*/ 725 w 10000"/>
              <a:gd name="connsiteY187" fmla="*/ 6446 h 10000"/>
              <a:gd name="connsiteX188" fmla="*/ 674 w 10000"/>
              <a:gd name="connsiteY188" fmla="*/ 6405 h 10000"/>
              <a:gd name="connsiteX189" fmla="*/ 622 w 10000"/>
              <a:gd name="connsiteY189" fmla="*/ 6405 h 10000"/>
              <a:gd name="connsiteX190" fmla="*/ 570 w 10000"/>
              <a:gd name="connsiteY190" fmla="*/ 6405 h 10000"/>
              <a:gd name="connsiteX191" fmla="*/ 570 w 10000"/>
              <a:gd name="connsiteY191" fmla="*/ 6364 h 10000"/>
              <a:gd name="connsiteX192" fmla="*/ 518 w 10000"/>
              <a:gd name="connsiteY192" fmla="*/ 6364 h 10000"/>
              <a:gd name="connsiteX193" fmla="*/ 466 w 10000"/>
              <a:gd name="connsiteY193" fmla="*/ 6364 h 10000"/>
              <a:gd name="connsiteX194" fmla="*/ 466 w 10000"/>
              <a:gd name="connsiteY194" fmla="*/ 6405 h 10000"/>
              <a:gd name="connsiteX195" fmla="*/ 415 w 10000"/>
              <a:gd name="connsiteY195" fmla="*/ 6405 h 10000"/>
              <a:gd name="connsiteX196" fmla="*/ 363 w 10000"/>
              <a:gd name="connsiteY196" fmla="*/ 6405 h 10000"/>
              <a:gd name="connsiteX197" fmla="*/ 311 w 10000"/>
              <a:gd name="connsiteY197" fmla="*/ 6405 h 10000"/>
              <a:gd name="connsiteX198" fmla="*/ 259 w 10000"/>
              <a:gd name="connsiteY198" fmla="*/ 6405 h 10000"/>
              <a:gd name="connsiteX199" fmla="*/ 207 w 10000"/>
              <a:gd name="connsiteY199" fmla="*/ 6405 h 10000"/>
              <a:gd name="connsiteX200" fmla="*/ 155 w 10000"/>
              <a:gd name="connsiteY200" fmla="*/ 6405 h 10000"/>
              <a:gd name="connsiteX201" fmla="*/ 104 w 10000"/>
              <a:gd name="connsiteY201" fmla="*/ 6405 h 10000"/>
              <a:gd name="connsiteX202" fmla="*/ 52 w 10000"/>
              <a:gd name="connsiteY202" fmla="*/ 6405 h 10000"/>
              <a:gd name="connsiteX203" fmla="*/ 0 w 10000"/>
              <a:gd name="connsiteY203" fmla="*/ 6405 h 10000"/>
              <a:gd name="connsiteX204" fmla="*/ 52 w 10000"/>
              <a:gd name="connsiteY204" fmla="*/ 5826 h 10000"/>
              <a:gd name="connsiteX205" fmla="*/ 207 w 10000"/>
              <a:gd name="connsiteY205" fmla="*/ 5909 h 10000"/>
              <a:gd name="connsiteX206" fmla="*/ 415 w 10000"/>
              <a:gd name="connsiteY206" fmla="*/ 5826 h 10000"/>
              <a:gd name="connsiteX207" fmla="*/ 1503 w 10000"/>
              <a:gd name="connsiteY207" fmla="*/ 5826 h 10000"/>
              <a:gd name="connsiteX208" fmla="*/ 1658 w 10000"/>
              <a:gd name="connsiteY208" fmla="*/ 5785 h 10000"/>
              <a:gd name="connsiteX209" fmla="*/ 1710 w 10000"/>
              <a:gd name="connsiteY209" fmla="*/ 5785 h 10000"/>
              <a:gd name="connsiteX210" fmla="*/ 2228 w 10000"/>
              <a:gd name="connsiteY210" fmla="*/ 5248 h 10000"/>
              <a:gd name="connsiteX211" fmla="*/ 2332 w 10000"/>
              <a:gd name="connsiteY211" fmla="*/ 5165 h 10000"/>
              <a:gd name="connsiteX212" fmla="*/ 2798 w 10000"/>
              <a:gd name="connsiteY212" fmla="*/ 4752 h 10000"/>
              <a:gd name="connsiteX213" fmla="*/ 3057 w 10000"/>
              <a:gd name="connsiteY213" fmla="*/ 4504 h 10000"/>
              <a:gd name="connsiteX214" fmla="*/ 3212 w 10000"/>
              <a:gd name="connsiteY214" fmla="*/ 4380 h 10000"/>
              <a:gd name="connsiteX215" fmla="*/ 3627 w 10000"/>
              <a:gd name="connsiteY215" fmla="*/ 3760 h 10000"/>
              <a:gd name="connsiteX216" fmla="*/ 4145 w 10000"/>
              <a:gd name="connsiteY216" fmla="*/ 3512 h 10000"/>
              <a:gd name="connsiteX217" fmla="*/ 5026 w 10000"/>
              <a:gd name="connsiteY217" fmla="*/ 2810 h 10000"/>
              <a:gd name="connsiteX218" fmla="*/ 4870 w 10000"/>
              <a:gd name="connsiteY218" fmla="*/ 2562 h 10000"/>
              <a:gd name="connsiteX219" fmla="*/ 4819 w 10000"/>
              <a:gd name="connsiteY219" fmla="*/ 2397 h 10000"/>
              <a:gd name="connsiteX220" fmla="*/ 4819 w 10000"/>
              <a:gd name="connsiteY220" fmla="*/ 1240 h 10000"/>
              <a:gd name="connsiteX221" fmla="*/ 4145 w 10000"/>
              <a:gd name="connsiteY221" fmla="*/ 744 h 10000"/>
              <a:gd name="connsiteX222" fmla="*/ 4974 w 10000"/>
              <a:gd name="connsiteY222" fmla="*/ 744 h 10000"/>
              <a:gd name="connsiteX223" fmla="*/ 5803 w 10000"/>
              <a:gd name="connsiteY223" fmla="*/ 744 h 10000"/>
              <a:gd name="connsiteX224" fmla="*/ 5803 w 10000"/>
              <a:gd name="connsiteY224" fmla="*/ 702 h 10000"/>
              <a:gd name="connsiteX225" fmla="*/ 5803 w 10000"/>
              <a:gd name="connsiteY225" fmla="*/ 661 h 10000"/>
              <a:gd name="connsiteX226" fmla="*/ 5803 w 10000"/>
              <a:gd name="connsiteY226" fmla="*/ 620 h 10000"/>
              <a:gd name="connsiteX227" fmla="*/ 5803 w 10000"/>
              <a:gd name="connsiteY227" fmla="*/ 579 h 10000"/>
              <a:gd name="connsiteX228" fmla="*/ 5855 w 10000"/>
              <a:gd name="connsiteY228" fmla="*/ 537 h 10000"/>
              <a:gd name="connsiteX229" fmla="*/ 5855 w 10000"/>
              <a:gd name="connsiteY229" fmla="*/ 496 h 10000"/>
              <a:gd name="connsiteX230" fmla="*/ 5855 w 10000"/>
              <a:gd name="connsiteY230" fmla="*/ 455 h 10000"/>
              <a:gd name="connsiteX231" fmla="*/ 5855 w 10000"/>
              <a:gd name="connsiteY231" fmla="*/ 413 h 10000"/>
              <a:gd name="connsiteX232" fmla="*/ 5855 w 10000"/>
              <a:gd name="connsiteY232" fmla="*/ 372 h 10000"/>
              <a:gd name="connsiteX233" fmla="*/ 5855 w 10000"/>
              <a:gd name="connsiteY233" fmla="*/ 331 h 10000"/>
              <a:gd name="connsiteX234" fmla="*/ 5803 w 10000"/>
              <a:gd name="connsiteY234" fmla="*/ 331 h 10000"/>
              <a:gd name="connsiteX235" fmla="*/ 5803 w 10000"/>
              <a:gd name="connsiteY235" fmla="*/ 289 h 10000"/>
              <a:gd name="connsiteX236" fmla="*/ 5803 w 10000"/>
              <a:gd name="connsiteY236" fmla="*/ 248 h 10000"/>
              <a:gd name="connsiteX237" fmla="*/ 5803 w 10000"/>
              <a:gd name="connsiteY237" fmla="*/ 207 h 10000"/>
              <a:gd name="connsiteX238" fmla="*/ 5803 w 10000"/>
              <a:gd name="connsiteY238" fmla="*/ 165 h 10000"/>
              <a:gd name="connsiteX239" fmla="*/ 5803 w 10000"/>
              <a:gd name="connsiteY239" fmla="*/ 124 h 10000"/>
              <a:gd name="connsiteX240" fmla="*/ 5803 w 10000"/>
              <a:gd name="connsiteY240" fmla="*/ 83 h 10000"/>
              <a:gd name="connsiteX241" fmla="*/ 5803 w 10000"/>
              <a:gd name="connsiteY241" fmla="*/ 41 h 10000"/>
              <a:gd name="connsiteX242" fmla="*/ 5803 w 10000"/>
              <a:gd name="connsiteY24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2850 w 10000"/>
              <a:gd name="connsiteY181" fmla="*/ 7314 h 10000"/>
              <a:gd name="connsiteX182" fmla="*/ 1036 w 10000"/>
              <a:gd name="connsiteY182" fmla="*/ 6612 h 10000"/>
              <a:gd name="connsiteX183" fmla="*/ 829 w 10000"/>
              <a:gd name="connsiteY183" fmla="*/ 6488 h 10000"/>
              <a:gd name="connsiteX184" fmla="*/ 829 w 10000"/>
              <a:gd name="connsiteY184" fmla="*/ 6446 h 10000"/>
              <a:gd name="connsiteX185" fmla="*/ 777 w 10000"/>
              <a:gd name="connsiteY185" fmla="*/ 6446 h 10000"/>
              <a:gd name="connsiteX186" fmla="*/ 725 w 10000"/>
              <a:gd name="connsiteY186" fmla="*/ 6446 h 10000"/>
              <a:gd name="connsiteX187" fmla="*/ 674 w 10000"/>
              <a:gd name="connsiteY187" fmla="*/ 6405 h 10000"/>
              <a:gd name="connsiteX188" fmla="*/ 622 w 10000"/>
              <a:gd name="connsiteY188" fmla="*/ 6405 h 10000"/>
              <a:gd name="connsiteX189" fmla="*/ 570 w 10000"/>
              <a:gd name="connsiteY189" fmla="*/ 6405 h 10000"/>
              <a:gd name="connsiteX190" fmla="*/ 570 w 10000"/>
              <a:gd name="connsiteY190" fmla="*/ 6364 h 10000"/>
              <a:gd name="connsiteX191" fmla="*/ 518 w 10000"/>
              <a:gd name="connsiteY191" fmla="*/ 6364 h 10000"/>
              <a:gd name="connsiteX192" fmla="*/ 466 w 10000"/>
              <a:gd name="connsiteY192" fmla="*/ 6364 h 10000"/>
              <a:gd name="connsiteX193" fmla="*/ 466 w 10000"/>
              <a:gd name="connsiteY193" fmla="*/ 6405 h 10000"/>
              <a:gd name="connsiteX194" fmla="*/ 415 w 10000"/>
              <a:gd name="connsiteY194" fmla="*/ 6405 h 10000"/>
              <a:gd name="connsiteX195" fmla="*/ 363 w 10000"/>
              <a:gd name="connsiteY195" fmla="*/ 6405 h 10000"/>
              <a:gd name="connsiteX196" fmla="*/ 311 w 10000"/>
              <a:gd name="connsiteY196" fmla="*/ 6405 h 10000"/>
              <a:gd name="connsiteX197" fmla="*/ 259 w 10000"/>
              <a:gd name="connsiteY197" fmla="*/ 6405 h 10000"/>
              <a:gd name="connsiteX198" fmla="*/ 207 w 10000"/>
              <a:gd name="connsiteY198" fmla="*/ 6405 h 10000"/>
              <a:gd name="connsiteX199" fmla="*/ 155 w 10000"/>
              <a:gd name="connsiteY199" fmla="*/ 6405 h 10000"/>
              <a:gd name="connsiteX200" fmla="*/ 104 w 10000"/>
              <a:gd name="connsiteY200" fmla="*/ 6405 h 10000"/>
              <a:gd name="connsiteX201" fmla="*/ 52 w 10000"/>
              <a:gd name="connsiteY201" fmla="*/ 6405 h 10000"/>
              <a:gd name="connsiteX202" fmla="*/ 0 w 10000"/>
              <a:gd name="connsiteY202" fmla="*/ 6405 h 10000"/>
              <a:gd name="connsiteX203" fmla="*/ 52 w 10000"/>
              <a:gd name="connsiteY203" fmla="*/ 5826 h 10000"/>
              <a:gd name="connsiteX204" fmla="*/ 207 w 10000"/>
              <a:gd name="connsiteY204" fmla="*/ 5909 h 10000"/>
              <a:gd name="connsiteX205" fmla="*/ 415 w 10000"/>
              <a:gd name="connsiteY205" fmla="*/ 5826 h 10000"/>
              <a:gd name="connsiteX206" fmla="*/ 1503 w 10000"/>
              <a:gd name="connsiteY206" fmla="*/ 5826 h 10000"/>
              <a:gd name="connsiteX207" fmla="*/ 1658 w 10000"/>
              <a:gd name="connsiteY207" fmla="*/ 5785 h 10000"/>
              <a:gd name="connsiteX208" fmla="*/ 1710 w 10000"/>
              <a:gd name="connsiteY208" fmla="*/ 5785 h 10000"/>
              <a:gd name="connsiteX209" fmla="*/ 2228 w 10000"/>
              <a:gd name="connsiteY209" fmla="*/ 5248 h 10000"/>
              <a:gd name="connsiteX210" fmla="*/ 2332 w 10000"/>
              <a:gd name="connsiteY210" fmla="*/ 5165 h 10000"/>
              <a:gd name="connsiteX211" fmla="*/ 2798 w 10000"/>
              <a:gd name="connsiteY211" fmla="*/ 4752 h 10000"/>
              <a:gd name="connsiteX212" fmla="*/ 3057 w 10000"/>
              <a:gd name="connsiteY212" fmla="*/ 4504 h 10000"/>
              <a:gd name="connsiteX213" fmla="*/ 3212 w 10000"/>
              <a:gd name="connsiteY213" fmla="*/ 4380 h 10000"/>
              <a:gd name="connsiteX214" fmla="*/ 3627 w 10000"/>
              <a:gd name="connsiteY214" fmla="*/ 3760 h 10000"/>
              <a:gd name="connsiteX215" fmla="*/ 4145 w 10000"/>
              <a:gd name="connsiteY215" fmla="*/ 3512 h 10000"/>
              <a:gd name="connsiteX216" fmla="*/ 5026 w 10000"/>
              <a:gd name="connsiteY216" fmla="*/ 2810 h 10000"/>
              <a:gd name="connsiteX217" fmla="*/ 4870 w 10000"/>
              <a:gd name="connsiteY217" fmla="*/ 2562 h 10000"/>
              <a:gd name="connsiteX218" fmla="*/ 4819 w 10000"/>
              <a:gd name="connsiteY218" fmla="*/ 2397 h 10000"/>
              <a:gd name="connsiteX219" fmla="*/ 4819 w 10000"/>
              <a:gd name="connsiteY219" fmla="*/ 1240 h 10000"/>
              <a:gd name="connsiteX220" fmla="*/ 4145 w 10000"/>
              <a:gd name="connsiteY220" fmla="*/ 744 h 10000"/>
              <a:gd name="connsiteX221" fmla="*/ 4974 w 10000"/>
              <a:gd name="connsiteY221" fmla="*/ 744 h 10000"/>
              <a:gd name="connsiteX222" fmla="*/ 5803 w 10000"/>
              <a:gd name="connsiteY222" fmla="*/ 744 h 10000"/>
              <a:gd name="connsiteX223" fmla="*/ 5803 w 10000"/>
              <a:gd name="connsiteY223" fmla="*/ 702 h 10000"/>
              <a:gd name="connsiteX224" fmla="*/ 5803 w 10000"/>
              <a:gd name="connsiteY224" fmla="*/ 661 h 10000"/>
              <a:gd name="connsiteX225" fmla="*/ 5803 w 10000"/>
              <a:gd name="connsiteY225" fmla="*/ 620 h 10000"/>
              <a:gd name="connsiteX226" fmla="*/ 5803 w 10000"/>
              <a:gd name="connsiteY226" fmla="*/ 579 h 10000"/>
              <a:gd name="connsiteX227" fmla="*/ 5855 w 10000"/>
              <a:gd name="connsiteY227" fmla="*/ 537 h 10000"/>
              <a:gd name="connsiteX228" fmla="*/ 5855 w 10000"/>
              <a:gd name="connsiteY228" fmla="*/ 496 h 10000"/>
              <a:gd name="connsiteX229" fmla="*/ 5855 w 10000"/>
              <a:gd name="connsiteY229" fmla="*/ 455 h 10000"/>
              <a:gd name="connsiteX230" fmla="*/ 5855 w 10000"/>
              <a:gd name="connsiteY230" fmla="*/ 413 h 10000"/>
              <a:gd name="connsiteX231" fmla="*/ 5855 w 10000"/>
              <a:gd name="connsiteY231" fmla="*/ 372 h 10000"/>
              <a:gd name="connsiteX232" fmla="*/ 5855 w 10000"/>
              <a:gd name="connsiteY232" fmla="*/ 331 h 10000"/>
              <a:gd name="connsiteX233" fmla="*/ 5803 w 10000"/>
              <a:gd name="connsiteY233" fmla="*/ 331 h 10000"/>
              <a:gd name="connsiteX234" fmla="*/ 5803 w 10000"/>
              <a:gd name="connsiteY234" fmla="*/ 289 h 10000"/>
              <a:gd name="connsiteX235" fmla="*/ 5803 w 10000"/>
              <a:gd name="connsiteY235" fmla="*/ 248 h 10000"/>
              <a:gd name="connsiteX236" fmla="*/ 5803 w 10000"/>
              <a:gd name="connsiteY236" fmla="*/ 207 h 10000"/>
              <a:gd name="connsiteX237" fmla="*/ 5803 w 10000"/>
              <a:gd name="connsiteY237" fmla="*/ 165 h 10000"/>
              <a:gd name="connsiteX238" fmla="*/ 5803 w 10000"/>
              <a:gd name="connsiteY238" fmla="*/ 124 h 10000"/>
              <a:gd name="connsiteX239" fmla="*/ 5803 w 10000"/>
              <a:gd name="connsiteY239" fmla="*/ 83 h 10000"/>
              <a:gd name="connsiteX240" fmla="*/ 5803 w 10000"/>
              <a:gd name="connsiteY240" fmla="*/ 41 h 10000"/>
              <a:gd name="connsiteX241" fmla="*/ 5803 w 10000"/>
              <a:gd name="connsiteY24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1036 w 10000"/>
              <a:gd name="connsiteY181" fmla="*/ 6612 h 10000"/>
              <a:gd name="connsiteX182" fmla="*/ 829 w 10000"/>
              <a:gd name="connsiteY182" fmla="*/ 6488 h 10000"/>
              <a:gd name="connsiteX183" fmla="*/ 829 w 10000"/>
              <a:gd name="connsiteY183" fmla="*/ 6446 h 10000"/>
              <a:gd name="connsiteX184" fmla="*/ 777 w 10000"/>
              <a:gd name="connsiteY184" fmla="*/ 6446 h 10000"/>
              <a:gd name="connsiteX185" fmla="*/ 725 w 10000"/>
              <a:gd name="connsiteY185" fmla="*/ 6446 h 10000"/>
              <a:gd name="connsiteX186" fmla="*/ 674 w 10000"/>
              <a:gd name="connsiteY186" fmla="*/ 6405 h 10000"/>
              <a:gd name="connsiteX187" fmla="*/ 622 w 10000"/>
              <a:gd name="connsiteY187" fmla="*/ 6405 h 10000"/>
              <a:gd name="connsiteX188" fmla="*/ 570 w 10000"/>
              <a:gd name="connsiteY188" fmla="*/ 6405 h 10000"/>
              <a:gd name="connsiteX189" fmla="*/ 570 w 10000"/>
              <a:gd name="connsiteY189" fmla="*/ 6364 h 10000"/>
              <a:gd name="connsiteX190" fmla="*/ 518 w 10000"/>
              <a:gd name="connsiteY190" fmla="*/ 6364 h 10000"/>
              <a:gd name="connsiteX191" fmla="*/ 466 w 10000"/>
              <a:gd name="connsiteY191" fmla="*/ 6364 h 10000"/>
              <a:gd name="connsiteX192" fmla="*/ 466 w 10000"/>
              <a:gd name="connsiteY192" fmla="*/ 6405 h 10000"/>
              <a:gd name="connsiteX193" fmla="*/ 415 w 10000"/>
              <a:gd name="connsiteY193" fmla="*/ 6405 h 10000"/>
              <a:gd name="connsiteX194" fmla="*/ 363 w 10000"/>
              <a:gd name="connsiteY194" fmla="*/ 6405 h 10000"/>
              <a:gd name="connsiteX195" fmla="*/ 311 w 10000"/>
              <a:gd name="connsiteY195" fmla="*/ 6405 h 10000"/>
              <a:gd name="connsiteX196" fmla="*/ 259 w 10000"/>
              <a:gd name="connsiteY196" fmla="*/ 6405 h 10000"/>
              <a:gd name="connsiteX197" fmla="*/ 207 w 10000"/>
              <a:gd name="connsiteY197" fmla="*/ 6405 h 10000"/>
              <a:gd name="connsiteX198" fmla="*/ 155 w 10000"/>
              <a:gd name="connsiteY198" fmla="*/ 6405 h 10000"/>
              <a:gd name="connsiteX199" fmla="*/ 104 w 10000"/>
              <a:gd name="connsiteY199" fmla="*/ 6405 h 10000"/>
              <a:gd name="connsiteX200" fmla="*/ 52 w 10000"/>
              <a:gd name="connsiteY200" fmla="*/ 6405 h 10000"/>
              <a:gd name="connsiteX201" fmla="*/ 0 w 10000"/>
              <a:gd name="connsiteY201" fmla="*/ 6405 h 10000"/>
              <a:gd name="connsiteX202" fmla="*/ 52 w 10000"/>
              <a:gd name="connsiteY202" fmla="*/ 5826 h 10000"/>
              <a:gd name="connsiteX203" fmla="*/ 207 w 10000"/>
              <a:gd name="connsiteY203" fmla="*/ 5909 h 10000"/>
              <a:gd name="connsiteX204" fmla="*/ 415 w 10000"/>
              <a:gd name="connsiteY204" fmla="*/ 5826 h 10000"/>
              <a:gd name="connsiteX205" fmla="*/ 1503 w 10000"/>
              <a:gd name="connsiteY205" fmla="*/ 5826 h 10000"/>
              <a:gd name="connsiteX206" fmla="*/ 1658 w 10000"/>
              <a:gd name="connsiteY206" fmla="*/ 5785 h 10000"/>
              <a:gd name="connsiteX207" fmla="*/ 1710 w 10000"/>
              <a:gd name="connsiteY207" fmla="*/ 5785 h 10000"/>
              <a:gd name="connsiteX208" fmla="*/ 2228 w 10000"/>
              <a:gd name="connsiteY208" fmla="*/ 5248 h 10000"/>
              <a:gd name="connsiteX209" fmla="*/ 2332 w 10000"/>
              <a:gd name="connsiteY209" fmla="*/ 5165 h 10000"/>
              <a:gd name="connsiteX210" fmla="*/ 2798 w 10000"/>
              <a:gd name="connsiteY210" fmla="*/ 4752 h 10000"/>
              <a:gd name="connsiteX211" fmla="*/ 3057 w 10000"/>
              <a:gd name="connsiteY211" fmla="*/ 4504 h 10000"/>
              <a:gd name="connsiteX212" fmla="*/ 3212 w 10000"/>
              <a:gd name="connsiteY212" fmla="*/ 4380 h 10000"/>
              <a:gd name="connsiteX213" fmla="*/ 3627 w 10000"/>
              <a:gd name="connsiteY213" fmla="*/ 3760 h 10000"/>
              <a:gd name="connsiteX214" fmla="*/ 4145 w 10000"/>
              <a:gd name="connsiteY214" fmla="*/ 3512 h 10000"/>
              <a:gd name="connsiteX215" fmla="*/ 5026 w 10000"/>
              <a:gd name="connsiteY215" fmla="*/ 2810 h 10000"/>
              <a:gd name="connsiteX216" fmla="*/ 4870 w 10000"/>
              <a:gd name="connsiteY216" fmla="*/ 2562 h 10000"/>
              <a:gd name="connsiteX217" fmla="*/ 4819 w 10000"/>
              <a:gd name="connsiteY217" fmla="*/ 2397 h 10000"/>
              <a:gd name="connsiteX218" fmla="*/ 4819 w 10000"/>
              <a:gd name="connsiteY218" fmla="*/ 1240 h 10000"/>
              <a:gd name="connsiteX219" fmla="*/ 4145 w 10000"/>
              <a:gd name="connsiteY219" fmla="*/ 744 h 10000"/>
              <a:gd name="connsiteX220" fmla="*/ 4974 w 10000"/>
              <a:gd name="connsiteY220" fmla="*/ 744 h 10000"/>
              <a:gd name="connsiteX221" fmla="*/ 5803 w 10000"/>
              <a:gd name="connsiteY221" fmla="*/ 744 h 10000"/>
              <a:gd name="connsiteX222" fmla="*/ 5803 w 10000"/>
              <a:gd name="connsiteY222" fmla="*/ 702 h 10000"/>
              <a:gd name="connsiteX223" fmla="*/ 5803 w 10000"/>
              <a:gd name="connsiteY223" fmla="*/ 661 h 10000"/>
              <a:gd name="connsiteX224" fmla="*/ 5803 w 10000"/>
              <a:gd name="connsiteY224" fmla="*/ 620 h 10000"/>
              <a:gd name="connsiteX225" fmla="*/ 5803 w 10000"/>
              <a:gd name="connsiteY225" fmla="*/ 579 h 10000"/>
              <a:gd name="connsiteX226" fmla="*/ 5855 w 10000"/>
              <a:gd name="connsiteY226" fmla="*/ 537 h 10000"/>
              <a:gd name="connsiteX227" fmla="*/ 5855 w 10000"/>
              <a:gd name="connsiteY227" fmla="*/ 496 h 10000"/>
              <a:gd name="connsiteX228" fmla="*/ 5855 w 10000"/>
              <a:gd name="connsiteY228" fmla="*/ 455 h 10000"/>
              <a:gd name="connsiteX229" fmla="*/ 5855 w 10000"/>
              <a:gd name="connsiteY229" fmla="*/ 413 h 10000"/>
              <a:gd name="connsiteX230" fmla="*/ 5855 w 10000"/>
              <a:gd name="connsiteY230" fmla="*/ 372 h 10000"/>
              <a:gd name="connsiteX231" fmla="*/ 5855 w 10000"/>
              <a:gd name="connsiteY231" fmla="*/ 331 h 10000"/>
              <a:gd name="connsiteX232" fmla="*/ 5803 w 10000"/>
              <a:gd name="connsiteY232" fmla="*/ 331 h 10000"/>
              <a:gd name="connsiteX233" fmla="*/ 5803 w 10000"/>
              <a:gd name="connsiteY233" fmla="*/ 289 h 10000"/>
              <a:gd name="connsiteX234" fmla="*/ 5803 w 10000"/>
              <a:gd name="connsiteY234" fmla="*/ 248 h 10000"/>
              <a:gd name="connsiteX235" fmla="*/ 5803 w 10000"/>
              <a:gd name="connsiteY235" fmla="*/ 207 h 10000"/>
              <a:gd name="connsiteX236" fmla="*/ 5803 w 10000"/>
              <a:gd name="connsiteY236" fmla="*/ 165 h 10000"/>
              <a:gd name="connsiteX237" fmla="*/ 5803 w 10000"/>
              <a:gd name="connsiteY237" fmla="*/ 124 h 10000"/>
              <a:gd name="connsiteX238" fmla="*/ 5803 w 10000"/>
              <a:gd name="connsiteY238" fmla="*/ 83 h 10000"/>
              <a:gd name="connsiteX239" fmla="*/ 5803 w 10000"/>
              <a:gd name="connsiteY239" fmla="*/ 41 h 10000"/>
              <a:gd name="connsiteX240" fmla="*/ 5803 w 10000"/>
              <a:gd name="connsiteY24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829 w 10000"/>
              <a:gd name="connsiteY182" fmla="*/ 6446 h 10000"/>
              <a:gd name="connsiteX183" fmla="*/ 777 w 10000"/>
              <a:gd name="connsiteY183" fmla="*/ 6446 h 10000"/>
              <a:gd name="connsiteX184" fmla="*/ 725 w 10000"/>
              <a:gd name="connsiteY184" fmla="*/ 6446 h 10000"/>
              <a:gd name="connsiteX185" fmla="*/ 674 w 10000"/>
              <a:gd name="connsiteY185" fmla="*/ 6405 h 10000"/>
              <a:gd name="connsiteX186" fmla="*/ 622 w 10000"/>
              <a:gd name="connsiteY186" fmla="*/ 6405 h 10000"/>
              <a:gd name="connsiteX187" fmla="*/ 570 w 10000"/>
              <a:gd name="connsiteY187" fmla="*/ 6405 h 10000"/>
              <a:gd name="connsiteX188" fmla="*/ 570 w 10000"/>
              <a:gd name="connsiteY188" fmla="*/ 6364 h 10000"/>
              <a:gd name="connsiteX189" fmla="*/ 518 w 10000"/>
              <a:gd name="connsiteY189" fmla="*/ 6364 h 10000"/>
              <a:gd name="connsiteX190" fmla="*/ 466 w 10000"/>
              <a:gd name="connsiteY190" fmla="*/ 6364 h 10000"/>
              <a:gd name="connsiteX191" fmla="*/ 466 w 10000"/>
              <a:gd name="connsiteY191" fmla="*/ 6405 h 10000"/>
              <a:gd name="connsiteX192" fmla="*/ 415 w 10000"/>
              <a:gd name="connsiteY192" fmla="*/ 6405 h 10000"/>
              <a:gd name="connsiteX193" fmla="*/ 363 w 10000"/>
              <a:gd name="connsiteY193" fmla="*/ 6405 h 10000"/>
              <a:gd name="connsiteX194" fmla="*/ 311 w 10000"/>
              <a:gd name="connsiteY194" fmla="*/ 6405 h 10000"/>
              <a:gd name="connsiteX195" fmla="*/ 259 w 10000"/>
              <a:gd name="connsiteY195" fmla="*/ 6405 h 10000"/>
              <a:gd name="connsiteX196" fmla="*/ 207 w 10000"/>
              <a:gd name="connsiteY196" fmla="*/ 6405 h 10000"/>
              <a:gd name="connsiteX197" fmla="*/ 155 w 10000"/>
              <a:gd name="connsiteY197" fmla="*/ 6405 h 10000"/>
              <a:gd name="connsiteX198" fmla="*/ 104 w 10000"/>
              <a:gd name="connsiteY198" fmla="*/ 6405 h 10000"/>
              <a:gd name="connsiteX199" fmla="*/ 52 w 10000"/>
              <a:gd name="connsiteY199" fmla="*/ 6405 h 10000"/>
              <a:gd name="connsiteX200" fmla="*/ 0 w 10000"/>
              <a:gd name="connsiteY200" fmla="*/ 6405 h 10000"/>
              <a:gd name="connsiteX201" fmla="*/ 52 w 10000"/>
              <a:gd name="connsiteY201" fmla="*/ 5826 h 10000"/>
              <a:gd name="connsiteX202" fmla="*/ 207 w 10000"/>
              <a:gd name="connsiteY202" fmla="*/ 5909 h 10000"/>
              <a:gd name="connsiteX203" fmla="*/ 415 w 10000"/>
              <a:gd name="connsiteY203" fmla="*/ 5826 h 10000"/>
              <a:gd name="connsiteX204" fmla="*/ 1503 w 10000"/>
              <a:gd name="connsiteY204" fmla="*/ 5826 h 10000"/>
              <a:gd name="connsiteX205" fmla="*/ 1658 w 10000"/>
              <a:gd name="connsiteY205" fmla="*/ 5785 h 10000"/>
              <a:gd name="connsiteX206" fmla="*/ 1710 w 10000"/>
              <a:gd name="connsiteY206" fmla="*/ 5785 h 10000"/>
              <a:gd name="connsiteX207" fmla="*/ 2228 w 10000"/>
              <a:gd name="connsiteY207" fmla="*/ 5248 h 10000"/>
              <a:gd name="connsiteX208" fmla="*/ 2332 w 10000"/>
              <a:gd name="connsiteY208" fmla="*/ 5165 h 10000"/>
              <a:gd name="connsiteX209" fmla="*/ 2798 w 10000"/>
              <a:gd name="connsiteY209" fmla="*/ 4752 h 10000"/>
              <a:gd name="connsiteX210" fmla="*/ 3057 w 10000"/>
              <a:gd name="connsiteY210" fmla="*/ 4504 h 10000"/>
              <a:gd name="connsiteX211" fmla="*/ 3212 w 10000"/>
              <a:gd name="connsiteY211" fmla="*/ 4380 h 10000"/>
              <a:gd name="connsiteX212" fmla="*/ 3627 w 10000"/>
              <a:gd name="connsiteY212" fmla="*/ 3760 h 10000"/>
              <a:gd name="connsiteX213" fmla="*/ 4145 w 10000"/>
              <a:gd name="connsiteY213" fmla="*/ 3512 h 10000"/>
              <a:gd name="connsiteX214" fmla="*/ 5026 w 10000"/>
              <a:gd name="connsiteY214" fmla="*/ 2810 h 10000"/>
              <a:gd name="connsiteX215" fmla="*/ 4870 w 10000"/>
              <a:gd name="connsiteY215" fmla="*/ 2562 h 10000"/>
              <a:gd name="connsiteX216" fmla="*/ 4819 w 10000"/>
              <a:gd name="connsiteY216" fmla="*/ 2397 h 10000"/>
              <a:gd name="connsiteX217" fmla="*/ 4819 w 10000"/>
              <a:gd name="connsiteY217" fmla="*/ 1240 h 10000"/>
              <a:gd name="connsiteX218" fmla="*/ 4145 w 10000"/>
              <a:gd name="connsiteY218" fmla="*/ 744 h 10000"/>
              <a:gd name="connsiteX219" fmla="*/ 4974 w 10000"/>
              <a:gd name="connsiteY219" fmla="*/ 744 h 10000"/>
              <a:gd name="connsiteX220" fmla="*/ 5803 w 10000"/>
              <a:gd name="connsiteY220" fmla="*/ 744 h 10000"/>
              <a:gd name="connsiteX221" fmla="*/ 5803 w 10000"/>
              <a:gd name="connsiteY221" fmla="*/ 702 h 10000"/>
              <a:gd name="connsiteX222" fmla="*/ 5803 w 10000"/>
              <a:gd name="connsiteY222" fmla="*/ 661 h 10000"/>
              <a:gd name="connsiteX223" fmla="*/ 5803 w 10000"/>
              <a:gd name="connsiteY223" fmla="*/ 620 h 10000"/>
              <a:gd name="connsiteX224" fmla="*/ 5803 w 10000"/>
              <a:gd name="connsiteY224" fmla="*/ 579 h 10000"/>
              <a:gd name="connsiteX225" fmla="*/ 5855 w 10000"/>
              <a:gd name="connsiteY225" fmla="*/ 537 h 10000"/>
              <a:gd name="connsiteX226" fmla="*/ 5855 w 10000"/>
              <a:gd name="connsiteY226" fmla="*/ 496 h 10000"/>
              <a:gd name="connsiteX227" fmla="*/ 5855 w 10000"/>
              <a:gd name="connsiteY227" fmla="*/ 455 h 10000"/>
              <a:gd name="connsiteX228" fmla="*/ 5855 w 10000"/>
              <a:gd name="connsiteY228" fmla="*/ 413 h 10000"/>
              <a:gd name="connsiteX229" fmla="*/ 5855 w 10000"/>
              <a:gd name="connsiteY229" fmla="*/ 372 h 10000"/>
              <a:gd name="connsiteX230" fmla="*/ 5855 w 10000"/>
              <a:gd name="connsiteY230" fmla="*/ 331 h 10000"/>
              <a:gd name="connsiteX231" fmla="*/ 5803 w 10000"/>
              <a:gd name="connsiteY231" fmla="*/ 331 h 10000"/>
              <a:gd name="connsiteX232" fmla="*/ 5803 w 10000"/>
              <a:gd name="connsiteY232" fmla="*/ 289 h 10000"/>
              <a:gd name="connsiteX233" fmla="*/ 5803 w 10000"/>
              <a:gd name="connsiteY233" fmla="*/ 248 h 10000"/>
              <a:gd name="connsiteX234" fmla="*/ 5803 w 10000"/>
              <a:gd name="connsiteY234" fmla="*/ 207 h 10000"/>
              <a:gd name="connsiteX235" fmla="*/ 5803 w 10000"/>
              <a:gd name="connsiteY235" fmla="*/ 165 h 10000"/>
              <a:gd name="connsiteX236" fmla="*/ 5803 w 10000"/>
              <a:gd name="connsiteY236" fmla="*/ 124 h 10000"/>
              <a:gd name="connsiteX237" fmla="*/ 5803 w 10000"/>
              <a:gd name="connsiteY237" fmla="*/ 83 h 10000"/>
              <a:gd name="connsiteX238" fmla="*/ 5803 w 10000"/>
              <a:gd name="connsiteY238" fmla="*/ 41 h 10000"/>
              <a:gd name="connsiteX239" fmla="*/ 5803 w 10000"/>
              <a:gd name="connsiteY23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777 w 10000"/>
              <a:gd name="connsiteY182" fmla="*/ 6446 h 10000"/>
              <a:gd name="connsiteX183" fmla="*/ 725 w 10000"/>
              <a:gd name="connsiteY183" fmla="*/ 6446 h 10000"/>
              <a:gd name="connsiteX184" fmla="*/ 674 w 10000"/>
              <a:gd name="connsiteY184" fmla="*/ 6405 h 10000"/>
              <a:gd name="connsiteX185" fmla="*/ 622 w 10000"/>
              <a:gd name="connsiteY185" fmla="*/ 6405 h 10000"/>
              <a:gd name="connsiteX186" fmla="*/ 570 w 10000"/>
              <a:gd name="connsiteY186" fmla="*/ 6405 h 10000"/>
              <a:gd name="connsiteX187" fmla="*/ 570 w 10000"/>
              <a:gd name="connsiteY187" fmla="*/ 6364 h 10000"/>
              <a:gd name="connsiteX188" fmla="*/ 518 w 10000"/>
              <a:gd name="connsiteY188" fmla="*/ 6364 h 10000"/>
              <a:gd name="connsiteX189" fmla="*/ 466 w 10000"/>
              <a:gd name="connsiteY189" fmla="*/ 6364 h 10000"/>
              <a:gd name="connsiteX190" fmla="*/ 466 w 10000"/>
              <a:gd name="connsiteY190" fmla="*/ 6405 h 10000"/>
              <a:gd name="connsiteX191" fmla="*/ 415 w 10000"/>
              <a:gd name="connsiteY191" fmla="*/ 6405 h 10000"/>
              <a:gd name="connsiteX192" fmla="*/ 363 w 10000"/>
              <a:gd name="connsiteY192" fmla="*/ 6405 h 10000"/>
              <a:gd name="connsiteX193" fmla="*/ 311 w 10000"/>
              <a:gd name="connsiteY193" fmla="*/ 6405 h 10000"/>
              <a:gd name="connsiteX194" fmla="*/ 259 w 10000"/>
              <a:gd name="connsiteY194" fmla="*/ 6405 h 10000"/>
              <a:gd name="connsiteX195" fmla="*/ 207 w 10000"/>
              <a:gd name="connsiteY195" fmla="*/ 6405 h 10000"/>
              <a:gd name="connsiteX196" fmla="*/ 155 w 10000"/>
              <a:gd name="connsiteY196" fmla="*/ 6405 h 10000"/>
              <a:gd name="connsiteX197" fmla="*/ 104 w 10000"/>
              <a:gd name="connsiteY197" fmla="*/ 6405 h 10000"/>
              <a:gd name="connsiteX198" fmla="*/ 52 w 10000"/>
              <a:gd name="connsiteY198" fmla="*/ 6405 h 10000"/>
              <a:gd name="connsiteX199" fmla="*/ 0 w 10000"/>
              <a:gd name="connsiteY199" fmla="*/ 6405 h 10000"/>
              <a:gd name="connsiteX200" fmla="*/ 52 w 10000"/>
              <a:gd name="connsiteY200" fmla="*/ 5826 h 10000"/>
              <a:gd name="connsiteX201" fmla="*/ 207 w 10000"/>
              <a:gd name="connsiteY201" fmla="*/ 5909 h 10000"/>
              <a:gd name="connsiteX202" fmla="*/ 415 w 10000"/>
              <a:gd name="connsiteY202" fmla="*/ 5826 h 10000"/>
              <a:gd name="connsiteX203" fmla="*/ 1503 w 10000"/>
              <a:gd name="connsiteY203" fmla="*/ 5826 h 10000"/>
              <a:gd name="connsiteX204" fmla="*/ 1658 w 10000"/>
              <a:gd name="connsiteY204" fmla="*/ 5785 h 10000"/>
              <a:gd name="connsiteX205" fmla="*/ 1710 w 10000"/>
              <a:gd name="connsiteY205" fmla="*/ 5785 h 10000"/>
              <a:gd name="connsiteX206" fmla="*/ 2228 w 10000"/>
              <a:gd name="connsiteY206" fmla="*/ 5248 h 10000"/>
              <a:gd name="connsiteX207" fmla="*/ 2332 w 10000"/>
              <a:gd name="connsiteY207" fmla="*/ 5165 h 10000"/>
              <a:gd name="connsiteX208" fmla="*/ 2798 w 10000"/>
              <a:gd name="connsiteY208" fmla="*/ 4752 h 10000"/>
              <a:gd name="connsiteX209" fmla="*/ 3057 w 10000"/>
              <a:gd name="connsiteY209" fmla="*/ 4504 h 10000"/>
              <a:gd name="connsiteX210" fmla="*/ 3212 w 10000"/>
              <a:gd name="connsiteY210" fmla="*/ 4380 h 10000"/>
              <a:gd name="connsiteX211" fmla="*/ 3627 w 10000"/>
              <a:gd name="connsiteY211" fmla="*/ 3760 h 10000"/>
              <a:gd name="connsiteX212" fmla="*/ 4145 w 10000"/>
              <a:gd name="connsiteY212" fmla="*/ 3512 h 10000"/>
              <a:gd name="connsiteX213" fmla="*/ 5026 w 10000"/>
              <a:gd name="connsiteY213" fmla="*/ 2810 h 10000"/>
              <a:gd name="connsiteX214" fmla="*/ 4870 w 10000"/>
              <a:gd name="connsiteY214" fmla="*/ 2562 h 10000"/>
              <a:gd name="connsiteX215" fmla="*/ 4819 w 10000"/>
              <a:gd name="connsiteY215" fmla="*/ 2397 h 10000"/>
              <a:gd name="connsiteX216" fmla="*/ 4819 w 10000"/>
              <a:gd name="connsiteY216" fmla="*/ 1240 h 10000"/>
              <a:gd name="connsiteX217" fmla="*/ 4145 w 10000"/>
              <a:gd name="connsiteY217" fmla="*/ 744 h 10000"/>
              <a:gd name="connsiteX218" fmla="*/ 4974 w 10000"/>
              <a:gd name="connsiteY218" fmla="*/ 744 h 10000"/>
              <a:gd name="connsiteX219" fmla="*/ 5803 w 10000"/>
              <a:gd name="connsiteY219" fmla="*/ 744 h 10000"/>
              <a:gd name="connsiteX220" fmla="*/ 5803 w 10000"/>
              <a:gd name="connsiteY220" fmla="*/ 702 h 10000"/>
              <a:gd name="connsiteX221" fmla="*/ 5803 w 10000"/>
              <a:gd name="connsiteY221" fmla="*/ 661 h 10000"/>
              <a:gd name="connsiteX222" fmla="*/ 5803 w 10000"/>
              <a:gd name="connsiteY222" fmla="*/ 620 h 10000"/>
              <a:gd name="connsiteX223" fmla="*/ 5803 w 10000"/>
              <a:gd name="connsiteY223" fmla="*/ 579 h 10000"/>
              <a:gd name="connsiteX224" fmla="*/ 5855 w 10000"/>
              <a:gd name="connsiteY224" fmla="*/ 537 h 10000"/>
              <a:gd name="connsiteX225" fmla="*/ 5855 w 10000"/>
              <a:gd name="connsiteY225" fmla="*/ 496 h 10000"/>
              <a:gd name="connsiteX226" fmla="*/ 5855 w 10000"/>
              <a:gd name="connsiteY226" fmla="*/ 455 h 10000"/>
              <a:gd name="connsiteX227" fmla="*/ 5855 w 10000"/>
              <a:gd name="connsiteY227" fmla="*/ 413 h 10000"/>
              <a:gd name="connsiteX228" fmla="*/ 5855 w 10000"/>
              <a:gd name="connsiteY228" fmla="*/ 372 h 10000"/>
              <a:gd name="connsiteX229" fmla="*/ 5855 w 10000"/>
              <a:gd name="connsiteY229" fmla="*/ 331 h 10000"/>
              <a:gd name="connsiteX230" fmla="*/ 5803 w 10000"/>
              <a:gd name="connsiteY230" fmla="*/ 331 h 10000"/>
              <a:gd name="connsiteX231" fmla="*/ 5803 w 10000"/>
              <a:gd name="connsiteY231" fmla="*/ 289 h 10000"/>
              <a:gd name="connsiteX232" fmla="*/ 5803 w 10000"/>
              <a:gd name="connsiteY232" fmla="*/ 248 h 10000"/>
              <a:gd name="connsiteX233" fmla="*/ 5803 w 10000"/>
              <a:gd name="connsiteY233" fmla="*/ 207 h 10000"/>
              <a:gd name="connsiteX234" fmla="*/ 5803 w 10000"/>
              <a:gd name="connsiteY234" fmla="*/ 165 h 10000"/>
              <a:gd name="connsiteX235" fmla="*/ 5803 w 10000"/>
              <a:gd name="connsiteY235" fmla="*/ 124 h 10000"/>
              <a:gd name="connsiteX236" fmla="*/ 5803 w 10000"/>
              <a:gd name="connsiteY236" fmla="*/ 83 h 10000"/>
              <a:gd name="connsiteX237" fmla="*/ 5803 w 10000"/>
              <a:gd name="connsiteY237" fmla="*/ 41 h 10000"/>
              <a:gd name="connsiteX238" fmla="*/ 5803 w 10000"/>
              <a:gd name="connsiteY23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725 w 10000"/>
              <a:gd name="connsiteY182" fmla="*/ 6446 h 10000"/>
              <a:gd name="connsiteX183" fmla="*/ 674 w 10000"/>
              <a:gd name="connsiteY183" fmla="*/ 6405 h 10000"/>
              <a:gd name="connsiteX184" fmla="*/ 622 w 10000"/>
              <a:gd name="connsiteY184" fmla="*/ 6405 h 10000"/>
              <a:gd name="connsiteX185" fmla="*/ 570 w 10000"/>
              <a:gd name="connsiteY185" fmla="*/ 6405 h 10000"/>
              <a:gd name="connsiteX186" fmla="*/ 570 w 10000"/>
              <a:gd name="connsiteY186" fmla="*/ 6364 h 10000"/>
              <a:gd name="connsiteX187" fmla="*/ 518 w 10000"/>
              <a:gd name="connsiteY187" fmla="*/ 6364 h 10000"/>
              <a:gd name="connsiteX188" fmla="*/ 466 w 10000"/>
              <a:gd name="connsiteY188" fmla="*/ 6364 h 10000"/>
              <a:gd name="connsiteX189" fmla="*/ 466 w 10000"/>
              <a:gd name="connsiteY189" fmla="*/ 6405 h 10000"/>
              <a:gd name="connsiteX190" fmla="*/ 415 w 10000"/>
              <a:gd name="connsiteY190" fmla="*/ 6405 h 10000"/>
              <a:gd name="connsiteX191" fmla="*/ 363 w 10000"/>
              <a:gd name="connsiteY191" fmla="*/ 6405 h 10000"/>
              <a:gd name="connsiteX192" fmla="*/ 311 w 10000"/>
              <a:gd name="connsiteY192" fmla="*/ 6405 h 10000"/>
              <a:gd name="connsiteX193" fmla="*/ 259 w 10000"/>
              <a:gd name="connsiteY193" fmla="*/ 6405 h 10000"/>
              <a:gd name="connsiteX194" fmla="*/ 207 w 10000"/>
              <a:gd name="connsiteY194" fmla="*/ 6405 h 10000"/>
              <a:gd name="connsiteX195" fmla="*/ 155 w 10000"/>
              <a:gd name="connsiteY195" fmla="*/ 6405 h 10000"/>
              <a:gd name="connsiteX196" fmla="*/ 104 w 10000"/>
              <a:gd name="connsiteY196" fmla="*/ 6405 h 10000"/>
              <a:gd name="connsiteX197" fmla="*/ 52 w 10000"/>
              <a:gd name="connsiteY197" fmla="*/ 6405 h 10000"/>
              <a:gd name="connsiteX198" fmla="*/ 0 w 10000"/>
              <a:gd name="connsiteY198" fmla="*/ 6405 h 10000"/>
              <a:gd name="connsiteX199" fmla="*/ 52 w 10000"/>
              <a:gd name="connsiteY199" fmla="*/ 5826 h 10000"/>
              <a:gd name="connsiteX200" fmla="*/ 207 w 10000"/>
              <a:gd name="connsiteY200" fmla="*/ 5909 h 10000"/>
              <a:gd name="connsiteX201" fmla="*/ 415 w 10000"/>
              <a:gd name="connsiteY201" fmla="*/ 5826 h 10000"/>
              <a:gd name="connsiteX202" fmla="*/ 1503 w 10000"/>
              <a:gd name="connsiteY202" fmla="*/ 5826 h 10000"/>
              <a:gd name="connsiteX203" fmla="*/ 1658 w 10000"/>
              <a:gd name="connsiteY203" fmla="*/ 5785 h 10000"/>
              <a:gd name="connsiteX204" fmla="*/ 1710 w 10000"/>
              <a:gd name="connsiteY204" fmla="*/ 5785 h 10000"/>
              <a:gd name="connsiteX205" fmla="*/ 2228 w 10000"/>
              <a:gd name="connsiteY205" fmla="*/ 5248 h 10000"/>
              <a:gd name="connsiteX206" fmla="*/ 2332 w 10000"/>
              <a:gd name="connsiteY206" fmla="*/ 5165 h 10000"/>
              <a:gd name="connsiteX207" fmla="*/ 2798 w 10000"/>
              <a:gd name="connsiteY207" fmla="*/ 4752 h 10000"/>
              <a:gd name="connsiteX208" fmla="*/ 3057 w 10000"/>
              <a:gd name="connsiteY208" fmla="*/ 4504 h 10000"/>
              <a:gd name="connsiteX209" fmla="*/ 3212 w 10000"/>
              <a:gd name="connsiteY209" fmla="*/ 4380 h 10000"/>
              <a:gd name="connsiteX210" fmla="*/ 3627 w 10000"/>
              <a:gd name="connsiteY210" fmla="*/ 3760 h 10000"/>
              <a:gd name="connsiteX211" fmla="*/ 4145 w 10000"/>
              <a:gd name="connsiteY211" fmla="*/ 3512 h 10000"/>
              <a:gd name="connsiteX212" fmla="*/ 5026 w 10000"/>
              <a:gd name="connsiteY212" fmla="*/ 2810 h 10000"/>
              <a:gd name="connsiteX213" fmla="*/ 4870 w 10000"/>
              <a:gd name="connsiteY213" fmla="*/ 2562 h 10000"/>
              <a:gd name="connsiteX214" fmla="*/ 4819 w 10000"/>
              <a:gd name="connsiteY214" fmla="*/ 2397 h 10000"/>
              <a:gd name="connsiteX215" fmla="*/ 4819 w 10000"/>
              <a:gd name="connsiteY215" fmla="*/ 1240 h 10000"/>
              <a:gd name="connsiteX216" fmla="*/ 4145 w 10000"/>
              <a:gd name="connsiteY216" fmla="*/ 744 h 10000"/>
              <a:gd name="connsiteX217" fmla="*/ 4974 w 10000"/>
              <a:gd name="connsiteY217" fmla="*/ 744 h 10000"/>
              <a:gd name="connsiteX218" fmla="*/ 5803 w 10000"/>
              <a:gd name="connsiteY218" fmla="*/ 744 h 10000"/>
              <a:gd name="connsiteX219" fmla="*/ 5803 w 10000"/>
              <a:gd name="connsiteY219" fmla="*/ 702 h 10000"/>
              <a:gd name="connsiteX220" fmla="*/ 5803 w 10000"/>
              <a:gd name="connsiteY220" fmla="*/ 661 h 10000"/>
              <a:gd name="connsiteX221" fmla="*/ 5803 w 10000"/>
              <a:gd name="connsiteY221" fmla="*/ 620 h 10000"/>
              <a:gd name="connsiteX222" fmla="*/ 5803 w 10000"/>
              <a:gd name="connsiteY222" fmla="*/ 579 h 10000"/>
              <a:gd name="connsiteX223" fmla="*/ 5855 w 10000"/>
              <a:gd name="connsiteY223" fmla="*/ 537 h 10000"/>
              <a:gd name="connsiteX224" fmla="*/ 5855 w 10000"/>
              <a:gd name="connsiteY224" fmla="*/ 496 h 10000"/>
              <a:gd name="connsiteX225" fmla="*/ 5855 w 10000"/>
              <a:gd name="connsiteY225" fmla="*/ 455 h 10000"/>
              <a:gd name="connsiteX226" fmla="*/ 5855 w 10000"/>
              <a:gd name="connsiteY226" fmla="*/ 413 h 10000"/>
              <a:gd name="connsiteX227" fmla="*/ 5855 w 10000"/>
              <a:gd name="connsiteY227" fmla="*/ 372 h 10000"/>
              <a:gd name="connsiteX228" fmla="*/ 5855 w 10000"/>
              <a:gd name="connsiteY228" fmla="*/ 331 h 10000"/>
              <a:gd name="connsiteX229" fmla="*/ 5803 w 10000"/>
              <a:gd name="connsiteY229" fmla="*/ 331 h 10000"/>
              <a:gd name="connsiteX230" fmla="*/ 5803 w 10000"/>
              <a:gd name="connsiteY230" fmla="*/ 289 h 10000"/>
              <a:gd name="connsiteX231" fmla="*/ 5803 w 10000"/>
              <a:gd name="connsiteY231" fmla="*/ 248 h 10000"/>
              <a:gd name="connsiteX232" fmla="*/ 5803 w 10000"/>
              <a:gd name="connsiteY232" fmla="*/ 207 h 10000"/>
              <a:gd name="connsiteX233" fmla="*/ 5803 w 10000"/>
              <a:gd name="connsiteY233" fmla="*/ 165 h 10000"/>
              <a:gd name="connsiteX234" fmla="*/ 5803 w 10000"/>
              <a:gd name="connsiteY234" fmla="*/ 124 h 10000"/>
              <a:gd name="connsiteX235" fmla="*/ 5803 w 10000"/>
              <a:gd name="connsiteY235" fmla="*/ 83 h 10000"/>
              <a:gd name="connsiteX236" fmla="*/ 5803 w 10000"/>
              <a:gd name="connsiteY236" fmla="*/ 41 h 10000"/>
              <a:gd name="connsiteX237" fmla="*/ 5803 w 10000"/>
              <a:gd name="connsiteY23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674 w 10000"/>
              <a:gd name="connsiteY182" fmla="*/ 6405 h 10000"/>
              <a:gd name="connsiteX183" fmla="*/ 622 w 10000"/>
              <a:gd name="connsiteY183" fmla="*/ 6405 h 10000"/>
              <a:gd name="connsiteX184" fmla="*/ 570 w 10000"/>
              <a:gd name="connsiteY184" fmla="*/ 6405 h 10000"/>
              <a:gd name="connsiteX185" fmla="*/ 570 w 10000"/>
              <a:gd name="connsiteY185" fmla="*/ 6364 h 10000"/>
              <a:gd name="connsiteX186" fmla="*/ 518 w 10000"/>
              <a:gd name="connsiteY186" fmla="*/ 6364 h 10000"/>
              <a:gd name="connsiteX187" fmla="*/ 466 w 10000"/>
              <a:gd name="connsiteY187" fmla="*/ 6364 h 10000"/>
              <a:gd name="connsiteX188" fmla="*/ 466 w 10000"/>
              <a:gd name="connsiteY188" fmla="*/ 6405 h 10000"/>
              <a:gd name="connsiteX189" fmla="*/ 415 w 10000"/>
              <a:gd name="connsiteY189" fmla="*/ 6405 h 10000"/>
              <a:gd name="connsiteX190" fmla="*/ 363 w 10000"/>
              <a:gd name="connsiteY190" fmla="*/ 6405 h 10000"/>
              <a:gd name="connsiteX191" fmla="*/ 311 w 10000"/>
              <a:gd name="connsiteY191" fmla="*/ 6405 h 10000"/>
              <a:gd name="connsiteX192" fmla="*/ 259 w 10000"/>
              <a:gd name="connsiteY192" fmla="*/ 6405 h 10000"/>
              <a:gd name="connsiteX193" fmla="*/ 207 w 10000"/>
              <a:gd name="connsiteY193" fmla="*/ 6405 h 10000"/>
              <a:gd name="connsiteX194" fmla="*/ 155 w 10000"/>
              <a:gd name="connsiteY194" fmla="*/ 6405 h 10000"/>
              <a:gd name="connsiteX195" fmla="*/ 104 w 10000"/>
              <a:gd name="connsiteY195" fmla="*/ 6405 h 10000"/>
              <a:gd name="connsiteX196" fmla="*/ 52 w 10000"/>
              <a:gd name="connsiteY196" fmla="*/ 6405 h 10000"/>
              <a:gd name="connsiteX197" fmla="*/ 0 w 10000"/>
              <a:gd name="connsiteY197" fmla="*/ 6405 h 10000"/>
              <a:gd name="connsiteX198" fmla="*/ 52 w 10000"/>
              <a:gd name="connsiteY198" fmla="*/ 5826 h 10000"/>
              <a:gd name="connsiteX199" fmla="*/ 207 w 10000"/>
              <a:gd name="connsiteY199" fmla="*/ 5909 h 10000"/>
              <a:gd name="connsiteX200" fmla="*/ 415 w 10000"/>
              <a:gd name="connsiteY200" fmla="*/ 5826 h 10000"/>
              <a:gd name="connsiteX201" fmla="*/ 1503 w 10000"/>
              <a:gd name="connsiteY201" fmla="*/ 5826 h 10000"/>
              <a:gd name="connsiteX202" fmla="*/ 1658 w 10000"/>
              <a:gd name="connsiteY202" fmla="*/ 5785 h 10000"/>
              <a:gd name="connsiteX203" fmla="*/ 1710 w 10000"/>
              <a:gd name="connsiteY203" fmla="*/ 5785 h 10000"/>
              <a:gd name="connsiteX204" fmla="*/ 2228 w 10000"/>
              <a:gd name="connsiteY204" fmla="*/ 5248 h 10000"/>
              <a:gd name="connsiteX205" fmla="*/ 2332 w 10000"/>
              <a:gd name="connsiteY205" fmla="*/ 5165 h 10000"/>
              <a:gd name="connsiteX206" fmla="*/ 2798 w 10000"/>
              <a:gd name="connsiteY206" fmla="*/ 4752 h 10000"/>
              <a:gd name="connsiteX207" fmla="*/ 3057 w 10000"/>
              <a:gd name="connsiteY207" fmla="*/ 4504 h 10000"/>
              <a:gd name="connsiteX208" fmla="*/ 3212 w 10000"/>
              <a:gd name="connsiteY208" fmla="*/ 4380 h 10000"/>
              <a:gd name="connsiteX209" fmla="*/ 3627 w 10000"/>
              <a:gd name="connsiteY209" fmla="*/ 3760 h 10000"/>
              <a:gd name="connsiteX210" fmla="*/ 4145 w 10000"/>
              <a:gd name="connsiteY210" fmla="*/ 3512 h 10000"/>
              <a:gd name="connsiteX211" fmla="*/ 5026 w 10000"/>
              <a:gd name="connsiteY211" fmla="*/ 2810 h 10000"/>
              <a:gd name="connsiteX212" fmla="*/ 4870 w 10000"/>
              <a:gd name="connsiteY212" fmla="*/ 2562 h 10000"/>
              <a:gd name="connsiteX213" fmla="*/ 4819 w 10000"/>
              <a:gd name="connsiteY213" fmla="*/ 2397 h 10000"/>
              <a:gd name="connsiteX214" fmla="*/ 4819 w 10000"/>
              <a:gd name="connsiteY214" fmla="*/ 1240 h 10000"/>
              <a:gd name="connsiteX215" fmla="*/ 4145 w 10000"/>
              <a:gd name="connsiteY215" fmla="*/ 744 h 10000"/>
              <a:gd name="connsiteX216" fmla="*/ 4974 w 10000"/>
              <a:gd name="connsiteY216" fmla="*/ 744 h 10000"/>
              <a:gd name="connsiteX217" fmla="*/ 5803 w 10000"/>
              <a:gd name="connsiteY217" fmla="*/ 744 h 10000"/>
              <a:gd name="connsiteX218" fmla="*/ 5803 w 10000"/>
              <a:gd name="connsiteY218" fmla="*/ 702 h 10000"/>
              <a:gd name="connsiteX219" fmla="*/ 5803 w 10000"/>
              <a:gd name="connsiteY219" fmla="*/ 661 h 10000"/>
              <a:gd name="connsiteX220" fmla="*/ 5803 w 10000"/>
              <a:gd name="connsiteY220" fmla="*/ 620 h 10000"/>
              <a:gd name="connsiteX221" fmla="*/ 5803 w 10000"/>
              <a:gd name="connsiteY221" fmla="*/ 579 h 10000"/>
              <a:gd name="connsiteX222" fmla="*/ 5855 w 10000"/>
              <a:gd name="connsiteY222" fmla="*/ 537 h 10000"/>
              <a:gd name="connsiteX223" fmla="*/ 5855 w 10000"/>
              <a:gd name="connsiteY223" fmla="*/ 496 h 10000"/>
              <a:gd name="connsiteX224" fmla="*/ 5855 w 10000"/>
              <a:gd name="connsiteY224" fmla="*/ 455 h 10000"/>
              <a:gd name="connsiteX225" fmla="*/ 5855 w 10000"/>
              <a:gd name="connsiteY225" fmla="*/ 413 h 10000"/>
              <a:gd name="connsiteX226" fmla="*/ 5855 w 10000"/>
              <a:gd name="connsiteY226" fmla="*/ 372 h 10000"/>
              <a:gd name="connsiteX227" fmla="*/ 5855 w 10000"/>
              <a:gd name="connsiteY227" fmla="*/ 331 h 10000"/>
              <a:gd name="connsiteX228" fmla="*/ 5803 w 10000"/>
              <a:gd name="connsiteY228" fmla="*/ 331 h 10000"/>
              <a:gd name="connsiteX229" fmla="*/ 5803 w 10000"/>
              <a:gd name="connsiteY229" fmla="*/ 289 h 10000"/>
              <a:gd name="connsiteX230" fmla="*/ 5803 w 10000"/>
              <a:gd name="connsiteY230" fmla="*/ 248 h 10000"/>
              <a:gd name="connsiteX231" fmla="*/ 5803 w 10000"/>
              <a:gd name="connsiteY231" fmla="*/ 207 h 10000"/>
              <a:gd name="connsiteX232" fmla="*/ 5803 w 10000"/>
              <a:gd name="connsiteY232" fmla="*/ 165 h 10000"/>
              <a:gd name="connsiteX233" fmla="*/ 5803 w 10000"/>
              <a:gd name="connsiteY233" fmla="*/ 124 h 10000"/>
              <a:gd name="connsiteX234" fmla="*/ 5803 w 10000"/>
              <a:gd name="connsiteY234" fmla="*/ 83 h 10000"/>
              <a:gd name="connsiteX235" fmla="*/ 5803 w 10000"/>
              <a:gd name="connsiteY235" fmla="*/ 41 h 10000"/>
              <a:gd name="connsiteX236" fmla="*/ 5803 w 10000"/>
              <a:gd name="connsiteY23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674 w 10000"/>
              <a:gd name="connsiteY182" fmla="*/ 6405 h 10000"/>
              <a:gd name="connsiteX183" fmla="*/ 622 w 10000"/>
              <a:gd name="connsiteY183" fmla="*/ 6405 h 10000"/>
              <a:gd name="connsiteX184" fmla="*/ 570 w 10000"/>
              <a:gd name="connsiteY184" fmla="*/ 6405 h 10000"/>
              <a:gd name="connsiteX185" fmla="*/ 570 w 10000"/>
              <a:gd name="connsiteY185" fmla="*/ 6364 h 10000"/>
              <a:gd name="connsiteX186" fmla="*/ 466 w 10000"/>
              <a:gd name="connsiteY186" fmla="*/ 6364 h 10000"/>
              <a:gd name="connsiteX187" fmla="*/ 466 w 10000"/>
              <a:gd name="connsiteY187" fmla="*/ 6405 h 10000"/>
              <a:gd name="connsiteX188" fmla="*/ 415 w 10000"/>
              <a:gd name="connsiteY188" fmla="*/ 6405 h 10000"/>
              <a:gd name="connsiteX189" fmla="*/ 363 w 10000"/>
              <a:gd name="connsiteY189" fmla="*/ 6405 h 10000"/>
              <a:gd name="connsiteX190" fmla="*/ 311 w 10000"/>
              <a:gd name="connsiteY190" fmla="*/ 6405 h 10000"/>
              <a:gd name="connsiteX191" fmla="*/ 259 w 10000"/>
              <a:gd name="connsiteY191" fmla="*/ 6405 h 10000"/>
              <a:gd name="connsiteX192" fmla="*/ 207 w 10000"/>
              <a:gd name="connsiteY192" fmla="*/ 6405 h 10000"/>
              <a:gd name="connsiteX193" fmla="*/ 155 w 10000"/>
              <a:gd name="connsiteY193" fmla="*/ 6405 h 10000"/>
              <a:gd name="connsiteX194" fmla="*/ 104 w 10000"/>
              <a:gd name="connsiteY194" fmla="*/ 6405 h 10000"/>
              <a:gd name="connsiteX195" fmla="*/ 52 w 10000"/>
              <a:gd name="connsiteY195" fmla="*/ 6405 h 10000"/>
              <a:gd name="connsiteX196" fmla="*/ 0 w 10000"/>
              <a:gd name="connsiteY196" fmla="*/ 6405 h 10000"/>
              <a:gd name="connsiteX197" fmla="*/ 52 w 10000"/>
              <a:gd name="connsiteY197" fmla="*/ 5826 h 10000"/>
              <a:gd name="connsiteX198" fmla="*/ 207 w 10000"/>
              <a:gd name="connsiteY198" fmla="*/ 5909 h 10000"/>
              <a:gd name="connsiteX199" fmla="*/ 415 w 10000"/>
              <a:gd name="connsiteY199" fmla="*/ 5826 h 10000"/>
              <a:gd name="connsiteX200" fmla="*/ 1503 w 10000"/>
              <a:gd name="connsiteY200" fmla="*/ 5826 h 10000"/>
              <a:gd name="connsiteX201" fmla="*/ 1658 w 10000"/>
              <a:gd name="connsiteY201" fmla="*/ 5785 h 10000"/>
              <a:gd name="connsiteX202" fmla="*/ 1710 w 10000"/>
              <a:gd name="connsiteY202" fmla="*/ 5785 h 10000"/>
              <a:gd name="connsiteX203" fmla="*/ 2228 w 10000"/>
              <a:gd name="connsiteY203" fmla="*/ 5248 h 10000"/>
              <a:gd name="connsiteX204" fmla="*/ 2332 w 10000"/>
              <a:gd name="connsiteY204" fmla="*/ 5165 h 10000"/>
              <a:gd name="connsiteX205" fmla="*/ 2798 w 10000"/>
              <a:gd name="connsiteY205" fmla="*/ 4752 h 10000"/>
              <a:gd name="connsiteX206" fmla="*/ 3057 w 10000"/>
              <a:gd name="connsiteY206" fmla="*/ 4504 h 10000"/>
              <a:gd name="connsiteX207" fmla="*/ 3212 w 10000"/>
              <a:gd name="connsiteY207" fmla="*/ 4380 h 10000"/>
              <a:gd name="connsiteX208" fmla="*/ 3627 w 10000"/>
              <a:gd name="connsiteY208" fmla="*/ 3760 h 10000"/>
              <a:gd name="connsiteX209" fmla="*/ 4145 w 10000"/>
              <a:gd name="connsiteY209" fmla="*/ 3512 h 10000"/>
              <a:gd name="connsiteX210" fmla="*/ 5026 w 10000"/>
              <a:gd name="connsiteY210" fmla="*/ 2810 h 10000"/>
              <a:gd name="connsiteX211" fmla="*/ 4870 w 10000"/>
              <a:gd name="connsiteY211" fmla="*/ 2562 h 10000"/>
              <a:gd name="connsiteX212" fmla="*/ 4819 w 10000"/>
              <a:gd name="connsiteY212" fmla="*/ 2397 h 10000"/>
              <a:gd name="connsiteX213" fmla="*/ 4819 w 10000"/>
              <a:gd name="connsiteY213" fmla="*/ 1240 h 10000"/>
              <a:gd name="connsiteX214" fmla="*/ 4145 w 10000"/>
              <a:gd name="connsiteY214" fmla="*/ 744 h 10000"/>
              <a:gd name="connsiteX215" fmla="*/ 4974 w 10000"/>
              <a:gd name="connsiteY215" fmla="*/ 744 h 10000"/>
              <a:gd name="connsiteX216" fmla="*/ 5803 w 10000"/>
              <a:gd name="connsiteY216" fmla="*/ 744 h 10000"/>
              <a:gd name="connsiteX217" fmla="*/ 5803 w 10000"/>
              <a:gd name="connsiteY217" fmla="*/ 702 h 10000"/>
              <a:gd name="connsiteX218" fmla="*/ 5803 w 10000"/>
              <a:gd name="connsiteY218" fmla="*/ 661 h 10000"/>
              <a:gd name="connsiteX219" fmla="*/ 5803 w 10000"/>
              <a:gd name="connsiteY219" fmla="*/ 620 h 10000"/>
              <a:gd name="connsiteX220" fmla="*/ 5803 w 10000"/>
              <a:gd name="connsiteY220" fmla="*/ 579 h 10000"/>
              <a:gd name="connsiteX221" fmla="*/ 5855 w 10000"/>
              <a:gd name="connsiteY221" fmla="*/ 537 h 10000"/>
              <a:gd name="connsiteX222" fmla="*/ 5855 w 10000"/>
              <a:gd name="connsiteY222" fmla="*/ 496 h 10000"/>
              <a:gd name="connsiteX223" fmla="*/ 5855 w 10000"/>
              <a:gd name="connsiteY223" fmla="*/ 455 h 10000"/>
              <a:gd name="connsiteX224" fmla="*/ 5855 w 10000"/>
              <a:gd name="connsiteY224" fmla="*/ 413 h 10000"/>
              <a:gd name="connsiteX225" fmla="*/ 5855 w 10000"/>
              <a:gd name="connsiteY225" fmla="*/ 372 h 10000"/>
              <a:gd name="connsiteX226" fmla="*/ 5855 w 10000"/>
              <a:gd name="connsiteY226" fmla="*/ 331 h 10000"/>
              <a:gd name="connsiteX227" fmla="*/ 5803 w 10000"/>
              <a:gd name="connsiteY227" fmla="*/ 331 h 10000"/>
              <a:gd name="connsiteX228" fmla="*/ 5803 w 10000"/>
              <a:gd name="connsiteY228" fmla="*/ 289 h 10000"/>
              <a:gd name="connsiteX229" fmla="*/ 5803 w 10000"/>
              <a:gd name="connsiteY229" fmla="*/ 248 h 10000"/>
              <a:gd name="connsiteX230" fmla="*/ 5803 w 10000"/>
              <a:gd name="connsiteY230" fmla="*/ 207 h 10000"/>
              <a:gd name="connsiteX231" fmla="*/ 5803 w 10000"/>
              <a:gd name="connsiteY231" fmla="*/ 165 h 10000"/>
              <a:gd name="connsiteX232" fmla="*/ 5803 w 10000"/>
              <a:gd name="connsiteY232" fmla="*/ 124 h 10000"/>
              <a:gd name="connsiteX233" fmla="*/ 5803 w 10000"/>
              <a:gd name="connsiteY233" fmla="*/ 83 h 10000"/>
              <a:gd name="connsiteX234" fmla="*/ 5803 w 10000"/>
              <a:gd name="connsiteY234" fmla="*/ 41 h 10000"/>
              <a:gd name="connsiteX235" fmla="*/ 5803 w 10000"/>
              <a:gd name="connsiteY23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829 w 10000"/>
              <a:gd name="connsiteY181" fmla="*/ 6488 h 10000"/>
              <a:gd name="connsiteX182" fmla="*/ 674 w 10000"/>
              <a:gd name="connsiteY182" fmla="*/ 6405 h 10000"/>
              <a:gd name="connsiteX183" fmla="*/ 570 w 10000"/>
              <a:gd name="connsiteY183" fmla="*/ 6405 h 10000"/>
              <a:gd name="connsiteX184" fmla="*/ 570 w 10000"/>
              <a:gd name="connsiteY184" fmla="*/ 6364 h 10000"/>
              <a:gd name="connsiteX185" fmla="*/ 466 w 10000"/>
              <a:gd name="connsiteY185" fmla="*/ 6364 h 10000"/>
              <a:gd name="connsiteX186" fmla="*/ 466 w 10000"/>
              <a:gd name="connsiteY186" fmla="*/ 6405 h 10000"/>
              <a:gd name="connsiteX187" fmla="*/ 415 w 10000"/>
              <a:gd name="connsiteY187" fmla="*/ 6405 h 10000"/>
              <a:gd name="connsiteX188" fmla="*/ 363 w 10000"/>
              <a:gd name="connsiteY188" fmla="*/ 6405 h 10000"/>
              <a:gd name="connsiteX189" fmla="*/ 311 w 10000"/>
              <a:gd name="connsiteY189" fmla="*/ 6405 h 10000"/>
              <a:gd name="connsiteX190" fmla="*/ 259 w 10000"/>
              <a:gd name="connsiteY190" fmla="*/ 6405 h 10000"/>
              <a:gd name="connsiteX191" fmla="*/ 207 w 10000"/>
              <a:gd name="connsiteY191" fmla="*/ 6405 h 10000"/>
              <a:gd name="connsiteX192" fmla="*/ 155 w 10000"/>
              <a:gd name="connsiteY192" fmla="*/ 6405 h 10000"/>
              <a:gd name="connsiteX193" fmla="*/ 104 w 10000"/>
              <a:gd name="connsiteY193" fmla="*/ 6405 h 10000"/>
              <a:gd name="connsiteX194" fmla="*/ 52 w 10000"/>
              <a:gd name="connsiteY194" fmla="*/ 6405 h 10000"/>
              <a:gd name="connsiteX195" fmla="*/ 0 w 10000"/>
              <a:gd name="connsiteY195" fmla="*/ 6405 h 10000"/>
              <a:gd name="connsiteX196" fmla="*/ 52 w 10000"/>
              <a:gd name="connsiteY196" fmla="*/ 5826 h 10000"/>
              <a:gd name="connsiteX197" fmla="*/ 207 w 10000"/>
              <a:gd name="connsiteY197" fmla="*/ 5909 h 10000"/>
              <a:gd name="connsiteX198" fmla="*/ 415 w 10000"/>
              <a:gd name="connsiteY198" fmla="*/ 5826 h 10000"/>
              <a:gd name="connsiteX199" fmla="*/ 1503 w 10000"/>
              <a:gd name="connsiteY199" fmla="*/ 5826 h 10000"/>
              <a:gd name="connsiteX200" fmla="*/ 1658 w 10000"/>
              <a:gd name="connsiteY200" fmla="*/ 5785 h 10000"/>
              <a:gd name="connsiteX201" fmla="*/ 1710 w 10000"/>
              <a:gd name="connsiteY201" fmla="*/ 5785 h 10000"/>
              <a:gd name="connsiteX202" fmla="*/ 2228 w 10000"/>
              <a:gd name="connsiteY202" fmla="*/ 5248 h 10000"/>
              <a:gd name="connsiteX203" fmla="*/ 2332 w 10000"/>
              <a:gd name="connsiteY203" fmla="*/ 5165 h 10000"/>
              <a:gd name="connsiteX204" fmla="*/ 2798 w 10000"/>
              <a:gd name="connsiteY204" fmla="*/ 4752 h 10000"/>
              <a:gd name="connsiteX205" fmla="*/ 3057 w 10000"/>
              <a:gd name="connsiteY205" fmla="*/ 4504 h 10000"/>
              <a:gd name="connsiteX206" fmla="*/ 3212 w 10000"/>
              <a:gd name="connsiteY206" fmla="*/ 4380 h 10000"/>
              <a:gd name="connsiteX207" fmla="*/ 3627 w 10000"/>
              <a:gd name="connsiteY207" fmla="*/ 3760 h 10000"/>
              <a:gd name="connsiteX208" fmla="*/ 4145 w 10000"/>
              <a:gd name="connsiteY208" fmla="*/ 3512 h 10000"/>
              <a:gd name="connsiteX209" fmla="*/ 5026 w 10000"/>
              <a:gd name="connsiteY209" fmla="*/ 2810 h 10000"/>
              <a:gd name="connsiteX210" fmla="*/ 4870 w 10000"/>
              <a:gd name="connsiteY210" fmla="*/ 2562 h 10000"/>
              <a:gd name="connsiteX211" fmla="*/ 4819 w 10000"/>
              <a:gd name="connsiteY211" fmla="*/ 2397 h 10000"/>
              <a:gd name="connsiteX212" fmla="*/ 4819 w 10000"/>
              <a:gd name="connsiteY212" fmla="*/ 1240 h 10000"/>
              <a:gd name="connsiteX213" fmla="*/ 4145 w 10000"/>
              <a:gd name="connsiteY213" fmla="*/ 744 h 10000"/>
              <a:gd name="connsiteX214" fmla="*/ 4974 w 10000"/>
              <a:gd name="connsiteY214" fmla="*/ 744 h 10000"/>
              <a:gd name="connsiteX215" fmla="*/ 5803 w 10000"/>
              <a:gd name="connsiteY215" fmla="*/ 744 h 10000"/>
              <a:gd name="connsiteX216" fmla="*/ 5803 w 10000"/>
              <a:gd name="connsiteY216" fmla="*/ 702 h 10000"/>
              <a:gd name="connsiteX217" fmla="*/ 5803 w 10000"/>
              <a:gd name="connsiteY217" fmla="*/ 661 h 10000"/>
              <a:gd name="connsiteX218" fmla="*/ 5803 w 10000"/>
              <a:gd name="connsiteY218" fmla="*/ 620 h 10000"/>
              <a:gd name="connsiteX219" fmla="*/ 5803 w 10000"/>
              <a:gd name="connsiteY219" fmla="*/ 579 h 10000"/>
              <a:gd name="connsiteX220" fmla="*/ 5855 w 10000"/>
              <a:gd name="connsiteY220" fmla="*/ 537 h 10000"/>
              <a:gd name="connsiteX221" fmla="*/ 5855 w 10000"/>
              <a:gd name="connsiteY221" fmla="*/ 496 h 10000"/>
              <a:gd name="connsiteX222" fmla="*/ 5855 w 10000"/>
              <a:gd name="connsiteY222" fmla="*/ 455 h 10000"/>
              <a:gd name="connsiteX223" fmla="*/ 5855 w 10000"/>
              <a:gd name="connsiteY223" fmla="*/ 413 h 10000"/>
              <a:gd name="connsiteX224" fmla="*/ 5855 w 10000"/>
              <a:gd name="connsiteY224" fmla="*/ 372 h 10000"/>
              <a:gd name="connsiteX225" fmla="*/ 5855 w 10000"/>
              <a:gd name="connsiteY225" fmla="*/ 331 h 10000"/>
              <a:gd name="connsiteX226" fmla="*/ 5803 w 10000"/>
              <a:gd name="connsiteY226" fmla="*/ 331 h 10000"/>
              <a:gd name="connsiteX227" fmla="*/ 5803 w 10000"/>
              <a:gd name="connsiteY227" fmla="*/ 289 h 10000"/>
              <a:gd name="connsiteX228" fmla="*/ 5803 w 10000"/>
              <a:gd name="connsiteY228" fmla="*/ 248 h 10000"/>
              <a:gd name="connsiteX229" fmla="*/ 5803 w 10000"/>
              <a:gd name="connsiteY229" fmla="*/ 207 h 10000"/>
              <a:gd name="connsiteX230" fmla="*/ 5803 w 10000"/>
              <a:gd name="connsiteY230" fmla="*/ 165 h 10000"/>
              <a:gd name="connsiteX231" fmla="*/ 5803 w 10000"/>
              <a:gd name="connsiteY231" fmla="*/ 124 h 10000"/>
              <a:gd name="connsiteX232" fmla="*/ 5803 w 10000"/>
              <a:gd name="connsiteY232" fmla="*/ 83 h 10000"/>
              <a:gd name="connsiteX233" fmla="*/ 5803 w 10000"/>
              <a:gd name="connsiteY233" fmla="*/ 41 h 10000"/>
              <a:gd name="connsiteX234" fmla="*/ 5803 w 10000"/>
              <a:gd name="connsiteY234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74 w 10000"/>
              <a:gd name="connsiteY181" fmla="*/ 6405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466 w 10000"/>
              <a:gd name="connsiteY185" fmla="*/ 6405 h 10000"/>
              <a:gd name="connsiteX186" fmla="*/ 415 w 10000"/>
              <a:gd name="connsiteY186" fmla="*/ 6405 h 10000"/>
              <a:gd name="connsiteX187" fmla="*/ 363 w 10000"/>
              <a:gd name="connsiteY187" fmla="*/ 6405 h 10000"/>
              <a:gd name="connsiteX188" fmla="*/ 311 w 10000"/>
              <a:gd name="connsiteY188" fmla="*/ 6405 h 10000"/>
              <a:gd name="connsiteX189" fmla="*/ 259 w 10000"/>
              <a:gd name="connsiteY189" fmla="*/ 6405 h 10000"/>
              <a:gd name="connsiteX190" fmla="*/ 207 w 10000"/>
              <a:gd name="connsiteY190" fmla="*/ 6405 h 10000"/>
              <a:gd name="connsiteX191" fmla="*/ 155 w 10000"/>
              <a:gd name="connsiteY191" fmla="*/ 6405 h 10000"/>
              <a:gd name="connsiteX192" fmla="*/ 104 w 10000"/>
              <a:gd name="connsiteY192" fmla="*/ 6405 h 10000"/>
              <a:gd name="connsiteX193" fmla="*/ 52 w 10000"/>
              <a:gd name="connsiteY193" fmla="*/ 6405 h 10000"/>
              <a:gd name="connsiteX194" fmla="*/ 0 w 10000"/>
              <a:gd name="connsiteY194" fmla="*/ 6405 h 10000"/>
              <a:gd name="connsiteX195" fmla="*/ 52 w 10000"/>
              <a:gd name="connsiteY195" fmla="*/ 5826 h 10000"/>
              <a:gd name="connsiteX196" fmla="*/ 207 w 10000"/>
              <a:gd name="connsiteY196" fmla="*/ 5909 h 10000"/>
              <a:gd name="connsiteX197" fmla="*/ 415 w 10000"/>
              <a:gd name="connsiteY197" fmla="*/ 5826 h 10000"/>
              <a:gd name="connsiteX198" fmla="*/ 1503 w 10000"/>
              <a:gd name="connsiteY198" fmla="*/ 5826 h 10000"/>
              <a:gd name="connsiteX199" fmla="*/ 1658 w 10000"/>
              <a:gd name="connsiteY199" fmla="*/ 5785 h 10000"/>
              <a:gd name="connsiteX200" fmla="*/ 1710 w 10000"/>
              <a:gd name="connsiteY200" fmla="*/ 5785 h 10000"/>
              <a:gd name="connsiteX201" fmla="*/ 2228 w 10000"/>
              <a:gd name="connsiteY201" fmla="*/ 5248 h 10000"/>
              <a:gd name="connsiteX202" fmla="*/ 2332 w 10000"/>
              <a:gd name="connsiteY202" fmla="*/ 5165 h 10000"/>
              <a:gd name="connsiteX203" fmla="*/ 2798 w 10000"/>
              <a:gd name="connsiteY203" fmla="*/ 4752 h 10000"/>
              <a:gd name="connsiteX204" fmla="*/ 3057 w 10000"/>
              <a:gd name="connsiteY204" fmla="*/ 4504 h 10000"/>
              <a:gd name="connsiteX205" fmla="*/ 3212 w 10000"/>
              <a:gd name="connsiteY205" fmla="*/ 4380 h 10000"/>
              <a:gd name="connsiteX206" fmla="*/ 3627 w 10000"/>
              <a:gd name="connsiteY206" fmla="*/ 3760 h 10000"/>
              <a:gd name="connsiteX207" fmla="*/ 4145 w 10000"/>
              <a:gd name="connsiteY207" fmla="*/ 3512 h 10000"/>
              <a:gd name="connsiteX208" fmla="*/ 5026 w 10000"/>
              <a:gd name="connsiteY208" fmla="*/ 2810 h 10000"/>
              <a:gd name="connsiteX209" fmla="*/ 4870 w 10000"/>
              <a:gd name="connsiteY209" fmla="*/ 2562 h 10000"/>
              <a:gd name="connsiteX210" fmla="*/ 4819 w 10000"/>
              <a:gd name="connsiteY210" fmla="*/ 2397 h 10000"/>
              <a:gd name="connsiteX211" fmla="*/ 4819 w 10000"/>
              <a:gd name="connsiteY211" fmla="*/ 1240 h 10000"/>
              <a:gd name="connsiteX212" fmla="*/ 4145 w 10000"/>
              <a:gd name="connsiteY212" fmla="*/ 744 h 10000"/>
              <a:gd name="connsiteX213" fmla="*/ 4974 w 10000"/>
              <a:gd name="connsiteY213" fmla="*/ 744 h 10000"/>
              <a:gd name="connsiteX214" fmla="*/ 5803 w 10000"/>
              <a:gd name="connsiteY214" fmla="*/ 744 h 10000"/>
              <a:gd name="connsiteX215" fmla="*/ 5803 w 10000"/>
              <a:gd name="connsiteY215" fmla="*/ 702 h 10000"/>
              <a:gd name="connsiteX216" fmla="*/ 5803 w 10000"/>
              <a:gd name="connsiteY216" fmla="*/ 661 h 10000"/>
              <a:gd name="connsiteX217" fmla="*/ 5803 w 10000"/>
              <a:gd name="connsiteY217" fmla="*/ 620 h 10000"/>
              <a:gd name="connsiteX218" fmla="*/ 5803 w 10000"/>
              <a:gd name="connsiteY218" fmla="*/ 579 h 10000"/>
              <a:gd name="connsiteX219" fmla="*/ 5855 w 10000"/>
              <a:gd name="connsiteY219" fmla="*/ 537 h 10000"/>
              <a:gd name="connsiteX220" fmla="*/ 5855 w 10000"/>
              <a:gd name="connsiteY220" fmla="*/ 496 h 10000"/>
              <a:gd name="connsiteX221" fmla="*/ 5855 w 10000"/>
              <a:gd name="connsiteY221" fmla="*/ 455 h 10000"/>
              <a:gd name="connsiteX222" fmla="*/ 5855 w 10000"/>
              <a:gd name="connsiteY222" fmla="*/ 413 h 10000"/>
              <a:gd name="connsiteX223" fmla="*/ 5855 w 10000"/>
              <a:gd name="connsiteY223" fmla="*/ 372 h 10000"/>
              <a:gd name="connsiteX224" fmla="*/ 5855 w 10000"/>
              <a:gd name="connsiteY224" fmla="*/ 331 h 10000"/>
              <a:gd name="connsiteX225" fmla="*/ 5803 w 10000"/>
              <a:gd name="connsiteY225" fmla="*/ 331 h 10000"/>
              <a:gd name="connsiteX226" fmla="*/ 5803 w 10000"/>
              <a:gd name="connsiteY226" fmla="*/ 289 h 10000"/>
              <a:gd name="connsiteX227" fmla="*/ 5803 w 10000"/>
              <a:gd name="connsiteY227" fmla="*/ 248 h 10000"/>
              <a:gd name="connsiteX228" fmla="*/ 5803 w 10000"/>
              <a:gd name="connsiteY228" fmla="*/ 207 h 10000"/>
              <a:gd name="connsiteX229" fmla="*/ 5803 w 10000"/>
              <a:gd name="connsiteY229" fmla="*/ 165 h 10000"/>
              <a:gd name="connsiteX230" fmla="*/ 5803 w 10000"/>
              <a:gd name="connsiteY230" fmla="*/ 124 h 10000"/>
              <a:gd name="connsiteX231" fmla="*/ 5803 w 10000"/>
              <a:gd name="connsiteY231" fmla="*/ 83 h 10000"/>
              <a:gd name="connsiteX232" fmla="*/ 5803 w 10000"/>
              <a:gd name="connsiteY232" fmla="*/ 41 h 10000"/>
              <a:gd name="connsiteX233" fmla="*/ 5803 w 10000"/>
              <a:gd name="connsiteY23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70 w 10000"/>
              <a:gd name="connsiteY181" fmla="*/ 6405 h 10000"/>
              <a:gd name="connsiteX182" fmla="*/ 570 w 10000"/>
              <a:gd name="connsiteY182" fmla="*/ 6364 h 10000"/>
              <a:gd name="connsiteX183" fmla="*/ 466 w 10000"/>
              <a:gd name="connsiteY183" fmla="*/ 6364 h 10000"/>
              <a:gd name="connsiteX184" fmla="*/ 466 w 10000"/>
              <a:gd name="connsiteY184" fmla="*/ 6405 h 10000"/>
              <a:gd name="connsiteX185" fmla="*/ 415 w 10000"/>
              <a:gd name="connsiteY185" fmla="*/ 6405 h 10000"/>
              <a:gd name="connsiteX186" fmla="*/ 363 w 10000"/>
              <a:gd name="connsiteY186" fmla="*/ 6405 h 10000"/>
              <a:gd name="connsiteX187" fmla="*/ 311 w 10000"/>
              <a:gd name="connsiteY187" fmla="*/ 6405 h 10000"/>
              <a:gd name="connsiteX188" fmla="*/ 259 w 10000"/>
              <a:gd name="connsiteY188" fmla="*/ 6405 h 10000"/>
              <a:gd name="connsiteX189" fmla="*/ 207 w 10000"/>
              <a:gd name="connsiteY189" fmla="*/ 6405 h 10000"/>
              <a:gd name="connsiteX190" fmla="*/ 155 w 10000"/>
              <a:gd name="connsiteY190" fmla="*/ 6405 h 10000"/>
              <a:gd name="connsiteX191" fmla="*/ 104 w 10000"/>
              <a:gd name="connsiteY191" fmla="*/ 6405 h 10000"/>
              <a:gd name="connsiteX192" fmla="*/ 52 w 10000"/>
              <a:gd name="connsiteY192" fmla="*/ 6405 h 10000"/>
              <a:gd name="connsiteX193" fmla="*/ 0 w 10000"/>
              <a:gd name="connsiteY193" fmla="*/ 6405 h 10000"/>
              <a:gd name="connsiteX194" fmla="*/ 52 w 10000"/>
              <a:gd name="connsiteY194" fmla="*/ 5826 h 10000"/>
              <a:gd name="connsiteX195" fmla="*/ 207 w 10000"/>
              <a:gd name="connsiteY195" fmla="*/ 5909 h 10000"/>
              <a:gd name="connsiteX196" fmla="*/ 415 w 10000"/>
              <a:gd name="connsiteY196" fmla="*/ 5826 h 10000"/>
              <a:gd name="connsiteX197" fmla="*/ 1503 w 10000"/>
              <a:gd name="connsiteY197" fmla="*/ 5826 h 10000"/>
              <a:gd name="connsiteX198" fmla="*/ 1658 w 10000"/>
              <a:gd name="connsiteY198" fmla="*/ 5785 h 10000"/>
              <a:gd name="connsiteX199" fmla="*/ 1710 w 10000"/>
              <a:gd name="connsiteY199" fmla="*/ 5785 h 10000"/>
              <a:gd name="connsiteX200" fmla="*/ 2228 w 10000"/>
              <a:gd name="connsiteY200" fmla="*/ 5248 h 10000"/>
              <a:gd name="connsiteX201" fmla="*/ 2332 w 10000"/>
              <a:gd name="connsiteY201" fmla="*/ 5165 h 10000"/>
              <a:gd name="connsiteX202" fmla="*/ 2798 w 10000"/>
              <a:gd name="connsiteY202" fmla="*/ 4752 h 10000"/>
              <a:gd name="connsiteX203" fmla="*/ 3057 w 10000"/>
              <a:gd name="connsiteY203" fmla="*/ 4504 h 10000"/>
              <a:gd name="connsiteX204" fmla="*/ 3212 w 10000"/>
              <a:gd name="connsiteY204" fmla="*/ 4380 h 10000"/>
              <a:gd name="connsiteX205" fmla="*/ 3627 w 10000"/>
              <a:gd name="connsiteY205" fmla="*/ 3760 h 10000"/>
              <a:gd name="connsiteX206" fmla="*/ 4145 w 10000"/>
              <a:gd name="connsiteY206" fmla="*/ 3512 h 10000"/>
              <a:gd name="connsiteX207" fmla="*/ 5026 w 10000"/>
              <a:gd name="connsiteY207" fmla="*/ 2810 h 10000"/>
              <a:gd name="connsiteX208" fmla="*/ 4870 w 10000"/>
              <a:gd name="connsiteY208" fmla="*/ 2562 h 10000"/>
              <a:gd name="connsiteX209" fmla="*/ 4819 w 10000"/>
              <a:gd name="connsiteY209" fmla="*/ 2397 h 10000"/>
              <a:gd name="connsiteX210" fmla="*/ 4819 w 10000"/>
              <a:gd name="connsiteY210" fmla="*/ 1240 h 10000"/>
              <a:gd name="connsiteX211" fmla="*/ 4145 w 10000"/>
              <a:gd name="connsiteY211" fmla="*/ 744 h 10000"/>
              <a:gd name="connsiteX212" fmla="*/ 4974 w 10000"/>
              <a:gd name="connsiteY212" fmla="*/ 744 h 10000"/>
              <a:gd name="connsiteX213" fmla="*/ 5803 w 10000"/>
              <a:gd name="connsiteY213" fmla="*/ 744 h 10000"/>
              <a:gd name="connsiteX214" fmla="*/ 5803 w 10000"/>
              <a:gd name="connsiteY214" fmla="*/ 702 h 10000"/>
              <a:gd name="connsiteX215" fmla="*/ 5803 w 10000"/>
              <a:gd name="connsiteY215" fmla="*/ 661 h 10000"/>
              <a:gd name="connsiteX216" fmla="*/ 5803 w 10000"/>
              <a:gd name="connsiteY216" fmla="*/ 620 h 10000"/>
              <a:gd name="connsiteX217" fmla="*/ 5803 w 10000"/>
              <a:gd name="connsiteY217" fmla="*/ 579 h 10000"/>
              <a:gd name="connsiteX218" fmla="*/ 5855 w 10000"/>
              <a:gd name="connsiteY218" fmla="*/ 537 h 10000"/>
              <a:gd name="connsiteX219" fmla="*/ 5855 w 10000"/>
              <a:gd name="connsiteY219" fmla="*/ 496 h 10000"/>
              <a:gd name="connsiteX220" fmla="*/ 5855 w 10000"/>
              <a:gd name="connsiteY220" fmla="*/ 455 h 10000"/>
              <a:gd name="connsiteX221" fmla="*/ 5855 w 10000"/>
              <a:gd name="connsiteY221" fmla="*/ 413 h 10000"/>
              <a:gd name="connsiteX222" fmla="*/ 5855 w 10000"/>
              <a:gd name="connsiteY222" fmla="*/ 372 h 10000"/>
              <a:gd name="connsiteX223" fmla="*/ 5855 w 10000"/>
              <a:gd name="connsiteY223" fmla="*/ 331 h 10000"/>
              <a:gd name="connsiteX224" fmla="*/ 5803 w 10000"/>
              <a:gd name="connsiteY224" fmla="*/ 331 h 10000"/>
              <a:gd name="connsiteX225" fmla="*/ 5803 w 10000"/>
              <a:gd name="connsiteY225" fmla="*/ 289 h 10000"/>
              <a:gd name="connsiteX226" fmla="*/ 5803 w 10000"/>
              <a:gd name="connsiteY226" fmla="*/ 248 h 10000"/>
              <a:gd name="connsiteX227" fmla="*/ 5803 w 10000"/>
              <a:gd name="connsiteY227" fmla="*/ 207 h 10000"/>
              <a:gd name="connsiteX228" fmla="*/ 5803 w 10000"/>
              <a:gd name="connsiteY228" fmla="*/ 165 h 10000"/>
              <a:gd name="connsiteX229" fmla="*/ 5803 w 10000"/>
              <a:gd name="connsiteY229" fmla="*/ 124 h 10000"/>
              <a:gd name="connsiteX230" fmla="*/ 5803 w 10000"/>
              <a:gd name="connsiteY230" fmla="*/ 83 h 10000"/>
              <a:gd name="connsiteX231" fmla="*/ 5803 w 10000"/>
              <a:gd name="connsiteY231" fmla="*/ 41 h 10000"/>
              <a:gd name="connsiteX232" fmla="*/ 5803 w 10000"/>
              <a:gd name="connsiteY23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466 w 10000"/>
              <a:gd name="connsiteY185" fmla="*/ 6405 h 10000"/>
              <a:gd name="connsiteX186" fmla="*/ 415 w 10000"/>
              <a:gd name="connsiteY186" fmla="*/ 6405 h 10000"/>
              <a:gd name="connsiteX187" fmla="*/ 363 w 10000"/>
              <a:gd name="connsiteY187" fmla="*/ 6405 h 10000"/>
              <a:gd name="connsiteX188" fmla="*/ 311 w 10000"/>
              <a:gd name="connsiteY188" fmla="*/ 6405 h 10000"/>
              <a:gd name="connsiteX189" fmla="*/ 259 w 10000"/>
              <a:gd name="connsiteY189" fmla="*/ 6405 h 10000"/>
              <a:gd name="connsiteX190" fmla="*/ 207 w 10000"/>
              <a:gd name="connsiteY190" fmla="*/ 6405 h 10000"/>
              <a:gd name="connsiteX191" fmla="*/ 155 w 10000"/>
              <a:gd name="connsiteY191" fmla="*/ 6405 h 10000"/>
              <a:gd name="connsiteX192" fmla="*/ 104 w 10000"/>
              <a:gd name="connsiteY192" fmla="*/ 6405 h 10000"/>
              <a:gd name="connsiteX193" fmla="*/ 52 w 10000"/>
              <a:gd name="connsiteY193" fmla="*/ 6405 h 10000"/>
              <a:gd name="connsiteX194" fmla="*/ 0 w 10000"/>
              <a:gd name="connsiteY194" fmla="*/ 6405 h 10000"/>
              <a:gd name="connsiteX195" fmla="*/ 52 w 10000"/>
              <a:gd name="connsiteY195" fmla="*/ 5826 h 10000"/>
              <a:gd name="connsiteX196" fmla="*/ 207 w 10000"/>
              <a:gd name="connsiteY196" fmla="*/ 5909 h 10000"/>
              <a:gd name="connsiteX197" fmla="*/ 415 w 10000"/>
              <a:gd name="connsiteY197" fmla="*/ 5826 h 10000"/>
              <a:gd name="connsiteX198" fmla="*/ 1503 w 10000"/>
              <a:gd name="connsiteY198" fmla="*/ 5826 h 10000"/>
              <a:gd name="connsiteX199" fmla="*/ 1658 w 10000"/>
              <a:gd name="connsiteY199" fmla="*/ 5785 h 10000"/>
              <a:gd name="connsiteX200" fmla="*/ 1710 w 10000"/>
              <a:gd name="connsiteY200" fmla="*/ 5785 h 10000"/>
              <a:gd name="connsiteX201" fmla="*/ 2228 w 10000"/>
              <a:gd name="connsiteY201" fmla="*/ 5248 h 10000"/>
              <a:gd name="connsiteX202" fmla="*/ 2332 w 10000"/>
              <a:gd name="connsiteY202" fmla="*/ 5165 h 10000"/>
              <a:gd name="connsiteX203" fmla="*/ 2798 w 10000"/>
              <a:gd name="connsiteY203" fmla="*/ 4752 h 10000"/>
              <a:gd name="connsiteX204" fmla="*/ 3057 w 10000"/>
              <a:gd name="connsiteY204" fmla="*/ 4504 h 10000"/>
              <a:gd name="connsiteX205" fmla="*/ 3212 w 10000"/>
              <a:gd name="connsiteY205" fmla="*/ 4380 h 10000"/>
              <a:gd name="connsiteX206" fmla="*/ 3627 w 10000"/>
              <a:gd name="connsiteY206" fmla="*/ 3760 h 10000"/>
              <a:gd name="connsiteX207" fmla="*/ 4145 w 10000"/>
              <a:gd name="connsiteY207" fmla="*/ 3512 h 10000"/>
              <a:gd name="connsiteX208" fmla="*/ 5026 w 10000"/>
              <a:gd name="connsiteY208" fmla="*/ 2810 h 10000"/>
              <a:gd name="connsiteX209" fmla="*/ 4870 w 10000"/>
              <a:gd name="connsiteY209" fmla="*/ 2562 h 10000"/>
              <a:gd name="connsiteX210" fmla="*/ 4819 w 10000"/>
              <a:gd name="connsiteY210" fmla="*/ 2397 h 10000"/>
              <a:gd name="connsiteX211" fmla="*/ 4819 w 10000"/>
              <a:gd name="connsiteY211" fmla="*/ 1240 h 10000"/>
              <a:gd name="connsiteX212" fmla="*/ 4145 w 10000"/>
              <a:gd name="connsiteY212" fmla="*/ 744 h 10000"/>
              <a:gd name="connsiteX213" fmla="*/ 4974 w 10000"/>
              <a:gd name="connsiteY213" fmla="*/ 744 h 10000"/>
              <a:gd name="connsiteX214" fmla="*/ 5803 w 10000"/>
              <a:gd name="connsiteY214" fmla="*/ 744 h 10000"/>
              <a:gd name="connsiteX215" fmla="*/ 5803 w 10000"/>
              <a:gd name="connsiteY215" fmla="*/ 702 h 10000"/>
              <a:gd name="connsiteX216" fmla="*/ 5803 w 10000"/>
              <a:gd name="connsiteY216" fmla="*/ 661 h 10000"/>
              <a:gd name="connsiteX217" fmla="*/ 5803 w 10000"/>
              <a:gd name="connsiteY217" fmla="*/ 620 h 10000"/>
              <a:gd name="connsiteX218" fmla="*/ 5803 w 10000"/>
              <a:gd name="connsiteY218" fmla="*/ 579 h 10000"/>
              <a:gd name="connsiteX219" fmla="*/ 5855 w 10000"/>
              <a:gd name="connsiteY219" fmla="*/ 537 h 10000"/>
              <a:gd name="connsiteX220" fmla="*/ 5855 w 10000"/>
              <a:gd name="connsiteY220" fmla="*/ 496 h 10000"/>
              <a:gd name="connsiteX221" fmla="*/ 5855 w 10000"/>
              <a:gd name="connsiteY221" fmla="*/ 455 h 10000"/>
              <a:gd name="connsiteX222" fmla="*/ 5855 w 10000"/>
              <a:gd name="connsiteY222" fmla="*/ 413 h 10000"/>
              <a:gd name="connsiteX223" fmla="*/ 5855 w 10000"/>
              <a:gd name="connsiteY223" fmla="*/ 372 h 10000"/>
              <a:gd name="connsiteX224" fmla="*/ 5855 w 10000"/>
              <a:gd name="connsiteY224" fmla="*/ 331 h 10000"/>
              <a:gd name="connsiteX225" fmla="*/ 5803 w 10000"/>
              <a:gd name="connsiteY225" fmla="*/ 331 h 10000"/>
              <a:gd name="connsiteX226" fmla="*/ 5803 w 10000"/>
              <a:gd name="connsiteY226" fmla="*/ 289 h 10000"/>
              <a:gd name="connsiteX227" fmla="*/ 5803 w 10000"/>
              <a:gd name="connsiteY227" fmla="*/ 248 h 10000"/>
              <a:gd name="connsiteX228" fmla="*/ 5803 w 10000"/>
              <a:gd name="connsiteY228" fmla="*/ 207 h 10000"/>
              <a:gd name="connsiteX229" fmla="*/ 5803 w 10000"/>
              <a:gd name="connsiteY229" fmla="*/ 165 h 10000"/>
              <a:gd name="connsiteX230" fmla="*/ 5803 w 10000"/>
              <a:gd name="connsiteY230" fmla="*/ 124 h 10000"/>
              <a:gd name="connsiteX231" fmla="*/ 5803 w 10000"/>
              <a:gd name="connsiteY231" fmla="*/ 83 h 10000"/>
              <a:gd name="connsiteX232" fmla="*/ 5803 w 10000"/>
              <a:gd name="connsiteY232" fmla="*/ 41 h 10000"/>
              <a:gd name="connsiteX233" fmla="*/ 5803 w 10000"/>
              <a:gd name="connsiteY233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415 w 10000"/>
              <a:gd name="connsiteY185" fmla="*/ 6405 h 10000"/>
              <a:gd name="connsiteX186" fmla="*/ 363 w 10000"/>
              <a:gd name="connsiteY186" fmla="*/ 6405 h 10000"/>
              <a:gd name="connsiteX187" fmla="*/ 311 w 10000"/>
              <a:gd name="connsiteY187" fmla="*/ 6405 h 10000"/>
              <a:gd name="connsiteX188" fmla="*/ 259 w 10000"/>
              <a:gd name="connsiteY188" fmla="*/ 6405 h 10000"/>
              <a:gd name="connsiteX189" fmla="*/ 207 w 10000"/>
              <a:gd name="connsiteY189" fmla="*/ 6405 h 10000"/>
              <a:gd name="connsiteX190" fmla="*/ 155 w 10000"/>
              <a:gd name="connsiteY190" fmla="*/ 6405 h 10000"/>
              <a:gd name="connsiteX191" fmla="*/ 104 w 10000"/>
              <a:gd name="connsiteY191" fmla="*/ 6405 h 10000"/>
              <a:gd name="connsiteX192" fmla="*/ 52 w 10000"/>
              <a:gd name="connsiteY192" fmla="*/ 6405 h 10000"/>
              <a:gd name="connsiteX193" fmla="*/ 0 w 10000"/>
              <a:gd name="connsiteY193" fmla="*/ 6405 h 10000"/>
              <a:gd name="connsiteX194" fmla="*/ 52 w 10000"/>
              <a:gd name="connsiteY194" fmla="*/ 5826 h 10000"/>
              <a:gd name="connsiteX195" fmla="*/ 207 w 10000"/>
              <a:gd name="connsiteY195" fmla="*/ 5909 h 10000"/>
              <a:gd name="connsiteX196" fmla="*/ 415 w 10000"/>
              <a:gd name="connsiteY196" fmla="*/ 5826 h 10000"/>
              <a:gd name="connsiteX197" fmla="*/ 1503 w 10000"/>
              <a:gd name="connsiteY197" fmla="*/ 5826 h 10000"/>
              <a:gd name="connsiteX198" fmla="*/ 1658 w 10000"/>
              <a:gd name="connsiteY198" fmla="*/ 5785 h 10000"/>
              <a:gd name="connsiteX199" fmla="*/ 1710 w 10000"/>
              <a:gd name="connsiteY199" fmla="*/ 5785 h 10000"/>
              <a:gd name="connsiteX200" fmla="*/ 2228 w 10000"/>
              <a:gd name="connsiteY200" fmla="*/ 5248 h 10000"/>
              <a:gd name="connsiteX201" fmla="*/ 2332 w 10000"/>
              <a:gd name="connsiteY201" fmla="*/ 5165 h 10000"/>
              <a:gd name="connsiteX202" fmla="*/ 2798 w 10000"/>
              <a:gd name="connsiteY202" fmla="*/ 4752 h 10000"/>
              <a:gd name="connsiteX203" fmla="*/ 3057 w 10000"/>
              <a:gd name="connsiteY203" fmla="*/ 4504 h 10000"/>
              <a:gd name="connsiteX204" fmla="*/ 3212 w 10000"/>
              <a:gd name="connsiteY204" fmla="*/ 4380 h 10000"/>
              <a:gd name="connsiteX205" fmla="*/ 3627 w 10000"/>
              <a:gd name="connsiteY205" fmla="*/ 3760 h 10000"/>
              <a:gd name="connsiteX206" fmla="*/ 4145 w 10000"/>
              <a:gd name="connsiteY206" fmla="*/ 3512 h 10000"/>
              <a:gd name="connsiteX207" fmla="*/ 5026 w 10000"/>
              <a:gd name="connsiteY207" fmla="*/ 2810 h 10000"/>
              <a:gd name="connsiteX208" fmla="*/ 4870 w 10000"/>
              <a:gd name="connsiteY208" fmla="*/ 2562 h 10000"/>
              <a:gd name="connsiteX209" fmla="*/ 4819 w 10000"/>
              <a:gd name="connsiteY209" fmla="*/ 2397 h 10000"/>
              <a:gd name="connsiteX210" fmla="*/ 4819 w 10000"/>
              <a:gd name="connsiteY210" fmla="*/ 1240 h 10000"/>
              <a:gd name="connsiteX211" fmla="*/ 4145 w 10000"/>
              <a:gd name="connsiteY211" fmla="*/ 744 h 10000"/>
              <a:gd name="connsiteX212" fmla="*/ 4974 w 10000"/>
              <a:gd name="connsiteY212" fmla="*/ 744 h 10000"/>
              <a:gd name="connsiteX213" fmla="*/ 5803 w 10000"/>
              <a:gd name="connsiteY213" fmla="*/ 744 h 10000"/>
              <a:gd name="connsiteX214" fmla="*/ 5803 w 10000"/>
              <a:gd name="connsiteY214" fmla="*/ 702 h 10000"/>
              <a:gd name="connsiteX215" fmla="*/ 5803 w 10000"/>
              <a:gd name="connsiteY215" fmla="*/ 661 h 10000"/>
              <a:gd name="connsiteX216" fmla="*/ 5803 w 10000"/>
              <a:gd name="connsiteY216" fmla="*/ 620 h 10000"/>
              <a:gd name="connsiteX217" fmla="*/ 5803 w 10000"/>
              <a:gd name="connsiteY217" fmla="*/ 579 h 10000"/>
              <a:gd name="connsiteX218" fmla="*/ 5855 w 10000"/>
              <a:gd name="connsiteY218" fmla="*/ 537 h 10000"/>
              <a:gd name="connsiteX219" fmla="*/ 5855 w 10000"/>
              <a:gd name="connsiteY219" fmla="*/ 496 h 10000"/>
              <a:gd name="connsiteX220" fmla="*/ 5855 w 10000"/>
              <a:gd name="connsiteY220" fmla="*/ 455 h 10000"/>
              <a:gd name="connsiteX221" fmla="*/ 5855 w 10000"/>
              <a:gd name="connsiteY221" fmla="*/ 413 h 10000"/>
              <a:gd name="connsiteX222" fmla="*/ 5855 w 10000"/>
              <a:gd name="connsiteY222" fmla="*/ 372 h 10000"/>
              <a:gd name="connsiteX223" fmla="*/ 5855 w 10000"/>
              <a:gd name="connsiteY223" fmla="*/ 331 h 10000"/>
              <a:gd name="connsiteX224" fmla="*/ 5803 w 10000"/>
              <a:gd name="connsiteY224" fmla="*/ 331 h 10000"/>
              <a:gd name="connsiteX225" fmla="*/ 5803 w 10000"/>
              <a:gd name="connsiteY225" fmla="*/ 289 h 10000"/>
              <a:gd name="connsiteX226" fmla="*/ 5803 w 10000"/>
              <a:gd name="connsiteY226" fmla="*/ 248 h 10000"/>
              <a:gd name="connsiteX227" fmla="*/ 5803 w 10000"/>
              <a:gd name="connsiteY227" fmla="*/ 207 h 10000"/>
              <a:gd name="connsiteX228" fmla="*/ 5803 w 10000"/>
              <a:gd name="connsiteY228" fmla="*/ 165 h 10000"/>
              <a:gd name="connsiteX229" fmla="*/ 5803 w 10000"/>
              <a:gd name="connsiteY229" fmla="*/ 124 h 10000"/>
              <a:gd name="connsiteX230" fmla="*/ 5803 w 10000"/>
              <a:gd name="connsiteY230" fmla="*/ 83 h 10000"/>
              <a:gd name="connsiteX231" fmla="*/ 5803 w 10000"/>
              <a:gd name="connsiteY231" fmla="*/ 41 h 10000"/>
              <a:gd name="connsiteX232" fmla="*/ 5803 w 10000"/>
              <a:gd name="connsiteY23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363 w 10000"/>
              <a:gd name="connsiteY185" fmla="*/ 6405 h 10000"/>
              <a:gd name="connsiteX186" fmla="*/ 311 w 10000"/>
              <a:gd name="connsiteY186" fmla="*/ 6405 h 10000"/>
              <a:gd name="connsiteX187" fmla="*/ 259 w 10000"/>
              <a:gd name="connsiteY187" fmla="*/ 6405 h 10000"/>
              <a:gd name="connsiteX188" fmla="*/ 207 w 10000"/>
              <a:gd name="connsiteY188" fmla="*/ 6405 h 10000"/>
              <a:gd name="connsiteX189" fmla="*/ 155 w 10000"/>
              <a:gd name="connsiteY189" fmla="*/ 6405 h 10000"/>
              <a:gd name="connsiteX190" fmla="*/ 104 w 10000"/>
              <a:gd name="connsiteY190" fmla="*/ 6405 h 10000"/>
              <a:gd name="connsiteX191" fmla="*/ 52 w 10000"/>
              <a:gd name="connsiteY191" fmla="*/ 6405 h 10000"/>
              <a:gd name="connsiteX192" fmla="*/ 0 w 10000"/>
              <a:gd name="connsiteY192" fmla="*/ 6405 h 10000"/>
              <a:gd name="connsiteX193" fmla="*/ 52 w 10000"/>
              <a:gd name="connsiteY193" fmla="*/ 5826 h 10000"/>
              <a:gd name="connsiteX194" fmla="*/ 207 w 10000"/>
              <a:gd name="connsiteY194" fmla="*/ 5909 h 10000"/>
              <a:gd name="connsiteX195" fmla="*/ 415 w 10000"/>
              <a:gd name="connsiteY195" fmla="*/ 5826 h 10000"/>
              <a:gd name="connsiteX196" fmla="*/ 1503 w 10000"/>
              <a:gd name="connsiteY196" fmla="*/ 5826 h 10000"/>
              <a:gd name="connsiteX197" fmla="*/ 1658 w 10000"/>
              <a:gd name="connsiteY197" fmla="*/ 5785 h 10000"/>
              <a:gd name="connsiteX198" fmla="*/ 1710 w 10000"/>
              <a:gd name="connsiteY198" fmla="*/ 5785 h 10000"/>
              <a:gd name="connsiteX199" fmla="*/ 2228 w 10000"/>
              <a:gd name="connsiteY199" fmla="*/ 5248 h 10000"/>
              <a:gd name="connsiteX200" fmla="*/ 2332 w 10000"/>
              <a:gd name="connsiteY200" fmla="*/ 5165 h 10000"/>
              <a:gd name="connsiteX201" fmla="*/ 2798 w 10000"/>
              <a:gd name="connsiteY201" fmla="*/ 4752 h 10000"/>
              <a:gd name="connsiteX202" fmla="*/ 3057 w 10000"/>
              <a:gd name="connsiteY202" fmla="*/ 4504 h 10000"/>
              <a:gd name="connsiteX203" fmla="*/ 3212 w 10000"/>
              <a:gd name="connsiteY203" fmla="*/ 4380 h 10000"/>
              <a:gd name="connsiteX204" fmla="*/ 3627 w 10000"/>
              <a:gd name="connsiteY204" fmla="*/ 3760 h 10000"/>
              <a:gd name="connsiteX205" fmla="*/ 4145 w 10000"/>
              <a:gd name="connsiteY205" fmla="*/ 3512 h 10000"/>
              <a:gd name="connsiteX206" fmla="*/ 5026 w 10000"/>
              <a:gd name="connsiteY206" fmla="*/ 2810 h 10000"/>
              <a:gd name="connsiteX207" fmla="*/ 4870 w 10000"/>
              <a:gd name="connsiteY207" fmla="*/ 2562 h 10000"/>
              <a:gd name="connsiteX208" fmla="*/ 4819 w 10000"/>
              <a:gd name="connsiteY208" fmla="*/ 2397 h 10000"/>
              <a:gd name="connsiteX209" fmla="*/ 4819 w 10000"/>
              <a:gd name="connsiteY209" fmla="*/ 1240 h 10000"/>
              <a:gd name="connsiteX210" fmla="*/ 4145 w 10000"/>
              <a:gd name="connsiteY210" fmla="*/ 744 h 10000"/>
              <a:gd name="connsiteX211" fmla="*/ 4974 w 10000"/>
              <a:gd name="connsiteY211" fmla="*/ 744 h 10000"/>
              <a:gd name="connsiteX212" fmla="*/ 5803 w 10000"/>
              <a:gd name="connsiteY212" fmla="*/ 744 h 10000"/>
              <a:gd name="connsiteX213" fmla="*/ 5803 w 10000"/>
              <a:gd name="connsiteY213" fmla="*/ 702 h 10000"/>
              <a:gd name="connsiteX214" fmla="*/ 5803 w 10000"/>
              <a:gd name="connsiteY214" fmla="*/ 661 h 10000"/>
              <a:gd name="connsiteX215" fmla="*/ 5803 w 10000"/>
              <a:gd name="connsiteY215" fmla="*/ 620 h 10000"/>
              <a:gd name="connsiteX216" fmla="*/ 5803 w 10000"/>
              <a:gd name="connsiteY216" fmla="*/ 579 h 10000"/>
              <a:gd name="connsiteX217" fmla="*/ 5855 w 10000"/>
              <a:gd name="connsiteY217" fmla="*/ 537 h 10000"/>
              <a:gd name="connsiteX218" fmla="*/ 5855 w 10000"/>
              <a:gd name="connsiteY218" fmla="*/ 496 h 10000"/>
              <a:gd name="connsiteX219" fmla="*/ 5855 w 10000"/>
              <a:gd name="connsiteY219" fmla="*/ 455 h 10000"/>
              <a:gd name="connsiteX220" fmla="*/ 5855 w 10000"/>
              <a:gd name="connsiteY220" fmla="*/ 413 h 10000"/>
              <a:gd name="connsiteX221" fmla="*/ 5855 w 10000"/>
              <a:gd name="connsiteY221" fmla="*/ 372 h 10000"/>
              <a:gd name="connsiteX222" fmla="*/ 5855 w 10000"/>
              <a:gd name="connsiteY222" fmla="*/ 331 h 10000"/>
              <a:gd name="connsiteX223" fmla="*/ 5803 w 10000"/>
              <a:gd name="connsiteY223" fmla="*/ 331 h 10000"/>
              <a:gd name="connsiteX224" fmla="*/ 5803 w 10000"/>
              <a:gd name="connsiteY224" fmla="*/ 289 h 10000"/>
              <a:gd name="connsiteX225" fmla="*/ 5803 w 10000"/>
              <a:gd name="connsiteY225" fmla="*/ 248 h 10000"/>
              <a:gd name="connsiteX226" fmla="*/ 5803 w 10000"/>
              <a:gd name="connsiteY226" fmla="*/ 207 h 10000"/>
              <a:gd name="connsiteX227" fmla="*/ 5803 w 10000"/>
              <a:gd name="connsiteY227" fmla="*/ 165 h 10000"/>
              <a:gd name="connsiteX228" fmla="*/ 5803 w 10000"/>
              <a:gd name="connsiteY228" fmla="*/ 124 h 10000"/>
              <a:gd name="connsiteX229" fmla="*/ 5803 w 10000"/>
              <a:gd name="connsiteY229" fmla="*/ 83 h 10000"/>
              <a:gd name="connsiteX230" fmla="*/ 5803 w 10000"/>
              <a:gd name="connsiteY230" fmla="*/ 41 h 10000"/>
              <a:gd name="connsiteX231" fmla="*/ 5803 w 10000"/>
              <a:gd name="connsiteY23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363 w 10000"/>
              <a:gd name="connsiteY185" fmla="*/ 6405 h 10000"/>
              <a:gd name="connsiteX186" fmla="*/ 311 w 10000"/>
              <a:gd name="connsiteY186" fmla="*/ 6405 h 10000"/>
              <a:gd name="connsiteX187" fmla="*/ 207 w 10000"/>
              <a:gd name="connsiteY187" fmla="*/ 6405 h 10000"/>
              <a:gd name="connsiteX188" fmla="*/ 155 w 10000"/>
              <a:gd name="connsiteY188" fmla="*/ 6405 h 10000"/>
              <a:gd name="connsiteX189" fmla="*/ 104 w 10000"/>
              <a:gd name="connsiteY189" fmla="*/ 6405 h 10000"/>
              <a:gd name="connsiteX190" fmla="*/ 52 w 10000"/>
              <a:gd name="connsiteY190" fmla="*/ 6405 h 10000"/>
              <a:gd name="connsiteX191" fmla="*/ 0 w 10000"/>
              <a:gd name="connsiteY191" fmla="*/ 6405 h 10000"/>
              <a:gd name="connsiteX192" fmla="*/ 52 w 10000"/>
              <a:gd name="connsiteY192" fmla="*/ 5826 h 10000"/>
              <a:gd name="connsiteX193" fmla="*/ 207 w 10000"/>
              <a:gd name="connsiteY193" fmla="*/ 5909 h 10000"/>
              <a:gd name="connsiteX194" fmla="*/ 415 w 10000"/>
              <a:gd name="connsiteY194" fmla="*/ 5826 h 10000"/>
              <a:gd name="connsiteX195" fmla="*/ 1503 w 10000"/>
              <a:gd name="connsiteY195" fmla="*/ 5826 h 10000"/>
              <a:gd name="connsiteX196" fmla="*/ 1658 w 10000"/>
              <a:gd name="connsiteY196" fmla="*/ 5785 h 10000"/>
              <a:gd name="connsiteX197" fmla="*/ 1710 w 10000"/>
              <a:gd name="connsiteY197" fmla="*/ 5785 h 10000"/>
              <a:gd name="connsiteX198" fmla="*/ 2228 w 10000"/>
              <a:gd name="connsiteY198" fmla="*/ 5248 h 10000"/>
              <a:gd name="connsiteX199" fmla="*/ 2332 w 10000"/>
              <a:gd name="connsiteY199" fmla="*/ 5165 h 10000"/>
              <a:gd name="connsiteX200" fmla="*/ 2798 w 10000"/>
              <a:gd name="connsiteY200" fmla="*/ 4752 h 10000"/>
              <a:gd name="connsiteX201" fmla="*/ 3057 w 10000"/>
              <a:gd name="connsiteY201" fmla="*/ 4504 h 10000"/>
              <a:gd name="connsiteX202" fmla="*/ 3212 w 10000"/>
              <a:gd name="connsiteY202" fmla="*/ 4380 h 10000"/>
              <a:gd name="connsiteX203" fmla="*/ 3627 w 10000"/>
              <a:gd name="connsiteY203" fmla="*/ 3760 h 10000"/>
              <a:gd name="connsiteX204" fmla="*/ 4145 w 10000"/>
              <a:gd name="connsiteY204" fmla="*/ 3512 h 10000"/>
              <a:gd name="connsiteX205" fmla="*/ 5026 w 10000"/>
              <a:gd name="connsiteY205" fmla="*/ 2810 h 10000"/>
              <a:gd name="connsiteX206" fmla="*/ 4870 w 10000"/>
              <a:gd name="connsiteY206" fmla="*/ 2562 h 10000"/>
              <a:gd name="connsiteX207" fmla="*/ 4819 w 10000"/>
              <a:gd name="connsiteY207" fmla="*/ 2397 h 10000"/>
              <a:gd name="connsiteX208" fmla="*/ 4819 w 10000"/>
              <a:gd name="connsiteY208" fmla="*/ 1240 h 10000"/>
              <a:gd name="connsiteX209" fmla="*/ 4145 w 10000"/>
              <a:gd name="connsiteY209" fmla="*/ 744 h 10000"/>
              <a:gd name="connsiteX210" fmla="*/ 4974 w 10000"/>
              <a:gd name="connsiteY210" fmla="*/ 744 h 10000"/>
              <a:gd name="connsiteX211" fmla="*/ 5803 w 10000"/>
              <a:gd name="connsiteY211" fmla="*/ 744 h 10000"/>
              <a:gd name="connsiteX212" fmla="*/ 5803 w 10000"/>
              <a:gd name="connsiteY212" fmla="*/ 702 h 10000"/>
              <a:gd name="connsiteX213" fmla="*/ 5803 w 10000"/>
              <a:gd name="connsiteY213" fmla="*/ 661 h 10000"/>
              <a:gd name="connsiteX214" fmla="*/ 5803 w 10000"/>
              <a:gd name="connsiteY214" fmla="*/ 620 h 10000"/>
              <a:gd name="connsiteX215" fmla="*/ 5803 w 10000"/>
              <a:gd name="connsiteY215" fmla="*/ 579 h 10000"/>
              <a:gd name="connsiteX216" fmla="*/ 5855 w 10000"/>
              <a:gd name="connsiteY216" fmla="*/ 537 h 10000"/>
              <a:gd name="connsiteX217" fmla="*/ 5855 w 10000"/>
              <a:gd name="connsiteY217" fmla="*/ 496 h 10000"/>
              <a:gd name="connsiteX218" fmla="*/ 5855 w 10000"/>
              <a:gd name="connsiteY218" fmla="*/ 455 h 10000"/>
              <a:gd name="connsiteX219" fmla="*/ 5855 w 10000"/>
              <a:gd name="connsiteY219" fmla="*/ 413 h 10000"/>
              <a:gd name="connsiteX220" fmla="*/ 5855 w 10000"/>
              <a:gd name="connsiteY220" fmla="*/ 372 h 10000"/>
              <a:gd name="connsiteX221" fmla="*/ 5855 w 10000"/>
              <a:gd name="connsiteY221" fmla="*/ 331 h 10000"/>
              <a:gd name="connsiteX222" fmla="*/ 5803 w 10000"/>
              <a:gd name="connsiteY222" fmla="*/ 331 h 10000"/>
              <a:gd name="connsiteX223" fmla="*/ 5803 w 10000"/>
              <a:gd name="connsiteY223" fmla="*/ 289 h 10000"/>
              <a:gd name="connsiteX224" fmla="*/ 5803 w 10000"/>
              <a:gd name="connsiteY224" fmla="*/ 248 h 10000"/>
              <a:gd name="connsiteX225" fmla="*/ 5803 w 10000"/>
              <a:gd name="connsiteY225" fmla="*/ 207 h 10000"/>
              <a:gd name="connsiteX226" fmla="*/ 5803 w 10000"/>
              <a:gd name="connsiteY226" fmla="*/ 165 h 10000"/>
              <a:gd name="connsiteX227" fmla="*/ 5803 w 10000"/>
              <a:gd name="connsiteY227" fmla="*/ 124 h 10000"/>
              <a:gd name="connsiteX228" fmla="*/ 5803 w 10000"/>
              <a:gd name="connsiteY228" fmla="*/ 83 h 10000"/>
              <a:gd name="connsiteX229" fmla="*/ 5803 w 10000"/>
              <a:gd name="connsiteY229" fmla="*/ 41 h 10000"/>
              <a:gd name="connsiteX230" fmla="*/ 5803 w 10000"/>
              <a:gd name="connsiteY23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363 w 10000"/>
              <a:gd name="connsiteY185" fmla="*/ 6405 h 10000"/>
              <a:gd name="connsiteX186" fmla="*/ 311 w 10000"/>
              <a:gd name="connsiteY186" fmla="*/ 6405 h 10000"/>
              <a:gd name="connsiteX187" fmla="*/ 155 w 10000"/>
              <a:gd name="connsiteY187" fmla="*/ 6405 h 10000"/>
              <a:gd name="connsiteX188" fmla="*/ 104 w 10000"/>
              <a:gd name="connsiteY188" fmla="*/ 6405 h 10000"/>
              <a:gd name="connsiteX189" fmla="*/ 52 w 10000"/>
              <a:gd name="connsiteY189" fmla="*/ 6405 h 10000"/>
              <a:gd name="connsiteX190" fmla="*/ 0 w 10000"/>
              <a:gd name="connsiteY190" fmla="*/ 6405 h 10000"/>
              <a:gd name="connsiteX191" fmla="*/ 52 w 10000"/>
              <a:gd name="connsiteY191" fmla="*/ 5826 h 10000"/>
              <a:gd name="connsiteX192" fmla="*/ 207 w 10000"/>
              <a:gd name="connsiteY192" fmla="*/ 5909 h 10000"/>
              <a:gd name="connsiteX193" fmla="*/ 415 w 10000"/>
              <a:gd name="connsiteY193" fmla="*/ 5826 h 10000"/>
              <a:gd name="connsiteX194" fmla="*/ 1503 w 10000"/>
              <a:gd name="connsiteY194" fmla="*/ 5826 h 10000"/>
              <a:gd name="connsiteX195" fmla="*/ 1658 w 10000"/>
              <a:gd name="connsiteY195" fmla="*/ 5785 h 10000"/>
              <a:gd name="connsiteX196" fmla="*/ 1710 w 10000"/>
              <a:gd name="connsiteY196" fmla="*/ 5785 h 10000"/>
              <a:gd name="connsiteX197" fmla="*/ 2228 w 10000"/>
              <a:gd name="connsiteY197" fmla="*/ 5248 h 10000"/>
              <a:gd name="connsiteX198" fmla="*/ 2332 w 10000"/>
              <a:gd name="connsiteY198" fmla="*/ 5165 h 10000"/>
              <a:gd name="connsiteX199" fmla="*/ 2798 w 10000"/>
              <a:gd name="connsiteY199" fmla="*/ 4752 h 10000"/>
              <a:gd name="connsiteX200" fmla="*/ 3057 w 10000"/>
              <a:gd name="connsiteY200" fmla="*/ 4504 h 10000"/>
              <a:gd name="connsiteX201" fmla="*/ 3212 w 10000"/>
              <a:gd name="connsiteY201" fmla="*/ 4380 h 10000"/>
              <a:gd name="connsiteX202" fmla="*/ 3627 w 10000"/>
              <a:gd name="connsiteY202" fmla="*/ 3760 h 10000"/>
              <a:gd name="connsiteX203" fmla="*/ 4145 w 10000"/>
              <a:gd name="connsiteY203" fmla="*/ 3512 h 10000"/>
              <a:gd name="connsiteX204" fmla="*/ 5026 w 10000"/>
              <a:gd name="connsiteY204" fmla="*/ 2810 h 10000"/>
              <a:gd name="connsiteX205" fmla="*/ 4870 w 10000"/>
              <a:gd name="connsiteY205" fmla="*/ 2562 h 10000"/>
              <a:gd name="connsiteX206" fmla="*/ 4819 w 10000"/>
              <a:gd name="connsiteY206" fmla="*/ 2397 h 10000"/>
              <a:gd name="connsiteX207" fmla="*/ 4819 w 10000"/>
              <a:gd name="connsiteY207" fmla="*/ 1240 h 10000"/>
              <a:gd name="connsiteX208" fmla="*/ 4145 w 10000"/>
              <a:gd name="connsiteY208" fmla="*/ 744 h 10000"/>
              <a:gd name="connsiteX209" fmla="*/ 4974 w 10000"/>
              <a:gd name="connsiteY209" fmla="*/ 744 h 10000"/>
              <a:gd name="connsiteX210" fmla="*/ 5803 w 10000"/>
              <a:gd name="connsiteY210" fmla="*/ 744 h 10000"/>
              <a:gd name="connsiteX211" fmla="*/ 5803 w 10000"/>
              <a:gd name="connsiteY211" fmla="*/ 702 h 10000"/>
              <a:gd name="connsiteX212" fmla="*/ 5803 w 10000"/>
              <a:gd name="connsiteY212" fmla="*/ 661 h 10000"/>
              <a:gd name="connsiteX213" fmla="*/ 5803 w 10000"/>
              <a:gd name="connsiteY213" fmla="*/ 620 h 10000"/>
              <a:gd name="connsiteX214" fmla="*/ 5803 w 10000"/>
              <a:gd name="connsiteY214" fmla="*/ 579 h 10000"/>
              <a:gd name="connsiteX215" fmla="*/ 5855 w 10000"/>
              <a:gd name="connsiteY215" fmla="*/ 537 h 10000"/>
              <a:gd name="connsiteX216" fmla="*/ 5855 w 10000"/>
              <a:gd name="connsiteY216" fmla="*/ 496 h 10000"/>
              <a:gd name="connsiteX217" fmla="*/ 5855 w 10000"/>
              <a:gd name="connsiteY217" fmla="*/ 455 h 10000"/>
              <a:gd name="connsiteX218" fmla="*/ 5855 w 10000"/>
              <a:gd name="connsiteY218" fmla="*/ 413 h 10000"/>
              <a:gd name="connsiteX219" fmla="*/ 5855 w 10000"/>
              <a:gd name="connsiteY219" fmla="*/ 372 h 10000"/>
              <a:gd name="connsiteX220" fmla="*/ 5855 w 10000"/>
              <a:gd name="connsiteY220" fmla="*/ 331 h 10000"/>
              <a:gd name="connsiteX221" fmla="*/ 5803 w 10000"/>
              <a:gd name="connsiteY221" fmla="*/ 331 h 10000"/>
              <a:gd name="connsiteX222" fmla="*/ 5803 w 10000"/>
              <a:gd name="connsiteY222" fmla="*/ 289 h 10000"/>
              <a:gd name="connsiteX223" fmla="*/ 5803 w 10000"/>
              <a:gd name="connsiteY223" fmla="*/ 248 h 10000"/>
              <a:gd name="connsiteX224" fmla="*/ 5803 w 10000"/>
              <a:gd name="connsiteY224" fmla="*/ 207 h 10000"/>
              <a:gd name="connsiteX225" fmla="*/ 5803 w 10000"/>
              <a:gd name="connsiteY225" fmla="*/ 165 h 10000"/>
              <a:gd name="connsiteX226" fmla="*/ 5803 w 10000"/>
              <a:gd name="connsiteY226" fmla="*/ 124 h 10000"/>
              <a:gd name="connsiteX227" fmla="*/ 5803 w 10000"/>
              <a:gd name="connsiteY227" fmla="*/ 83 h 10000"/>
              <a:gd name="connsiteX228" fmla="*/ 5803 w 10000"/>
              <a:gd name="connsiteY228" fmla="*/ 41 h 10000"/>
              <a:gd name="connsiteX229" fmla="*/ 5803 w 10000"/>
              <a:gd name="connsiteY229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363 w 10000"/>
              <a:gd name="connsiteY185" fmla="*/ 6405 h 10000"/>
              <a:gd name="connsiteX186" fmla="*/ 155 w 10000"/>
              <a:gd name="connsiteY186" fmla="*/ 6405 h 10000"/>
              <a:gd name="connsiteX187" fmla="*/ 104 w 10000"/>
              <a:gd name="connsiteY187" fmla="*/ 6405 h 10000"/>
              <a:gd name="connsiteX188" fmla="*/ 52 w 10000"/>
              <a:gd name="connsiteY188" fmla="*/ 6405 h 10000"/>
              <a:gd name="connsiteX189" fmla="*/ 0 w 10000"/>
              <a:gd name="connsiteY189" fmla="*/ 6405 h 10000"/>
              <a:gd name="connsiteX190" fmla="*/ 52 w 10000"/>
              <a:gd name="connsiteY190" fmla="*/ 5826 h 10000"/>
              <a:gd name="connsiteX191" fmla="*/ 207 w 10000"/>
              <a:gd name="connsiteY191" fmla="*/ 5909 h 10000"/>
              <a:gd name="connsiteX192" fmla="*/ 415 w 10000"/>
              <a:gd name="connsiteY192" fmla="*/ 5826 h 10000"/>
              <a:gd name="connsiteX193" fmla="*/ 1503 w 10000"/>
              <a:gd name="connsiteY193" fmla="*/ 5826 h 10000"/>
              <a:gd name="connsiteX194" fmla="*/ 1658 w 10000"/>
              <a:gd name="connsiteY194" fmla="*/ 5785 h 10000"/>
              <a:gd name="connsiteX195" fmla="*/ 1710 w 10000"/>
              <a:gd name="connsiteY195" fmla="*/ 5785 h 10000"/>
              <a:gd name="connsiteX196" fmla="*/ 2228 w 10000"/>
              <a:gd name="connsiteY196" fmla="*/ 5248 h 10000"/>
              <a:gd name="connsiteX197" fmla="*/ 2332 w 10000"/>
              <a:gd name="connsiteY197" fmla="*/ 5165 h 10000"/>
              <a:gd name="connsiteX198" fmla="*/ 2798 w 10000"/>
              <a:gd name="connsiteY198" fmla="*/ 4752 h 10000"/>
              <a:gd name="connsiteX199" fmla="*/ 3057 w 10000"/>
              <a:gd name="connsiteY199" fmla="*/ 4504 h 10000"/>
              <a:gd name="connsiteX200" fmla="*/ 3212 w 10000"/>
              <a:gd name="connsiteY200" fmla="*/ 4380 h 10000"/>
              <a:gd name="connsiteX201" fmla="*/ 3627 w 10000"/>
              <a:gd name="connsiteY201" fmla="*/ 3760 h 10000"/>
              <a:gd name="connsiteX202" fmla="*/ 4145 w 10000"/>
              <a:gd name="connsiteY202" fmla="*/ 3512 h 10000"/>
              <a:gd name="connsiteX203" fmla="*/ 5026 w 10000"/>
              <a:gd name="connsiteY203" fmla="*/ 2810 h 10000"/>
              <a:gd name="connsiteX204" fmla="*/ 4870 w 10000"/>
              <a:gd name="connsiteY204" fmla="*/ 2562 h 10000"/>
              <a:gd name="connsiteX205" fmla="*/ 4819 w 10000"/>
              <a:gd name="connsiteY205" fmla="*/ 2397 h 10000"/>
              <a:gd name="connsiteX206" fmla="*/ 4819 w 10000"/>
              <a:gd name="connsiteY206" fmla="*/ 1240 h 10000"/>
              <a:gd name="connsiteX207" fmla="*/ 4145 w 10000"/>
              <a:gd name="connsiteY207" fmla="*/ 744 h 10000"/>
              <a:gd name="connsiteX208" fmla="*/ 4974 w 10000"/>
              <a:gd name="connsiteY208" fmla="*/ 744 h 10000"/>
              <a:gd name="connsiteX209" fmla="*/ 5803 w 10000"/>
              <a:gd name="connsiteY209" fmla="*/ 744 h 10000"/>
              <a:gd name="connsiteX210" fmla="*/ 5803 w 10000"/>
              <a:gd name="connsiteY210" fmla="*/ 702 h 10000"/>
              <a:gd name="connsiteX211" fmla="*/ 5803 w 10000"/>
              <a:gd name="connsiteY211" fmla="*/ 661 h 10000"/>
              <a:gd name="connsiteX212" fmla="*/ 5803 w 10000"/>
              <a:gd name="connsiteY212" fmla="*/ 620 h 10000"/>
              <a:gd name="connsiteX213" fmla="*/ 5803 w 10000"/>
              <a:gd name="connsiteY213" fmla="*/ 579 h 10000"/>
              <a:gd name="connsiteX214" fmla="*/ 5855 w 10000"/>
              <a:gd name="connsiteY214" fmla="*/ 537 h 10000"/>
              <a:gd name="connsiteX215" fmla="*/ 5855 w 10000"/>
              <a:gd name="connsiteY215" fmla="*/ 496 h 10000"/>
              <a:gd name="connsiteX216" fmla="*/ 5855 w 10000"/>
              <a:gd name="connsiteY216" fmla="*/ 455 h 10000"/>
              <a:gd name="connsiteX217" fmla="*/ 5855 w 10000"/>
              <a:gd name="connsiteY217" fmla="*/ 413 h 10000"/>
              <a:gd name="connsiteX218" fmla="*/ 5855 w 10000"/>
              <a:gd name="connsiteY218" fmla="*/ 372 h 10000"/>
              <a:gd name="connsiteX219" fmla="*/ 5855 w 10000"/>
              <a:gd name="connsiteY219" fmla="*/ 331 h 10000"/>
              <a:gd name="connsiteX220" fmla="*/ 5803 w 10000"/>
              <a:gd name="connsiteY220" fmla="*/ 331 h 10000"/>
              <a:gd name="connsiteX221" fmla="*/ 5803 w 10000"/>
              <a:gd name="connsiteY221" fmla="*/ 289 h 10000"/>
              <a:gd name="connsiteX222" fmla="*/ 5803 w 10000"/>
              <a:gd name="connsiteY222" fmla="*/ 248 h 10000"/>
              <a:gd name="connsiteX223" fmla="*/ 5803 w 10000"/>
              <a:gd name="connsiteY223" fmla="*/ 207 h 10000"/>
              <a:gd name="connsiteX224" fmla="*/ 5803 w 10000"/>
              <a:gd name="connsiteY224" fmla="*/ 165 h 10000"/>
              <a:gd name="connsiteX225" fmla="*/ 5803 w 10000"/>
              <a:gd name="connsiteY225" fmla="*/ 124 h 10000"/>
              <a:gd name="connsiteX226" fmla="*/ 5803 w 10000"/>
              <a:gd name="connsiteY226" fmla="*/ 83 h 10000"/>
              <a:gd name="connsiteX227" fmla="*/ 5803 w 10000"/>
              <a:gd name="connsiteY227" fmla="*/ 41 h 10000"/>
              <a:gd name="connsiteX228" fmla="*/ 5803 w 10000"/>
              <a:gd name="connsiteY228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466 w 10000"/>
              <a:gd name="connsiteY184" fmla="*/ 6364 h 10000"/>
              <a:gd name="connsiteX185" fmla="*/ 155 w 10000"/>
              <a:gd name="connsiteY185" fmla="*/ 6405 h 10000"/>
              <a:gd name="connsiteX186" fmla="*/ 104 w 10000"/>
              <a:gd name="connsiteY186" fmla="*/ 6405 h 10000"/>
              <a:gd name="connsiteX187" fmla="*/ 52 w 10000"/>
              <a:gd name="connsiteY187" fmla="*/ 6405 h 10000"/>
              <a:gd name="connsiteX188" fmla="*/ 0 w 10000"/>
              <a:gd name="connsiteY188" fmla="*/ 6405 h 10000"/>
              <a:gd name="connsiteX189" fmla="*/ 52 w 10000"/>
              <a:gd name="connsiteY189" fmla="*/ 5826 h 10000"/>
              <a:gd name="connsiteX190" fmla="*/ 207 w 10000"/>
              <a:gd name="connsiteY190" fmla="*/ 5909 h 10000"/>
              <a:gd name="connsiteX191" fmla="*/ 415 w 10000"/>
              <a:gd name="connsiteY191" fmla="*/ 5826 h 10000"/>
              <a:gd name="connsiteX192" fmla="*/ 1503 w 10000"/>
              <a:gd name="connsiteY192" fmla="*/ 5826 h 10000"/>
              <a:gd name="connsiteX193" fmla="*/ 1658 w 10000"/>
              <a:gd name="connsiteY193" fmla="*/ 5785 h 10000"/>
              <a:gd name="connsiteX194" fmla="*/ 1710 w 10000"/>
              <a:gd name="connsiteY194" fmla="*/ 5785 h 10000"/>
              <a:gd name="connsiteX195" fmla="*/ 2228 w 10000"/>
              <a:gd name="connsiteY195" fmla="*/ 5248 h 10000"/>
              <a:gd name="connsiteX196" fmla="*/ 2332 w 10000"/>
              <a:gd name="connsiteY196" fmla="*/ 5165 h 10000"/>
              <a:gd name="connsiteX197" fmla="*/ 2798 w 10000"/>
              <a:gd name="connsiteY197" fmla="*/ 4752 h 10000"/>
              <a:gd name="connsiteX198" fmla="*/ 3057 w 10000"/>
              <a:gd name="connsiteY198" fmla="*/ 4504 h 10000"/>
              <a:gd name="connsiteX199" fmla="*/ 3212 w 10000"/>
              <a:gd name="connsiteY199" fmla="*/ 4380 h 10000"/>
              <a:gd name="connsiteX200" fmla="*/ 3627 w 10000"/>
              <a:gd name="connsiteY200" fmla="*/ 3760 h 10000"/>
              <a:gd name="connsiteX201" fmla="*/ 4145 w 10000"/>
              <a:gd name="connsiteY201" fmla="*/ 3512 h 10000"/>
              <a:gd name="connsiteX202" fmla="*/ 5026 w 10000"/>
              <a:gd name="connsiteY202" fmla="*/ 2810 h 10000"/>
              <a:gd name="connsiteX203" fmla="*/ 4870 w 10000"/>
              <a:gd name="connsiteY203" fmla="*/ 2562 h 10000"/>
              <a:gd name="connsiteX204" fmla="*/ 4819 w 10000"/>
              <a:gd name="connsiteY204" fmla="*/ 2397 h 10000"/>
              <a:gd name="connsiteX205" fmla="*/ 4819 w 10000"/>
              <a:gd name="connsiteY205" fmla="*/ 1240 h 10000"/>
              <a:gd name="connsiteX206" fmla="*/ 4145 w 10000"/>
              <a:gd name="connsiteY206" fmla="*/ 744 h 10000"/>
              <a:gd name="connsiteX207" fmla="*/ 4974 w 10000"/>
              <a:gd name="connsiteY207" fmla="*/ 744 h 10000"/>
              <a:gd name="connsiteX208" fmla="*/ 5803 w 10000"/>
              <a:gd name="connsiteY208" fmla="*/ 744 h 10000"/>
              <a:gd name="connsiteX209" fmla="*/ 5803 w 10000"/>
              <a:gd name="connsiteY209" fmla="*/ 702 h 10000"/>
              <a:gd name="connsiteX210" fmla="*/ 5803 w 10000"/>
              <a:gd name="connsiteY210" fmla="*/ 661 h 10000"/>
              <a:gd name="connsiteX211" fmla="*/ 5803 w 10000"/>
              <a:gd name="connsiteY211" fmla="*/ 620 h 10000"/>
              <a:gd name="connsiteX212" fmla="*/ 5803 w 10000"/>
              <a:gd name="connsiteY212" fmla="*/ 579 h 10000"/>
              <a:gd name="connsiteX213" fmla="*/ 5855 w 10000"/>
              <a:gd name="connsiteY213" fmla="*/ 537 h 10000"/>
              <a:gd name="connsiteX214" fmla="*/ 5855 w 10000"/>
              <a:gd name="connsiteY214" fmla="*/ 496 h 10000"/>
              <a:gd name="connsiteX215" fmla="*/ 5855 w 10000"/>
              <a:gd name="connsiteY215" fmla="*/ 455 h 10000"/>
              <a:gd name="connsiteX216" fmla="*/ 5855 w 10000"/>
              <a:gd name="connsiteY216" fmla="*/ 413 h 10000"/>
              <a:gd name="connsiteX217" fmla="*/ 5855 w 10000"/>
              <a:gd name="connsiteY217" fmla="*/ 372 h 10000"/>
              <a:gd name="connsiteX218" fmla="*/ 5855 w 10000"/>
              <a:gd name="connsiteY218" fmla="*/ 331 h 10000"/>
              <a:gd name="connsiteX219" fmla="*/ 5803 w 10000"/>
              <a:gd name="connsiteY219" fmla="*/ 331 h 10000"/>
              <a:gd name="connsiteX220" fmla="*/ 5803 w 10000"/>
              <a:gd name="connsiteY220" fmla="*/ 289 h 10000"/>
              <a:gd name="connsiteX221" fmla="*/ 5803 w 10000"/>
              <a:gd name="connsiteY221" fmla="*/ 248 h 10000"/>
              <a:gd name="connsiteX222" fmla="*/ 5803 w 10000"/>
              <a:gd name="connsiteY222" fmla="*/ 207 h 10000"/>
              <a:gd name="connsiteX223" fmla="*/ 5803 w 10000"/>
              <a:gd name="connsiteY223" fmla="*/ 165 h 10000"/>
              <a:gd name="connsiteX224" fmla="*/ 5803 w 10000"/>
              <a:gd name="connsiteY224" fmla="*/ 124 h 10000"/>
              <a:gd name="connsiteX225" fmla="*/ 5803 w 10000"/>
              <a:gd name="connsiteY225" fmla="*/ 83 h 10000"/>
              <a:gd name="connsiteX226" fmla="*/ 5803 w 10000"/>
              <a:gd name="connsiteY226" fmla="*/ 41 h 10000"/>
              <a:gd name="connsiteX227" fmla="*/ 5803 w 10000"/>
              <a:gd name="connsiteY227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570 w 10000"/>
              <a:gd name="connsiteY183" fmla="*/ 6364 h 10000"/>
              <a:gd name="connsiteX184" fmla="*/ 155 w 10000"/>
              <a:gd name="connsiteY184" fmla="*/ 6405 h 10000"/>
              <a:gd name="connsiteX185" fmla="*/ 104 w 10000"/>
              <a:gd name="connsiteY185" fmla="*/ 6405 h 10000"/>
              <a:gd name="connsiteX186" fmla="*/ 52 w 10000"/>
              <a:gd name="connsiteY186" fmla="*/ 6405 h 10000"/>
              <a:gd name="connsiteX187" fmla="*/ 0 w 10000"/>
              <a:gd name="connsiteY187" fmla="*/ 6405 h 10000"/>
              <a:gd name="connsiteX188" fmla="*/ 52 w 10000"/>
              <a:gd name="connsiteY188" fmla="*/ 5826 h 10000"/>
              <a:gd name="connsiteX189" fmla="*/ 207 w 10000"/>
              <a:gd name="connsiteY189" fmla="*/ 5909 h 10000"/>
              <a:gd name="connsiteX190" fmla="*/ 415 w 10000"/>
              <a:gd name="connsiteY190" fmla="*/ 5826 h 10000"/>
              <a:gd name="connsiteX191" fmla="*/ 1503 w 10000"/>
              <a:gd name="connsiteY191" fmla="*/ 5826 h 10000"/>
              <a:gd name="connsiteX192" fmla="*/ 1658 w 10000"/>
              <a:gd name="connsiteY192" fmla="*/ 5785 h 10000"/>
              <a:gd name="connsiteX193" fmla="*/ 1710 w 10000"/>
              <a:gd name="connsiteY193" fmla="*/ 5785 h 10000"/>
              <a:gd name="connsiteX194" fmla="*/ 2228 w 10000"/>
              <a:gd name="connsiteY194" fmla="*/ 5248 h 10000"/>
              <a:gd name="connsiteX195" fmla="*/ 2332 w 10000"/>
              <a:gd name="connsiteY195" fmla="*/ 5165 h 10000"/>
              <a:gd name="connsiteX196" fmla="*/ 2798 w 10000"/>
              <a:gd name="connsiteY196" fmla="*/ 4752 h 10000"/>
              <a:gd name="connsiteX197" fmla="*/ 3057 w 10000"/>
              <a:gd name="connsiteY197" fmla="*/ 4504 h 10000"/>
              <a:gd name="connsiteX198" fmla="*/ 3212 w 10000"/>
              <a:gd name="connsiteY198" fmla="*/ 4380 h 10000"/>
              <a:gd name="connsiteX199" fmla="*/ 3627 w 10000"/>
              <a:gd name="connsiteY199" fmla="*/ 3760 h 10000"/>
              <a:gd name="connsiteX200" fmla="*/ 4145 w 10000"/>
              <a:gd name="connsiteY200" fmla="*/ 3512 h 10000"/>
              <a:gd name="connsiteX201" fmla="*/ 5026 w 10000"/>
              <a:gd name="connsiteY201" fmla="*/ 2810 h 10000"/>
              <a:gd name="connsiteX202" fmla="*/ 4870 w 10000"/>
              <a:gd name="connsiteY202" fmla="*/ 2562 h 10000"/>
              <a:gd name="connsiteX203" fmla="*/ 4819 w 10000"/>
              <a:gd name="connsiteY203" fmla="*/ 2397 h 10000"/>
              <a:gd name="connsiteX204" fmla="*/ 4819 w 10000"/>
              <a:gd name="connsiteY204" fmla="*/ 1240 h 10000"/>
              <a:gd name="connsiteX205" fmla="*/ 4145 w 10000"/>
              <a:gd name="connsiteY205" fmla="*/ 744 h 10000"/>
              <a:gd name="connsiteX206" fmla="*/ 4974 w 10000"/>
              <a:gd name="connsiteY206" fmla="*/ 744 h 10000"/>
              <a:gd name="connsiteX207" fmla="*/ 5803 w 10000"/>
              <a:gd name="connsiteY207" fmla="*/ 744 h 10000"/>
              <a:gd name="connsiteX208" fmla="*/ 5803 w 10000"/>
              <a:gd name="connsiteY208" fmla="*/ 702 h 10000"/>
              <a:gd name="connsiteX209" fmla="*/ 5803 w 10000"/>
              <a:gd name="connsiteY209" fmla="*/ 661 h 10000"/>
              <a:gd name="connsiteX210" fmla="*/ 5803 w 10000"/>
              <a:gd name="connsiteY210" fmla="*/ 620 h 10000"/>
              <a:gd name="connsiteX211" fmla="*/ 5803 w 10000"/>
              <a:gd name="connsiteY211" fmla="*/ 579 h 10000"/>
              <a:gd name="connsiteX212" fmla="*/ 5855 w 10000"/>
              <a:gd name="connsiteY212" fmla="*/ 537 h 10000"/>
              <a:gd name="connsiteX213" fmla="*/ 5855 w 10000"/>
              <a:gd name="connsiteY213" fmla="*/ 496 h 10000"/>
              <a:gd name="connsiteX214" fmla="*/ 5855 w 10000"/>
              <a:gd name="connsiteY214" fmla="*/ 455 h 10000"/>
              <a:gd name="connsiteX215" fmla="*/ 5855 w 10000"/>
              <a:gd name="connsiteY215" fmla="*/ 413 h 10000"/>
              <a:gd name="connsiteX216" fmla="*/ 5855 w 10000"/>
              <a:gd name="connsiteY216" fmla="*/ 372 h 10000"/>
              <a:gd name="connsiteX217" fmla="*/ 5855 w 10000"/>
              <a:gd name="connsiteY217" fmla="*/ 331 h 10000"/>
              <a:gd name="connsiteX218" fmla="*/ 5803 w 10000"/>
              <a:gd name="connsiteY218" fmla="*/ 331 h 10000"/>
              <a:gd name="connsiteX219" fmla="*/ 5803 w 10000"/>
              <a:gd name="connsiteY219" fmla="*/ 289 h 10000"/>
              <a:gd name="connsiteX220" fmla="*/ 5803 w 10000"/>
              <a:gd name="connsiteY220" fmla="*/ 248 h 10000"/>
              <a:gd name="connsiteX221" fmla="*/ 5803 w 10000"/>
              <a:gd name="connsiteY221" fmla="*/ 207 h 10000"/>
              <a:gd name="connsiteX222" fmla="*/ 5803 w 10000"/>
              <a:gd name="connsiteY222" fmla="*/ 165 h 10000"/>
              <a:gd name="connsiteX223" fmla="*/ 5803 w 10000"/>
              <a:gd name="connsiteY223" fmla="*/ 124 h 10000"/>
              <a:gd name="connsiteX224" fmla="*/ 5803 w 10000"/>
              <a:gd name="connsiteY224" fmla="*/ 83 h 10000"/>
              <a:gd name="connsiteX225" fmla="*/ 5803 w 10000"/>
              <a:gd name="connsiteY225" fmla="*/ 41 h 10000"/>
              <a:gd name="connsiteX226" fmla="*/ 5803 w 10000"/>
              <a:gd name="connsiteY226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570 w 10000"/>
              <a:gd name="connsiteY182" fmla="*/ 6405 h 10000"/>
              <a:gd name="connsiteX183" fmla="*/ 155 w 10000"/>
              <a:gd name="connsiteY183" fmla="*/ 6405 h 10000"/>
              <a:gd name="connsiteX184" fmla="*/ 104 w 10000"/>
              <a:gd name="connsiteY184" fmla="*/ 6405 h 10000"/>
              <a:gd name="connsiteX185" fmla="*/ 52 w 10000"/>
              <a:gd name="connsiteY185" fmla="*/ 6405 h 10000"/>
              <a:gd name="connsiteX186" fmla="*/ 0 w 10000"/>
              <a:gd name="connsiteY186" fmla="*/ 6405 h 10000"/>
              <a:gd name="connsiteX187" fmla="*/ 52 w 10000"/>
              <a:gd name="connsiteY187" fmla="*/ 5826 h 10000"/>
              <a:gd name="connsiteX188" fmla="*/ 207 w 10000"/>
              <a:gd name="connsiteY188" fmla="*/ 5909 h 10000"/>
              <a:gd name="connsiteX189" fmla="*/ 415 w 10000"/>
              <a:gd name="connsiteY189" fmla="*/ 5826 h 10000"/>
              <a:gd name="connsiteX190" fmla="*/ 1503 w 10000"/>
              <a:gd name="connsiteY190" fmla="*/ 5826 h 10000"/>
              <a:gd name="connsiteX191" fmla="*/ 1658 w 10000"/>
              <a:gd name="connsiteY191" fmla="*/ 5785 h 10000"/>
              <a:gd name="connsiteX192" fmla="*/ 1710 w 10000"/>
              <a:gd name="connsiteY192" fmla="*/ 5785 h 10000"/>
              <a:gd name="connsiteX193" fmla="*/ 2228 w 10000"/>
              <a:gd name="connsiteY193" fmla="*/ 5248 h 10000"/>
              <a:gd name="connsiteX194" fmla="*/ 2332 w 10000"/>
              <a:gd name="connsiteY194" fmla="*/ 5165 h 10000"/>
              <a:gd name="connsiteX195" fmla="*/ 2798 w 10000"/>
              <a:gd name="connsiteY195" fmla="*/ 4752 h 10000"/>
              <a:gd name="connsiteX196" fmla="*/ 3057 w 10000"/>
              <a:gd name="connsiteY196" fmla="*/ 4504 h 10000"/>
              <a:gd name="connsiteX197" fmla="*/ 3212 w 10000"/>
              <a:gd name="connsiteY197" fmla="*/ 4380 h 10000"/>
              <a:gd name="connsiteX198" fmla="*/ 3627 w 10000"/>
              <a:gd name="connsiteY198" fmla="*/ 3760 h 10000"/>
              <a:gd name="connsiteX199" fmla="*/ 4145 w 10000"/>
              <a:gd name="connsiteY199" fmla="*/ 3512 h 10000"/>
              <a:gd name="connsiteX200" fmla="*/ 5026 w 10000"/>
              <a:gd name="connsiteY200" fmla="*/ 2810 h 10000"/>
              <a:gd name="connsiteX201" fmla="*/ 4870 w 10000"/>
              <a:gd name="connsiteY201" fmla="*/ 2562 h 10000"/>
              <a:gd name="connsiteX202" fmla="*/ 4819 w 10000"/>
              <a:gd name="connsiteY202" fmla="*/ 2397 h 10000"/>
              <a:gd name="connsiteX203" fmla="*/ 4819 w 10000"/>
              <a:gd name="connsiteY203" fmla="*/ 1240 h 10000"/>
              <a:gd name="connsiteX204" fmla="*/ 4145 w 10000"/>
              <a:gd name="connsiteY204" fmla="*/ 744 h 10000"/>
              <a:gd name="connsiteX205" fmla="*/ 4974 w 10000"/>
              <a:gd name="connsiteY205" fmla="*/ 744 h 10000"/>
              <a:gd name="connsiteX206" fmla="*/ 5803 w 10000"/>
              <a:gd name="connsiteY206" fmla="*/ 744 h 10000"/>
              <a:gd name="connsiteX207" fmla="*/ 5803 w 10000"/>
              <a:gd name="connsiteY207" fmla="*/ 702 h 10000"/>
              <a:gd name="connsiteX208" fmla="*/ 5803 w 10000"/>
              <a:gd name="connsiteY208" fmla="*/ 661 h 10000"/>
              <a:gd name="connsiteX209" fmla="*/ 5803 w 10000"/>
              <a:gd name="connsiteY209" fmla="*/ 620 h 10000"/>
              <a:gd name="connsiteX210" fmla="*/ 5803 w 10000"/>
              <a:gd name="connsiteY210" fmla="*/ 579 h 10000"/>
              <a:gd name="connsiteX211" fmla="*/ 5855 w 10000"/>
              <a:gd name="connsiteY211" fmla="*/ 537 h 10000"/>
              <a:gd name="connsiteX212" fmla="*/ 5855 w 10000"/>
              <a:gd name="connsiteY212" fmla="*/ 496 h 10000"/>
              <a:gd name="connsiteX213" fmla="*/ 5855 w 10000"/>
              <a:gd name="connsiteY213" fmla="*/ 455 h 10000"/>
              <a:gd name="connsiteX214" fmla="*/ 5855 w 10000"/>
              <a:gd name="connsiteY214" fmla="*/ 413 h 10000"/>
              <a:gd name="connsiteX215" fmla="*/ 5855 w 10000"/>
              <a:gd name="connsiteY215" fmla="*/ 372 h 10000"/>
              <a:gd name="connsiteX216" fmla="*/ 5855 w 10000"/>
              <a:gd name="connsiteY216" fmla="*/ 331 h 10000"/>
              <a:gd name="connsiteX217" fmla="*/ 5803 w 10000"/>
              <a:gd name="connsiteY217" fmla="*/ 331 h 10000"/>
              <a:gd name="connsiteX218" fmla="*/ 5803 w 10000"/>
              <a:gd name="connsiteY218" fmla="*/ 289 h 10000"/>
              <a:gd name="connsiteX219" fmla="*/ 5803 w 10000"/>
              <a:gd name="connsiteY219" fmla="*/ 248 h 10000"/>
              <a:gd name="connsiteX220" fmla="*/ 5803 w 10000"/>
              <a:gd name="connsiteY220" fmla="*/ 207 h 10000"/>
              <a:gd name="connsiteX221" fmla="*/ 5803 w 10000"/>
              <a:gd name="connsiteY221" fmla="*/ 165 h 10000"/>
              <a:gd name="connsiteX222" fmla="*/ 5803 w 10000"/>
              <a:gd name="connsiteY222" fmla="*/ 124 h 10000"/>
              <a:gd name="connsiteX223" fmla="*/ 5803 w 10000"/>
              <a:gd name="connsiteY223" fmla="*/ 83 h 10000"/>
              <a:gd name="connsiteX224" fmla="*/ 5803 w 10000"/>
              <a:gd name="connsiteY224" fmla="*/ 41 h 10000"/>
              <a:gd name="connsiteX225" fmla="*/ 5803 w 10000"/>
              <a:gd name="connsiteY225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622 w 10000"/>
              <a:gd name="connsiteY181" fmla="*/ 6406 h 10000"/>
              <a:gd name="connsiteX182" fmla="*/ 155 w 10000"/>
              <a:gd name="connsiteY182" fmla="*/ 6405 h 10000"/>
              <a:gd name="connsiteX183" fmla="*/ 104 w 10000"/>
              <a:gd name="connsiteY183" fmla="*/ 6405 h 10000"/>
              <a:gd name="connsiteX184" fmla="*/ 52 w 10000"/>
              <a:gd name="connsiteY184" fmla="*/ 6405 h 10000"/>
              <a:gd name="connsiteX185" fmla="*/ 0 w 10000"/>
              <a:gd name="connsiteY185" fmla="*/ 6405 h 10000"/>
              <a:gd name="connsiteX186" fmla="*/ 52 w 10000"/>
              <a:gd name="connsiteY186" fmla="*/ 5826 h 10000"/>
              <a:gd name="connsiteX187" fmla="*/ 207 w 10000"/>
              <a:gd name="connsiteY187" fmla="*/ 5909 h 10000"/>
              <a:gd name="connsiteX188" fmla="*/ 415 w 10000"/>
              <a:gd name="connsiteY188" fmla="*/ 5826 h 10000"/>
              <a:gd name="connsiteX189" fmla="*/ 1503 w 10000"/>
              <a:gd name="connsiteY189" fmla="*/ 5826 h 10000"/>
              <a:gd name="connsiteX190" fmla="*/ 1658 w 10000"/>
              <a:gd name="connsiteY190" fmla="*/ 5785 h 10000"/>
              <a:gd name="connsiteX191" fmla="*/ 1710 w 10000"/>
              <a:gd name="connsiteY191" fmla="*/ 5785 h 10000"/>
              <a:gd name="connsiteX192" fmla="*/ 2228 w 10000"/>
              <a:gd name="connsiteY192" fmla="*/ 5248 h 10000"/>
              <a:gd name="connsiteX193" fmla="*/ 2332 w 10000"/>
              <a:gd name="connsiteY193" fmla="*/ 5165 h 10000"/>
              <a:gd name="connsiteX194" fmla="*/ 2798 w 10000"/>
              <a:gd name="connsiteY194" fmla="*/ 4752 h 10000"/>
              <a:gd name="connsiteX195" fmla="*/ 3057 w 10000"/>
              <a:gd name="connsiteY195" fmla="*/ 4504 h 10000"/>
              <a:gd name="connsiteX196" fmla="*/ 3212 w 10000"/>
              <a:gd name="connsiteY196" fmla="*/ 4380 h 10000"/>
              <a:gd name="connsiteX197" fmla="*/ 3627 w 10000"/>
              <a:gd name="connsiteY197" fmla="*/ 3760 h 10000"/>
              <a:gd name="connsiteX198" fmla="*/ 4145 w 10000"/>
              <a:gd name="connsiteY198" fmla="*/ 3512 h 10000"/>
              <a:gd name="connsiteX199" fmla="*/ 5026 w 10000"/>
              <a:gd name="connsiteY199" fmla="*/ 2810 h 10000"/>
              <a:gd name="connsiteX200" fmla="*/ 4870 w 10000"/>
              <a:gd name="connsiteY200" fmla="*/ 2562 h 10000"/>
              <a:gd name="connsiteX201" fmla="*/ 4819 w 10000"/>
              <a:gd name="connsiteY201" fmla="*/ 2397 h 10000"/>
              <a:gd name="connsiteX202" fmla="*/ 4819 w 10000"/>
              <a:gd name="connsiteY202" fmla="*/ 1240 h 10000"/>
              <a:gd name="connsiteX203" fmla="*/ 4145 w 10000"/>
              <a:gd name="connsiteY203" fmla="*/ 744 h 10000"/>
              <a:gd name="connsiteX204" fmla="*/ 4974 w 10000"/>
              <a:gd name="connsiteY204" fmla="*/ 744 h 10000"/>
              <a:gd name="connsiteX205" fmla="*/ 5803 w 10000"/>
              <a:gd name="connsiteY205" fmla="*/ 744 h 10000"/>
              <a:gd name="connsiteX206" fmla="*/ 5803 w 10000"/>
              <a:gd name="connsiteY206" fmla="*/ 702 h 10000"/>
              <a:gd name="connsiteX207" fmla="*/ 5803 w 10000"/>
              <a:gd name="connsiteY207" fmla="*/ 661 h 10000"/>
              <a:gd name="connsiteX208" fmla="*/ 5803 w 10000"/>
              <a:gd name="connsiteY208" fmla="*/ 620 h 10000"/>
              <a:gd name="connsiteX209" fmla="*/ 5803 w 10000"/>
              <a:gd name="connsiteY209" fmla="*/ 579 h 10000"/>
              <a:gd name="connsiteX210" fmla="*/ 5855 w 10000"/>
              <a:gd name="connsiteY210" fmla="*/ 537 h 10000"/>
              <a:gd name="connsiteX211" fmla="*/ 5855 w 10000"/>
              <a:gd name="connsiteY211" fmla="*/ 496 h 10000"/>
              <a:gd name="connsiteX212" fmla="*/ 5855 w 10000"/>
              <a:gd name="connsiteY212" fmla="*/ 455 h 10000"/>
              <a:gd name="connsiteX213" fmla="*/ 5855 w 10000"/>
              <a:gd name="connsiteY213" fmla="*/ 413 h 10000"/>
              <a:gd name="connsiteX214" fmla="*/ 5855 w 10000"/>
              <a:gd name="connsiteY214" fmla="*/ 372 h 10000"/>
              <a:gd name="connsiteX215" fmla="*/ 5855 w 10000"/>
              <a:gd name="connsiteY215" fmla="*/ 331 h 10000"/>
              <a:gd name="connsiteX216" fmla="*/ 5803 w 10000"/>
              <a:gd name="connsiteY216" fmla="*/ 331 h 10000"/>
              <a:gd name="connsiteX217" fmla="*/ 5803 w 10000"/>
              <a:gd name="connsiteY217" fmla="*/ 289 h 10000"/>
              <a:gd name="connsiteX218" fmla="*/ 5803 w 10000"/>
              <a:gd name="connsiteY218" fmla="*/ 248 h 10000"/>
              <a:gd name="connsiteX219" fmla="*/ 5803 w 10000"/>
              <a:gd name="connsiteY219" fmla="*/ 207 h 10000"/>
              <a:gd name="connsiteX220" fmla="*/ 5803 w 10000"/>
              <a:gd name="connsiteY220" fmla="*/ 165 h 10000"/>
              <a:gd name="connsiteX221" fmla="*/ 5803 w 10000"/>
              <a:gd name="connsiteY221" fmla="*/ 124 h 10000"/>
              <a:gd name="connsiteX222" fmla="*/ 5803 w 10000"/>
              <a:gd name="connsiteY222" fmla="*/ 83 h 10000"/>
              <a:gd name="connsiteX223" fmla="*/ 5803 w 10000"/>
              <a:gd name="connsiteY223" fmla="*/ 41 h 10000"/>
              <a:gd name="connsiteX224" fmla="*/ 5803 w 10000"/>
              <a:gd name="connsiteY224" fmla="*/ 0 h 10000"/>
              <a:gd name="connsiteX0" fmla="*/ 6037 w 10234"/>
              <a:gd name="connsiteY0" fmla="*/ 0 h 10000"/>
              <a:gd name="connsiteX1" fmla="*/ 7592 w 10234"/>
              <a:gd name="connsiteY1" fmla="*/ 41 h 10000"/>
              <a:gd name="connsiteX2" fmla="*/ 7747 w 10234"/>
              <a:gd name="connsiteY2" fmla="*/ 41 h 10000"/>
              <a:gd name="connsiteX3" fmla="*/ 7592 w 10234"/>
              <a:gd name="connsiteY3" fmla="*/ 165 h 10000"/>
              <a:gd name="connsiteX4" fmla="*/ 7540 w 10234"/>
              <a:gd name="connsiteY4" fmla="*/ 537 h 10000"/>
              <a:gd name="connsiteX5" fmla="*/ 7436 w 10234"/>
              <a:gd name="connsiteY5" fmla="*/ 1116 h 10000"/>
              <a:gd name="connsiteX6" fmla="*/ 7384 w 10234"/>
              <a:gd name="connsiteY6" fmla="*/ 1157 h 10000"/>
              <a:gd name="connsiteX7" fmla="*/ 7229 w 10234"/>
              <a:gd name="connsiteY7" fmla="*/ 1488 h 10000"/>
              <a:gd name="connsiteX8" fmla="*/ 7643 w 10234"/>
              <a:gd name="connsiteY8" fmla="*/ 3017 h 10000"/>
              <a:gd name="connsiteX9" fmla="*/ 7747 w 10234"/>
              <a:gd name="connsiteY9" fmla="*/ 3306 h 10000"/>
              <a:gd name="connsiteX10" fmla="*/ 7592 w 10234"/>
              <a:gd name="connsiteY10" fmla="*/ 3554 h 10000"/>
              <a:gd name="connsiteX11" fmla="*/ 8265 w 10234"/>
              <a:gd name="connsiteY11" fmla="*/ 3719 h 10000"/>
              <a:gd name="connsiteX12" fmla="*/ 8731 w 10234"/>
              <a:gd name="connsiteY12" fmla="*/ 4174 h 10000"/>
              <a:gd name="connsiteX13" fmla="*/ 8835 w 10234"/>
              <a:gd name="connsiteY13" fmla="*/ 4256 h 10000"/>
              <a:gd name="connsiteX14" fmla="*/ 9146 w 10234"/>
              <a:gd name="connsiteY14" fmla="*/ 4463 h 10000"/>
              <a:gd name="connsiteX15" fmla="*/ 9353 w 10234"/>
              <a:gd name="connsiteY15" fmla="*/ 4711 h 10000"/>
              <a:gd name="connsiteX16" fmla="*/ 9457 w 10234"/>
              <a:gd name="connsiteY16" fmla="*/ 4835 h 10000"/>
              <a:gd name="connsiteX17" fmla="*/ 9664 w 10234"/>
              <a:gd name="connsiteY17" fmla="*/ 4835 h 10000"/>
              <a:gd name="connsiteX18" fmla="*/ 9664 w 10234"/>
              <a:gd name="connsiteY18" fmla="*/ 4876 h 10000"/>
              <a:gd name="connsiteX19" fmla="*/ 9716 w 10234"/>
              <a:gd name="connsiteY19" fmla="*/ 4959 h 10000"/>
              <a:gd name="connsiteX20" fmla="*/ 9716 w 10234"/>
              <a:gd name="connsiteY20" fmla="*/ 5000 h 10000"/>
              <a:gd name="connsiteX21" fmla="*/ 9768 w 10234"/>
              <a:gd name="connsiteY21" fmla="*/ 5165 h 10000"/>
              <a:gd name="connsiteX22" fmla="*/ 9768 w 10234"/>
              <a:gd name="connsiteY22" fmla="*/ 5207 h 10000"/>
              <a:gd name="connsiteX23" fmla="*/ 9768 w 10234"/>
              <a:gd name="connsiteY23" fmla="*/ 5331 h 10000"/>
              <a:gd name="connsiteX24" fmla="*/ 9768 w 10234"/>
              <a:gd name="connsiteY24" fmla="*/ 5413 h 10000"/>
              <a:gd name="connsiteX25" fmla="*/ 9716 w 10234"/>
              <a:gd name="connsiteY25" fmla="*/ 5496 h 10000"/>
              <a:gd name="connsiteX26" fmla="*/ 9664 w 10234"/>
              <a:gd name="connsiteY26" fmla="*/ 5744 h 10000"/>
              <a:gd name="connsiteX27" fmla="*/ 9612 w 10234"/>
              <a:gd name="connsiteY27" fmla="*/ 5785 h 10000"/>
              <a:gd name="connsiteX28" fmla="*/ 9560 w 10234"/>
              <a:gd name="connsiteY28" fmla="*/ 5826 h 10000"/>
              <a:gd name="connsiteX29" fmla="*/ 9509 w 10234"/>
              <a:gd name="connsiteY29" fmla="*/ 5992 h 10000"/>
              <a:gd name="connsiteX30" fmla="*/ 9457 w 10234"/>
              <a:gd name="connsiteY30" fmla="*/ 6074 h 10000"/>
              <a:gd name="connsiteX31" fmla="*/ 9457 w 10234"/>
              <a:gd name="connsiteY31" fmla="*/ 6157 h 10000"/>
              <a:gd name="connsiteX32" fmla="*/ 9457 w 10234"/>
              <a:gd name="connsiteY32" fmla="*/ 6198 h 10000"/>
              <a:gd name="connsiteX33" fmla="*/ 9457 w 10234"/>
              <a:gd name="connsiteY33" fmla="*/ 6322 h 10000"/>
              <a:gd name="connsiteX34" fmla="*/ 9509 w 10234"/>
              <a:gd name="connsiteY34" fmla="*/ 6446 h 10000"/>
              <a:gd name="connsiteX35" fmla="*/ 10130 w 10234"/>
              <a:gd name="connsiteY35" fmla="*/ 6446 h 10000"/>
              <a:gd name="connsiteX36" fmla="*/ 10130 w 10234"/>
              <a:gd name="connsiteY36" fmla="*/ 6529 h 10000"/>
              <a:gd name="connsiteX37" fmla="*/ 10182 w 10234"/>
              <a:gd name="connsiteY37" fmla="*/ 6818 h 10000"/>
              <a:gd name="connsiteX38" fmla="*/ 10182 w 10234"/>
              <a:gd name="connsiteY38" fmla="*/ 6860 h 10000"/>
              <a:gd name="connsiteX39" fmla="*/ 10182 w 10234"/>
              <a:gd name="connsiteY39" fmla="*/ 6983 h 10000"/>
              <a:gd name="connsiteX40" fmla="*/ 10182 w 10234"/>
              <a:gd name="connsiteY40" fmla="*/ 7025 h 10000"/>
              <a:gd name="connsiteX41" fmla="*/ 10182 w 10234"/>
              <a:gd name="connsiteY41" fmla="*/ 7107 h 10000"/>
              <a:gd name="connsiteX42" fmla="*/ 10182 w 10234"/>
              <a:gd name="connsiteY42" fmla="*/ 7149 h 10000"/>
              <a:gd name="connsiteX43" fmla="*/ 10182 w 10234"/>
              <a:gd name="connsiteY43" fmla="*/ 7190 h 10000"/>
              <a:gd name="connsiteX44" fmla="*/ 10182 w 10234"/>
              <a:gd name="connsiteY44" fmla="*/ 7231 h 10000"/>
              <a:gd name="connsiteX45" fmla="*/ 10234 w 10234"/>
              <a:gd name="connsiteY45" fmla="*/ 7314 h 10000"/>
              <a:gd name="connsiteX46" fmla="*/ 10234 w 10234"/>
              <a:gd name="connsiteY46" fmla="*/ 7438 h 10000"/>
              <a:gd name="connsiteX47" fmla="*/ 10234 w 10234"/>
              <a:gd name="connsiteY47" fmla="*/ 7479 h 10000"/>
              <a:gd name="connsiteX48" fmla="*/ 10234 w 10234"/>
              <a:gd name="connsiteY48" fmla="*/ 7521 h 10000"/>
              <a:gd name="connsiteX49" fmla="*/ 10234 w 10234"/>
              <a:gd name="connsiteY49" fmla="*/ 7562 h 10000"/>
              <a:gd name="connsiteX50" fmla="*/ 10234 w 10234"/>
              <a:gd name="connsiteY50" fmla="*/ 7645 h 10000"/>
              <a:gd name="connsiteX51" fmla="*/ 10234 w 10234"/>
              <a:gd name="connsiteY51" fmla="*/ 7686 h 10000"/>
              <a:gd name="connsiteX52" fmla="*/ 10234 w 10234"/>
              <a:gd name="connsiteY52" fmla="*/ 7727 h 10000"/>
              <a:gd name="connsiteX53" fmla="*/ 10234 w 10234"/>
              <a:gd name="connsiteY53" fmla="*/ 7810 h 10000"/>
              <a:gd name="connsiteX54" fmla="*/ 10234 w 10234"/>
              <a:gd name="connsiteY54" fmla="*/ 8017 h 10000"/>
              <a:gd name="connsiteX55" fmla="*/ 10234 w 10234"/>
              <a:gd name="connsiteY55" fmla="*/ 8058 h 10000"/>
              <a:gd name="connsiteX56" fmla="*/ 10234 w 10234"/>
              <a:gd name="connsiteY56" fmla="*/ 8140 h 10000"/>
              <a:gd name="connsiteX57" fmla="*/ 10234 w 10234"/>
              <a:gd name="connsiteY57" fmla="*/ 8182 h 10000"/>
              <a:gd name="connsiteX58" fmla="*/ 10234 w 10234"/>
              <a:gd name="connsiteY58" fmla="*/ 8223 h 10000"/>
              <a:gd name="connsiteX59" fmla="*/ 10234 w 10234"/>
              <a:gd name="connsiteY59" fmla="*/ 8264 h 10000"/>
              <a:gd name="connsiteX60" fmla="*/ 10234 w 10234"/>
              <a:gd name="connsiteY60" fmla="*/ 8306 h 10000"/>
              <a:gd name="connsiteX61" fmla="*/ 10234 w 10234"/>
              <a:gd name="connsiteY61" fmla="*/ 8388 h 10000"/>
              <a:gd name="connsiteX62" fmla="*/ 10234 w 10234"/>
              <a:gd name="connsiteY62" fmla="*/ 8471 h 10000"/>
              <a:gd name="connsiteX63" fmla="*/ 10234 w 10234"/>
              <a:gd name="connsiteY63" fmla="*/ 8512 h 10000"/>
              <a:gd name="connsiteX64" fmla="*/ 10234 w 10234"/>
              <a:gd name="connsiteY64" fmla="*/ 8554 h 10000"/>
              <a:gd name="connsiteX65" fmla="*/ 10182 w 10234"/>
              <a:gd name="connsiteY65" fmla="*/ 8554 h 10000"/>
              <a:gd name="connsiteX66" fmla="*/ 10182 w 10234"/>
              <a:gd name="connsiteY66" fmla="*/ 8595 h 10000"/>
              <a:gd name="connsiteX67" fmla="*/ 10130 w 10234"/>
              <a:gd name="connsiteY67" fmla="*/ 8636 h 10000"/>
              <a:gd name="connsiteX68" fmla="*/ 10079 w 10234"/>
              <a:gd name="connsiteY68" fmla="*/ 8636 h 10000"/>
              <a:gd name="connsiteX69" fmla="*/ 10079 w 10234"/>
              <a:gd name="connsiteY69" fmla="*/ 8678 h 10000"/>
              <a:gd name="connsiteX70" fmla="*/ 10027 w 10234"/>
              <a:gd name="connsiteY70" fmla="*/ 8678 h 10000"/>
              <a:gd name="connsiteX71" fmla="*/ 9975 w 10234"/>
              <a:gd name="connsiteY71" fmla="*/ 8719 h 10000"/>
              <a:gd name="connsiteX72" fmla="*/ 9923 w 10234"/>
              <a:gd name="connsiteY72" fmla="*/ 8760 h 10000"/>
              <a:gd name="connsiteX73" fmla="*/ 9871 w 10234"/>
              <a:gd name="connsiteY73" fmla="*/ 8760 h 10000"/>
              <a:gd name="connsiteX74" fmla="*/ 9871 w 10234"/>
              <a:gd name="connsiteY74" fmla="*/ 8802 h 10000"/>
              <a:gd name="connsiteX75" fmla="*/ 9819 w 10234"/>
              <a:gd name="connsiteY75" fmla="*/ 8802 h 10000"/>
              <a:gd name="connsiteX76" fmla="*/ 9768 w 10234"/>
              <a:gd name="connsiteY76" fmla="*/ 8802 h 10000"/>
              <a:gd name="connsiteX77" fmla="*/ 9716 w 10234"/>
              <a:gd name="connsiteY77" fmla="*/ 8802 h 10000"/>
              <a:gd name="connsiteX78" fmla="*/ 9664 w 10234"/>
              <a:gd name="connsiteY78" fmla="*/ 8802 h 10000"/>
              <a:gd name="connsiteX79" fmla="*/ 9612 w 10234"/>
              <a:gd name="connsiteY79" fmla="*/ 8802 h 10000"/>
              <a:gd name="connsiteX80" fmla="*/ 9560 w 10234"/>
              <a:gd name="connsiteY80" fmla="*/ 8802 h 10000"/>
              <a:gd name="connsiteX81" fmla="*/ 9509 w 10234"/>
              <a:gd name="connsiteY81" fmla="*/ 8802 h 10000"/>
              <a:gd name="connsiteX82" fmla="*/ 9509 w 10234"/>
              <a:gd name="connsiteY82" fmla="*/ 8843 h 10000"/>
              <a:gd name="connsiteX83" fmla="*/ 9457 w 10234"/>
              <a:gd name="connsiteY83" fmla="*/ 8884 h 10000"/>
              <a:gd name="connsiteX84" fmla="*/ 9405 w 10234"/>
              <a:gd name="connsiteY84" fmla="*/ 8926 h 10000"/>
              <a:gd name="connsiteX85" fmla="*/ 9457 w 10234"/>
              <a:gd name="connsiteY85" fmla="*/ 8926 h 10000"/>
              <a:gd name="connsiteX86" fmla="*/ 9405 w 10234"/>
              <a:gd name="connsiteY86" fmla="*/ 8926 h 10000"/>
              <a:gd name="connsiteX87" fmla="*/ 9353 w 10234"/>
              <a:gd name="connsiteY87" fmla="*/ 8926 h 10000"/>
              <a:gd name="connsiteX88" fmla="*/ 9301 w 10234"/>
              <a:gd name="connsiteY88" fmla="*/ 8967 h 10000"/>
              <a:gd name="connsiteX89" fmla="*/ 9250 w 10234"/>
              <a:gd name="connsiteY89" fmla="*/ 9008 h 10000"/>
              <a:gd name="connsiteX90" fmla="*/ 9198 w 10234"/>
              <a:gd name="connsiteY90" fmla="*/ 9008 h 10000"/>
              <a:gd name="connsiteX91" fmla="*/ 9198 w 10234"/>
              <a:gd name="connsiteY91" fmla="*/ 9050 h 10000"/>
              <a:gd name="connsiteX92" fmla="*/ 9146 w 10234"/>
              <a:gd name="connsiteY92" fmla="*/ 9050 h 10000"/>
              <a:gd name="connsiteX93" fmla="*/ 9146 w 10234"/>
              <a:gd name="connsiteY93" fmla="*/ 9091 h 10000"/>
              <a:gd name="connsiteX94" fmla="*/ 9094 w 10234"/>
              <a:gd name="connsiteY94" fmla="*/ 9091 h 10000"/>
              <a:gd name="connsiteX95" fmla="*/ 9042 w 10234"/>
              <a:gd name="connsiteY95" fmla="*/ 9091 h 10000"/>
              <a:gd name="connsiteX96" fmla="*/ 8990 w 10234"/>
              <a:gd name="connsiteY96" fmla="*/ 9091 h 10000"/>
              <a:gd name="connsiteX97" fmla="*/ 8939 w 10234"/>
              <a:gd name="connsiteY97" fmla="*/ 9091 h 10000"/>
              <a:gd name="connsiteX98" fmla="*/ 8887 w 10234"/>
              <a:gd name="connsiteY98" fmla="*/ 9091 h 10000"/>
              <a:gd name="connsiteX99" fmla="*/ 8887 w 10234"/>
              <a:gd name="connsiteY99" fmla="*/ 9050 h 10000"/>
              <a:gd name="connsiteX100" fmla="*/ 8887 w 10234"/>
              <a:gd name="connsiteY100" fmla="*/ 9008 h 10000"/>
              <a:gd name="connsiteX101" fmla="*/ 8835 w 10234"/>
              <a:gd name="connsiteY101" fmla="*/ 8967 h 10000"/>
              <a:gd name="connsiteX102" fmla="*/ 8835 w 10234"/>
              <a:gd name="connsiteY102" fmla="*/ 8926 h 10000"/>
              <a:gd name="connsiteX103" fmla="*/ 8835 w 10234"/>
              <a:gd name="connsiteY103" fmla="*/ 8884 h 10000"/>
              <a:gd name="connsiteX104" fmla="*/ 8783 w 10234"/>
              <a:gd name="connsiteY104" fmla="*/ 8884 h 10000"/>
              <a:gd name="connsiteX105" fmla="*/ 8731 w 10234"/>
              <a:gd name="connsiteY105" fmla="*/ 8884 h 10000"/>
              <a:gd name="connsiteX106" fmla="*/ 8731 w 10234"/>
              <a:gd name="connsiteY106" fmla="*/ 8843 h 10000"/>
              <a:gd name="connsiteX107" fmla="*/ 8680 w 10234"/>
              <a:gd name="connsiteY107" fmla="*/ 8843 h 10000"/>
              <a:gd name="connsiteX108" fmla="*/ 8628 w 10234"/>
              <a:gd name="connsiteY108" fmla="*/ 8884 h 10000"/>
              <a:gd name="connsiteX109" fmla="*/ 8628 w 10234"/>
              <a:gd name="connsiteY109" fmla="*/ 8926 h 10000"/>
              <a:gd name="connsiteX110" fmla="*/ 8524 w 10234"/>
              <a:gd name="connsiteY110" fmla="*/ 8884 h 10000"/>
              <a:gd name="connsiteX111" fmla="*/ 8524 w 10234"/>
              <a:gd name="connsiteY111" fmla="*/ 8843 h 10000"/>
              <a:gd name="connsiteX112" fmla="*/ 8472 w 10234"/>
              <a:gd name="connsiteY112" fmla="*/ 8843 h 10000"/>
              <a:gd name="connsiteX113" fmla="*/ 8421 w 10234"/>
              <a:gd name="connsiteY113" fmla="*/ 8843 h 10000"/>
              <a:gd name="connsiteX114" fmla="*/ 8369 w 10234"/>
              <a:gd name="connsiteY114" fmla="*/ 8843 h 10000"/>
              <a:gd name="connsiteX115" fmla="*/ 8317 w 10234"/>
              <a:gd name="connsiteY115" fmla="*/ 8843 h 10000"/>
              <a:gd name="connsiteX116" fmla="*/ 8265 w 10234"/>
              <a:gd name="connsiteY116" fmla="*/ 8843 h 10000"/>
              <a:gd name="connsiteX117" fmla="*/ 8265 w 10234"/>
              <a:gd name="connsiteY117" fmla="*/ 8884 h 10000"/>
              <a:gd name="connsiteX118" fmla="*/ 8213 w 10234"/>
              <a:gd name="connsiteY118" fmla="*/ 8884 h 10000"/>
              <a:gd name="connsiteX119" fmla="*/ 8161 w 10234"/>
              <a:gd name="connsiteY119" fmla="*/ 8926 h 10000"/>
              <a:gd name="connsiteX120" fmla="*/ 8110 w 10234"/>
              <a:gd name="connsiteY120" fmla="*/ 8926 h 10000"/>
              <a:gd name="connsiteX121" fmla="*/ 8110 w 10234"/>
              <a:gd name="connsiteY121" fmla="*/ 8884 h 10000"/>
              <a:gd name="connsiteX122" fmla="*/ 8110 w 10234"/>
              <a:gd name="connsiteY122" fmla="*/ 8926 h 10000"/>
              <a:gd name="connsiteX123" fmla="*/ 8058 w 10234"/>
              <a:gd name="connsiteY123" fmla="*/ 8926 h 10000"/>
              <a:gd name="connsiteX124" fmla="*/ 8006 w 10234"/>
              <a:gd name="connsiteY124" fmla="*/ 8967 h 10000"/>
              <a:gd name="connsiteX125" fmla="*/ 7954 w 10234"/>
              <a:gd name="connsiteY125" fmla="*/ 8926 h 10000"/>
              <a:gd name="connsiteX126" fmla="*/ 7902 w 10234"/>
              <a:gd name="connsiteY126" fmla="*/ 8926 h 10000"/>
              <a:gd name="connsiteX127" fmla="*/ 7851 w 10234"/>
              <a:gd name="connsiteY127" fmla="*/ 8926 h 10000"/>
              <a:gd name="connsiteX128" fmla="*/ 7799 w 10234"/>
              <a:gd name="connsiteY128" fmla="*/ 8884 h 10000"/>
              <a:gd name="connsiteX129" fmla="*/ 7747 w 10234"/>
              <a:gd name="connsiteY129" fmla="*/ 8884 h 10000"/>
              <a:gd name="connsiteX130" fmla="*/ 7747 w 10234"/>
              <a:gd name="connsiteY130" fmla="*/ 8926 h 10000"/>
              <a:gd name="connsiteX131" fmla="*/ 7695 w 10234"/>
              <a:gd name="connsiteY131" fmla="*/ 8926 h 10000"/>
              <a:gd name="connsiteX132" fmla="*/ 7643 w 10234"/>
              <a:gd name="connsiteY132" fmla="*/ 8884 h 10000"/>
              <a:gd name="connsiteX133" fmla="*/ 7592 w 10234"/>
              <a:gd name="connsiteY133" fmla="*/ 8884 h 10000"/>
              <a:gd name="connsiteX134" fmla="*/ 7540 w 10234"/>
              <a:gd name="connsiteY134" fmla="*/ 8967 h 10000"/>
              <a:gd name="connsiteX135" fmla="*/ 7488 w 10234"/>
              <a:gd name="connsiteY135" fmla="*/ 8967 h 10000"/>
              <a:gd name="connsiteX136" fmla="*/ 7488 w 10234"/>
              <a:gd name="connsiteY136" fmla="*/ 8926 h 10000"/>
              <a:gd name="connsiteX137" fmla="*/ 7488 w 10234"/>
              <a:gd name="connsiteY137" fmla="*/ 8967 h 10000"/>
              <a:gd name="connsiteX138" fmla="*/ 7488 w 10234"/>
              <a:gd name="connsiteY138" fmla="*/ 9008 h 10000"/>
              <a:gd name="connsiteX139" fmla="*/ 7436 w 10234"/>
              <a:gd name="connsiteY139" fmla="*/ 9008 h 10000"/>
              <a:gd name="connsiteX140" fmla="*/ 7384 w 10234"/>
              <a:gd name="connsiteY140" fmla="*/ 9008 h 10000"/>
              <a:gd name="connsiteX141" fmla="*/ 7436 w 10234"/>
              <a:gd name="connsiteY141" fmla="*/ 9050 h 10000"/>
              <a:gd name="connsiteX142" fmla="*/ 7384 w 10234"/>
              <a:gd name="connsiteY142" fmla="*/ 9091 h 10000"/>
              <a:gd name="connsiteX143" fmla="*/ 7436 w 10234"/>
              <a:gd name="connsiteY143" fmla="*/ 9132 h 10000"/>
              <a:gd name="connsiteX144" fmla="*/ 7488 w 10234"/>
              <a:gd name="connsiteY144" fmla="*/ 9132 h 10000"/>
              <a:gd name="connsiteX145" fmla="*/ 7488 w 10234"/>
              <a:gd name="connsiteY145" fmla="*/ 9174 h 10000"/>
              <a:gd name="connsiteX146" fmla="*/ 7436 w 10234"/>
              <a:gd name="connsiteY146" fmla="*/ 9174 h 10000"/>
              <a:gd name="connsiteX147" fmla="*/ 7384 w 10234"/>
              <a:gd name="connsiteY147" fmla="*/ 9174 h 10000"/>
              <a:gd name="connsiteX148" fmla="*/ 7436 w 10234"/>
              <a:gd name="connsiteY148" fmla="*/ 9215 h 10000"/>
              <a:gd name="connsiteX149" fmla="*/ 7436 w 10234"/>
              <a:gd name="connsiteY149" fmla="*/ 9256 h 10000"/>
              <a:gd name="connsiteX150" fmla="*/ 7384 w 10234"/>
              <a:gd name="connsiteY150" fmla="*/ 9256 h 10000"/>
              <a:gd name="connsiteX151" fmla="*/ 7384 w 10234"/>
              <a:gd name="connsiteY151" fmla="*/ 9298 h 10000"/>
              <a:gd name="connsiteX152" fmla="*/ 7332 w 10234"/>
              <a:gd name="connsiteY152" fmla="*/ 9339 h 10000"/>
              <a:gd name="connsiteX153" fmla="*/ 7384 w 10234"/>
              <a:gd name="connsiteY153" fmla="*/ 9380 h 10000"/>
              <a:gd name="connsiteX154" fmla="*/ 7436 w 10234"/>
              <a:gd name="connsiteY154" fmla="*/ 9380 h 10000"/>
              <a:gd name="connsiteX155" fmla="*/ 7436 w 10234"/>
              <a:gd name="connsiteY155" fmla="*/ 9421 h 10000"/>
              <a:gd name="connsiteX156" fmla="*/ 7436 w 10234"/>
              <a:gd name="connsiteY156" fmla="*/ 9463 h 10000"/>
              <a:gd name="connsiteX157" fmla="*/ 7384 w 10234"/>
              <a:gd name="connsiteY157" fmla="*/ 9463 h 10000"/>
              <a:gd name="connsiteX158" fmla="*/ 7332 w 10234"/>
              <a:gd name="connsiteY158" fmla="*/ 9504 h 10000"/>
              <a:gd name="connsiteX159" fmla="*/ 7384 w 10234"/>
              <a:gd name="connsiteY159" fmla="*/ 9545 h 10000"/>
              <a:gd name="connsiteX160" fmla="*/ 7384 w 10234"/>
              <a:gd name="connsiteY160" fmla="*/ 9587 h 10000"/>
              <a:gd name="connsiteX161" fmla="*/ 7384 w 10234"/>
              <a:gd name="connsiteY161" fmla="*/ 9628 h 10000"/>
              <a:gd name="connsiteX162" fmla="*/ 7384 w 10234"/>
              <a:gd name="connsiteY162" fmla="*/ 9669 h 10000"/>
              <a:gd name="connsiteX163" fmla="*/ 7332 w 10234"/>
              <a:gd name="connsiteY163" fmla="*/ 9669 h 10000"/>
              <a:gd name="connsiteX164" fmla="*/ 7332 w 10234"/>
              <a:gd name="connsiteY164" fmla="*/ 9711 h 10000"/>
              <a:gd name="connsiteX165" fmla="*/ 7281 w 10234"/>
              <a:gd name="connsiteY165" fmla="*/ 9711 h 10000"/>
              <a:gd name="connsiteX166" fmla="*/ 7177 w 10234"/>
              <a:gd name="connsiteY166" fmla="*/ 9711 h 10000"/>
              <a:gd name="connsiteX167" fmla="*/ 7177 w 10234"/>
              <a:gd name="connsiteY167" fmla="*/ 9752 h 10000"/>
              <a:gd name="connsiteX168" fmla="*/ 7177 w 10234"/>
              <a:gd name="connsiteY168" fmla="*/ 9793 h 10000"/>
              <a:gd name="connsiteX169" fmla="*/ 7177 w 10234"/>
              <a:gd name="connsiteY169" fmla="*/ 9835 h 10000"/>
              <a:gd name="connsiteX170" fmla="*/ 7177 w 10234"/>
              <a:gd name="connsiteY170" fmla="*/ 9793 h 10000"/>
              <a:gd name="connsiteX171" fmla="*/ 7125 w 10234"/>
              <a:gd name="connsiteY171" fmla="*/ 9793 h 10000"/>
              <a:gd name="connsiteX172" fmla="*/ 7073 w 10234"/>
              <a:gd name="connsiteY172" fmla="*/ 9793 h 10000"/>
              <a:gd name="connsiteX173" fmla="*/ 7073 w 10234"/>
              <a:gd name="connsiteY173" fmla="*/ 9835 h 10000"/>
              <a:gd name="connsiteX174" fmla="*/ 7073 w 10234"/>
              <a:gd name="connsiteY174" fmla="*/ 9876 h 10000"/>
              <a:gd name="connsiteX175" fmla="*/ 7073 w 10234"/>
              <a:gd name="connsiteY175" fmla="*/ 9917 h 10000"/>
              <a:gd name="connsiteX176" fmla="*/ 6970 w 10234"/>
              <a:gd name="connsiteY176" fmla="*/ 9917 h 10000"/>
              <a:gd name="connsiteX177" fmla="*/ 6970 w 10234"/>
              <a:gd name="connsiteY177" fmla="*/ 9959 h 10000"/>
              <a:gd name="connsiteX178" fmla="*/ 6918 w 10234"/>
              <a:gd name="connsiteY178" fmla="*/ 10000 h 10000"/>
              <a:gd name="connsiteX179" fmla="*/ 6779 w 10234"/>
              <a:gd name="connsiteY179" fmla="*/ 9917 h 10000"/>
              <a:gd name="connsiteX180" fmla="*/ 5467 w 10234"/>
              <a:gd name="connsiteY180" fmla="*/ 7934 h 10000"/>
              <a:gd name="connsiteX181" fmla="*/ 389 w 10234"/>
              <a:gd name="connsiteY181" fmla="*/ 6405 h 10000"/>
              <a:gd name="connsiteX182" fmla="*/ 338 w 10234"/>
              <a:gd name="connsiteY182" fmla="*/ 6405 h 10000"/>
              <a:gd name="connsiteX183" fmla="*/ 286 w 10234"/>
              <a:gd name="connsiteY183" fmla="*/ 6405 h 10000"/>
              <a:gd name="connsiteX184" fmla="*/ 234 w 10234"/>
              <a:gd name="connsiteY184" fmla="*/ 6405 h 10000"/>
              <a:gd name="connsiteX185" fmla="*/ 286 w 10234"/>
              <a:gd name="connsiteY185" fmla="*/ 5826 h 10000"/>
              <a:gd name="connsiteX186" fmla="*/ 441 w 10234"/>
              <a:gd name="connsiteY186" fmla="*/ 5909 h 10000"/>
              <a:gd name="connsiteX187" fmla="*/ 649 w 10234"/>
              <a:gd name="connsiteY187" fmla="*/ 5826 h 10000"/>
              <a:gd name="connsiteX188" fmla="*/ 1737 w 10234"/>
              <a:gd name="connsiteY188" fmla="*/ 5826 h 10000"/>
              <a:gd name="connsiteX189" fmla="*/ 1892 w 10234"/>
              <a:gd name="connsiteY189" fmla="*/ 5785 h 10000"/>
              <a:gd name="connsiteX190" fmla="*/ 1944 w 10234"/>
              <a:gd name="connsiteY190" fmla="*/ 5785 h 10000"/>
              <a:gd name="connsiteX191" fmla="*/ 2462 w 10234"/>
              <a:gd name="connsiteY191" fmla="*/ 5248 h 10000"/>
              <a:gd name="connsiteX192" fmla="*/ 2566 w 10234"/>
              <a:gd name="connsiteY192" fmla="*/ 5165 h 10000"/>
              <a:gd name="connsiteX193" fmla="*/ 3032 w 10234"/>
              <a:gd name="connsiteY193" fmla="*/ 4752 h 10000"/>
              <a:gd name="connsiteX194" fmla="*/ 3291 w 10234"/>
              <a:gd name="connsiteY194" fmla="*/ 4504 h 10000"/>
              <a:gd name="connsiteX195" fmla="*/ 3446 w 10234"/>
              <a:gd name="connsiteY195" fmla="*/ 4380 h 10000"/>
              <a:gd name="connsiteX196" fmla="*/ 3861 w 10234"/>
              <a:gd name="connsiteY196" fmla="*/ 3760 h 10000"/>
              <a:gd name="connsiteX197" fmla="*/ 4379 w 10234"/>
              <a:gd name="connsiteY197" fmla="*/ 3512 h 10000"/>
              <a:gd name="connsiteX198" fmla="*/ 5260 w 10234"/>
              <a:gd name="connsiteY198" fmla="*/ 2810 h 10000"/>
              <a:gd name="connsiteX199" fmla="*/ 5104 w 10234"/>
              <a:gd name="connsiteY199" fmla="*/ 2562 h 10000"/>
              <a:gd name="connsiteX200" fmla="*/ 5053 w 10234"/>
              <a:gd name="connsiteY200" fmla="*/ 2397 h 10000"/>
              <a:gd name="connsiteX201" fmla="*/ 5053 w 10234"/>
              <a:gd name="connsiteY201" fmla="*/ 1240 h 10000"/>
              <a:gd name="connsiteX202" fmla="*/ 4379 w 10234"/>
              <a:gd name="connsiteY202" fmla="*/ 744 h 10000"/>
              <a:gd name="connsiteX203" fmla="*/ 5208 w 10234"/>
              <a:gd name="connsiteY203" fmla="*/ 744 h 10000"/>
              <a:gd name="connsiteX204" fmla="*/ 6037 w 10234"/>
              <a:gd name="connsiteY204" fmla="*/ 744 h 10000"/>
              <a:gd name="connsiteX205" fmla="*/ 6037 w 10234"/>
              <a:gd name="connsiteY205" fmla="*/ 702 h 10000"/>
              <a:gd name="connsiteX206" fmla="*/ 6037 w 10234"/>
              <a:gd name="connsiteY206" fmla="*/ 661 h 10000"/>
              <a:gd name="connsiteX207" fmla="*/ 6037 w 10234"/>
              <a:gd name="connsiteY207" fmla="*/ 620 h 10000"/>
              <a:gd name="connsiteX208" fmla="*/ 6037 w 10234"/>
              <a:gd name="connsiteY208" fmla="*/ 579 h 10000"/>
              <a:gd name="connsiteX209" fmla="*/ 6089 w 10234"/>
              <a:gd name="connsiteY209" fmla="*/ 537 h 10000"/>
              <a:gd name="connsiteX210" fmla="*/ 6089 w 10234"/>
              <a:gd name="connsiteY210" fmla="*/ 496 h 10000"/>
              <a:gd name="connsiteX211" fmla="*/ 6089 w 10234"/>
              <a:gd name="connsiteY211" fmla="*/ 455 h 10000"/>
              <a:gd name="connsiteX212" fmla="*/ 6089 w 10234"/>
              <a:gd name="connsiteY212" fmla="*/ 413 h 10000"/>
              <a:gd name="connsiteX213" fmla="*/ 6089 w 10234"/>
              <a:gd name="connsiteY213" fmla="*/ 372 h 10000"/>
              <a:gd name="connsiteX214" fmla="*/ 6089 w 10234"/>
              <a:gd name="connsiteY214" fmla="*/ 331 h 10000"/>
              <a:gd name="connsiteX215" fmla="*/ 6037 w 10234"/>
              <a:gd name="connsiteY215" fmla="*/ 331 h 10000"/>
              <a:gd name="connsiteX216" fmla="*/ 6037 w 10234"/>
              <a:gd name="connsiteY216" fmla="*/ 289 h 10000"/>
              <a:gd name="connsiteX217" fmla="*/ 6037 w 10234"/>
              <a:gd name="connsiteY217" fmla="*/ 248 h 10000"/>
              <a:gd name="connsiteX218" fmla="*/ 6037 w 10234"/>
              <a:gd name="connsiteY218" fmla="*/ 207 h 10000"/>
              <a:gd name="connsiteX219" fmla="*/ 6037 w 10234"/>
              <a:gd name="connsiteY219" fmla="*/ 165 h 10000"/>
              <a:gd name="connsiteX220" fmla="*/ 6037 w 10234"/>
              <a:gd name="connsiteY220" fmla="*/ 124 h 10000"/>
              <a:gd name="connsiteX221" fmla="*/ 6037 w 10234"/>
              <a:gd name="connsiteY221" fmla="*/ 83 h 10000"/>
              <a:gd name="connsiteX222" fmla="*/ 6037 w 10234"/>
              <a:gd name="connsiteY222" fmla="*/ 41 h 10000"/>
              <a:gd name="connsiteX223" fmla="*/ 6037 w 10234"/>
              <a:gd name="connsiteY223" fmla="*/ 0 h 10000"/>
              <a:gd name="connsiteX0" fmla="*/ 6092 w 10289"/>
              <a:gd name="connsiteY0" fmla="*/ 0 h 10000"/>
              <a:gd name="connsiteX1" fmla="*/ 7647 w 10289"/>
              <a:gd name="connsiteY1" fmla="*/ 41 h 10000"/>
              <a:gd name="connsiteX2" fmla="*/ 7802 w 10289"/>
              <a:gd name="connsiteY2" fmla="*/ 41 h 10000"/>
              <a:gd name="connsiteX3" fmla="*/ 7647 w 10289"/>
              <a:gd name="connsiteY3" fmla="*/ 165 h 10000"/>
              <a:gd name="connsiteX4" fmla="*/ 7595 w 10289"/>
              <a:gd name="connsiteY4" fmla="*/ 537 h 10000"/>
              <a:gd name="connsiteX5" fmla="*/ 7491 w 10289"/>
              <a:gd name="connsiteY5" fmla="*/ 1116 h 10000"/>
              <a:gd name="connsiteX6" fmla="*/ 7439 w 10289"/>
              <a:gd name="connsiteY6" fmla="*/ 1157 h 10000"/>
              <a:gd name="connsiteX7" fmla="*/ 7284 w 10289"/>
              <a:gd name="connsiteY7" fmla="*/ 1488 h 10000"/>
              <a:gd name="connsiteX8" fmla="*/ 7698 w 10289"/>
              <a:gd name="connsiteY8" fmla="*/ 3017 h 10000"/>
              <a:gd name="connsiteX9" fmla="*/ 7802 w 10289"/>
              <a:gd name="connsiteY9" fmla="*/ 3306 h 10000"/>
              <a:gd name="connsiteX10" fmla="*/ 7647 w 10289"/>
              <a:gd name="connsiteY10" fmla="*/ 3554 h 10000"/>
              <a:gd name="connsiteX11" fmla="*/ 8320 w 10289"/>
              <a:gd name="connsiteY11" fmla="*/ 3719 h 10000"/>
              <a:gd name="connsiteX12" fmla="*/ 8786 w 10289"/>
              <a:gd name="connsiteY12" fmla="*/ 4174 h 10000"/>
              <a:gd name="connsiteX13" fmla="*/ 8890 w 10289"/>
              <a:gd name="connsiteY13" fmla="*/ 4256 h 10000"/>
              <a:gd name="connsiteX14" fmla="*/ 9201 w 10289"/>
              <a:gd name="connsiteY14" fmla="*/ 4463 h 10000"/>
              <a:gd name="connsiteX15" fmla="*/ 9408 w 10289"/>
              <a:gd name="connsiteY15" fmla="*/ 4711 h 10000"/>
              <a:gd name="connsiteX16" fmla="*/ 9512 w 10289"/>
              <a:gd name="connsiteY16" fmla="*/ 4835 h 10000"/>
              <a:gd name="connsiteX17" fmla="*/ 9719 w 10289"/>
              <a:gd name="connsiteY17" fmla="*/ 4835 h 10000"/>
              <a:gd name="connsiteX18" fmla="*/ 9719 w 10289"/>
              <a:gd name="connsiteY18" fmla="*/ 4876 h 10000"/>
              <a:gd name="connsiteX19" fmla="*/ 9771 w 10289"/>
              <a:gd name="connsiteY19" fmla="*/ 4959 h 10000"/>
              <a:gd name="connsiteX20" fmla="*/ 9771 w 10289"/>
              <a:gd name="connsiteY20" fmla="*/ 5000 h 10000"/>
              <a:gd name="connsiteX21" fmla="*/ 9823 w 10289"/>
              <a:gd name="connsiteY21" fmla="*/ 5165 h 10000"/>
              <a:gd name="connsiteX22" fmla="*/ 9823 w 10289"/>
              <a:gd name="connsiteY22" fmla="*/ 5207 h 10000"/>
              <a:gd name="connsiteX23" fmla="*/ 9823 w 10289"/>
              <a:gd name="connsiteY23" fmla="*/ 5331 h 10000"/>
              <a:gd name="connsiteX24" fmla="*/ 9823 w 10289"/>
              <a:gd name="connsiteY24" fmla="*/ 5413 h 10000"/>
              <a:gd name="connsiteX25" fmla="*/ 9771 w 10289"/>
              <a:gd name="connsiteY25" fmla="*/ 5496 h 10000"/>
              <a:gd name="connsiteX26" fmla="*/ 9719 w 10289"/>
              <a:gd name="connsiteY26" fmla="*/ 5744 h 10000"/>
              <a:gd name="connsiteX27" fmla="*/ 9667 w 10289"/>
              <a:gd name="connsiteY27" fmla="*/ 5785 h 10000"/>
              <a:gd name="connsiteX28" fmla="*/ 9615 w 10289"/>
              <a:gd name="connsiteY28" fmla="*/ 5826 h 10000"/>
              <a:gd name="connsiteX29" fmla="*/ 9564 w 10289"/>
              <a:gd name="connsiteY29" fmla="*/ 5992 h 10000"/>
              <a:gd name="connsiteX30" fmla="*/ 9512 w 10289"/>
              <a:gd name="connsiteY30" fmla="*/ 6074 h 10000"/>
              <a:gd name="connsiteX31" fmla="*/ 9512 w 10289"/>
              <a:gd name="connsiteY31" fmla="*/ 6157 h 10000"/>
              <a:gd name="connsiteX32" fmla="*/ 9512 w 10289"/>
              <a:gd name="connsiteY32" fmla="*/ 6198 h 10000"/>
              <a:gd name="connsiteX33" fmla="*/ 9512 w 10289"/>
              <a:gd name="connsiteY33" fmla="*/ 6322 h 10000"/>
              <a:gd name="connsiteX34" fmla="*/ 9564 w 10289"/>
              <a:gd name="connsiteY34" fmla="*/ 6446 h 10000"/>
              <a:gd name="connsiteX35" fmla="*/ 10185 w 10289"/>
              <a:gd name="connsiteY35" fmla="*/ 6446 h 10000"/>
              <a:gd name="connsiteX36" fmla="*/ 10185 w 10289"/>
              <a:gd name="connsiteY36" fmla="*/ 6529 h 10000"/>
              <a:gd name="connsiteX37" fmla="*/ 10237 w 10289"/>
              <a:gd name="connsiteY37" fmla="*/ 6818 h 10000"/>
              <a:gd name="connsiteX38" fmla="*/ 10237 w 10289"/>
              <a:gd name="connsiteY38" fmla="*/ 6860 h 10000"/>
              <a:gd name="connsiteX39" fmla="*/ 10237 w 10289"/>
              <a:gd name="connsiteY39" fmla="*/ 6983 h 10000"/>
              <a:gd name="connsiteX40" fmla="*/ 10237 w 10289"/>
              <a:gd name="connsiteY40" fmla="*/ 7025 h 10000"/>
              <a:gd name="connsiteX41" fmla="*/ 10237 w 10289"/>
              <a:gd name="connsiteY41" fmla="*/ 7107 h 10000"/>
              <a:gd name="connsiteX42" fmla="*/ 10237 w 10289"/>
              <a:gd name="connsiteY42" fmla="*/ 7149 h 10000"/>
              <a:gd name="connsiteX43" fmla="*/ 10237 w 10289"/>
              <a:gd name="connsiteY43" fmla="*/ 7190 h 10000"/>
              <a:gd name="connsiteX44" fmla="*/ 10237 w 10289"/>
              <a:gd name="connsiteY44" fmla="*/ 7231 h 10000"/>
              <a:gd name="connsiteX45" fmla="*/ 10289 w 10289"/>
              <a:gd name="connsiteY45" fmla="*/ 7314 h 10000"/>
              <a:gd name="connsiteX46" fmla="*/ 10289 w 10289"/>
              <a:gd name="connsiteY46" fmla="*/ 7438 h 10000"/>
              <a:gd name="connsiteX47" fmla="*/ 10289 w 10289"/>
              <a:gd name="connsiteY47" fmla="*/ 7479 h 10000"/>
              <a:gd name="connsiteX48" fmla="*/ 10289 w 10289"/>
              <a:gd name="connsiteY48" fmla="*/ 7521 h 10000"/>
              <a:gd name="connsiteX49" fmla="*/ 10289 w 10289"/>
              <a:gd name="connsiteY49" fmla="*/ 7562 h 10000"/>
              <a:gd name="connsiteX50" fmla="*/ 10289 w 10289"/>
              <a:gd name="connsiteY50" fmla="*/ 7645 h 10000"/>
              <a:gd name="connsiteX51" fmla="*/ 10289 w 10289"/>
              <a:gd name="connsiteY51" fmla="*/ 7686 h 10000"/>
              <a:gd name="connsiteX52" fmla="*/ 10289 w 10289"/>
              <a:gd name="connsiteY52" fmla="*/ 7727 h 10000"/>
              <a:gd name="connsiteX53" fmla="*/ 10289 w 10289"/>
              <a:gd name="connsiteY53" fmla="*/ 7810 h 10000"/>
              <a:gd name="connsiteX54" fmla="*/ 10289 w 10289"/>
              <a:gd name="connsiteY54" fmla="*/ 8017 h 10000"/>
              <a:gd name="connsiteX55" fmla="*/ 10289 w 10289"/>
              <a:gd name="connsiteY55" fmla="*/ 8058 h 10000"/>
              <a:gd name="connsiteX56" fmla="*/ 10289 w 10289"/>
              <a:gd name="connsiteY56" fmla="*/ 8140 h 10000"/>
              <a:gd name="connsiteX57" fmla="*/ 10289 w 10289"/>
              <a:gd name="connsiteY57" fmla="*/ 8182 h 10000"/>
              <a:gd name="connsiteX58" fmla="*/ 10289 w 10289"/>
              <a:gd name="connsiteY58" fmla="*/ 8223 h 10000"/>
              <a:gd name="connsiteX59" fmla="*/ 10289 w 10289"/>
              <a:gd name="connsiteY59" fmla="*/ 8264 h 10000"/>
              <a:gd name="connsiteX60" fmla="*/ 10289 w 10289"/>
              <a:gd name="connsiteY60" fmla="*/ 8306 h 10000"/>
              <a:gd name="connsiteX61" fmla="*/ 10289 w 10289"/>
              <a:gd name="connsiteY61" fmla="*/ 8388 h 10000"/>
              <a:gd name="connsiteX62" fmla="*/ 10289 w 10289"/>
              <a:gd name="connsiteY62" fmla="*/ 8471 h 10000"/>
              <a:gd name="connsiteX63" fmla="*/ 10289 w 10289"/>
              <a:gd name="connsiteY63" fmla="*/ 8512 h 10000"/>
              <a:gd name="connsiteX64" fmla="*/ 10289 w 10289"/>
              <a:gd name="connsiteY64" fmla="*/ 8554 h 10000"/>
              <a:gd name="connsiteX65" fmla="*/ 10237 w 10289"/>
              <a:gd name="connsiteY65" fmla="*/ 8554 h 10000"/>
              <a:gd name="connsiteX66" fmla="*/ 10237 w 10289"/>
              <a:gd name="connsiteY66" fmla="*/ 8595 h 10000"/>
              <a:gd name="connsiteX67" fmla="*/ 10185 w 10289"/>
              <a:gd name="connsiteY67" fmla="*/ 8636 h 10000"/>
              <a:gd name="connsiteX68" fmla="*/ 10134 w 10289"/>
              <a:gd name="connsiteY68" fmla="*/ 8636 h 10000"/>
              <a:gd name="connsiteX69" fmla="*/ 10134 w 10289"/>
              <a:gd name="connsiteY69" fmla="*/ 8678 h 10000"/>
              <a:gd name="connsiteX70" fmla="*/ 10082 w 10289"/>
              <a:gd name="connsiteY70" fmla="*/ 8678 h 10000"/>
              <a:gd name="connsiteX71" fmla="*/ 10030 w 10289"/>
              <a:gd name="connsiteY71" fmla="*/ 8719 h 10000"/>
              <a:gd name="connsiteX72" fmla="*/ 9978 w 10289"/>
              <a:gd name="connsiteY72" fmla="*/ 8760 h 10000"/>
              <a:gd name="connsiteX73" fmla="*/ 9926 w 10289"/>
              <a:gd name="connsiteY73" fmla="*/ 8760 h 10000"/>
              <a:gd name="connsiteX74" fmla="*/ 9926 w 10289"/>
              <a:gd name="connsiteY74" fmla="*/ 8802 h 10000"/>
              <a:gd name="connsiteX75" fmla="*/ 9874 w 10289"/>
              <a:gd name="connsiteY75" fmla="*/ 8802 h 10000"/>
              <a:gd name="connsiteX76" fmla="*/ 9823 w 10289"/>
              <a:gd name="connsiteY76" fmla="*/ 8802 h 10000"/>
              <a:gd name="connsiteX77" fmla="*/ 9771 w 10289"/>
              <a:gd name="connsiteY77" fmla="*/ 8802 h 10000"/>
              <a:gd name="connsiteX78" fmla="*/ 9719 w 10289"/>
              <a:gd name="connsiteY78" fmla="*/ 8802 h 10000"/>
              <a:gd name="connsiteX79" fmla="*/ 9667 w 10289"/>
              <a:gd name="connsiteY79" fmla="*/ 8802 h 10000"/>
              <a:gd name="connsiteX80" fmla="*/ 9615 w 10289"/>
              <a:gd name="connsiteY80" fmla="*/ 8802 h 10000"/>
              <a:gd name="connsiteX81" fmla="*/ 9564 w 10289"/>
              <a:gd name="connsiteY81" fmla="*/ 8802 h 10000"/>
              <a:gd name="connsiteX82" fmla="*/ 9564 w 10289"/>
              <a:gd name="connsiteY82" fmla="*/ 8843 h 10000"/>
              <a:gd name="connsiteX83" fmla="*/ 9512 w 10289"/>
              <a:gd name="connsiteY83" fmla="*/ 8884 h 10000"/>
              <a:gd name="connsiteX84" fmla="*/ 9460 w 10289"/>
              <a:gd name="connsiteY84" fmla="*/ 8926 h 10000"/>
              <a:gd name="connsiteX85" fmla="*/ 9512 w 10289"/>
              <a:gd name="connsiteY85" fmla="*/ 8926 h 10000"/>
              <a:gd name="connsiteX86" fmla="*/ 9460 w 10289"/>
              <a:gd name="connsiteY86" fmla="*/ 8926 h 10000"/>
              <a:gd name="connsiteX87" fmla="*/ 9408 w 10289"/>
              <a:gd name="connsiteY87" fmla="*/ 8926 h 10000"/>
              <a:gd name="connsiteX88" fmla="*/ 9356 w 10289"/>
              <a:gd name="connsiteY88" fmla="*/ 8967 h 10000"/>
              <a:gd name="connsiteX89" fmla="*/ 9305 w 10289"/>
              <a:gd name="connsiteY89" fmla="*/ 9008 h 10000"/>
              <a:gd name="connsiteX90" fmla="*/ 9253 w 10289"/>
              <a:gd name="connsiteY90" fmla="*/ 9008 h 10000"/>
              <a:gd name="connsiteX91" fmla="*/ 9253 w 10289"/>
              <a:gd name="connsiteY91" fmla="*/ 9050 h 10000"/>
              <a:gd name="connsiteX92" fmla="*/ 9201 w 10289"/>
              <a:gd name="connsiteY92" fmla="*/ 9050 h 10000"/>
              <a:gd name="connsiteX93" fmla="*/ 9201 w 10289"/>
              <a:gd name="connsiteY93" fmla="*/ 9091 h 10000"/>
              <a:gd name="connsiteX94" fmla="*/ 9149 w 10289"/>
              <a:gd name="connsiteY94" fmla="*/ 9091 h 10000"/>
              <a:gd name="connsiteX95" fmla="*/ 9097 w 10289"/>
              <a:gd name="connsiteY95" fmla="*/ 9091 h 10000"/>
              <a:gd name="connsiteX96" fmla="*/ 9045 w 10289"/>
              <a:gd name="connsiteY96" fmla="*/ 9091 h 10000"/>
              <a:gd name="connsiteX97" fmla="*/ 8994 w 10289"/>
              <a:gd name="connsiteY97" fmla="*/ 9091 h 10000"/>
              <a:gd name="connsiteX98" fmla="*/ 8942 w 10289"/>
              <a:gd name="connsiteY98" fmla="*/ 9091 h 10000"/>
              <a:gd name="connsiteX99" fmla="*/ 8942 w 10289"/>
              <a:gd name="connsiteY99" fmla="*/ 9050 h 10000"/>
              <a:gd name="connsiteX100" fmla="*/ 8942 w 10289"/>
              <a:gd name="connsiteY100" fmla="*/ 9008 h 10000"/>
              <a:gd name="connsiteX101" fmla="*/ 8890 w 10289"/>
              <a:gd name="connsiteY101" fmla="*/ 8967 h 10000"/>
              <a:gd name="connsiteX102" fmla="*/ 8890 w 10289"/>
              <a:gd name="connsiteY102" fmla="*/ 8926 h 10000"/>
              <a:gd name="connsiteX103" fmla="*/ 8890 w 10289"/>
              <a:gd name="connsiteY103" fmla="*/ 8884 h 10000"/>
              <a:gd name="connsiteX104" fmla="*/ 8838 w 10289"/>
              <a:gd name="connsiteY104" fmla="*/ 8884 h 10000"/>
              <a:gd name="connsiteX105" fmla="*/ 8786 w 10289"/>
              <a:gd name="connsiteY105" fmla="*/ 8884 h 10000"/>
              <a:gd name="connsiteX106" fmla="*/ 8786 w 10289"/>
              <a:gd name="connsiteY106" fmla="*/ 8843 h 10000"/>
              <a:gd name="connsiteX107" fmla="*/ 8735 w 10289"/>
              <a:gd name="connsiteY107" fmla="*/ 8843 h 10000"/>
              <a:gd name="connsiteX108" fmla="*/ 8683 w 10289"/>
              <a:gd name="connsiteY108" fmla="*/ 8884 h 10000"/>
              <a:gd name="connsiteX109" fmla="*/ 8683 w 10289"/>
              <a:gd name="connsiteY109" fmla="*/ 8926 h 10000"/>
              <a:gd name="connsiteX110" fmla="*/ 8579 w 10289"/>
              <a:gd name="connsiteY110" fmla="*/ 8884 h 10000"/>
              <a:gd name="connsiteX111" fmla="*/ 8579 w 10289"/>
              <a:gd name="connsiteY111" fmla="*/ 8843 h 10000"/>
              <a:gd name="connsiteX112" fmla="*/ 8527 w 10289"/>
              <a:gd name="connsiteY112" fmla="*/ 8843 h 10000"/>
              <a:gd name="connsiteX113" fmla="*/ 8476 w 10289"/>
              <a:gd name="connsiteY113" fmla="*/ 8843 h 10000"/>
              <a:gd name="connsiteX114" fmla="*/ 8424 w 10289"/>
              <a:gd name="connsiteY114" fmla="*/ 8843 h 10000"/>
              <a:gd name="connsiteX115" fmla="*/ 8372 w 10289"/>
              <a:gd name="connsiteY115" fmla="*/ 8843 h 10000"/>
              <a:gd name="connsiteX116" fmla="*/ 8320 w 10289"/>
              <a:gd name="connsiteY116" fmla="*/ 8843 h 10000"/>
              <a:gd name="connsiteX117" fmla="*/ 8320 w 10289"/>
              <a:gd name="connsiteY117" fmla="*/ 8884 h 10000"/>
              <a:gd name="connsiteX118" fmla="*/ 8268 w 10289"/>
              <a:gd name="connsiteY118" fmla="*/ 8884 h 10000"/>
              <a:gd name="connsiteX119" fmla="*/ 8216 w 10289"/>
              <a:gd name="connsiteY119" fmla="*/ 8926 h 10000"/>
              <a:gd name="connsiteX120" fmla="*/ 8165 w 10289"/>
              <a:gd name="connsiteY120" fmla="*/ 8926 h 10000"/>
              <a:gd name="connsiteX121" fmla="*/ 8165 w 10289"/>
              <a:gd name="connsiteY121" fmla="*/ 8884 h 10000"/>
              <a:gd name="connsiteX122" fmla="*/ 8165 w 10289"/>
              <a:gd name="connsiteY122" fmla="*/ 8926 h 10000"/>
              <a:gd name="connsiteX123" fmla="*/ 8113 w 10289"/>
              <a:gd name="connsiteY123" fmla="*/ 8926 h 10000"/>
              <a:gd name="connsiteX124" fmla="*/ 8061 w 10289"/>
              <a:gd name="connsiteY124" fmla="*/ 8967 h 10000"/>
              <a:gd name="connsiteX125" fmla="*/ 8009 w 10289"/>
              <a:gd name="connsiteY125" fmla="*/ 8926 h 10000"/>
              <a:gd name="connsiteX126" fmla="*/ 7957 w 10289"/>
              <a:gd name="connsiteY126" fmla="*/ 8926 h 10000"/>
              <a:gd name="connsiteX127" fmla="*/ 7906 w 10289"/>
              <a:gd name="connsiteY127" fmla="*/ 8926 h 10000"/>
              <a:gd name="connsiteX128" fmla="*/ 7854 w 10289"/>
              <a:gd name="connsiteY128" fmla="*/ 8884 h 10000"/>
              <a:gd name="connsiteX129" fmla="*/ 7802 w 10289"/>
              <a:gd name="connsiteY129" fmla="*/ 8884 h 10000"/>
              <a:gd name="connsiteX130" fmla="*/ 7802 w 10289"/>
              <a:gd name="connsiteY130" fmla="*/ 8926 h 10000"/>
              <a:gd name="connsiteX131" fmla="*/ 7750 w 10289"/>
              <a:gd name="connsiteY131" fmla="*/ 8926 h 10000"/>
              <a:gd name="connsiteX132" fmla="*/ 7698 w 10289"/>
              <a:gd name="connsiteY132" fmla="*/ 8884 h 10000"/>
              <a:gd name="connsiteX133" fmla="*/ 7647 w 10289"/>
              <a:gd name="connsiteY133" fmla="*/ 8884 h 10000"/>
              <a:gd name="connsiteX134" fmla="*/ 7595 w 10289"/>
              <a:gd name="connsiteY134" fmla="*/ 8967 h 10000"/>
              <a:gd name="connsiteX135" fmla="*/ 7543 w 10289"/>
              <a:gd name="connsiteY135" fmla="*/ 8967 h 10000"/>
              <a:gd name="connsiteX136" fmla="*/ 7543 w 10289"/>
              <a:gd name="connsiteY136" fmla="*/ 8926 h 10000"/>
              <a:gd name="connsiteX137" fmla="*/ 7543 w 10289"/>
              <a:gd name="connsiteY137" fmla="*/ 8967 h 10000"/>
              <a:gd name="connsiteX138" fmla="*/ 7543 w 10289"/>
              <a:gd name="connsiteY138" fmla="*/ 9008 h 10000"/>
              <a:gd name="connsiteX139" fmla="*/ 7491 w 10289"/>
              <a:gd name="connsiteY139" fmla="*/ 9008 h 10000"/>
              <a:gd name="connsiteX140" fmla="*/ 7439 w 10289"/>
              <a:gd name="connsiteY140" fmla="*/ 9008 h 10000"/>
              <a:gd name="connsiteX141" fmla="*/ 7491 w 10289"/>
              <a:gd name="connsiteY141" fmla="*/ 9050 h 10000"/>
              <a:gd name="connsiteX142" fmla="*/ 7439 w 10289"/>
              <a:gd name="connsiteY142" fmla="*/ 9091 h 10000"/>
              <a:gd name="connsiteX143" fmla="*/ 7491 w 10289"/>
              <a:gd name="connsiteY143" fmla="*/ 9132 h 10000"/>
              <a:gd name="connsiteX144" fmla="*/ 7543 w 10289"/>
              <a:gd name="connsiteY144" fmla="*/ 9132 h 10000"/>
              <a:gd name="connsiteX145" fmla="*/ 7543 w 10289"/>
              <a:gd name="connsiteY145" fmla="*/ 9174 h 10000"/>
              <a:gd name="connsiteX146" fmla="*/ 7491 w 10289"/>
              <a:gd name="connsiteY146" fmla="*/ 9174 h 10000"/>
              <a:gd name="connsiteX147" fmla="*/ 7439 w 10289"/>
              <a:gd name="connsiteY147" fmla="*/ 9174 h 10000"/>
              <a:gd name="connsiteX148" fmla="*/ 7491 w 10289"/>
              <a:gd name="connsiteY148" fmla="*/ 9215 h 10000"/>
              <a:gd name="connsiteX149" fmla="*/ 7491 w 10289"/>
              <a:gd name="connsiteY149" fmla="*/ 9256 h 10000"/>
              <a:gd name="connsiteX150" fmla="*/ 7439 w 10289"/>
              <a:gd name="connsiteY150" fmla="*/ 9256 h 10000"/>
              <a:gd name="connsiteX151" fmla="*/ 7439 w 10289"/>
              <a:gd name="connsiteY151" fmla="*/ 9298 h 10000"/>
              <a:gd name="connsiteX152" fmla="*/ 7387 w 10289"/>
              <a:gd name="connsiteY152" fmla="*/ 9339 h 10000"/>
              <a:gd name="connsiteX153" fmla="*/ 7439 w 10289"/>
              <a:gd name="connsiteY153" fmla="*/ 9380 h 10000"/>
              <a:gd name="connsiteX154" fmla="*/ 7491 w 10289"/>
              <a:gd name="connsiteY154" fmla="*/ 9380 h 10000"/>
              <a:gd name="connsiteX155" fmla="*/ 7491 w 10289"/>
              <a:gd name="connsiteY155" fmla="*/ 9421 h 10000"/>
              <a:gd name="connsiteX156" fmla="*/ 7491 w 10289"/>
              <a:gd name="connsiteY156" fmla="*/ 9463 h 10000"/>
              <a:gd name="connsiteX157" fmla="*/ 7439 w 10289"/>
              <a:gd name="connsiteY157" fmla="*/ 9463 h 10000"/>
              <a:gd name="connsiteX158" fmla="*/ 7387 w 10289"/>
              <a:gd name="connsiteY158" fmla="*/ 9504 h 10000"/>
              <a:gd name="connsiteX159" fmla="*/ 7439 w 10289"/>
              <a:gd name="connsiteY159" fmla="*/ 9545 h 10000"/>
              <a:gd name="connsiteX160" fmla="*/ 7439 w 10289"/>
              <a:gd name="connsiteY160" fmla="*/ 9587 h 10000"/>
              <a:gd name="connsiteX161" fmla="*/ 7439 w 10289"/>
              <a:gd name="connsiteY161" fmla="*/ 9628 h 10000"/>
              <a:gd name="connsiteX162" fmla="*/ 7439 w 10289"/>
              <a:gd name="connsiteY162" fmla="*/ 9669 h 10000"/>
              <a:gd name="connsiteX163" fmla="*/ 7387 w 10289"/>
              <a:gd name="connsiteY163" fmla="*/ 9669 h 10000"/>
              <a:gd name="connsiteX164" fmla="*/ 7387 w 10289"/>
              <a:gd name="connsiteY164" fmla="*/ 9711 h 10000"/>
              <a:gd name="connsiteX165" fmla="*/ 7336 w 10289"/>
              <a:gd name="connsiteY165" fmla="*/ 9711 h 10000"/>
              <a:gd name="connsiteX166" fmla="*/ 7232 w 10289"/>
              <a:gd name="connsiteY166" fmla="*/ 9711 h 10000"/>
              <a:gd name="connsiteX167" fmla="*/ 7232 w 10289"/>
              <a:gd name="connsiteY167" fmla="*/ 9752 h 10000"/>
              <a:gd name="connsiteX168" fmla="*/ 7232 w 10289"/>
              <a:gd name="connsiteY168" fmla="*/ 9793 h 10000"/>
              <a:gd name="connsiteX169" fmla="*/ 7232 w 10289"/>
              <a:gd name="connsiteY169" fmla="*/ 9835 h 10000"/>
              <a:gd name="connsiteX170" fmla="*/ 7232 w 10289"/>
              <a:gd name="connsiteY170" fmla="*/ 9793 h 10000"/>
              <a:gd name="connsiteX171" fmla="*/ 7180 w 10289"/>
              <a:gd name="connsiteY171" fmla="*/ 9793 h 10000"/>
              <a:gd name="connsiteX172" fmla="*/ 7128 w 10289"/>
              <a:gd name="connsiteY172" fmla="*/ 9793 h 10000"/>
              <a:gd name="connsiteX173" fmla="*/ 7128 w 10289"/>
              <a:gd name="connsiteY173" fmla="*/ 9835 h 10000"/>
              <a:gd name="connsiteX174" fmla="*/ 7128 w 10289"/>
              <a:gd name="connsiteY174" fmla="*/ 9876 h 10000"/>
              <a:gd name="connsiteX175" fmla="*/ 7128 w 10289"/>
              <a:gd name="connsiteY175" fmla="*/ 9917 h 10000"/>
              <a:gd name="connsiteX176" fmla="*/ 7025 w 10289"/>
              <a:gd name="connsiteY176" fmla="*/ 9917 h 10000"/>
              <a:gd name="connsiteX177" fmla="*/ 7025 w 10289"/>
              <a:gd name="connsiteY177" fmla="*/ 9959 h 10000"/>
              <a:gd name="connsiteX178" fmla="*/ 6973 w 10289"/>
              <a:gd name="connsiteY178" fmla="*/ 10000 h 10000"/>
              <a:gd name="connsiteX179" fmla="*/ 6834 w 10289"/>
              <a:gd name="connsiteY179" fmla="*/ 9917 h 10000"/>
              <a:gd name="connsiteX180" fmla="*/ 5522 w 10289"/>
              <a:gd name="connsiteY180" fmla="*/ 7934 h 10000"/>
              <a:gd name="connsiteX181" fmla="*/ 393 w 10289"/>
              <a:gd name="connsiteY181" fmla="*/ 6405 h 10000"/>
              <a:gd name="connsiteX182" fmla="*/ 341 w 10289"/>
              <a:gd name="connsiteY182" fmla="*/ 6405 h 10000"/>
              <a:gd name="connsiteX183" fmla="*/ 289 w 10289"/>
              <a:gd name="connsiteY183" fmla="*/ 6405 h 10000"/>
              <a:gd name="connsiteX184" fmla="*/ 341 w 10289"/>
              <a:gd name="connsiteY184" fmla="*/ 5826 h 10000"/>
              <a:gd name="connsiteX185" fmla="*/ 496 w 10289"/>
              <a:gd name="connsiteY185" fmla="*/ 5909 h 10000"/>
              <a:gd name="connsiteX186" fmla="*/ 704 w 10289"/>
              <a:gd name="connsiteY186" fmla="*/ 5826 h 10000"/>
              <a:gd name="connsiteX187" fmla="*/ 1792 w 10289"/>
              <a:gd name="connsiteY187" fmla="*/ 5826 h 10000"/>
              <a:gd name="connsiteX188" fmla="*/ 1947 w 10289"/>
              <a:gd name="connsiteY188" fmla="*/ 5785 h 10000"/>
              <a:gd name="connsiteX189" fmla="*/ 1999 w 10289"/>
              <a:gd name="connsiteY189" fmla="*/ 5785 h 10000"/>
              <a:gd name="connsiteX190" fmla="*/ 2517 w 10289"/>
              <a:gd name="connsiteY190" fmla="*/ 5248 h 10000"/>
              <a:gd name="connsiteX191" fmla="*/ 2621 w 10289"/>
              <a:gd name="connsiteY191" fmla="*/ 5165 h 10000"/>
              <a:gd name="connsiteX192" fmla="*/ 3087 w 10289"/>
              <a:gd name="connsiteY192" fmla="*/ 4752 h 10000"/>
              <a:gd name="connsiteX193" fmla="*/ 3346 w 10289"/>
              <a:gd name="connsiteY193" fmla="*/ 4504 h 10000"/>
              <a:gd name="connsiteX194" fmla="*/ 3501 w 10289"/>
              <a:gd name="connsiteY194" fmla="*/ 4380 h 10000"/>
              <a:gd name="connsiteX195" fmla="*/ 3916 w 10289"/>
              <a:gd name="connsiteY195" fmla="*/ 3760 h 10000"/>
              <a:gd name="connsiteX196" fmla="*/ 4434 w 10289"/>
              <a:gd name="connsiteY196" fmla="*/ 3512 h 10000"/>
              <a:gd name="connsiteX197" fmla="*/ 5315 w 10289"/>
              <a:gd name="connsiteY197" fmla="*/ 2810 h 10000"/>
              <a:gd name="connsiteX198" fmla="*/ 5159 w 10289"/>
              <a:gd name="connsiteY198" fmla="*/ 2562 h 10000"/>
              <a:gd name="connsiteX199" fmla="*/ 5108 w 10289"/>
              <a:gd name="connsiteY199" fmla="*/ 2397 h 10000"/>
              <a:gd name="connsiteX200" fmla="*/ 5108 w 10289"/>
              <a:gd name="connsiteY200" fmla="*/ 1240 h 10000"/>
              <a:gd name="connsiteX201" fmla="*/ 4434 w 10289"/>
              <a:gd name="connsiteY201" fmla="*/ 744 h 10000"/>
              <a:gd name="connsiteX202" fmla="*/ 5263 w 10289"/>
              <a:gd name="connsiteY202" fmla="*/ 744 h 10000"/>
              <a:gd name="connsiteX203" fmla="*/ 6092 w 10289"/>
              <a:gd name="connsiteY203" fmla="*/ 744 h 10000"/>
              <a:gd name="connsiteX204" fmla="*/ 6092 w 10289"/>
              <a:gd name="connsiteY204" fmla="*/ 702 h 10000"/>
              <a:gd name="connsiteX205" fmla="*/ 6092 w 10289"/>
              <a:gd name="connsiteY205" fmla="*/ 661 h 10000"/>
              <a:gd name="connsiteX206" fmla="*/ 6092 w 10289"/>
              <a:gd name="connsiteY206" fmla="*/ 620 h 10000"/>
              <a:gd name="connsiteX207" fmla="*/ 6092 w 10289"/>
              <a:gd name="connsiteY207" fmla="*/ 579 h 10000"/>
              <a:gd name="connsiteX208" fmla="*/ 6144 w 10289"/>
              <a:gd name="connsiteY208" fmla="*/ 537 h 10000"/>
              <a:gd name="connsiteX209" fmla="*/ 6144 w 10289"/>
              <a:gd name="connsiteY209" fmla="*/ 496 h 10000"/>
              <a:gd name="connsiteX210" fmla="*/ 6144 w 10289"/>
              <a:gd name="connsiteY210" fmla="*/ 455 h 10000"/>
              <a:gd name="connsiteX211" fmla="*/ 6144 w 10289"/>
              <a:gd name="connsiteY211" fmla="*/ 413 h 10000"/>
              <a:gd name="connsiteX212" fmla="*/ 6144 w 10289"/>
              <a:gd name="connsiteY212" fmla="*/ 372 h 10000"/>
              <a:gd name="connsiteX213" fmla="*/ 6144 w 10289"/>
              <a:gd name="connsiteY213" fmla="*/ 331 h 10000"/>
              <a:gd name="connsiteX214" fmla="*/ 6092 w 10289"/>
              <a:gd name="connsiteY214" fmla="*/ 331 h 10000"/>
              <a:gd name="connsiteX215" fmla="*/ 6092 w 10289"/>
              <a:gd name="connsiteY215" fmla="*/ 289 h 10000"/>
              <a:gd name="connsiteX216" fmla="*/ 6092 w 10289"/>
              <a:gd name="connsiteY216" fmla="*/ 248 h 10000"/>
              <a:gd name="connsiteX217" fmla="*/ 6092 w 10289"/>
              <a:gd name="connsiteY217" fmla="*/ 207 h 10000"/>
              <a:gd name="connsiteX218" fmla="*/ 6092 w 10289"/>
              <a:gd name="connsiteY218" fmla="*/ 165 h 10000"/>
              <a:gd name="connsiteX219" fmla="*/ 6092 w 10289"/>
              <a:gd name="connsiteY219" fmla="*/ 124 h 10000"/>
              <a:gd name="connsiteX220" fmla="*/ 6092 w 10289"/>
              <a:gd name="connsiteY220" fmla="*/ 83 h 10000"/>
              <a:gd name="connsiteX221" fmla="*/ 6092 w 10289"/>
              <a:gd name="connsiteY221" fmla="*/ 41 h 10000"/>
              <a:gd name="connsiteX222" fmla="*/ 6092 w 10289"/>
              <a:gd name="connsiteY222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52 w 10000"/>
              <a:gd name="connsiteY181" fmla="*/ 6405 h 10000"/>
              <a:gd name="connsiteX182" fmla="*/ 0 w 10000"/>
              <a:gd name="connsiteY182" fmla="*/ 6405 h 10000"/>
              <a:gd name="connsiteX183" fmla="*/ 52 w 10000"/>
              <a:gd name="connsiteY183" fmla="*/ 5826 h 10000"/>
              <a:gd name="connsiteX184" fmla="*/ 207 w 10000"/>
              <a:gd name="connsiteY184" fmla="*/ 5909 h 10000"/>
              <a:gd name="connsiteX185" fmla="*/ 415 w 10000"/>
              <a:gd name="connsiteY185" fmla="*/ 5826 h 10000"/>
              <a:gd name="connsiteX186" fmla="*/ 1503 w 10000"/>
              <a:gd name="connsiteY186" fmla="*/ 5826 h 10000"/>
              <a:gd name="connsiteX187" fmla="*/ 1658 w 10000"/>
              <a:gd name="connsiteY187" fmla="*/ 5785 h 10000"/>
              <a:gd name="connsiteX188" fmla="*/ 1710 w 10000"/>
              <a:gd name="connsiteY188" fmla="*/ 5785 h 10000"/>
              <a:gd name="connsiteX189" fmla="*/ 2228 w 10000"/>
              <a:gd name="connsiteY189" fmla="*/ 5248 h 10000"/>
              <a:gd name="connsiteX190" fmla="*/ 2332 w 10000"/>
              <a:gd name="connsiteY190" fmla="*/ 5165 h 10000"/>
              <a:gd name="connsiteX191" fmla="*/ 2798 w 10000"/>
              <a:gd name="connsiteY191" fmla="*/ 4752 h 10000"/>
              <a:gd name="connsiteX192" fmla="*/ 3057 w 10000"/>
              <a:gd name="connsiteY192" fmla="*/ 4504 h 10000"/>
              <a:gd name="connsiteX193" fmla="*/ 3212 w 10000"/>
              <a:gd name="connsiteY193" fmla="*/ 4380 h 10000"/>
              <a:gd name="connsiteX194" fmla="*/ 3627 w 10000"/>
              <a:gd name="connsiteY194" fmla="*/ 3760 h 10000"/>
              <a:gd name="connsiteX195" fmla="*/ 4145 w 10000"/>
              <a:gd name="connsiteY195" fmla="*/ 3512 h 10000"/>
              <a:gd name="connsiteX196" fmla="*/ 5026 w 10000"/>
              <a:gd name="connsiteY196" fmla="*/ 2810 h 10000"/>
              <a:gd name="connsiteX197" fmla="*/ 4870 w 10000"/>
              <a:gd name="connsiteY197" fmla="*/ 2562 h 10000"/>
              <a:gd name="connsiteX198" fmla="*/ 4819 w 10000"/>
              <a:gd name="connsiteY198" fmla="*/ 2397 h 10000"/>
              <a:gd name="connsiteX199" fmla="*/ 4819 w 10000"/>
              <a:gd name="connsiteY199" fmla="*/ 1240 h 10000"/>
              <a:gd name="connsiteX200" fmla="*/ 4145 w 10000"/>
              <a:gd name="connsiteY200" fmla="*/ 744 h 10000"/>
              <a:gd name="connsiteX201" fmla="*/ 4974 w 10000"/>
              <a:gd name="connsiteY201" fmla="*/ 744 h 10000"/>
              <a:gd name="connsiteX202" fmla="*/ 5803 w 10000"/>
              <a:gd name="connsiteY202" fmla="*/ 744 h 10000"/>
              <a:gd name="connsiteX203" fmla="*/ 5803 w 10000"/>
              <a:gd name="connsiteY203" fmla="*/ 702 h 10000"/>
              <a:gd name="connsiteX204" fmla="*/ 5803 w 10000"/>
              <a:gd name="connsiteY204" fmla="*/ 661 h 10000"/>
              <a:gd name="connsiteX205" fmla="*/ 5803 w 10000"/>
              <a:gd name="connsiteY205" fmla="*/ 620 h 10000"/>
              <a:gd name="connsiteX206" fmla="*/ 5803 w 10000"/>
              <a:gd name="connsiteY206" fmla="*/ 579 h 10000"/>
              <a:gd name="connsiteX207" fmla="*/ 5855 w 10000"/>
              <a:gd name="connsiteY207" fmla="*/ 537 h 10000"/>
              <a:gd name="connsiteX208" fmla="*/ 5855 w 10000"/>
              <a:gd name="connsiteY208" fmla="*/ 496 h 10000"/>
              <a:gd name="connsiteX209" fmla="*/ 5855 w 10000"/>
              <a:gd name="connsiteY209" fmla="*/ 455 h 10000"/>
              <a:gd name="connsiteX210" fmla="*/ 5855 w 10000"/>
              <a:gd name="connsiteY210" fmla="*/ 413 h 10000"/>
              <a:gd name="connsiteX211" fmla="*/ 5855 w 10000"/>
              <a:gd name="connsiteY211" fmla="*/ 372 h 10000"/>
              <a:gd name="connsiteX212" fmla="*/ 5855 w 10000"/>
              <a:gd name="connsiteY212" fmla="*/ 331 h 10000"/>
              <a:gd name="connsiteX213" fmla="*/ 5803 w 10000"/>
              <a:gd name="connsiteY213" fmla="*/ 331 h 10000"/>
              <a:gd name="connsiteX214" fmla="*/ 5803 w 10000"/>
              <a:gd name="connsiteY214" fmla="*/ 289 h 10000"/>
              <a:gd name="connsiteX215" fmla="*/ 5803 w 10000"/>
              <a:gd name="connsiteY215" fmla="*/ 248 h 10000"/>
              <a:gd name="connsiteX216" fmla="*/ 5803 w 10000"/>
              <a:gd name="connsiteY216" fmla="*/ 207 h 10000"/>
              <a:gd name="connsiteX217" fmla="*/ 5803 w 10000"/>
              <a:gd name="connsiteY217" fmla="*/ 165 h 10000"/>
              <a:gd name="connsiteX218" fmla="*/ 5803 w 10000"/>
              <a:gd name="connsiteY218" fmla="*/ 124 h 10000"/>
              <a:gd name="connsiteX219" fmla="*/ 5803 w 10000"/>
              <a:gd name="connsiteY219" fmla="*/ 83 h 10000"/>
              <a:gd name="connsiteX220" fmla="*/ 5803 w 10000"/>
              <a:gd name="connsiteY220" fmla="*/ 41 h 10000"/>
              <a:gd name="connsiteX221" fmla="*/ 5803 w 10000"/>
              <a:gd name="connsiteY221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5233 w 10000"/>
              <a:gd name="connsiteY180" fmla="*/ 7934 h 10000"/>
              <a:gd name="connsiteX181" fmla="*/ 0 w 10000"/>
              <a:gd name="connsiteY181" fmla="*/ 6405 h 10000"/>
              <a:gd name="connsiteX182" fmla="*/ 52 w 10000"/>
              <a:gd name="connsiteY182" fmla="*/ 5826 h 10000"/>
              <a:gd name="connsiteX183" fmla="*/ 207 w 10000"/>
              <a:gd name="connsiteY183" fmla="*/ 5909 h 10000"/>
              <a:gd name="connsiteX184" fmla="*/ 415 w 10000"/>
              <a:gd name="connsiteY184" fmla="*/ 5826 h 10000"/>
              <a:gd name="connsiteX185" fmla="*/ 1503 w 10000"/>
              <a:gd name="connsiteY185" fmla="*/ 5826 h 10000"/>
              <a:gd name="connsiteX186" fmla="*/ 1658 w 10000"/>
              <a:gd name="connsiteY186" fmla="*/ 5785 h 10000"/>
              <a:gd name="connsiteX187" fmla="*/ 1710 w 10000"/>
              <a:gd name="connsiteY187" fmla="*/ 5785 h 10000"/>
              <a:gd name="connsiteX188" fmla="*/ 2228 w 10000"/>
              <a:gd name="connsiteY188" fmla="*/ 5248 h 10000"/>
              <a:gd name="connsiteX189" fmla="*/ 2332 w 10000"/>
              <a:gd name="connsiteY189" fmla="*/ 5165 h 10000"/>
              <a:gd name="connsiteX190" fmla="*/ 2798 w 10000"/>
              <a:gd name="connsiteY190" fmla="*/ 4752 h 10000"/>
              <a:gd name="connsiteX191" fmla="*/ 3057 w 10000"/>
              <a:gd name="connsiteY191" fmla="*/ 4504 h 10000"/>
              <a:gd name="connsiteX192" fmla="*/ 3212 w 10000"/>
              <a:gd name="connsiteY192" fmla="*/ 4380 h 10000"/>
              <a:gd name="connsiteX193" fmla="*/ 3627 w 10000"/>
              <a:gd name="connsiteY193" fmla="*/ 3760 h 10000"/>
              <a:gd name="connsiteX194" fmla="*/ 4145 w 10000"/>
              <a:gd name="connsiteY194" fmla="*/ 3512 h 10000"/>
              <a:gd name="connsiteX195" fmla="*/ 5026 w 10000"/>
              <a:gd name="connsiteY195" fmla="*/ 2810 h 10000"/>
              <a:gd name="connsiteX196" fmla="*/ 4870 w 10000"/>
              <a:gd name="connsiteY196" fmla="*/ 2562 h 10000"/>
              <a:gd name="connsiteX197" fmla="*/ 4819 w 10000"/>
              <a:gd name="connsiteY197" fmla="*/ 2397 h 10000"/>
              <a:gd name="connsiteX198" fmla="*/ 4819 w 10000"/>
              <a:gd name="connsiteY198" fmla="*/ 1240 h 10000"/>
              <a:gd name="connsiteX199" fmla="*/ 4145 w 10000"/>
              <a:gd name="connsiteY199" fmla="*/ 744 h 10000"/>
              <a:gd name="connsiteX200" fmla="*/ 4974 w 10000"/>
              <a:gd name="connsiteY200" fmla="*/ 744 h 10000"/>
              <a:gd name="connsiteX201" fmla="*/ 5803 w 10000"/>
              <a:gd name="connsiteY201" fmla="*/ 744 h 10000"/>
              <a:gd name="connsiteX202" fmla="*/ 5803 w 10000"/>
              <a:gd name="connsiteY202" fmla="*/ 702 h 10000"/>
              <a:gd name="connsiteX203" fmla="*/ 5803 w 10000"/>
              <a:gd name="connsiteY203" fmla="*/ 661 h 10000"/>
              <a:gd name="connsiteX204" fmla="*/ 5803 w 10000"/>
              <a:gd name="connsiteY204" fmla="*/ 620 h 10000"/>
              <a:gd name="connsiteX205" fmla="*/ 5803 w 10000"/>
              <a:gd name="connsiteY205" fmla="*/ 579 h 10000"/>
              <a:gd name="connsiteX206" fmla="*/ 5855 w 10000"/>
              <a:gd name="connsiteY206" fmla="*/ 537 h 10000"/>
              <a:gd name="connsiteX207" fmla="*/ 5855 w 10000"/>
              <a:gd name="connsiteY207" fmla="*/ 496 h 10000"/>
              <a:gd name="connsiteX208" fmla="*/ 5855 w 10000"/>
              <a:gd name="connsiteY208" fmla="*/ 455 h 10000"/>
              <a:gd name="connsiteX209" fmla="*/ 5855 w 10000"/>
              <a:gd name="connsiteY209" fmla="*/ 413 h 10000"/>
              <a:gd name="connsiteX210" fmla="*/ 5855 w 10000"/>
              <a:gd name="connsiteY210" fmla="*/ 372 h 10000"/>
              <a:gd name="connsiteX211" fmla="*/ 5855 w 10000"/>
              <a:gd name="connsiteY211" fmla="*/ 331 h 10000"/>
              <a:gd name="connsiteX212" fmla="*/ 5803 w 10000"/>
              <a:gd name="connsiteY212" fmla="*/ 331 h 10000"/>
              <a:gd name="connsiteX213" fmla="*/ 5803 w 10000"/>
              <a:gd name="connsiteY213" fmla="*/ 289 h 10000"/>
              <a:gd name="connsiteX214" fmla="*/ 5803 w 10000"/>
              <a:gd name="connsiteY214" fmla="*/ 248 h 10000"/>
              <a:gd name="connsiteX215" fmla="*/ 5803 w 10000"/>
              <a:gd name="connsiteY215" fmla="*/ 207 h 10000"/>
              <a:gd name="connsiteX216" fmla="*/ 5803 w 10000"/>
              <a:gd name="connsiteY216" fmla="*/ 165 h 10000"/>
              <a:gd name="connsiteX217" fmla="*/ 5803 w 10000"/>
              <a:gd name="connsiteY217" fmla="*/ 124 h 10000"/>
              <a:gd name="connsiteX218" fmla="*/ 5803 w 10000"/>
              <a:gd name="connsiteY218" fmla="*/ 83 h 10000"/>
              <a:gd name="connsiteX219" fmla="*/ 5803 w 10000"/>
              <a:gd name="connsiteY219" fmla="*/ 41 h 10000"/>
              <a:gd name="connsiteX220" fmla="*/ 5803 w 10000"/>
              <a:gd name="connsiteY220" fmla="*/ 0 h 10000"/>
              <a:gd name="connsiteX0" fmla="*/ 5803 w 10000"/>
              <a:gd name="connsiteY0" fmla="*/ 0 h 10000"/>
              <a:gd name="connsiteX1" fmla="*/ 7358 w 10000"/>
              <a:gd name="connsiteY1" fmla="*/ 41 h 10000"/>
              <a:gd name="connsiteX2" fmla="*/ 7513 w 10000"/>
              <a:gd name="connsiteY2" fmla="*/ 41 h 10000"/>
              <a:gd name="connsiteX3" fmla="*/ 7358 w 10000"/>
              <a:gd name="connsiteY3" fmla="*/ 165 h 10000"/>
              <a:gd name="connsiteX4" fmla="*/ 7306 w 10000"/>
              <a:gd name="connsiteY4" fmla="*/ 537 h 10000"/>
              <a:gd name="connsiteX5" fmla="*/ 7202 w 10000"/>
              <a:gd name="connsiteY5" fmla="*/ 1116 h 10000"/>
              <a:gd name="connsiteX6" fmla="*/ 7150 w 10000"/>
              <a:gd name="connsiteY6" fmla="*/ 1157 h 10000"/>
              <a:gd name="connsiteX7" fmla="*/ 6995 w 10000"/>
              <a:gd name="connsiteY7" fmla="*/ 1488 h 10000"/>
              <a:gd name="connsiteX8" fmla="*/ 7409 w 10000"/>
              <a:gd name="connsiteY8" fmla="*/ 3017 h 10000"/>
              <a:gd name="connsiteX9" fmla="*/ 7513 w 10000"/>
              <a:gd name="connsiteY9" fmla="*/ 3306 h 10000"/>
              <a:gd name="connsiteX10" fmla="*/ 7358 w 10000"/>
              <a:gd name="connsiteY10" fmla="*/ 3554 h 10000"/>
              <a:gd name="connsiteX11" fmla="*/ 8031 w 10000"/>
              <a:gd name="connsiteY11" fmla="*/ 3719 h 10000"/>
              <a:gd name="connsiteX12" fmla="*/ 8497 w 10000"/>
              <a:gd name="connsiteY12" fmla="*/ 4174 h 10000"/>
              <a:gd name="connsiteX13" fmla="*/ 8601 w 10000"/>
              <a:gd name="connsiteY13" fmla="*/ 4256 h 10000"/>
              <a:gd name="connsiteX14" fmla="*/ 8912 w 10000"/>
              <a:gd name="connsiteY14" fmla="*/ 4463 h 10000"/>
              <a:gd name="connsiteX15" fmla="*/ 9119 w 10000"/>
              <a:gd name="connsiteY15" fmla="*/ 4711 h 10000"/>
              <a:gd name="connsiteX16" fmla="*/ 9223 w 10000"/>
              <a:gd name="connsiteY16" fmla="*/ 4835 h 10000"/>
              <a:gd name="connsiteX17" fmla="*/ 9430 w 10000"/>
              <a:gd name="connsiteY17" fmla="*/ 4835 h 10000"/>
              <a:gd name="connsiteX18" fmla="*/ 9430 w 10000"/>
              <a:gd name="connsiteY18" fmla="*/ 4876 h 10000"/>
              <a:gd name="connsiteX19" fmla="*/ 9482 w 10000"/>
              <a:gd name="connsiteY19" fmla="*/ 4959 h 10000"/>
              <a:gd name="connsiteX20" fmla="*/ 9482 w 10000"/>
              <a:gd name="connsiteY20" fmla="*/ 5000 h 10000"/>
              <a:gd name="connsiteX21" fmla="*/ 9534 w 10000"/>
              <a:gd name="connsiteY21" fmla="*/ 5165 h 10000"/>
              <a:gd name="connsiteX22" fmla="*/ 9534 w 10000"/>
              <a:gd name="connsiteY22" fmla="*/ 5207 h 10000"/>
              <a:gd name="connsiteX23" fmla="*/ 9534 w 10000"/>
              <a:gd name="connsiteY23" fmla="*/ 5331 h 10000"/>
              <a:gd name="connsiteX24" fmla="*/ 9534 w 10000"/>
              <a:gd name="connsiteY24" fmla="*/ 5413 h 10000"/>
              <a:gd name="connsiteX25" fmla="*/ 9482 w 10000"/>
              <a:gd name="connsiteY25" fmla="*/ 5496 h 10000"/>
              <a:gd name="connsiteX26" fmla="*/ 9430 w 10000"/>
              <a:gd name="connsiteY26" fmla="*/ 5744 h 10000"/>
              <a:gd name="connsiteX27" fmla="*/ 9378 w 10000"/>
              <a:gd name="connsiteY27" fmla="*/ 5785 h 10000"/>
              <a:gd name="connsiteX28" fmla="*/ 9326 w 10000"/>
              <a:gd name="connsiteY28" fmla="*/ 5826 h 10000"/>
              <a:gd name="connsiteX29" fmla="*/ 9275 w 10000"/>
              <a:gd name="connsiteY29" fmla="*/ 5992 h 10000"/>
              <a:gd name="connsiteX30" fmla="*/ 9223 w 10000"/>
              <a:gd name="connsiteY30" fmla="*/ 6074 h 10000"/>
              <a:gd name="connsiteX31" fmla="*/ 9223 w 10000"/>
              <a:gd name="connsiteY31" fmla="*/ 6157 h 10000"/>
              <a:gd name="connsiteX32" fmla="*/ 9223 w 10000"/>
              <a:gd name="connsiteY32" fmla="*/ 6198 h 10000"/>
              <a:gd name="connsiteX33" fmla="*/ 9223 w 10000"/>
              <a:gd name="connsiteY33" fmla="*/ 6322 h 10000"/>
              <a:gd name="connsiteX34" fmla="*/ 9275 w 10000"/>
              <a:gd name="connsiteY34" fmla="*/ 6446 h 10000"/>
              <a:gd name="connsiteX35" fmla="*/ 9896 w 10000"/>
              <a:gd name="connsiteY35" fmla="*/ 6446 h 10000"/>
              <a:gd name="connsiteX36" fmla="*/ 9896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6 w 10000"/>
              <a:gd name="connsiteY67" fmla="*/ 8636 h 10000"/>
              <a:gd name="connsiteX68" fmla="*/ 9845 w 10000"/>
              <a:gd name="connsiteY68" fmla="*/ 8636 h 10000"/>
              <a:gd name="connsiteX69" fmla="*/ 9845 w 10000"/>
              <a:gd name="connsiteY69" fmla="*/ 8678 h 10000"/>
              <a:gd name="connsiteX70" fmla="*/ 9793 w 10000"/>
              <a:gd name="connsiteY70" fmla="*/ 8678 h 10000"/>
              <a:gd name="connsiteX71" fmla="*/ 9741 w 10000"/>
              <a:gd name="connsiteY71" fmla="*/ 8719 h 10000"/>
              <a:gd name="connsiteX72" fmla="*/ 9689 w 10000"/>
              <a:gd name="connsiteY72" fmla="*/ 8760 h 10000"/>
              <a:gd name="connsiteX73" fmla="*/ 9637 w 10000"/>
              <a:gd name="connsiteY73" fmla="*/ 8760 h 10000"/>
              <a:gd name="connsiteX74" fmla="*/ 9637 w 10000"/>
              <a:gd name="connsiteY74" fmla="*/ 8802 h 10000"/>
              <a:gd name="connsiteX75" fmla="*/ 9585 w 10000"/>
              <a:gd name="connsiteY75" fmla="*/ 8802 h 10000"/>
              <a:gd name="connsiteX76" fmla="*/ 9534 w 10000"/>
              <a:gd name="connsiteY76" fmla="*/ 8802 h 10000"/>
              <a:gd name="connsiteX77" fmla="*/ 9482 w 10000"/>
              <a:gd name="connsiteY77" fmla="*/ 8802 h 10000"/>
              <a:gd name="connsiteX78" fmla="*/ 9430 w 10000"/>
              <a:gd name="connsiteY78" fmla="*/ 8802 h 10000"/>
              <a:gd name="connsiteX79" fmla="*/ 9378 w 10000"/>
              <a:gd name="connsiteY79" fmla="*/ 8802 h 10000"/>
              <a:gd name="connsiteX80" fmla="*/ 9326 w 10000"/>
              <a:gd name="connsiteY80" fmla="*/ 8802 h 10000"/>
              <a:gd name="connsiteX81" fmla="*/ 9275 w 10000"/>
              <a:gd name="connsiteY81" fmla="*/ 8802 h 10000"/>
              <a:gd name="connsiteX82" fmla="*/ 9275 w 10000"/>
              <a:gd name="connsiteY82" fmla="*/ 8843 h 10000"/>
              <a:gd name="connsiteX83" fmla="*/ 9223 w 10000"/>
              <a:gd name="connsiteY83" fmla="*/ 8884 h 10000"/>
              <a:gd name="connsiteX84" fmla="*/ 9171 w 10000"/>
              <a:gd name="connsiteY84" fmla="*/ 8926 h 10000"/>
              <a:gd name="connsiteX85" fmla="*/ 9223 w 10000"/>
              <a:gd name="connsiteY85" fmla="*/ 8926 h 10000"/>
              <a:gd name="connsiteX86" fmla="*/ 9171 w 10000"/>
              <a:gd name="connsiteY86" fmla="*/ 8926 h 10000"/>
              <a:gd name="connsiteX87" fmla="*/ 9119 w 10000"/>
              <a:gd name="connsiteY87" fmla="*/ 8926 h 10000"/>
              <a:gd name="connsiteX88" fmla="*/ 9067 w 10000"/>
              <a:gd name="connsiteY88" fmla="*/ 8967 h 10000"/>
              <a:gd name="connsiteX89" fmla="*/ 9016 w 10000"/>
              <a:gd name="connsiteY89" fmla="*/ 9008 h 10000"/>
              <a:gd name="connsiteX90" fmla="*/ 8964 w 10000"/>
              <a:gd name="connsiteY90" fmla="*/ 9008 h 10000"/>
              <a:gd name="connsiteX91" fmla="*/ 8964 w 10000"/>
              <a:gd name="connsiteY91" fmla="*/ 9050 h 10000"/>
              <a:gd name="connsiteX92" fmla="*/ 8912 w 10000"/>
              <a:gd name="connsiteY92" fmla="*/ 9050 h 10000"/>
              <a:gd name="connsiteX93" fmla="*/ 8912 w 10000"/>
              <a:gd name="connsiteY93" fmla="*/ 9091 h 10000"/>
              <a:gd name="connsiteX94" fmla="*/ 8860 w 10000"/>
              <a:gd name="connsiteY94" fmla="*/ 9091 h 10000"/>
              <a:gd name="connsiteX95" fmla="*/ 8808 w 10000"/>
              <a:gd name="connsiteY95" fmla="*/ 9091 h 10000"/>
              <a:gd name="connsiteX96" fmla="*/ 8756 w 10000"/>
              <a:gd name="connsiteY96" fmla="*/ 9091 h 10000"/>
              <a:gd name="connsiteX97" fmla="*/ 8705 w 10000"/>
              <a:gd name="connsiteY97" fmla="*/ 9091 h 10000"/>
              <a:gd name="connsiteX98" fmla="*/ 8653 w 10000"/>
              <a:gd name="connsiteY98" fmla="*/ 9091 h 10000"/>
              <a:gd name="connsiteX99" fmla="*/ 8653 w 10000"/>
              <a:gd name="connsiteY99" fmla="*/ 9050 h 10000"/>
              <a:gd name="connsiteX100" fmla="*/ 8653 w 10000"/>
              <a:gd name="connsiteY100" fmla="*/ 9008 h 10000"/>
              <a:gd name="connsiteX101" fmla="*/ 8601 w 10000"/>
              <a:gd name="connsiteY101" fmla="*/ 8967 h 10000"/>
              <a:gd name="connsiteX102" fmla="*/ 8601 w 10000"/>
              <a:gd name="connsiteY102" fmla="*/ 8926 h 10000"/>
              <a:gd name="connsiteX103" fmla="*/ 8601 w 10000"/>
              <a:gd name="connsiteY103" fmla="*/ 8884 h 10000"/>
              <a:gd name="connsiteX104" fmla="*/ 8549 w 10000"/>
              <a:gd name="connsiteY104" fmla="*/ 8884 h 10000"/>
              <a:gd name="connsiteX105" fmla="*/ 8497 w 10000"/>
              <a:gd name="connsiteY105" fmla="*/ 8884 h 10000"/>
              <a:gd name="connsiteX106" fmla="*/ 8497 w 10000"/>
              <a:gd name="connsiteY106" fmla="*/ 8843 h 10000"/>
              <a:gd name="connsiteX107" fmla="*/ 8446 w 10000"/>
              <a:gd name="connsiteY107" fmla="*/ 8843 h 10000"/>
              <a:gd name="connsiteX108" fmla="*/ 8394 w 10000"/>
              <a:gd name="connsiteY108" fmla="*/ 8884 h 10000"/>
              <a:gd name="connsiteX109" fmla="*/ 8394 w 10000"/>
              <a:gd name="connsiteY109" fmla="*/ 8926 h 10000"/>
              <a:gd name="connsiteX110" fmla="*/ 8290 w 10000"/>
              <a:gd name="connsiteY110" fmla="*/ 8884 h 10000"/>
              <a:gd name="connsiteX111" fmla="*/ 8290 w 10000"/>
              <a:gd name="connsiteY111" fmla="*/ 8843 h 10000"/>
              <a:gd name="connsiteX112" fmla="*/ 8238 w 10000"/>
              <a:gd name="connsiteY112" fmla="*/ 8843 h 10000"/>
              <a:gd name="connsiteX113" fmla="*/ 8187 w 10000"/>
              <a:gd name="connsiteY113" fmla="*/ 8843 h 10000"/>
              <a:gd name="connsiteX114" fmla="*/ 8135 w 10000"/>
              <a:gd name="connsiteY114" fmla="*/ 8843 h 10000"/>
              <a:gd name="connsiteX115" fmla="*/ 8083 w 10000"/>
              <a:gd name="connsiteY115" fmla="*/ 8843 h 10000"/>
              <a:gd name="connsiteX116" fmla="*/ 8031 w 10000"/>
              <a:gd name="connsiteY116" fmla="*/ 8843 h 10000"/>
              <a:gd name="connsiteX117" fmla="*/ 8031 w 10000"/>
              <a:gd name="connsiteY117" fmla="*/ 8884 h 10000"/>
              <a:gd name="connsiteX118" fmla="*/ 7979 w 10000"/>
              <a:gd name="connsiteY118" fmla="*/ 8884 h 10000"/>
              <a:gd name="connsiteX119" fmla="*/ 7927 w 10000"/>
              <a:gd name="connsiteY119" fmla="*/ 8926 h 10000"/>
              <a:gd name="connsiteX120" fmla="*/ 7876 w 10000"/>
              <a:gd name="connsiteY120" fmla="*/ 8926 h 10000"/>
              <a:gd name="connsiteX121" fmla="*/ 7876 w 10000"/>
              <a:gd name="connsiteY121" fmla="*/ 8884 h 10000"/>
              <a:gd name="connsiteX122" fmla="*/ 7876 w 10000"/>
              <a:gd name="connsiteY122" fmla="*/ 8926 h 10000"/>
              <a:gd name="connsiteX123" fmla="*/ 7824 w 10000"/>
              <a:gd name="connsiteY123" fmla="*/ 8926 h 10000"/>
              <a:gd name="connsiteX124" fmla="*/ 7772 w 10000"/>
              <a:gd name="connsiteY124" fmla="*/ 8967 h 10000"/>
              <a:gd name="connsiteX125" fmla="*/ 7720 w 10000"/>
              <a:gd name="connsiteY125" fmla="*/ 8926 h 10000"/>
              <a:gd name="connsiteX126" fmla="*/ 7668 w 10000"/>
              <a:gd name="connsiteY126" fmla="*/ 8926 h 10000"/>
              <a:gd name="connsiteX127" fmla="*/ 7617 w 10000"/>
              <a:gd name="connsiteY127" fmla="*/ 8926 h 10000"/>
              <a:gd name="connsiteX128" fmla="*/ 7565 w 10000"/>
              <a:gd name="connsiteY128" fmla="*/ 8884 h 10000"/>
              <a:gd name="connsiteX129" fmla="*/ 7513 w 10000"/>
              <a:gd name="connsiteY129" fmla="*/ 8884 h 10000"/>
              <a:gd name="connsiteX130" fmla="*/ 7513 w 10000"/>
              <a:gd name="connsiteY130" fmla="*/ 8926 h 10000"/>
              <a:gd name="connsiteX131" fmla="*/ 7461 w 10000"/>
              <a:gd name="connsiteY131" fmla="*/ 8926 h 10000"/>
              <a:gd name="connsiteX132" fmla="*/ 7409 w 10000"/>
              <a:gd name="connsiteY132" fmla="*/ 8884 h 10000"/>
              <a:gd name="connsiteX133" fmla="*/ 7358 w 10000"/>
              <a:gd name="connsiteY133" fmla="*/ 8884 h 10000"/>
              <a:gd name="connsiteX134" fmla="*/ 7306 w 10000"/>
              <a:gd name="connsiteY134" fmla="*/ 8967 h 10000"/>
              <a:gd name="connsiteX135" fmla="*/ 7254 w 10000"/>
              <a:gd name="connsiteY135" fmla="*/ 8967 h 10000"/>
              <a:gd name="connsiteX136" fmla="*/ 7254 w 10000"/>
              <a:gd name="connsiteY136" fmla="*/ 8926 h 10000"/>
              <a:gd name="connsiteX137" fmla="*/ 7254 w 10000"/>
              <a:gd name="connsiteY137" fmla="*/ 8967 h 10000"/>
              <a:gd name="connsiteX138" fmla="*/ 7254 w 10000"/>
              <a:gd name="connsiteY138" fmla="*/ 9008 h 10000"/>
              <a:gd name="connsiteX139" fmla="*/ 7202 w 10000"/>
              <a:gd name="connsiteY139" fmla="*/ 9008 h 10000"/>
              <a:gd name="connsiteX140" fmla="*/ 7150 w 10000"/>
              <a:gd name="connsiteY140" fmla="*/ 9008 h 10000"/>
              <a:gd name="connsiteX141" fmla="*/ 7202 w 10000"/>
              <a:gd name="connsiteY141" fmla="*/ 9050 h 10000"/>
              <a:gd name="connsiteX142" fmla="*/ 7150 w 10000"/>
              <a:gd name="connsiteY142" fmla="*/ 9091 h 10000"/>
              <a:gd name="connsiteX143" fmla="*/ 7202 w 10000"/>
              <a:gd name="connsiteY143" fmla="*/ 9132 h 10000"/>
              <a:gd name="connsiteX144" fmla="*/ 7254 w 10000"/>
              <a:gd name="connsiteY144" fmla="*/ 9132 h 10000"/>
              <a:gd name="connsiteX145" fmla="*/ 7254 w 10000"/>
              <a:gd name="connsiteY145" fmla="*/ 9174 h 10000"/>
              <a:gd name="connsiteX146" fmla="*/ 7202 w 10000"/>
              <a:gd name="connsiteY146" fmla="*/ 9174 h 10000"/>
              <a:gd name="connsiteX147" fmla="*/ 7150 w 10000"/>
              <a:gd name="connsiteY147" fmla="*/ 9174 h 10000"/>
              <a:gd name="connsiteX148" fmla="*/ 7202 w 10000"/>
              <a:gd name="connsiteY148" fmla="*/ 9215 h 10000"/>
              <a:gd name="connsiteX149" fmla="*/ 7202 w 10000"/>
              <a:gd name="connsiteY149" fmla="*/ 9256 h 10000"/>
              <a:gd name="connsiteX150" fmla="*/ 7150 w 10000"/>
              <a:gd name="connsiteY150" fmla="*/ 9256 h 10000"/>
              <a:gd name="connsiteX151" fmla="*/ 7150 w 10000"/>
              <a:gd name="connsiteY151" fmla="*/ 9298 h 10000"/>
              <a:gd name="connsiteX152" fmla="*/ 7098 w 10000"/>
              <a:gd name="connsiteY152" fmla="*/ 9339 h 10000"/>
              <a:gd name="connsiteX153" fmla="*/ 7150 w 10000"/>
              <a:gd name="connsiteY153" fmla="*/ 9380 h 10000"/>
              <a:gd name="connsiteX154" fmla="*/ 7202 w 10000"/>
              <a:gd name="connsiteY154" fmla="*/ 9380 h 10000"/>
              <a:gd name="connsiteX155" fmla="*/ 7202 w 10000"/>
              <a:gd name="connsiteY155" fmla="*/ 9421 h 10000"/>
              <a:gd name="connsiteX156" fmla="*/ 7202 w 10000"/>
              <a:gd name="connsiteY156" fmla="*/ 9463 h 10000"/>
              <a:gd name="connsiteX157" fmla="*/ 7150 w 10000"/>
              <a:gd name="connsiteY157" fmla="*/ 9463 h 10000"/>
              <a:gd name="connsiteX158" fmla="*/ 7098 w 10000"/>
              <a:gd name="connsiteY158" fmla="*/ 9504 h 10000"/>
              <a:gd name="connsiteX159" fmla="*/ 7150 w 10000"/>
              <a:gd name="connsiteY159" fmla="*/ 9545 h 10000"/>
              <a:gd name="connsiteX160" fmla="*/ 7150 w 10000"/>
              <a:gd name="connsiteY160" fmla="*/ 9587 h 10000"/>
              <a:gd name="connsiteX161" fmla="*/ 7150 w 10000"/>
              <a:gd name="connsiteY161" fmla="*/ 9628 h 10000"/>
              <a:gd name="connsiteX162" fmla="*/ 7150 w 10000"/>
              <a:gd name="connsiteY162" fmla="*/ 9669 h 10000"/>
              <a:gd name="connsiteX163" fmla="*/ 7098 w 10000"/>
              <a:gd name="connsiteY163" fmla="*/ 9669 h 10000"/>
              <a:gd name="connsiteX164" fmla="*/ 7098 w 10000"/>
              <a:gd name="connsiteY164" fmla="*/ 9711 h 10000"/>
              <a:gd name="connsiteX165" fmla="*/ 7047 w 10000"/>
              <a:gd name="connsiteY165" fmla="*/ 9711 h 10000"/>
              <a:gd name="connsiteX166" fmla="*/ 6943 w 10000"/>
              <a:gd name="connsiteY166" fmla="*/ 9711 h 10000"/>
              <a:gd name="connsiteX167" fmla="*/ 6943 w 10000"/>
              <a:gd name="connsiteY167" fmla="*/ 9752 h 10000"/>
              <a:gd name="connsiteX168" fmla="*/ 6943 w 10000"/>
              <a:gd name="connsiteY168" fmla="*/ 9793 h 10000"/>
              <a:gd name="connsiteX169" fmla="*/ 6943 w 10000"/>
              <a:gd name="connsiteY169" fmla="*/ 9835 h 10000"/>
              <a:gd name="connsiteX170" fmla="*/ 6943 w 10000"/>
              <a:gd name="connsiteY170" fmla="*/ 9793 h 10000"/>
              <a:gd name="connsiteX171" fmla="*/ 6891 w 10000"/>
              <a:gd name="connsiteY171" fmla="*/ 9793 h 10000"/>
              <a:gd name="connsiteX172" fmla="*/ 6839 w 10000"/>
              <a:gd name="connsiteY172" fmla="*/ 9793 h 10000"/>
              <a:gd name="connsiteX173" fmla="*/ 6839 w 10000"/>
              <a:gd name="connsiteY173" fmla="*/ 9835 h 10000"/>
              <a:gd name="connsiteX174" fmla="*/ 6839 w 10000"/>
              <a:gd name="connsiteY174" fmla="*/ 9876 h 10000"/>
              <a:gd name="connsiteX175" fmla="*/ 6839 w 10000"/>
              <a:gd name="connsiteY175" fmla="*/ 9917 h 10000"/>
              <a:gd name="connsiteX176" fmla="*/ 6736 w 10000"/>
              <a:gd name="connsiteY176" fmla="*/ 9917 h 10000"/>
              <a:gd name="connsiteX177" fmla="*/ 6736 w 10000"/>
              <a:gd name="connsiteY177" fmla="*/ 9959 h 10000"/>
              <a:gd name="connsiteX178" fmla="*/ 6684 w 10000"/>
              <a:gd name="connsiteY178" fmla="*/ 10000 h 10000"/>
              <a:gd name="connsiteX179" fmla="*/ 6545 w 10000"/>
              <a:gd name="connsiteY179" fmla="*/ 9917 h 10000"/>
              <a:gd name="connsiteX180" fmla="*/ 0 w 10000"/>
              <a:gd name="connsiteY180" fmla="*/ 6405 h 10000"/>
              <a:gd name="connsiteX181" fmla="*/ 52 w 10000"/>
              <a:gd name="connsiteY181" fmla="*/ 5826 h 10000"/>
              <a:gd name="connsiteX182" fmla="*/ 207 w 10000"/>
              <a:gd name="connsiteY182" fmla="*/ 5909 h 10000"/>
              <a:gd name="connsiteX183" fmla="*/ 415 w 10000"/>
              <a:gd name="connsiteY183" fmla="*/ 5826 h 10000"/>
              <a:gd name="connsiteX184" fmla="*/ 1503 w 10000"/>
              <a:gd name="connsiteY184" fmla="*/ 5826 h 10000"/>
              <a:gd name="connsiteX185" fmla="*/ 1658 w 10000"/>
              <a:gd name="connsiteY185" fmla="*/ 5785 h 10000"/>
              <a:gd name="connsiteX186" fmla="*/ 1710 w 10000"/>
              <a:gd name="connsiteY186" fmla="*/ 5785 h 10000"/>
              <a:gd name="connsiteX187" fmla="*/ 2228 w 10000"/>
              <a:gd name="connsiteY187" fmla="*/ 5248 h 10000"/>
              <a:gd name="connsiteX188" fmla="*/ 2332 w 10000"/>
              <a:gd name="connsiteY188" fmla="*/ 5165 h 10000"/>
              <a:gd name="connsiteX189" fmla="*/ 2798 w 10000"/>
              <a:gd name="connsiteY189" fmla="*/ 4752 h 10000"/>
              <a:gd name="connsiteX190" fmla="*/ 3057 w 10000"/>
              <a:gd name="connsiteY190" fmla="*/ 4504 h 10000"/>
              <a:gd name="connsiteX191" fmla="*/ 3212 w 10000"/>
              <a:gd name="connsiteY191" fmla="*/ 4380 h 10000"/>
              <a:gd name="connsiteX192" fmla="*/ 3627 w 10000"/>
              <a:gd name="connsiteY192" fmla="*/ 3760 h 10000"/>
              <a:gd name="connsiteX193" fmla="*/ 4145 w 10000"/>
              <a:gd name="connsiteY193" fmla="*/ 3512 h 10000"/>
              <a:gd name="connsiteX194" fmla="*/ 5026 w 10000"/>
              <a:gd name="connsiteY194" fmla="*/ 2810 h 10000"/>
              <a:gd name="connsiteX195" fmla="*/ 4870 w 10000"/>
              <a:gd name="connsiteY195" fmla="*/ 2562 h 10000"/>
              <a:gd name="connsiteX196" fmla="*/ 4819 w 10000"/>
              <a:gd name="connsiteY196" fmla="*/ 2397 h 10000"/>
              <a:gd name="connsiteX197" fmla="*/ 4819 w 10000"/>
              <a:gd name="connsiteY197" fmla="*/ 1240 h 10000"/>
              <a:gd name="connsiteX198" fmla="*/ 4145 w 10000"/>
              <a:gd name="connsiteY198" fmla="*/ 744 h 10000"/>
              <a:gd name="connsiteX199" fmla="*/ 4974 w 10000"/>
              <a:gd name="connsiteY199" fmla="*/ 744 h 10000"/>
              <a:gd name="connsiteX200" fmla="*/ 5803 w 10000"/>
              <a:gd name="connsiteY200" fmla="*/ 744 h 10000"/>
              <a:gd name="connsiteX201" fmla="*/ 5803 w 10000"/>
              <a:gd name="connsiteY201" fmla="*/ 702 h 10000"/>
              <a:gd name="connsiteX202" fmla="*/ 5803 w 10000"/>
              <a:gd name="connsiteY202" fmla="*/ 661 h 10000"/>
              <a:gd name="connsiteX203" fmla="*/ 5803 w 10000"/>
              <a:gd name="connsiteY203" fmla="*/ 620 h 10000"/>
              <a:gd name="connsiteX204" fmla="*/ 5803 w 10000"/>
              <a:gd name="connsiteY204" fmla="*/ 579 h 10000"/>
              <a:gd name="connsiteX205" fmla="*/ 5855 w 10000"/>
              <a:gd name="connsiteY205" fmla="*/ 537 h 10000"/>
              <a:gd name="connsiteX206" fmla="*/ 5855 w 10000"/>
              <a:gd name="connsiteY206" fmla="*/ 496 h 10000"/>
              <a:gd name="connsiteX207" fmla="*/ 5855 w 10000"/>
              <a:gd name="connsiteY207" fmla="*/ 455 h 10000"/>
              <a:gd name="connsiteX208" fmla="*/ 5855 w 10000"/>
              <a:gd name="connsiteY208" fmla="*/ 413 h 10000"/>
              <a:gd name="connsiteX209" fmla="*/ 5855 w 10000"/>
              <a:gd name="connsiteY209" fmla="*/ 372 h 10000"/>
              <a:gd name="connsiteX210" fmla="*/ 5855 w 10000"/>
              <a:gd name="connsiteY210" fmla="*/ 331 h 10000"/>
              <a:gd name="connsiteX211" fmla="*/ 5803 w 10000"/>
              <a:gd name="connsiteY211" fmla="*/ 331 h 10000"/>
              <a:gd name="connsiteX212" fmla="*/ 5803 w 10000"/>
              <a:gd name="connsiteY212" fmla="*/ 289 h 10000"/>
              <a:gd name="connsiteX213" fmla="*/ 5803 w 10000"/>
              <a:gd name="connsiteY213" fmla="*/ 248 h 10000"/>
              <a:gd name="connsiteX214" fmla="*/ 5803 w 10000"/>
              <a:gd name="connsiteY214" fmla="*/ 207 h 10000"/>
              <a:gd name="connsiteX215" fmla="*/ 5803 w 10000"/>
              <a:gd name="connsiteY215" fmla="*/ 165 h 10000"/>
              <a:gd name="connsiteX216" fmla="*/ 5803 w 10000"/>
              <a:gd name="connsiteY216" fmla="*/ 124 h 10000"/>
              <a:gd name="connsiteX217" fmla="*/ 5803 w 10000"/>
              <a:gd name="connsiteY217" fmla="*/ 83 h 10000"/>
              <a:gd name="connsiteX218" fmla="*/ 5803 w 10000"/>
              <a:gd name="connsiteY218" fmla="*/ 41 h 10000"/>
              <a:gd name="connsiteX219" fmla="*/ 5803 w 10000"/>
              <a:gd name="connsiteY219" fmla="*/ 0 h 10000"/>
              <a:gd name="connsiteX0" fmla="*/ 5751 w 9948"/>
              <a:gd name="connsiteY0" fmla="*/ 0 h 10000"/>
              <a:gd name="connsiteX1" fmla="*/ 7306 w 9948"/>
              <a:gd name="connsiteY1" fmla="*/ 41 h 10000"/>
              <a:gd name="connsiteX2" fmla="*/ 7461 w 9948"/>
              <a:gd name="connsiteY2" fmla="*/ 41 h 10000"/>
              <a:gd name="connsiteX3" fmla="*/ 7306 w 9948"/>
              <a:gd name="connsiteY3" fmla="*/ 165 h 10000"/>
              <a:gd name="connsiteX4" fmla="*/ 7254 w 9948"/>
              <a:gd name="connsiteY4" fmla="*/ 537 h 10000"/>
              <a:gd name="connsiteX5" fmla="*/ 7150 w 9948"/>
              <a:gd name="connsiteY5" fmla="*/ 1116 h 10000"/>
              <a:gd name="connsiteX6" fmla="*/ 7098 w 9948"/>
              <a:gd name="connsiteY6" fmla="*/ 1157 h 10000"/>
              <a:gd name="connsiteX7" fmla="*/ 6943 w 9948"/>
              <a:gd name="connsiteY7" fmla="*/ 1488 h 10000"/>
              <a:gd name="connsiteX8" fmla="*/ 7357 w 9948"/>
              <a:gd name="connsiteY8" fmla="*/ 3017 h 10000"/>
              <a:gd name="connsiteX9" fmla="*/ 7461 w 9948"/>
              <a:gd name="connsiteY9" fmla="*/ 3306 h 10000"/>
              <a:gd name="connsiteX10" fmla="*/ 7306 w 9948"/>
              <a:gd name="connsiteY10" fmla="*/ 3554 h 10000"/>
              <a:gd name="connsiteX11" fmla="*/ 7979 w 9948"/>
              <a:gd name="connsiteY11" fmla="*/ 3719 h 10000"/>
              <a:gd name="connsiteX12" fmla="*/ 8445 w 9948"/>
              <a:gd name="connsiteY12" fmla="*/ 4174 h 10000"/>
              <a:gd name="connsiteX13" fmla="*/ 8549 w 9948"/>
              <a:gd name="connsiteY13" fmla="*/ 4256 h 10000"/>
              <a:gd name="connsiteX14" fmla="*/ 8860 w 9948"/>
              <a:gd name="connsiteY14" fmla="*/ 4463 h 10000"/>
              <a:gd name="connsiteX15" fmla="*/ 9067 w 9948"/>
              <a:gd name="connsiteY15" fmla="*/ 4711 h 10000"/>
              <a:gd name="connsiteX16" fmla="*/ 9171 w 9948"/>
              <a:gd name="connsiteY16" fmla="*/ 4835 h 10000"/>
              <a:gd name="connsiteX17" fmla="*/ 9378 w 9948"/>
              <a:gd name="connsiteY17" fmla="*/ 4835 h 10000"/>
              <a:gd name="connsiteX18" fmla="*/ 9378 w 9948"/>
              <a:gd name="connsiteY18" fmla="*/ 4876 h 10000"/>
              <a:gd name="connsiteX19" fmla="*/ 9430 w 9948"/>
              <a:gd name="connsiteY19" fmla="*/ 4959 h 10000"/>
              <a:gd name="connsiteX20" fmla="*/ 9430 w 9948"/>
              <a:gd name="connsiteY20" fmla="*/ 5000 h 10000"/>
              <a:gd name="connsiteX21" fmla="*/ 9482 w 9948"/>
              <a:gd name="connsiteY21" fmla="*/ 5165 h 10000"/>
              <a:gd name="connsiteX22" fmla="*/ 9482 w 9948"/>
              <a:gd name="connsiteY22" fmla="*/ 5207 h 10000"/>
              <a:gd name="connsiteX23" fmla="*/ 9482 w 9948"/>
              <a:gd name="connsiteY23" fmla="*/ 5331 h 10000"/>
              <a:gd name="connsiteX24" fmla="*/ 9482 w 9948"/>
              <a:gd name="connsiteY24" fmla="*/ 5413 h 10000"/>
              <a:gd name="connsiteX25" fmla="*/ 9430 w 9948"/>
              <a:gd name="connsiteY25" fmla="*/ 5496 h 10000"/>
              <a:gd name="connsiteX26" fmla="*/ 9378 w 9948"/>
              <a:gd name="connsiteY26" fmla="*/ 5744 h 10000"/>
              <a:gd name="connsiteX27" fmla="*/ 9326 w 9948"/>
              <a:gd name="connsiteY27" fmla="*/ 5785 h 10000"/>
              <a:gd name="connsiteX28" fmla="*/ 9274 w 9948"/>
              <a:gd name="connsiteY28" fmla="*/ 5826 h 10000"/>
              <a:gd name="connsiteX29" fmla="*/ 9223 w 9948"/>
              <a:gd name="connsiteY29" fmla="*/ 5992 h 10000"/>
              <a:gd name="connsiteX30" fmla="*/ 9171 w 9948"/>
              <a:gd name="connsiteY30" fmla="*/ 6074 h 10000"/>
              <a:gd name="connsiteX31" fmla="*/ 9171 w 9948"/>
              <a:gd name="connsiteY31" fmla="*/ 6157 h 10000"/>
              <a:gd name="connsiteX32" fmla="*/ 9171 w 9948"/>
              <a:gd name="connsiteY32" fmla="*/ 6198 h 10000"/>
              <a:gd name="connsiteX33" fmla="*/ 9171 w 9948"/>
              <a:gd name="connsiteY33" fmla="*/ 6322 h 10000"/>
              <a:gd name="connsiteX34" fmla="*/ 9223 w 9948"/>
              <a:gd name="connsiteY34" fmla="*/ 6446 h 10000"/>
              <a:gd name="connsiteX35" fmla="*/ 9844 w 9948"/>
              <a:gd name="connsiteY35" fmla="*/ 6446 h 10000"/>
              <a:gd name="connsiteX36" fmla="*/ 9844 w 9948"/>
              <a:gd name="connsiteY36" fmla="*/ 6529 h 10000"/>
              <a:gd name="connsiteX37" fmla="*/ 9896 w 9948"/>
              <a:gd name="connsiteY37" fmla="*/ 6818 h 10000"/>
              <a:gd name="connsiteX38" fmla="*/ 9896 w 9948"/>
              <a:gd name="connsiteY38" fmla="*/ 6860 h 10000"/>
              <a:gd name="connsiteX39" fmla="*/ 9896 w 9948"/>
              <a:gd name="connsiteY39" fmla="*/ 6983 h 10000"/>
              <a:gd name="connsiteX40" fmla="*/ 9896 w 9948"/>
              <a:gd name="connsiteY40" fmla="*/ 7025 h 10000"/>
              <a:gd name="connsiteX41" fmla="*/ 9896 w 9948"/>
              <a:gd name="connsiteY41" fmla="*/ 7107 h 10000"/>
              <a:gd name="connsiteX42" fmla="*/ 9896 w 9948"/>
              <a:gd name="connsiteY42" fmla="*/ 7149 h 10000"/>
              <a:gd name="connsiteX43" fmla="*/ 9896 w 9948"/>
              <a:gd name="connsiteY43" fmla="*/ 7190 h 10000"/>
              <a:gd name="connsiteX44" fmla="*/ 9896 w 9948"/>
              <a:gd name="connsiteY44" fmla="*/ 7231 h 10000"/>
              <a:gd name="connsiteX45" fmla="*/ 9948 w 9948"/>
              <a:gd name="connsiteY45" fmla="*/ 7314 h 10000"/>
              <a:gd name="connsiteX46" fmla="*/ 9948 w 9948"/>
              <a:gd name="connsiteY46" fmla="*/ 7438 h 10000"/>
              <a:gd name="connsiteX47" fmla="*/ 9948 w 9948"/>
              <a:gd name="connsiteY47" fmla="*/ 7479 h 10000"/>
              <a:gd name="connsiteX48" fmla="*/ 9948 w 9948"/>
              <a:gd name="connsiteY48" fmla="*/ 7521 h 10000"/>
              <a:gd name="connsiteX49" fmla="*/ 9948 w 9948"/>
              <a:gd name="connsiteY49" fmla="*/ 7562 h 10000"/>
              <a:gd name="connsiteX50" fmla="*/ 9948 w 9948"/>
              <a:gd name="connsiteY50" fmla="*/ 7645 h 10000"/>
              <a:gd name="connsiteX51" fmla="*/ 9948 w 9948"/>
              <a:gd name="connsiteY51" fmla="*/ 7686 h 10000"/>
              <a:gd name="connsiteX52" fmla="*/ 9948 w 9948"/>
              <a:gd name="connsiteY52" fmla="*/ 7727 h 10000"/>
              <a:gd name="connsiteX53" fmla="*/ 9948 w 9948"/>
              <a:gd name="connsiteY53" fmla="*/ 7810 h 10000"/>
              <a:gd name="connsiteX54" fmla="*/ 9948 w 9948"/>
              <a:gd name="connsiteY54" fmla="*/ 8017 h 10000"/>
              <a:gd name="connsiteX55" fmla="*/ 9948 w 9948"/>
              <a:gd name="connsiteY55" fmla="*/ 8058 h 10000"/>
              <a:gd name="connsiteX56" fmla="*/ 9948 w 9948"/>
              <a:gd name="connsiteY56" fmla="*/ 8140 h 10000"/>
              <a:gd name="connsiteX57" fmla="*/ 9948 w 9948"/>
              <a:gd name="connsiteY57" fmla="*/ 8182 h 10000"/>
              <a:gd name="connsiteX58" fmla="*/ 9948 w 9948"/>
              <a:gd name="connsiteY58" fmla="*/ 8223 h 10000"/>
              <a:gd name="connsiteX59" fmla="*/ 9948 w 9948"/>
              <a:gd name="connsiteY59" fmla="*/ 8264 h 10000"/>
              <a:gd name="connsiteX60" fmla="*/ 9948 w 9948"/>
              <a:gd name="connsiteY60" fmla="*/ 8306 h 10000"/>
              <a:gd name="connsiteX61" fmla="*/ 9948 w 9948"/>
              <a:gd name="connsiteY61" fmla="*/ 8388 h 10000"/>
              <a:gd name="connsiteX62" fmla="*/ 9948 w 9948"/>
              <a:gd name="connsiteY62" fmla="*/ 8471 h 10000"/>
              <a:gd name="connsiteX63" fmla="*/ 9948 w 9948"/>
              <a:gd name="connsiteY63" fmla="*/ 8512 h 10000"/>
              <a:gd name="connsiteX64" fmla="*/ 9948 w 9948"/>
              <a:gd name="connsiteY64" fmla="*/ 8554 h 10000"/>
              <a:gd name="connsiteX65" fmla="*/ 9896 w 9948"/>
              <a:gd name="connsiteY65" fmla="*/ 8554 h 10000"/>
              <a:gd name="connsiteX66" fmla="*/ 9896 w 9948"/>
              <a:gd name="connsiteY66" fmla="*/ 8595 h 10000"/>
              <a:gd name="connsiteX67" fmla="*/ 9844 w 9948"/>
              <a:gd name="connsiteY67" fmla="*/ 8636 h 10000"/>
              <a:gd name="connsiteX68" fmla="*/ 9793 w 9948"/>
              <a:gd name="connsiteY68" fmla="*/ 8636 h 10000"/>
              <a:gd name="connsiteX69" fmla="*/ 9793 w 9948"/>
              <a:gd name="connsiteY69" fmla="*/ 8678 h 10000"/>
              <a:gd name="connsiteX70" fmla="*/ 9741 w 9948"/>
              <a:gd name="connsiteY70" fmla="*/ 8678 h 10000"/>
              <a:gd name="connsiteX71" fmla="*/ 9689 w 9948"/>
              <a:gd name="connsiteY71" fmla="*/ 8719 h 10000"/>
              <a:gd name="connsiteX72" fmla="*/ 9637 w 9948"/>
              <a:gd name="connsiteY72" fmla="*/ 8760 h 10000"/>
              <a:gd name="connsiteX73" fmla="*/ 9585 w 9948"/>
              <a:gd name="connsiteY73" fmla="*/ 8760 h 10000"/>
              <a:gd name="connsiteX74" fmla="*/ 9585 w 9948"/>
              <a:gd name="connsiteY74" fmla="*/ 8802 h 10000"/>
              <a:gd name="connsiteX75" fmla="*/ 9533 w 9948"/>
              <a:gd name="connsiteY75" fmla="*/ 8802 h 10000"/>
              <a:gd name="connsiteX76" fmla="*/ 9482 w 9948"/>
              <a:gd name="connsiteY76" fmla="*/ 8802 h 10000"/>
              <a:gd name="connsiteX77" fmla="*/ 9430 w 9948"/>
              <a:gd name="connsiteY77" fmla="*/ 8802 h 10000"/>
              <a:gd name="connsiteX78" fmla="*/ 9378 w 9948"/>
              <a:gd name="connsiteY78" fmla="*/ 8802 h 10000"/>
              <a:gd name="connsiteX79" fmla="*/ 9326 w 9948"/>
              <a:gd name="connsiteY79" fmla="*/ 8802 h 10000"/>
              <a:gd name="connsiteX80" fmla="*/ 9274 w 9948"/>
              <a:gd name="connsiteY80" fmla="*/ 8802 h 10000"/>
              <a:gd name="connsiteX81" fmla="*/ 9223 w 9948"/>
              <a:gd name="connsiteY81" fmla="*/ 8802 h 10000"/>
              <a:gd name="connsiteX82" fmla="*/ 9223 w 9948"/>
              <a:gd name="connsiteY82" fmla="*/ 8843 h 10000"/>
              <a:gd name="connsiteX83" fmla="*/ 9171 w 9948"/>
              <a:gd name="connsiteY83" fmla="*/ 8884 h 10000"/>
              <a:gd name="connsiteX84" fmla="*/ 9119 w 9948"/>
              <a:gd name="connsiteY84" fmla="*/ 8926 h 10000"/>
              <a:gd name="connsiteX85" fmla="*/ 9171 w 9948"/>
              <a:gd name="connsiteY85" fmla="*/ 8926 h 10000"/>
              <a:gd name="connsiteX86" fmla="*/ 9119 w 9948"/>
              <a:gd name="connsiteY86" fmla="*/ 8926 h 10000"/>
              <a:gd name="connsiteX87" fmla="*/ 9067 w 9948"/>
              <a:gd name="connsiteY87" fmla="*/ 8926 h 10000"/>
              <a:gd name="connsiteX88" fmla="*/ 9015 w 9948"/>
              <a:gd name="connsiteY88" fmla="*/ 8967 h 10000"/>
              <a:gd name="connsiteX89" fmla="*/ 8964 w 9948"/>
              <a:gd name="connsiteY89" fmla="*/ 9008 h 10000"/>
              <a:gd name="connsiteX90" fmla="*/ 8912 w 9948"/>
              <a:gd name="connsiteY90" fmla="*/ 9008 h 10000"/>
              <a:gd name="connsiteX91" fmla="*/ 8912 w 9948"/>
              <a:gd name="connsiteY91" fmla="*/ 9050 h 10000"/>
              <a:gd name="connsiteX92" fmla="*/ 8860 w 9948"/>
              <a:gd name="connsiteY92" fmla="*/ 9050 h 10000"/>
              <a:gd name="connsiteX93" fmla="*/ 8860 w 9948"/>
              <a:gd name="connsiteY93" fmla="*/ 9091 h 10000"/>
              <a:gd name="connsiteX94" fmla="*/ 8808 w 9948"/>
              <a:gd name="connsiteY94" fmla="*/ 9091 h 10000"/>
              <a:gd name="connsiteX95" fmla="*/ 8756 w 9948"/>
              <a:gd name="connsiteY95" fmla="*/ 9091 h 10000"/>
              <a:gd name="connsiteX96" fmla="*/ 8704 w 9948"/>
              <a:gd name="connsiteY96" fmla="*/ 9091 h 10000"/>
              <a:gd name="connsiteX97" fmla="*/ 8653 w 9948"/>
              <a:gd name="connsiteY97" fmla="*/ 9091 h 10000"/>
              <a:gd name="connsiteX98" fmla="*/ 8601 w 9948"/>
              <a:gd name="connsiteY98" fmla="*/ 9091 h 10000"/>
              <a:gd name="connsiteX99" fmla="*/ 8601 w 9948"/>
              <a:gd name="connsiteY99" fmla="*/ 9050 h 10000"/>
              <a:gd name="connsiteX100" fmla="*/ 8601 w 9948"/>
              <a:gd name="connsiteY100" fmla="*/ 9008 h 10000"/>
              <a:gd name="connsiteX101" fmla="*/ 8549 w 9948"/>
              <a:gd name="connsiteY101" fmla="*/ 8967 h 10000"/>
              <a:gd name="connsiteX102" fmla="*/ 8549 w 9948"/>
              <a:gd name="connsiteY102" fmla="*/ 8926 h 10000"/>
              <a:gd name="connsiteX103" fmla="*/ 8549 w 9948"/>
              <a:gd name="connsiteY103" fmla="*/ 8884 h 10000"/>
              <a:gd name="connsiteX104" fmla="*/ 8497 w 9948"/>
              <a:gd name="connsiteY104" fmla="*/ 8884 h 10000"/>
              <a:gd name="connsiteX105" fmla="*/ 8445 w 9948"/>
              <a:gd name="connsiteY105" fmla="*/ 8884 h 10000"/>
              <a:gd name="connsiteX106" fmla="*/ 8445 w 9948"/>
              <a:gd name="connsiteY106" fmla="*/ 8843 h 10000"/>
              <a:gd name="connsiteX107" fmla="*/ 8394 w 9948"/>
              <a:gd name="connsiteY107" fmla="*/ 8843 h 10000"/>
              <a:gd name="connsiteX108" fmla="*/ 8342 w 9948"/>
              <a:gd name="connsiteY108" fmla="*/ 8884 h 10000"/>
              <a:gd name="connsiteX109" fmla="*/ 8342 w 9948"/>
              <a:gd name="connsiteY109" fmla="*/ 8926 h 10000"/>
              <a:gd name="connsiteX110" fmla="*/ 8238 w 9948"/>
              <a:gd name="connsiteY110" fmla="*/ 8884 h 10000"/>
              <a:gd name="connsiteX111" fmla="*/ 8238 w 9948"/>
              <a:gd name="connsiteY111" fmla="*/ 8843 h 10000"/>
              <a:gd name="connsiteX112" fmla="*/ 8186 w 9948"/>
              <a:gd name="connsiteY112" fmla="*/ 8843 h 10000"/>
              <a:gd name="connsiteX113" fmla="*/ 8135 w 9948"/>
              <a:gd name="connsiteY113" fmla="*/ 8843 h 10000"/>
              <a:gd name="connsiteX114" fmla="*/ 8083 w 9948"/>
              <a:gd name="connsiteY114" fmla="*/ 8843 h 10000"/>
              <a:gd name="connsiteX115" fmla="*/ 8031 w 9948"/>
              <a:gd name="connsiteY115" fmla="*/ 8843 h 10000"/>
              <a:gd name="connsiteX116" fmla="*/ 7979 w 9948"/>
              <a:gd name="connsiteY116" fmla="*/ 8843 h 10000"/>
              <a:gd name="connsiteX117" fmla="*/ 7979 w 9948"/>
              <a:gd name="connsiteY117" fmla="*/ 8884 h 10000"/>
              <a:gd name="connsiteX118" fmla="*/ 7927 w 9948"/>
              <a:gd name="connsiteY118" fmla="*/ 8884 h 10000"/>
              <a:gd name="connsiteX119" fmla="*/ 7875 w 9948"/>
              <a:gd name="connsiteY119" fmla="*/ 8926 h 10000"/>
              <a:gd name="connsiteX120" fmla="*/ 7824 w 9948"/>
              <a:gd name="connsiteY120" fmla="*/ 8926 h 10000"/>
              <a:gd name="connsiteX121" fmla="*/ 7824 w 9948"/>
              <a:gd name="connsiteY121" fmla="*/ 8884 h 10000"/>
              <a:gd name="connsiteX122" fmla="*/ 7824 w 9948"/>
              <a:gd name="connsiteY122" fmla="*/ 8926 h 10000"/>
              <a:gd name="connsiteX123" fmla="*/ 7772 w 9948"/>
              <a:gd name="connsiteY123" fmla="*/ 8926 h 10000"/>
              <a:gd name="connsiteX124" fmla="*/ 7720 w 9948"/>
              <a:gd name="connsiteY124" fmla="*/ 8967 h 10000"/>
              <a:gd name="connsiteX125" fmla="*/ 7668 w 9948"/>
              <a:gd name="connsiteY125" fmla="*/ 8926 h 10000"/>
              <a:gd name="connsiteX126" fmla="*/ 7616 w 9948"/>
              <a:gd name="connsiteY126" fmla="*/ 8926 h 10000"/>
              <a:gd name="connsiteX127" fmla="*/ 7565 w 9948"/>
              <a:gd name="connsiteY127" fmla="*/ 8926 h 10000"/>
              <a:gd name="connsiteX128" fmla="*/ 7513 w 9948"/>
              <a:gd name="connsiteY128" fmla="*/ 8884 h 10000"/>
              <a:gd name="connsiteX129" fmla="*/ 7461 w 9948"/>
              <a:gd name="connsiteY129" fmla="*/ 8884 h 10000"/>
              <a:gd name="connsiteX130" fmla="*/ 7461 w 9948"/>
              <a:gd name="connsiteY130" fmla="*/ 8926 h 10000"/>
              <a:gd name="connsiteX131" fmla="*/ 7409 w 9948"/>
              <a:gd name="connsiteY131" fmla="*/ 8926 h 10000"/>
              <a:gd name="connsiteX132" fmla="*/ 7357 w 9948"/>
              <a:gd name="connsiteY132" fmla="*/ 8884 h 10000"/>
              <a:gd name="connsiteX133" fmla="*/ 7306 w 9948"/>
              <a:gd name="connsiteY133" fmla="*/ 8884 h 10000"/>
              <a:gd name="connsiteX134" fmla="*/ 7254 w 9948"/>
              <a:gd name="connsiteY134" fmla="*/ 8967 h 10000"/>
              <a:gd name="connsiteX135" fmla="*/ 7202 w 9948"/>
              <a:gd name="connsiteY135" fmla="*/ 8967 h 10000"/>
              <a:gd name="connsiteX136" fmla="*/ 7202 w 9948"/>
              <a:gd name="connsiteY136" fmla="*/ 8926 h 10000"/>
              <a:gd name="connsiteX137" fmla="*/ 7202 w 9948"/>
              <a:gd name="connsiteY137" fmla="*/ 8967 h 10000"/>
              <a:gd name="connsiteX138" fmla="*/ 7202 w 9948"/>
              <a:gd name="connsiteY138" fmla="*/ 9008 h 10000"/>
              <a:gd name="connsiteX139" fmla="*/ 7150 w 9948"/>
              <a:gd name="connsiteY139" fmla="*/ 9008 h 10000"/>
              <a:gd name="connsiteX140" fmla="*/ 7098 w 9948"/>
              <a:gd name="connsiteY140" fmla="*/ 9008 h 10000"/>
              <a:gd name="connsiteX141" fmla="*/ 7150 w 9948"/>
              <a:gd name="connsiteY141" fmla="*/ 9050 h 10000"/>
              <a:gd name="connsiteX142" fmla="*/ 7098 w 9948"/>
              <a:gd name="connsiteY142" fmla="*/ 9091 h 10000"/>
              <a:gd name="connsiteX143" fmla="*/ 7150 w 9948"/>
              <a:gd name="connsiteY143" fmla="*/ 9132 h 10000"/>
              <a:gd name="connsiteX144" fmla="*/ 7202 w 9948"/>
              <a:gd name="connsiteY144" fmla="*/ 9132 h 10000"/>
              <a:gd name="connsiteX145" fmla="*/ 7202 w 9948"/>
              <a:gd name="connsiteY145" fmla="*/ 9174 h 10000"/>
              <a:gd name="connsiteX146" fmla="*/ 7150 w 9948"/>
              <a:gd name="connsiteY146" fmla="*/ 9174 h 10000"/>
              <a:gd name="connsiteX147" fmla="*/ 7098 w 9948"/>
              <a:gd name="connsiteY147" fmla="*/ 9174 h 10000"/>
              <a:gd name="connsiteX148" fmla="*/ 7150 w 9948"/>
              <a:gd name="connsiteY148" fmla="*/ 9215 h 10000"/>
              <a:gd name="connsiteX149" fmla="*/ 7150 w 9948"/>
              <a:gd name="connsiteY149" fmla="*/ 9256 h 10000"/>
              <a:gd name="connsiteX150" fmla="*/ 7098 w 9948"/>
              <a:gd name="connsiteY150" fmla="*/ 9256 h 10000"/>
              <a:gd name="connsiteX151" fmla="*/ 7098 w 9948"/>
              <a:gd name="connsiteY151" fmla="*/ 9298 h 10000"/>
              <a:gd name="connsiteX152" fmla="*/ 7046 w 9948"/>
              <a:gd name="connsiteY152" fmla="*/ 9339 h 10000"/>
              <a:gd name="connsiteX153" fmla="*/ 7098 w 9948"/>
              <a:gd name="connsiteY153" fmla="*/ 9380 h 10000"/>
              <a:gd name="connsiteX154" fmla="*/ 7150 w 9948"/>
              <a:gd name="connsiteY154" fmla="*/ 9380 h 10000"/>
              <a:gd name="connsiteX155" fmla="*/ 7150 w 9948"/>
              <a:gd name="connsiteY155" fmla="*/ 9421 h 10000"/>
              <a:gd name="connsiteX156" fmla="*/ 7150 w 9948"/>
              <a:gd name="connsiteY156" fmla="*/ 9463 h 10000"/>
              <a:gd name="connsiteX157" fmla="*/ 7098 w 9948"/>
              <a:gd name="connsiteY157" fmla="*/ 9463 h 10000"/>
              <a:gd name="connsiteX158" fmla="*/ 7046 w 9948"/>
              <a:gd name="connsiteY158" fmla="*/ 9504 h 10000"/>
              <a:gd name="connsiteX159" fmla="*/ 7098 w 9948"/>
              <a:gd name="connsiteY159" fmla="*/ 9545 h 10000"/>
              <a:gd name="connsiteX160" fmla="*/ 7098 w 9948"/>
              <a:gd name="connsiteY160" fmla="*/ 9587 h 10000"/>
              <a:gd name="connsiteX161" fmla="*/ 7098 w 9948"/>
              <a:gd name="connsiteY161" fmla="*/ 9628 h 10000"/>
              <a:gd name="connsiteX162" fmla="*/ 7098 w 9948"/>
              <a:gd name="connsiteY162" fmla="*/ 9669 h 10000"/>
              <a:gd name="connsiteX163" fmla="*/ 7046 w 9948"/>
              <a:gd name="connsiteY163" fmla="*/ 9669 h 10000"/>
              <a:gd name="connsiteX164" fmla="*/ 7046 w 9948"/>
              <a:gd name="connsiteY164" fmla="*/ 9711 h 10000"/>
              <a:gd name="connsiteX165" fmla="*/ 6995 w 9948"/>
              <a:gd name="connsiteY165" fmla="*/ 9711 h 10000"/>
              <a:gd name="connsiteX166" fmla="*/ 6891 w 9948"/>
              <a:gd name="connsiteY166" fmla="*/ 9711 h 10000"/>
              <a:gd name="connsiteX167" fmla="*/ 6891 w 9948"/>
              <a:gd name="connsiteY167" fmla="*/ 9752 h 10000"/>
              <a:gd name="connsiteX168" fmla="*/ 6891 w 9948"/>
              <a:gd name="connsiteY168" fmla="*/ 9793 h 10000"/>
              <a:gd name="connsiteX169" fmla="*/ 6891 w 9948"/>
              <a:gd name="connsiteY169" fmla="*/ 9835 h 10000"/>
              <a:gd name="connsiteX170" fmla="*/ 6891 w 9948"/>
              <a:gd name="connsiteY170" fmla="*/ 9793 h 10000"/>
              <a:gd name="connsiteX171" fmla="*/ 6839 w 9948"/>
              <a:gd name="connsiteY171" fmla="*/ 9793 h 10000"/>
              <a:gd name="connsiteX172" fmla="*/ 6787 w 9948"/>
              <a:gd name="connsiteY172" fmla="*/ 9793 h 10000"/>
              <a:gd name="connsiteX173" fmla="*/ 6787 w 9948"/>
              <a:gd name="connsiteY173" fmla="*/ 9835 h 10000"/>
              <a:gd name="connsiteX174" fmla="*/ 6787 w 9948"/>
              <a:gd name="connsiteY174" fmla="*/ 9876 h 10000"/>
              <a:gd name="connsiteX175" fmla="*/ 6787 w 9948"/>
              <a:gd name="connsiteY175" fmla="*/ 9917 h 10000"/>
              <a:gd name="connsiteX176" fmla="*/ 6684 w 9948"/>
              <a:gd name="connsiteY176" fmla="*/ 9917 h 10000"/>
              <a:gd name="connsiteX177" fmla="*/ 6684 w 9948"/>
              <a:gd name="connsiteY177" fmla="*/ 9959 h 10000"/>
              <a:gd name="connsiteX178" fmla="*/ 6632 w 9948"/>
              <a:gd name="connsiteY178" fmla="*/ 10000 h 10000"/>
              <a:gd name="connsiteX179" fmla="*/ 6493 w 9948"/>
              <a:gd name="connsiteY179" fmla="*/ 9917 h 10000"/>
              <a:gd name="connsiteX180" fmla="*/ 0 w 9948"/>
              <a:gd name="connsiteY180" fmla="*/ 5826 h 10000"/>
              <a:gd name="connsiteX181" fmla="*/ 155 w 9948"/>
              <a:gd name="connsiteY181" fmla="*/ 5909 h 10000"/>
              <a:gd name="connsiteX182" fmla="*/ 363 w 9948"/>
              <a:gd name="connsiteY182" fmla="*/ 5826 h 10000"/>
              <a:gd name="connsiteX183" fmla="*/ 1451 w 9948"/>
              <a:gd name="connsiteY183" fmla="*/ 5826 h 10000"/>
              <a:gd name="connsiteX184" fmla="*/ 1606 w 9948"/>
              <a:gd name="connsiteY184" fmla="*/ 5785 h 10000"/>
              <a:gd name="connsiteX185" fmla="*/ 1658 w 9948"/>
              <a:gd name="connsiteY185" fmla="*/ 5785 h 10000"/>
              <a:gd name="connsiteX186" fmla="*/ 2176 w 9948"/>
              <a:gd name="connsiteY186" fmla="*/ 5248 h 10000"/>
              <a:gd name="connsiteX187" fmla="*/ 2280 w 9948"/>
              <a:gd name="connsiteY187" fmla="*/ 5165 h 10000"/>
              <a:gd name="connsiteX188" fmla="*/ 2746 w 9948"/>
              <a:gd name="connsiteY188" fmla="*/ 4752 h 10000"/>
              <a:gd name="connsiteX189" fmla="*/ 3005 w 9948"/>
              <a:gd name="connsiteY189" fmla="*/ 4504 h 10000"/>
              <a:gd name="connsiteX190" fmla="*/ 3160 w 9948"/>
              <a:gd name="connsiteY190" fmla="*/ 4380 h 10000"/>
              <a:gd name="connsiteX191" fmla="*/ 3575 w 9948"/>
              <a:gd name="connsiteY191" fmla="*/ 3760 h 10000"/>
              <a:gd name="connsiteX192" fmla="*/ 4093 w 9948"/>
              <a:gd name="connsiteY192" fmla="*/ 3512 h 10000"/>
              <a:gd name="connsiteX193" fmla="*/ 4974 w 9948"/>
              <a:gd name="connsiteY193" fmla="*/ 2810 h 10000"/>
              <a:gd name="connsiteX194" fmla="*/ 4818 w 9948"/>
              <a:gd name="connsiteY194" fmla="*/ 2562 h 10000"/>
              <a:gd name="connsiteX195" fmla="*/ 4767 w 9948"/>
              <a:gd name="connsiteY195" fmla="*/ 2397 h 10000"/>
              <a:gd name="connsiteX196" fmla="*/ 4767 w 9948"/>
              <a:gd name="connsiteY196" fmla="*/ 1240 h 10000"/>
              <a:gd name="connsiteX197" fmla="*/ 4093 w 9948"/>
              <a:gd name="connsiteY197" fmla="*/ 744 h 10000"/>
              <a:gd name="connsiteX198" fmla="*/ 4922 w 9948"/>
              <a:gd name="connsiteY198" fmla="*/ 744 h 10000"/>
              <a:gd name="connsiteX199" fmla="*/ 5751 w 9948"/>
              <a:gd name="connsiteY199" fmla="*/ 744 h 10000"/>
              <a:gd name="connsiteX200" fmla="*/ 5751 w 9948"/>
              <a:gd name="connsiteY200" fmla="*/ 702 h 10000"/>
              <a:gd name="connsiteX201" fmla="*/ 5751 w 9948"/>
              <a:gd name="connsiteY201" fmla="*/ 661 h 10000"/>
              <a:gd name="connsiteX202" fmla="*/ 5751 w 9948"/>
              <a:gd name="connsiteY202" fmla="*/ 620 h 10000"/>
              <a:gd name="connsiteX203" fmla="*/ 5751 w 9948"/>
              <a:gd name="connsiteY203" fmla="*/ 579 h 10000"/>
              <a:gd name="connsiteX204" fmla="*/ 5803 w 9948"/>
              <a:gd name="connsiteY204" fmla="*/ 537 h 10000"/>
              <a:gd name="connsiteX205" fmla="*/ 5803 w 9948"/>
              <a:gd name="connsiteY205" fmla="*/ 496 h 10000"/>
              <a:gd name="connsiteX206" fmla="*/ 5803 w 9948"/>
              <a:gd name="connsiteY206" fmla="*/ 455 h 10000"/>
              <a:gd name="connsiteX207" fmla="*/ 5803 w 9948"/>
              <a:gd name="connsiteY207" fmla="*/ 413 h 10000"/>
              <a:gd name="connsiteX208" fmla="*/ 5803 w 9948"/>
              <a:gd name="connsiteY208" fmla="*/ 372 h 10000"/>
              <a:gd name="connsiteX209" fmla="*/ 5803 w 9948"/>
              <a:gd name="connsiteY209" fmla="*/ 331 h 10000"/>
              <a:gd name="connsiteX210" fmla="*/ 5751 w 9948"/>
              <a:gd name="connsiteY210" fmla="*/ 331 h 10000"/>
              <a:gd name="connsiteX211" fmla="*/ 5751 w 9948"/>
              <a:gd name="connsiteY211" fmla="*/ 289 h 10000"/>
              <a:gd name="connsiteX212" fmla="*/ 5751 w 9948"/>
              <a:gd name="connsiteY212" fmla="*/ 248 h 10000"/>
              <a:gd name="connsiteX213" fmla="*/ 5751 w 9948"/>
              <a:gd name="connsiteY213" fmla="*/ 207 h 10000"/>
              <a:gd name="connsiteX214" fmla="*/ 5751 w 9948"/>
              <a:gd name="connsiteY214" fmla="*/ 165 h 10000"/>
              <a:gd name="connsiteX215" fmla="*/ 5751 w 9948"/>
              <a:gd name="connsiteY215" fmla="*/ 124 h 10000"/>
              <a:gd name="connsiteX216" fmla="*/ 5751 w 9948"/>
              <a:gd name="connsiteY216" fmla="*/ 83 h 10000"/>
              <a:gd name="connsiteX217" fmla="*/ 5751 w 9948"/>
              <a:gd name="connsiteY217" fmla="*/ 41 h 10000"/>
              <a:gd name="connsiteX218" fmla="*/ 5751 w 9948"/>
              <a:gd name="connsiteY218" fmla="*/ 0 h 10000"/>
              <a:gd name="connsiteX0" fmla="*/ 5781 w 10000"/>
              <a:gd name="connsiteY0" fmla="*/ 0 h 10000"/>
              <a:gd name="connsiteX1" fmla="*/ 7344 w 10000"/>
              <a:gd name="connsiteY1" fmla="*/ 41 h 10000"/>
              <a:gd name="connsiteX2" fmla="*/ 7500 w 10000"/>
              <a:gd name="connsiteY2" fmla="*/ 41 h 10000"/>
              <a:gd name="connsiteX3" fmla="*/ 7344 w 10000"/>
              <a:gd name="connsiteY3" fmla="*/ 165 h 10000"/>
              <a:gd name="connsiteX4" fmla="*/ 7292 w 10000"/>
              <a:gd name="connsiteY4" fmla="*/ 537 h 10000"/>
              <a:gd name="connsiteX5" fmla="*/ 7187 w 10000"/>
              <a:gd name="connsiteY5" fmla="*/ 1116 h 10000"/>
              <a:gd name="connsiteX6" fmla="*/ 7135 w 10000"/>
              <a:gd name="connsiteY6" fmla="*/ 1157 h 10000"/>
              <a:gd name="connsiteX7" fmla="*/ 6979 w 10000"/>
              <a:gd name="connsiteY7" fmla="*/ 1488 h 10000"/>
              <a:gd name="connsiteX8" fmla="*/ 7395 w 10000"/>
              <a:gd name="connsiteY8" fmla="*/ 3017 h 10000"/>
              <a:gd name="connsiteX9" fmla="*/ 7500 w 10000"/>
              <a:gd name="connsiteY9" fmla="*/ 3306 h 10000"/>
              <a:gd name="connsiteX10" fmla="*/ 7344 w 10000"/>
              <a:gd name="connsiteY10" fmla="*/ 3554 h 10000"/>
              <a:gd name="connsiteX11" fmla="*/ 8021 w 10000"/>
              <a:gd name="connsiteY11" fmla="*/ 3719 h 10000"/>
              <a:gd name="connsiteX12" fmla="*/ 8489 w 10000"/>
              <a:gd name="connsiteY12" fmla="*/ 4174 h 10000"/>
              <a:gd name="connsiteX13" fmla="*/ 8594 w 10000"/>
              <a:gd name="connsiteY13" fmla="*/ 4256 h 10000"/>
              <a:gd name="connsiteX14" fmla="*/ 8906 w 10000"/>
              <a:gd name="connsiteY14" fmla="*/ 4463 h 10000"/>
              <a:gd name="connsiteX15" fmla="*/ 9114 w 10000"/>
              <a:gd name="connsiteY15" fmla="*/ 4711 h 10000"/>
              <a:gd name="connsiteX16" fmla="*/ 9219 w 10000"/>
              <a:gd name="connsiteY16" fmla="*/ 4835 h 10000"/>
              <a:gd name="connsiteX17" fmla="*/ 9427 w 10000"/>
              <a:gd name="connsiteY17" fmla="*/ 4835 h 10000"/>
              <a:gd name="connsiteX18" fmla="*/ 9427 w 10000"/>
              <a:gd name="connsiteY18" fmla="*/ 4876 h 10000"/>
              <a:gd name="connsiteX19" fmla="*/ 9479 w 10000"/>
              <a:gd name="connsiteY19" fmla="*/ 4959 h 10000"/>
              <a:gd name="connsiteX20" fmla="*/ 9479 w 10000"/>
              <a:gd name="connsiteY20" fmla="*/ 5000 h 10000"/>
              <a:gd name="connsiteX21" fmla="*/ 9532 w 10000"/>
              <a:gd name="connsiteY21" fmla="*/ 5165 h 10000"/>
              <a:gd name="connsiteX22" fmla="*/ 9532 w 10000"/>
              <a:gd name="connsiteY22" fmla="*/ 5207 h 10000"/>
              <a:gd name="connsiteX23" fmla="*/ 9532 w 10000"/>
              <a:gd name="connsiteY23" fmla="*/ 5331 h 10000"/>
              <a:gd name="connsiteX24" fmla="*/ 9532 w 10000"/>
              <a:gd name="connsiteY24" fmla="*/ 5413 h 10000"/>
              <a:gd name="connsiteX25" fmla="*/ 9479 w 10000"/>
              <a:gd name="connsiteY25" fmla="*/ 5496 h 10000"/>
              <a:gd name="connsiteX26" fmla="*/ 9427 w 10000"/>
              <a:gd name="connsiteY26" fmla="*/ 5744 h 10000"/>
              <a:gd name="connsiteX27" fmla="*/ 9375 w 10000"/>
              <a:gd name="connsiteY27" fmla="*/ 5785 h 10000"/>
              <a:gd name="connsiteX28" fmla="*/ 9322 w 10000"/>
              <a:gd name="connsiteY28" fmla="*/ 5826 h 10000"/>
              <a:gd name="connsiteX29" fmla="*/ 9271 w 10000"/>
              <a:gd name="connsiteY29" fmla="*/ 5992 h 10000"/>
              <a:gd name="connsiteX30" fmla="*/ 9219 w 10000"/>
              <a:gd name="connsiteY30" fmla="*/ 6074 h 10000"/>
              <a:gd name="connsiteX31" fmla="*/ 9219 w 10000"/>
              <a:gd name="connsiteY31" fmla="*/ 6157 h 10000"/>
              <a:gd name="connsiteX32" fmla="*/ 9219 w 10000"/>
              <a:gd name="connsiteY32" fmla="*/ 6198 h 10000"/>
              <a:gd name="connsiteX33" fmla="*/ 9219 w 10000"/>
              <a:gd name="connsiteY33" fmla="*/ 6322 h 10000"/>
              <a:gd name="connsiteX34" fmla="*/ 9271 w 10000"/>
              <a:gd name="connsiteY34" fmla="*/ 6446 h 10000"/>
              <a:gd name="connsiteX35" fmla="*/ 9895 w 10000"/>
              <a:gd name="connsiteY35" fmla="*/ 6446 h 10000"/>
              <a:gd name="connsiteX36" fmla="*/ 9895 w 10000"/>
              <a:gd name="connsiteY36" fmla="*/ 6529 h 10000"/>
              <a:gd name="connsiteX37" fmla="*/ 9948 w 10000"/>
              <a:gd name="connsiteY37" fmla="*/ 6818 h 10000"/>
              <a:gd name="connsiteX38" fmla="*/ 9948 w 10000"/>
              <a:gd name="connsiteY38" fmla="*/ 6860 h 10000"/>
              <a:gd name="connsiteX39" fmla="*/ 9948 w 10000"/>
              <a:gd name="connsiteY39" fmla="*/ 6983 h 10000"/>
              <a:gd name="connsiteX40" fmla="*/ 9948 w 10000"/>
              <a:gd name="connsiteY40" fmla="*/ 7025 h 10000"/>
              <a:gd name="connsiteX41" fmla="*/ 9948 w 10000"/>
              <a:gd name="connsiteY41" fmla="*/ 7107 h 10000"/>
              <a:gd name="connsiteX42" fmla="*/ 9948 w 10000"/>
              <a:gd name="connsiteY42" fmla="*/ 7149 h 10000"/>
              <a:gd name="connsiteX43" fmla="*/ 9948 w 10000"/>
              <a:gd name="connsiteY43" fmla="*/ 7190 h 10000"/>
              <a:gd name="connsiteX44" fmla="*/ 9948 w 10000"/>
              <a:gd name="connsiteY44" fmla="*/ 7231 h 10000"/>
              <a:gd name="connsiteX45" fmla="*/ 10000 w 10000"/>
              <a:gd name="connsiteY45" fmla="*/ 7314 h 10000"/>
              <a:gd name="connsiteX46" fmla="*/ 10000 w 10000"/>
              <a:gd name="connsiteY46" fmla="*/ 7438 h 10000"/>
              <a:gd name="connsiteX47" fmla="*/ 10000 w 10000"/>
              <a:gd name="connsiteY47" fmla="*/ 7479 h 10000"/>
              <a:gd name="connsiteX48" fmla="*/ 10000 w 10000"/>
              <a:gd name="connsiteY48" fmla="*/ 7521 h 10000"/>
              <a:gd name="connsiteX49" fmla="*/ 10000 w 10000"/>
              <a:gd name="connsiteY49" fmla="*/ 7562 h 10000"/>
              <a:gd name="connsiteX50" fmla="*/ 10000 w 10000"/>
              <a:gd name="connsiteY50" fmla="*/ 7645 h 10000"/>
              <a:gd name="connsiteX51" fmla="*/ 10000 w 10000"/>
              <a:gd name="connsiteY51" fmla="*/ 7686 h 10000"/>
              <a:gd name="connsiteX52" fmla="*/ 10000 w 10000"/>
              <a:gd name="connsiteY52" fmla="*/ 7727 h 10000"/>
              <a:gd name="connsiteX53" fmla="*/ 10000 w 10000"/>
              <a:gd name="connsiteY53" fmla="*/ 7810 h 10000"/>
              <a:gd name="connsiteX54" fmla="*/ 10000 w 10000"/>
              <a:gd name="connsiteY54" fmla="*/ 8017 h 10000"/>
              <a:gd name="connsiteX55" fmla="*/ 10000 w 10000"/>
              <a:gd name="connsiteY55" fmla="*/ 8058 h 10000"/>
              <a:gd name="connsiteX56" fmla="*/ 10000 w 10000"/>
              <a:gd name="connsiteY56" fmla="*/ 8140 h 10000"/>
              <a:gd name="connsiteX57" fmla="*/ 10000 w 10000"/>
              <a:gd name="connsiteY57" fmla="*/ 8182 h 10000"/>
              <a:gd name="connsiteX58" fmla="*/ 10000 w 10000"/>
              <a:gd name="connsiteY58" fmla="*/ 8223 h 10000"/>
              <a:gd name="connsiteX59" fmla="*/ 10000 w 10000"/>
              <a:gd name="connsiteY59" fmla="*/ 8264 h 10000"/>
              <a:gd name="connsiteX60" fmla="*/ 10000 w 10000"/>
              <a:gd name="connsiteY60" fmla="*/ 8306 h 10000"/>
              <a:gd name="connsiteX61" fmla="*/ 10000 w 10000"/>
              <a:gd name="connsiteY61" fmla="*/ 8388 h 10000"/>
              <a:gd name="connsiteX62" fmla="*/ 10000 w 10000"/>
              <a:gd name="connsiteY62" fmla="*/ 8471 h 10000"/>
              <a:gd name="connsiteX63" fmla="*/ 10000 w 10000"/>
              <a:gd name="connsiteY63" fmla="*/ 8512 h 10000"/>
              <a:gd name="connsiteX64" fmla="*/ 10000 w 10000"/>
              <a:gd name="connsiteY64" fmla="*/ 8554 h 10000"/>
              <a:gd name="connsiteX65" fmla="*/ 9948 w 10000"/>
              <a:gd name="connsiteY65" fmla="*/ 8554 h 10000"/>
              <a:gd name="connsiteX66" fmla="*/ 9948 w 10000"/>
              <a:gd name="connsiteY66" fmla="*/ 8595 h 10000"/>
              <a:gd name="connsiteX67" fmla="*/ 9895 w 10000"/>
              <a:gd name="connsiteY67" fmla="*/ 8636 h 10000"/>
              <a:gd name="connsiteX68" fmla="*/ 9844 w 10000"/>
              <a:gd name="connsiteY68" fmla="*/ 8636 h 10000"/>
              <a:gd name="connsiteX69" fmla="*/ 9844 w 10000"/>
              <a:gd name="connsiteY69" fmla="*/ 8678 h 10000"/>
              <a:gd name="connsiteX70" fmla="*/ 9792 w 10000"/>
              <a:gd name="connsiteY70" fmla="*/ 8678 h 10000"/>
              <a:gd name="connsiteX71" fmla="*/ 9740 w 10000"/>
              <a:gd name="connsiteY71" fmla="*/ 8719 h 10000"/>
              <a:gd name="connsiteX72" fmla="*/ 9687 w 10000"/>
              <a:gd name="connsiteY72" fmla="*/ 8760 h 10000"/>
              <a:gd name="connsiteX73" fmla="*/ 9635 w 10000"/>
              <a:gd name="connsiteY73" fmla="*/ 8760 h 10000"/>
              <a:gd name="connsiteX74" fmla="*/ 9635 w 10000"/>
              <a:gd name="connsiteY74" fmla="*/ 8802 h 10000"/>
              <a:gd name="connsiteX75" fmla="*/ 9583 w 10000"/>
              <a:gd name="connsiteY75" fmla="*/ 8802 h 10000"/>
              <a:gd name="connsiteX76" fmla="*/ 9532 w 10000"/>
              <a:gd name="connsiteY76" fmla="*/ 8802 h 10000"/>
              <a:gd name="connsiteX77" fmla="*/ 9479 w 10000"/>
              <a:gd name="connsiteY77" fmla="*/ 8802 h 10000"/>
              <a:gd name="connsiteX78" fmla="*/ 9427 w 10000"/>
              <a:gd name="connsiteY78" fmla="*/ 8802 h 10000"/>
              <a:gd name="connsiteX79" fmla="*/ 9375 w 10000"/>
              <a:gd name="connsiteY79" fmla="*/ 8802 h 10000"/>
              <a:gd name="connsiteX80" fmla="*/ 9322 w 10000"/>
              <a:gd name="connsiteY80" fmla="*/ 8802 h 10000"/>
              <a:gd name="connsiteX81" fmla="*/ 9271 w 10000"/>
              <a:gd name="connsiteY81" fmla="*/ 8802 h 10000"/>
              <a:gd name="connsiteX82" fmla="*/ 9271 w 10000"/>
              <a:gd name="connsiteY82" fmla="*/ 8843 h 10000"/>
              <a:gd name="connsiteX83" fmla="*/ 9219 w 10000"/>
              <a:gd name="connsiteY83" fmla="*/ 8884 h 10000"/>
              <a:gd name="connsiteX84" fmla="*/ 9167 w 10000"/>
              <a:gd name="connsiteY84" fmla="*/ 8926 h 10000"/>
              <a:gd name="connsiteX85" fmla="*/ 9219 w 10000"/>
              <a:gd name="connsiteY85" fmla="*/ 8926 h 10000"/>
              <a:gd name="connsiteX86" fmla="*/ 9167 w 10000"/>
              <a:gd name="connsiteY86" fmla="*/ 8926 h 10000"/>
              <a:gd name="connsiteX87" fmla="*/ 9114 w 10000"/>
              <a:gd name="connsiteY87" fmla="*/ 8926 h 10000"/>
              <a:gd name="connsiteX88" fmla="*/ 9062 w 10000"/>
              <a:gd name="connsiteY88" fmla="*/ 8967 h 10000"/>
              <a:gd name="connsiteX89" fmla="*/ 9011 w 10000"/>
              <a:gd name="connsiteY89" fmla="*/ 9008 h 10000"/>
              <a:gd name="connsiteX90" fmla="*/ 8959 w 10000"/>
              <a:gd name="connsiteY90" fmla="*/ 9008 h 10000"/>
              <a:gd name="connsiteX91" fmla="*/ 8959 w 10000"/>
              <a:gd name="connsiteY91" fmla="*/ 9050 h 10000"/>
              <a:gd name="connsiteX92" fmla="*/ 8906 w 10000"/>
              <a:gd name="connsiteY92" fmla="*/ 9050 h 10000"/>
              <a:gd name="connsiteX93" fmla="*/ 8906 w 10000"/>
              <a:gd name="connsiteY93" fmla="*/ 9091 h 10000"/>
              <a:gd name="connsiteX94" fmla="*/ 8854 w 10000"/>
              <a:gd name="connsiteY94" fmla="*/ 9091 h 10000"/>
              <a:gd name="connsiteX95" fmla="*/ 8802 w 10000"/>
              <a:gd name="connsiteY95" fmla="*/ 9091 h 10000"/>
              <a:gd name="connsiteX96" fmla="*/ 8749 w 10000"/>
              <a:gd name="connsiteY96" fmla="*/ 9091 h 10000"/>
              <a:gd name="connsiteX97" fmla="*/ 8698 w 10000"/>
              <a:gd name="connsiteY97" fmla="*/ 9091 h 10000"/>
              <a:gd name="connsiteX98" fmla="*/ 8646 w 10000"/>
              <a:gd name="connsiteY98" fmla="*/ 9091 h 10000"/>
              <a:gd name="connsiteX99" fmla="*/ 8646 w 10000"/>
              <a:gd name="connsiteY99" fmla="*/ 9050 h 10000"/>
              <a:gd name="connsiteX100" fmla="*/ 8646 w 10000"/>
              <a:gd name="connsiteY100" fmla="*/ 9008 h 10000"/>
              <a:gd name="connsiteX101" fmla="*/ 8594 w 10000"/>
              <a:gd name="connsiteY101" fmla="*/ 8967 h 10000"/>
              <a:gd name="connsiteX102" fmla="*/ 8594 w 10000"/>
              <a:gd name="connsiteY102" fmla="*/ 8926 h 10000"/>
              <a:gd name="connsiteX103" fmla="*/ 8594 w 10000"/>
              <a:gd name="connsiteY103" fmla="*/ 8884 h 10000"/>
              <a:gd name="connsiteX104" fmla="*/ 8541 w 10000"/>
              <a:gd name="connsiteY104" fmla="*/ 8884 h 10000"/>
              <a:gd name="connsiteX105" fmla="*/ 8489 w 10000"/>
              <a:gd name="connsiteY105" fmla="*/ 8884 h 10000"/>
              <a:gd name="connsiteX106" fmla="*/ 8489 w 10000"/>
              <a:gd name="connsiteY106" fmla="*/ 8843 h 10000"/>
              <a:gd name="connsiteX107" fmla="*/ 8438 w 10000"/>
              <a:gd name="connsiteY107" fmla="*/ 8843 h 10000"/>
              <a:gd name="connsiteX108" fmla="*/ 8386 w 10000"/>
              <a:gd name="connsiteY108" fmla="*/ 8884 h 10000"/>
              <a:gd name="connsiteX109" fmla="*/ 8386 w 10000"/>
              <a:gd name="connsiteY109" fmla="*/ 8926 h 10000"/>
              <a:gd name="connsiteX110" fmla="*/ 8281 w 10000"/>
              <a:gd name="connsiteY110" fmla="*/ 8884 h 10000"/>
              <a:gd name="connsiteX111" fmla="*/ 8281 w 10000"/>
              <a:gd name="connsiteY111" fmla="*/ 8843 h 10000"/>
              <a:gd name="connsiteX112" fmla="*/ 8229 w 10000"/>
              <a:gd name="connsiteY112" fmla="*/ 8843 h 10000"/>
              <a:gd name="connsiteX113" fmla="*/ 8178 w 10000"/>
              <a:gd name="connsiteY113" fmla="*/ 8843 h 10000"/>
              <a:gd name="connsiteX114" fmla="*/ 8125 w 10000"/>
              <a:gd name="connsiteY114" fmla="*/ 8843 h 10000"/>
              <a:gd name="connsiteX115" fmla="*/ 8073 w 10000"/>
              <a:gd name="connsiteY115" fmla="*/ 8843 h 10000"/>
              <a:gd name="connsiteX116" fmla="*/ 8021 w 10000"/>
              <a:gd name="connsiteY116" fmla="*/ 8843 h 10000"/>
              <a:gd name="connsiteX117" fmla="*/ 8021 w 10000"/>
              <a:gd name="connsiteY117" fmla="*/ 8884 h 10000"/>
              <a:gd name="connsiteX118" fmla="*/ 7968 w 10000"/>
              <a:gd name="connsiteY118" fmla="*/ 8884 h 10000"/>
              <a:gd name="connsiteX119" fmla="*/ 7916 w 10000"/>
              <a:gd name="connsiteY119" fmla="*/ 8926 h 10000"/>
              <a:gd name="connsiteX120" fmla="*/ 7865 w 10000"/>
              <a:gd name="connsiteY120" fmla="*/ 8926 h 10000"/>
              <a:gd name="connsiteX121" fmla="*/ 7865 w 10000"/>
              <a:gd name="connsiteY121" fmla="*/ 8884 h 10000"/>
              <a:gd name="connsiteX122" fmla="*/ 7865 w 10000"/>
              <a:gd name="connsiteY122" fmla="*/ 8926 h 10000"/>
              <a:gd name="connsiteX123" fmla="*/ 7813 w 10000"/>
              <a:gd name="connsiteY123" fmla="*/ 8926 h 10000"/>
              <a:gd name="connsiteX124" fmla="*/ 7760 w 10000"/>
              <a:gd name="connsiteY124" fmla="*/ 8967 h 10000"/>
              <a:gd name="connsiteX125" fmla="*/ 7708 w 10000"/>
              <a:gd name="connsiteY125" fmla="*/ 8926 h 10000"/>
              <a:gd name="connsiteX126" fmla="*/ 7656 w 10000"/>
              <a:gd name="connsiteY126" fmla="*/ 8926 h 10000"/>
              <a:gd name="connsiteX127" fmla="*/ 7605 w 10000"/>
              <a:gd name="connsiteY127" fmla="*/ 8926 h 10000"/>
              <a:gd name="connsiteX128" fmla="*/ 7552 w 10000"/>
              <a:gd name="connsiteY128" fmla="*/ 8884 h 10000"/>
              <a:gd name="connsiteX129" fmla="*/ 7500 w 10000"/>
              <a:gd name="connsiteY129" fmla="*/ 8884 h 10000"/>
              <a:gd name="connsiteX130" fmla="*/ 7500 w 10000"/>
              <a:gd name="connsiteY130" fmla="*/ 8926 h 10000"/>
              <a:gd name="connsiteX131" fmla="*/ 7448 w 10000"/>
              <a:gd name="connsiteY131" fmla="*/ 8926 h 10000"/>
              <a:gd name="connsiteX132" fmla="*/ 7395 w 10000"/>
              <a:gd name="connsiteY132" fmla="*/ 8884 h 10000"/>
              <a:gd name="connsiteX133" fmla="*/ 7344 w 10000"/>
              <a:gd name="connsiteY133" fmla="*/ 8884 h 10000"/>
              <a:gd name="connsiteX134" fmla="*/ 7292 w 10000"/>
              <a:gd name="connsiteY134" fmla="*/ 8967 h 10000"/>
              <a:gd name="connsiteX135" fmla="*/ 7240 w 10000"/>
              <a:gd name="connsiteY135" fmla="*/ 8967 h 10000"/>
              <a:gd name="connsiteX136" fmla="*/ 7240 w 10000"/>
              <a:gd name="connsiteY136" fmla="*/ 8926 h 10000"/>
              <a:gd name="connsiteX137" fmla="*/ 7240 w 10000"/>
              <a:gd name="connsiteY137" fmla="*/ 8967 h 10000"/>
              <a:gd name="connsiteX138" fmla="*/ 7240 w 10000"/>
              <a:gd name="connsiteY138" fmla="*/ 9008 h 10000"/>
              <a:gd name="connsiteX139" fmla="*/ 7187 w 10000"/>
              <a:gd name="connsiteY139" fmla="*/ 9008 h 10000"/>
              <a:gd name="connsiteX140" fmla="*/ 7135 w 10000"/>
              <a:gd name="connsiteY140" fmla="*/ 9008 h 10000"/>
              <a:gd name="connsiteX141" fmla="*/ 7187 w 10000"/>
              <a:gd name="connsiteY141" fmla="*/ 9050 h 10000"/>
              <a:gd name="connsiteX142" fmla="*/ 7135 w 10000"/>
              <a:gd name="connsiteY142" fmla="*/ 9091 h 10000"/>
              <a:gd name="connsiteX143" fmla="*/ 7187 w 10000"/>
              <a:gd name="connsiteY143" fmla="*/ 9132 h 10000"/>
              <a:gd name="connsiteX144" fmla="*/ 7240 w 10000"/>
              <a:gd name="connsiteY144" fmla="*/ 9132 h 10000"/>
              <a:gd name="connsiteX145" fmla="*/ 7240 w 10000"/>
              <a:gd name="connsiteY145" fmla="*/ 9174 h 10000"/>
              <a:gd name="connsiteX146" fmla="*/ 7187 w 10000"/>
              <a:gd name="connsiteY146" fmla="*/ 9174 h 10000"/>
              <a:gd name="connsiteX147" fmla="*/ 7135 w 10000"/>
              <a:gd name="connsiteY147" fmla="*/ 9174 h 10000"/>
              <a:gd name="connsiteX148" fmla="*/ 7187 w 10000"/>
              <a:gd name="connsiteY148" fmla="*/ 9215 h 10000"/>
              <a:gd name="connsiteX149" fmla="*/ 7187 w 10000"/>
              <a:gd name="connsiteY149" fmla="*/ 9256 h 10000"/>
              <a:gd name="connsiteX150" fmla="*/ 7135 w 10000"/>
              <a:gd name="connsiteY150" fmla="*/ 9256 h 10000"/>
              <a:gd name="connsiteX151" fmla="*/ 7135 w 10000"/>
              <a:gd name="connsiteY151" fmla="*/ 9298 h 10000"/>
              <a:gd name="connsiteX152" fmla="*/ 7083 w 10000"/>
              <a:gd name="connsiteY152" fmla="*/ 9339 h 10000"/>
              <a:gd name="connsiteX153" fmla="*/ 7135 w 10000"/>
              <a:gd name="connsiteY153" fmla="*/ 9380 h 10000"/>
              <a:gd name="connsiteX154" fmla="*/ 7187 w 10000"/>
              <a:gd name="connsiteY154" fmla="*/ 9380 h 10000"/>
              <a:gd name="connsiteX155" fmla="*/ 7187 w 10000"/>
              <a:gd name="connsiteY155" fmla="*/ 9421 h 10000"/>
              <a:gd name="connsiteX156" fmla="*/ 7187 w 10000"/>
              <a:gd name="connsiteY156" fmla="*/ 9463 h 10000"/>
              <a:gd name="connsiteX157" fmla="*/ 7135 w 10000"/>
              <a:gd name="connsiteY157" fmla="*/ 9463 h 10000"/>
              <a:gd name="connsiteX158" fmla="*/ 7083 w 10000"/>
              <a:gd name="connsiteY158" fmla="*/ 9504 h 10000"/>
              <a:gd name="connsiteX159" fmla="*/ 7135 w 10000"/>
              <a:gd name="connsiteY159" fmla="*/ 9545 h 10000"/>
              <a:gd name="connsiteX160" fmla="*/ 7135 w 10000"/>
              <a:gd name="connsiteY160" fmla="*/ 9587 h 10000"/>
              <a:gd name="connsiteX161" fmla="*/ 7135 w 10000"/>
              <a:gd name="connsiteY161" fmla="*/ 9628 h 10000"/>
              <a:gd name="connsiteX162" fmla="*/ 7135 w 10000"/>
              <a:gd name="connsiteY162" fmla="*/ 9669 h 10000"/>
              <a:gd name="connsiteX163" fmla="*/ 7083 w 10000"/>
              <a:gd name="connsiteY163" fmla="*/ 9669 h 10000"/>
              <a:gd name="connsiteX164" fmla="*/ 7083 w 10000"/>
              <a:gd name="connsiteY164" fmla="*/ 9711 h 10000"/>
              <a:gd name="connsiteX165" fmla="*/ 7032 w 10000"/>
              <a:gd name="connsiteY165" fmla="*/ 9711 h 10000"/>
              <a:gd name="connsiteX166" fmla="*/ 6927 w 10000"/>
              <a:gd name="connsiteY166" fmla="*/ 9711 h 10000"/>
              <a:gd name="connsiteX167" fmla="*/ 6927 w 10000"/>
              <a:gd name="connsiteY167" fmla="*/ 9752 h 10000"/>
              <a:gd name="connsiteX168" fmla="*/ 6927 w 10000"/>
              <a:gd name="connsiteY168" fmla="*/ 9793 h 10000"/>
              <a:gd name="connsiteX169" fmla="*/ 6927 w 10000"/>
              <a:gd name="connsiteY169" fmla="*/ 9835 h 10000"/>
              <a:gd name="connsiteX170" fmla="*/ 6927 w 10000"/>
              <a:gd name="connsiteY170" fmla="*/ 9793 h 10000"/>
              <a:gd name="connsiteX171" fmla="*/ 6875 w 10000"/>
              <a:gd name="connsiteY171" fmla="*/ 9793 h 10000"/>
              <a:gd name="connsiteX172" fmla="*/ 6822 w 10000"/>
              <a:gd name="connsiteY172" fmla="*/ 9793 h 10000"/>
              <a:gd name="connsiteX173" fmla="*/ 6822 w 10000"/>
              <a:gd name="connsiteY173" fmla="*/ 9835 h 10000"/>
              <a:gd name="connsiteX174" fmla="*/ 6822 w 10000"/>
              <a:gd name="connsiteY174" fmla="*/ 9876 h 10000"/>
              <a:gd name="connsiteX175" fmla="*/ 6822 w 10000"/>
              <a:gd name="connsiteY175" fmla="*/ 9917 h 10000"/>
              <a:gd name="connsiteX176" fmla="*/ 6719 w 10000"/>
              <a:gd name="connsiteY176" fmla="*/ 9917 h 10000"/>
              <a:gd name="connsiteX177" fmla="*/ 6719 w 10000"/>
              <a:gd name="connsiteY177" fmla="*/ 9959 h 10000"/>
              <a:gd name="connsiteX178" fmla="*/ 6667 w 10000"/>
              <a:gd name="connsiteY178" fmla="*/ 10000 h 10000"/>
              <a:gd name="connsiteX179" fmla="*/ 6527 w 10000"/>
              <a:gd name="connsiteY179" fmla="*/ 9917 h 10000"/>
              <a:gd name="connsiteX180" fmla="*/ 269 w 10000"/>
              <a:gd name="connsiteY180" fmla="*/ 6016 h 10000"/>
              <a:gd name="connsiteX181" fmla="*/ 0 w 10000"/>
              <a:gd name="connsiteY181" fmla="*/ 5826 h 10000"/>
              <a:gd name="connsiteX182" fmla="*/ 156 w 10000"/>
              <a:gd name="connsiteY182" fmla="*/ 5909 h 10000"/>
              <a:gd name="connsiteX183" fmla="*/ 365 w 10000"/>
              <a:gd name="connsiteY183" fmla="*/ 5826 h 10000"/>
              <a:gd name="connsiteX184" fmla="*/ 1459 w 10000"/>
              <a:gd name="connsiteY184" fmla="*/ 5826 h 10000"/>
              <a:gd name="connsiteX185" fmla="*/ 1614 w 10000"/>
              <a:gd name="connsiteY185" fmla="*/ 5785 h 10000"/>
              <a:gd name="connsiteX186" fmla="*/ 1667 w 10000"/>
              <a:gd name="connsiteY186" fmla="*/ 5785 h 10000"/>
              <a:gd name="connsiteX187" fmla="*/ 2187 w 10000"/>
              <a:gd name="connsiteY187" fmla="*/ 5248 h 10000"/>
              <a:gd name="connsiteX188" fmla="*/ 2292 w 10000"/>
              <a:gd name="connsiteY188" fmla="*/ 5165 h 10000"/>
              <a:gd name="connsiteX189" fmla="*/ 2760 w 10000"/>
              <a:gd name="connsiteY189" fmla="*/ 4752 h 10000"/>
              <a:gd name="connsiteX190" fmla="*/ 3021 w 10000"/>
              <a:gd name="connsiteY190" fmla="*/ 4504 h 10000"/>
              <a:gd name="connsiteX191" fmla="*/ 3177 w 10000"/>
              <a:gd name="connsiteY191" fmla="*/ 4380 h 10000"/>
              <a:gd name="connsiteX192" fmla="*/ 3594 w 10000"/>
              <a:gd name="connsiteY192" fmla="*/ 3760 h 10000"/>
              <a:gd name="connsiteX193" fmla="*/ 4114 w 10000"/>
              <a:gd name="connsiteY193" fmla="*/ 3512 h 10000"/>
              <a:gd name="connsiteX194" fmla="*/ 5000 w 10000"/>
              <a:gd name="connsiteY194" fmla="*/ 2810 h 10000"/>
              <a:gd name="connsiteX195" fmla="*/ 4843 w 10000"/>
              <a:gd name="connsiteY195" fmla="*/ 2562 h 10000"/>
              <a:gd name="connsiteX196" fmla="*/ 4792 w 10000"/>
              <a:gd name="connsiteY196" fmla="*/ 2397 h 10000"/>
              <a:gd name="connsiteX197" fmla="*/ 4792 w 10000"/>
              <a:gd name="connsiteY197" fmla="*/ 1240 h 10000"/>
              <a:gd name="connsiteX198" fmla="*/ 4114 w 10000"/>
              <a:gd name="connsiteY198" fmla="*/ 744 h 10000"/>
              <a:gd name="connsiteX199" fmla="*/ 4948 w 10000"/>
              <a:gd name="connsiteY199" fmla="*/ 744 h 10000"/>
              <a:gd name="connsiteX200" fmla="*/ 5781 w 10000"/>
              <a:gd name="connsiteY200" fmla="*/ 744 h 10000"/>
              <a:gd name="connsiteX201" fmla="*/ 5781 w 10000"/>
              <a:gd name="connsiteY201" fmla="*/ 702 h 10000"/>
              <a:gd name="connsiteX202" fmla="*/ 5781 w 10000"/>
              <a:gd name="connsiteY202" fmla="*/ 661 h 10000"/>
              <a:gd name="connsiteX203" fmla="*/ 5781 w 10000"/>
              <a:gd name="connsiteY203" fmla="*/ 620 h 10000"/>
              <a:gd name="connsiteX204" fmla="*/ 5781 w 10000"/>
              <a:gd name="connsiteY204" fmla="*/ 579 h 10000"/>
              <a:gd name="connsiteX205" fmla="*/ 5833 w 10000"/>
              <a:gd name="connsiteY205" fmla="*/ 537 h 10000"/>
              <a:gd name="connsiteX206" fmla="*/ 5833 w 10000"/>
              <a:gd name="connsiteY206" fmla="*/ 496 h 10000"/>
              <a:gd name="connsiteX207" fmla="*/ 5833 w 10000"/>
              <a:gd name="connsiteY207" fmla="*/ 455 h 10000"/>
              <a:gd name="connsiteX208" fmla="*/ 5833 w 10000"/>
              <a:gd name="connsiteY208" fmla="*/ 413 h 10000"/>
              <a:gd name="connsiteX209" fmla="*/ 5833 w 10000"/>
              <a:gd name="connsiteY209" fmla="*/ 372 h 10000"/>
              <a:gd name="connsiteX210" fmla="*/ 5833 w 10000"/>
              <a:gd name="connsiteY210" fmla="*/ 331 h 10000"/>
              <a:gd name="connsiteX211" fmla="*/ 5781 w 10000"/>
              <a:gd name="connsiteY211" fmla="*/ 331 h 10000"/>
              <a:gd name="connsiteX212" fmla="*/ 5781 w 10000"/>
              <a:gd name="connsiteY212" fmla="*/ 289 h 10000"/>
              <a:gd name="connsiteX213" fmla="*/ 5781 w 10000"/>
              <a:gd name="connsiteY213" fmla="*/ 248 h 10000"/>
              <a:gd name="connsiteX214" fmla="*/ 5781 w 10000"/>
              <a:gd name="connsiteY214" fmla="*/ 207 h 10000"/>
              <a:gd name="connsiteX215" fmla="*/ 5781 w 10000"/>
              <a:gd name="connsiteY215" fmla="*/ 165 h 10000"/>
              <a:gd name="connsiteX216" fmla="*/ 5781 w 10000"/>
              <a:gd name="connsiteY216" fmla="*/ 124 h 10000"/>
              <a:gd name="connsiteX217" fmla="*/ 5781 w 10000"/>
              <a:gd name="connsiteY217" fmla="*/ 83 h 10000"/>
              <a:gd name="connsiteX218" fmla="*/ 5781 w 10000"/>
              <a:gd name="connsiteY218" fmla="*/ 41 h 10000"/>
              <a:gd name="connsiteX219" fmla="*/ 5781 w 10000"/>
              <a:gd name="connsiteY21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0 w 10003"/>
              <a:gd name="connsiteY180" fmla="*/ 6051 h 10000"/>
              <a:gd name="connsiteX181" fmla="*/ 3 w 10003"/>
              <a:gd name="connsiteY181" fmla="*/ 5826 h 10000"/>
              <a:gd name="connsiteX182" fmla="*/ 159 w 10003"/>
              <a:gd name="connsiteY182" fmla="*/ 5909 h 10000"/>
              <a:gd name="connsiteX183" fmla="*/ 368 w 10003"/>
              <a:gd name="connsiteY183" fmla="*/ 5826 h 10000"/>
              <a:gd name="connsiteX184" fmla="*/ 1462 w 10003"/>
              <a:gd name="connsiteY184" fmla="*/ 5826 h 10000"/>
              <a:gd name="connsiteX185" fmla="*/ 1617 w 10003"/>
              <a:gd name="connsiteY185" fmla="*/ 5785 h 10000"/>
              <a:gd name="connsiteX186" fmla="*/ 1670 w 10003"/>
              <a:gd name="connsiteY186" fmla="*/ 5785 h 10000"/>
              <a:gd name="connsiteX187" fmla="*/ 2190 w 10003"/>
              <a:gd name="connsiteY187" fmla="*/ 5248 h 10000"/>
              <a:gd name="connsiteX188" fmla="*/ 2295 w 10003"/>
              <a:gd name="connsiteY188" fmla="*/ 5165 h 10000"/>
              <a:gd name="connsiteX189" fmla="*/ 2763 w 10003"/>
              <a:gd name="connsiteY189" fmla="*/ 4752 h 10000"/>
              <a:gd name="connsiteX190" fmla="*/ 3024 w 10003"/>
              <a:gd name="connsiteY190" fmla="*/ 4504 h 10000"/>
              <a:gd name="connsiteX191" fmla="*/ 3180 w 10003"/>
              <a:gd name="connsiteY191" fmla="*/ 4380 h 10000"/>
              <a:gd name="connsiteX192" fmla="*/ 3597 w 10003"/>
              <a:gd name="connsiteY192" fmla="*/ 3760 h 10000"/>
              <a:gd name="connsiteX193" fmla="*/ 4117 w 10003"/>
              <a:gd name="connsiteY193" fmla="*/ 3512 h 10000"/>
              <a:gd name="connsiteX194" fmla="*/ 5003 w 10003"/>
              <a:gd name="connsiteY194" fmla="*/ 2810 h 10000"/>
              <a:gd name="connsiteX195" fmla="*/ 4846 w 10003"/>
              <a:gd name="connsiteY195" fmla="*/ 2562 h 10000"/>
              <a:gd name="connsiteX196" fmla="*/ 4795 w 10003"/>
              <a:gd name="connsiteY196" fmla="*/ 2397 h 10000"/>
              <a:gd name="connsiteX197" fmla="*/ 4795 w 10003"/>
              <a:gd name="connsiteY197" fmla="*/ 1240 h 10000"/>
              <a:gd name="connsiteX198" fmla="*/ 4117 w 10003"/>
              <a:gd name="connsiteY198" fmla="*/ 744 h 10000"/>
              <a:gd name="connsiteX199" fmla="*/ 4951 w 10003"/>
              <a:gd name="connsiteY199" fmla="*/ 744 h 10000"/>
              <a:gd name="connsiteX200" fmla="*/ 5784 w 10003"/>
              <a:gd name="connsiteY200" fmla="*/ 744 h 10000"/>
              <a:gd name="connsiteX201" fmla="*/ 5784 w 10003"/>
              <a:gd name="connsiteY201" fmla="*/ 702 h 10000"/>
              <a:gd name="connsiteX202" fmla="*/ 5784 w 10003"/>
              <a:gd name="connsiteY202" fmla="*/ 661 h 10000"/>
              <a:gd name="connsiteX203" fmla="*/ 5784 w 10003"/>
              <a:gd name="connsiteY203" fmla="*/ 620 h 10000"/>
              <a:gd name="connsiteX204" fmla="*/ 5784 w 10003"/>
              <a:gd name="connsiteY204" fmla="*/ 579 h 10000"/>
              <a:gd name="connsiteX205" fmla="*/ 5836 w 10003"/>
              <a:gd name="connsiteY205" fmla="*/ 537 h 10000"/>
              <a:gd name="connsiteX206" fmla="*/ 5836 w 10003"/>
              <a:gd name="connsiteY206" fmla="*/ 496 h 10000"/>
              <a:gd name="connsiteX207" fmla="*/ 5836 w 10003"/>
              <a:gd name="connsiteY207" fmla="*/ 455 h 10000"/>
              <a:gd name="connsiteX208" fmla="*/ 5836 w 10003"/>
              <a:gd name="connsiteY208" fmla="*/ 413 h 10000"/>
              <a:gd name="connsiteX209" fmla="*/ 5836 w 10003"/>
              <a:gd name="connsiteY209" fmla="*/ 372 h 10000"/>
              <a:gd name="connsiteX210" fmla="*/ 5836 w 10003"/>
              <a:gd name="connsiteY210" fmla="*/ 331 h 10000"/>
              <a:gd name="connsiteX211" fmla="*/ 5784 w 10003"/>
              <a:gd name="connsiteY211" fmla="*/ 331 h 10000"/>
              <a:gd name="connsiteX212" fmla="*/ 5784 w 10003"/>
              <a:gd name="connsiteY212" fmla="*/ 289 h 10000"/>
              <a:gd name="connsiteX213" fmla="*/ 5784 w 10003"/>
              <a:gd name="connsiteY213" fmla="*/ 248 h 10000"/>
              <a:gd name="connsiteX214" fmla="*/ 5784 w 10003"/>
              <a:gd name="connsiteY214" fmla="*/ 207 h 10000"/>
              <a:gd name="connsiteX215" fmla="*/ 5784 w 10003"/>
              <a:gd name="connsiteY215" fmla="*/ 165 h 10000"/>
              <a:gd name="connsiteX216" fmla="*/ 5784 w 10003"/>
              <a:gd name="connsiteY216" fmla="*/ 124 h 10000"/>
              <a:gd name="connsiteX217" fmla="*/ 5784 w 10003"/>
              <a:gd name="connsiteY217" fmla="*/ 83 h 10000"/>
              <a:gd name="connsiteX218" fmla="*/ 5784 w 10003"/>
              <a:gd name="connsiteY218" fmla="*/ 41 h 10000"/>
              <a:gd name="connsiteX219" fmla="*/ 5784 w 10003"/>
              <a:gd name="connsiteY21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400 w 10003"/>
              <a:gd name="connsiteY180" fmla="*/ 7505 h 10000"/>
              <a:gd name="connsiteX181" fmla="*/ 0 w 10003"/>
              <a:gd name="connsiteY181" fmla="*/ 6051 h 10000"/>
              <a:gd name="connsiteX182" fmla="*/ 3 w 10003"/>
              <a:gd name="connsiteY182" fmla="*/ 5826 h 10000"/>
              <a:gd name="connsiteX183" fmla="*/ 159 w 10003"/>
              <a:gd name="connsiteY183" fmla="*/ 5909 h 10000"/>
              <a:gd name="connsiteX184" fmla="*/ 368 w 10003"/>
              <a:gd name="connsiteY184" fmla="*/ 5826 h 10000"/>
              <a:gd name="connsiteX185" fmla="*/ 1462 w 10003"/>
              <a:gd name="connsiteY185" fmla="*/ 5826 h 10000"/>
              <a:gd name="connsiteX186" fmla="*/ 1617 w 10003"/>
              <a:gd name="connsiteY186" fmla="*/ 5785 h 10000"/>
              <a:gd name="connsiteX187" fmla="*/ 1670 w 10003"/>
              <a:gd name="connsiteY187" fmla="*/ 5785 h 10000"/>
              <a:gd name="connsiteX188" fmla="*/ 2190 w 10003"/>
              <a:gd name="connsiteY188" fmla="*/ 5248 h 10000"/>
              <a:gd name="connsiteX189" fmla="*/ 2295 w 10003"/>
              <a:gd name="connsiteY189" fmla="*/ 5165 h 10000"/>
              <a:gd name="connsiteX190" fmla="*/ 2763 w 10003"/>
              <a:gd name="connsiteY190" fmla="*/ 4752 h 10000"/>
              <a:gd name="connsiteX191" fmla="*/ 3024 w 10003"/>
              <a:gd name="connsiteY191" fmla="*/ 4504 h 10000"/>
              <a:gd name="connsiteX192" fmla="*/ 3180 w 10003"/>
              <a:gd name="connsiteY192" fmla="*/ 4380 h 10000"/>
              <a:gd name="connsiteX193" fmla="*/ 3597 w 10003"/>
              <a:gd name="connsiteY193" fmla="*/ 3760 h 10000"/>
              <a:gd name="connsiteX194" fmla="*/ 4117 w 10003"/>
              <a:gd name="connsiteY194" fmla="*/ 3512 h 10000"/>
              <a:gd name="connsiteX195" fmla="*/ 5003 w 10003"/>
              <a:gd name="connsiteY195" fmla="*/ 2810 h 10000"/>
              <a:gd name="connsiteX196" fmla="*/ 4846 w 10003"/>
              <a:gd name="connsiteY196" fmla="*/ 2562 h 10000"/>
              <a:gd name="connsiteX197" fmla="*/ 4795 w 10003"/>
              <a:gd name="connsiteY197" fmla="*/ 2397 h 10000"/>
              <a:gd name="connsiteX198" fmla="*/ 4795 w 10003"/>
              <a:gd name="connsiteY198" fmla="*/ 1240 h 10000"/>
              <a:gd name="connsiteX199" fmla="*/ 4117 w 10003"/>
              <a:gd name="connsiteY199" fmla="*/ 744 h 10000"/>
              <a:gd name="connsiteX200" fmla="*/ 4951 w 10003"/>
              <a:gd name="connsiteY200" fmla="*/ 744 h 10000"/>
              <a:gd name="connsiteX201" fmla="*/ 5784 w 10003"/>
              <a:gd name="connsiteY201" fmla="*/ 744 h 10000"/>
              <a:gd name="connsiteX202" fmla="*/ 5784 w 10003"/>
              <a:gd name="connsiteY202" fmla="*/ 702 h 10000"/>
              <a:gd name="connsiteX203" fmla="*/ 5784 w 10003"/>
              <a:gd name="connsiteY203" fmla="*/ 661 h 10000"/>
              <a:gd name="connsiteX204" fmla="*/ 5784 w 10003"/>
              <a:gd name="connsiteY204" fmla="*/ 620 h 10000"/>
              <a:gd name="connsiteX205" fmla="*/ 5784 w 10003"/>
              <a:gd name="connsiteY205" fmla="*/ 579 h 10000"/>
              <a:gd name="connsiteX206" fmla="*/ 5836 w 10003"/>
              <a:gd name="connsiteY206" fmla="*/ 537 h 10000"/>
              <a:gd name="connsiteX207" fmla="*/ 5836 w 10003"/>
              <a:gd name="connsiteY207" fmla="*/ 496 h 10000"/>
              <a:gd name="connsiteX208" fmla="*/ 5836 w 10003"/>
              <a:gd name="connsiteY208" fmla="*/ 455 h 10000"/>
              <a:gd name="connsiteX209" fmla="*/ 5836 w 10003"/>
              <a:gd name="connsiteY209" fmla="*/ 413 h 10000"/>
              <a:gd name="connsiteX210" fmla="*/ 5836 w 10003"/>
              <a:gd name="connsiteY210" fmla="*/ 372 h 10000"/>
              <a:gd name="connsiteX211" fmla="*/ 5836 w 10003"/>
              <a:gd name="connsiteY211" fmla="*/ 331 h 10000"/>
              <a:gd name="connsiteX212" fmla="*/ 5784 w 10003"/>
              <a:gd name="connsiteY212" fmla="*/ 331 h 10000"/>
              <a:gd name="connsiteX213" fmla="*/ 5784 w 10003"/>
              <a:gd name="connsiteY213" fmla="*/ 289 h 10000"/>
              <a:gd name="connsiteX214" fmla="*/ 5784 w 10003"/>
              <a:gd name="connsiteY214" fmla="*/ 248 h 10000"/>
              <a:gd name="connsiteX215" fmla="*/ 5784 w 10003"/>
              <a:gd name="connsiteY215" fmla="*/ 207 h 10000"/>
              <a:gd name="connsiteX216" fmla="*/ 5784 w 10003"/>
              <a:gd name="connsiteY216" fmla="*/ 165 h 10000"/>
              <a:gd name="connsiteX217" fmla="*/ 5784 w 10003"/>
              <a:gd name="connsiteY217" fmla="*/ 124 h 10000"/>
              <a:gd name="connsiteX218" fmla="*/ 5784 w 10003"/>
              <a:gd name="connsiteY218" fmla="*/ 83 h 10000"/>
              <a:gd name="connsiteX219" fmla="*/ 5784 w 10003"/>
              <a:gd name="connsiteY219" fmla="*/ 41 h 10000"/>
              <a:gd name="connsiteX220" fmla="*/ 5784 w 10003"/>
              <a:gd name="connsiteY22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1952 w 10003"/>
              <a:gd name="connsiteY180" fmla="*/ 6122 h 10000"/>
              <a:gd name="connsiteX181" fmla="*/ 0 w 10003"/>
              <a:gd name="connsiteY181" fmla="*/ 6051 h 10000"/>
              <a:gd name="connsiteX182" fmla="*/ 3 w 10003"/>
              <a:gd name="connsiteY182" fmla="*/ 5826 h 10000"/>
              <a:gd name="connsiteX183" fmla="*/ 159 w 10003"/>
              <a:gd name="connsiteY183" fmla="*/ 5909 h 10000"/>
              <a:gd name="connsiteX184" fmla="*/ 368 w 10003"/>
              <a:gd name="connsiteY184" fmla="*/ 5826 h 10000"/>
              <a:gd name="connsiteX185" fmla="*/ 1462 w 10003"/>
              <a:gd name="connsiteY185" fmla="*/ 5826 h 10000"/>
              <a:gd name="connsiteX186" fmla="*/ 1617 w 10003"/>
              <a:gd name="connsiteY186" fmla="*/ 5785 h 10000"/>
              <a:gd name="connsiteX187" fmla="*/ 1670 w 10003"/>
              <a:gd name="connsiteY187" fmla="*/ 5785 h 10000"/>
              <a:gd name="connsiteX188" fmla="*/ 2190 w 10003"/>
              <a:gd name="connsiteY188" fmla="*/ 5248 h 10000"/>
              <a:gd name="connsiteX189" fmla="*/ 2295 w 10003"/>
              <a:gd name="connsiteY189" fmla="*/ 5165 h 10000"/>
              <a:gd name="connsiteX190" fmla="*/ 2763 w 10003"/>
              <a:gd name="connsiteY190" fmla="*/ 4752 h 10000"/>
              <a:gd name="connsiteX191" fmla="*/ 3024 w 10003"/>
              <a:gd name="connsiteY191" fmla="*/ 4504 h 10000"/>
              <a:gd name="connsiteX192" fmla="*/ 3180 w 10003"/>
              <a:gd name="connsiteY192" fmla="*/ 4380 h 10000"/>
              <a:gd name="connsiteX193" fmla="*/ 3597 w 10003"/>
              <a:gd name="connsiteY193" fmla="*/ 3760 h 10000"/>
              <a:gd name="connsiteX194" fmla="*/ 4117 w 10003"/>
              <a:gd name="connsiteY194" fmla="*/ 3512 h 10000"/>
              <a:gd name="connsiteX195" fmla="*/ 5003 w 10003"/>
              <a:gd name="connsiteY195" fmla="*/ 2810 h 10000"/>
              <a:gd name="connsiteX196" fmla="*/ 4846 w 10003"/>
              <a:gd name="connsiteY196" fmla="*/ 2562 h 10000"/>
              <a:gd name="connsiteX197" fmla="*/ 4795 w 10003"/>
              <a:gd name="connsiteY197" fmla="*/ 2397 h 10000"/>
              <a:gd name="connsiteX198" fmla="*/ 4795 w 10003"/>
              <a:gd name="connsiteY198" fmla="*/ 1240 h 10000"/>
              <a:gd name="connsiteX199" fmla="*/ 4117 w 10003"/>
              <a:gd name="connsiteY199" fmla="*/ 744 h 10000"/>
              <a:gd name="connsiteX200" fmla="*/ 4951 w 10003"/>
              <a:gd name="connsiteY200" fmla="*/ 744 h 10000"/>
              <a:gd name="connsiteX201" fmla="*/ 5784 w 10003"/>
              <a:gd name="connsiteY201" fmla="*/ 744 h 10000"/>
              <a:gd name="connsiteX202" fmla="*/ 5784 w 10003"/>
              <a:gd name="connsiteY202" fmla="*/ 702 h 10000"/>
              <a:gd name="connsiteX203" fmla="*/ 5784 w 10003"/>
              <a:gd name="connsiteY203" fmla="*/ 661 h 10000"/>
              <a:gd name="connsiteX204" fmla="*/ 5784 w 10003"/>
              <a:gd name="connsiteY204" fmla="*/ 620 h 10000"/>
              <a:gd name="connsiteX205" fmla="*/ 5784 w 10003"/>
              <a:gd name="connsiteY205" fmla="*/ 579 h 10000"/>
              <a:gd name="connsiteX206" fmla="*/ 5836 w 10003"/>
              <a:gd name="connsiteY206" fmla="*/ 537 h 10000"/>
              <a:gd name="connsiteX207" fmla="*/ 5836 w 10003"/>
              <a:gd name="connsiteY207" fmla="*/ 496 h 10000"/>
              <a:gd name="connsiteX208" fmla="*/ 5836 w 10003"/>
              <a:gd name="connsiteY208" fmla="*/ 455 h 10000"/>
              <a:gd name="connsiteX209" fmla="*/ 5836 w 10003"/>
              <a:gd name="connsiteY209" fmla="*/ 413 h 10000"/>
              <a:gd name="connsiteX210" fmla="*/ 5836 w 10003"/>
              <a:gd name="connsiteY210" fmla="*/ 372 h 10000"/>
              <a:gd name="connsiteX211" fmla="*/ 5836 w 10003"/>
              <a:gd name="connsiteY211" fmla="*/ 331 h 10000"/>
              <a:gd name="connsiteX212" fmla="*/ 5784 w 10003"/>
              <a:gd name="connsiteY212" fmla="*/ 331 h 10000"/>
              <a:gd name="connsiteX213" fmla="*/ 5784 w 10003"/>
              <a:gd name="connsiteY213" fmla="*/ 289 h 10000"/>
              <a:gd name="connsiteX214" fmla="*/ 5784 w 10003"/>
              <a:gd name="connsiteY214" fmla="*/ 248 h 10000"/>
              <a:gd name="connsiteX215" fmla="*/ 5784 w 10003"/>
              <a:gd name="connsiteY215" fmla="*/ 207 h 10000"/>
              <a:gd name="connsiteX216" fmla="*/ 5784 w 10003"/>
              <a:gd name="connsiteY216" fmla="*/ 165 h 10000"/>
              <a:gd name="connsiteX217" fmla="*/ 5784 w 10003"/>
              <a:gd name="connsiteY217" fmla="*/ 124 h 10000"/>
              <a:gd name="connsiteX218" fmla="*/ 5784 w 10003"/>
              <a:gd name="connsiteY218" fmla="*/ 83 h 10000"/>
              <a:gd name="connsiteX219" fmla="*/ 5784 w 10003"/>
              <a:gd name="connsiteY219" fmla="*/ 41 h 10000"/>
              <a:gd name="connsiteX220" fmla="*/ 5784 w 10003"/>
              <a:gd name="connsiteY22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416 w 10003"/>
              <a:gd name="connsiteY180" fmla="*/ 5803 h 10000"/>
              <a:gd name="connsiteX181" fmla="*/ 1952 w 10003"/>
              <a:gd name="connsiteY181" fmla="*/ 6122 h 10000"/>
              <a:gd name="connsiteX182" fmla="*/ 0 w 10003"/>
              <a:gd name="connsiteY182" fmla="*/ 6051 h 10000"/>
              <a:gd name="connsiteX183" fmla="*/ 3 w 10003"/>
              <a:gd name="connsiteY183" fmla="*/ 5826 h 10000"/>
              <a:gd name="connsiteX184" fmla="*/ 159 w 10003"/>
              <a:gd name="connsiteY184" fmla="*/ 5909 h 10000"/>
              <a:gd name="connsiteX185" fmla="*/ 368 w 10003"/>
              <a:gd name="connsiteY185" fmla="*/ 5826 h 10000"/>
              <a:gd name="connsiteX186" fmla="*/ 1462 w 10003"/>
              <a:gd name="connsiteY186" fmla="*/ 5826 h 10000"/>
              <a:gd name="connsiteX187" fmla="*/ 1617 w 10003"/>
              <a:gd name="connsiteY187" fmla="*/ 5785 h 10000"/>
              <a:gd name="connsiteX188" fmla="*/ 1670 w 10003"/>
              <a:gd name="connsiteY188" fmla="*/ 5785 h 10000"/>
              <a:gd name="connsiteX189" fmla="*/ 2190 w 10003"/>
              <a:gd name="connsiteY189" fmla="*/ 5248 h 10000"/>
              <a:gd name="connsiteX190" fmla="*/ 2295 w 10003"/>
              <a:gd name="connsiteY190" fmla="*/ 5165 h 10000"/>
              <a:gd name="connsiteX191" fmla="*/ 2763 w 10003"/>
              <a:gd name="connsiteY191" fmla="*/ 4752 h 10000"/>
              <a:gd name="connsiteX192" fmla="*/ 3024 w 10003"/>
              <a:gd name="connsiteY192" fmla="*/ 4504 h 10000"/>
              <a:gd name="connsiteX193" fmla="*/ 3180 w 10003"/>
              <a:gd name="connsiteY193" fmla="*/ 4380 h 10000"/>
              <a:gd name="connsiteX194" fmla="*/ 3597 w 10003"/>
              <a:gd name="connsiteY194" fmla="*/ 3760 h 10000"/>
              <a:gd name="connsiteX195" fmla="*/ 4117 w 10003"/>
              <a:gd name="connsiteY195" fmla="*/ 3512 h 10000"/>
              <a:gd name="connsiteX196" fmla="*/ 5003 w 10003"/>
              <a:gd name="connsiteY196" fmla="*/ 2810 h 10000"/>
              <a:gd name="connsiteX197" fmla="*/ 4846 w 10003"/>
              <a:gd name="connsiteY197" fmla="*/ 2562 h 10000"/>
              <a:gd name="connsiteX198" fmla="*/ 4795 w 10003"/>
              <a:gd name="connsiteY198" fmla="*/ 2397 h 10000"/>
              <a:gd name="connsiteX199" fmla="*/ 4795 w 10003"/>
              <a:gd name="connsiteY199" fmla="*/ 1240 h 10000"/>
              <a:gd name="connsiteX200" fmla="*/ 4117 w 10003"/>
              <a:gd name="connsiteY200" fmla="*/ 744 h 10000"/>
              <a:gd name="connsiteX201" fmla="*/ 4951 w 10003"/>
              <a:gd name="connsiteY201" fmla="*/ 744 h 10000"/>
              <a:gd name="connsiteX202" fmla="*/ 5784 w 10003"/>
              <a:gd name="connsiteY202" fmla="*/ 744 h 10000"/>
              <a:gd name="connsiteX203" fmla="*/ 5784 w 10003"/>
              <a:gd name="connsiteY203" fmla="*/ 702 h 10000"/>
              <a:gd name="connsiteX204" fmla="*/ 5784 w 10003"/>
              <a:gd name="connsiteY204" fmla="*/ 661 h 10000"/>
              <a:gd name="connsiteX205" fmla="*/ 5784 w 10003"/>
              <a:gd name="connsiteY205" fmla="*/ 620 h 10000"/>
              <a:gd name="connsiteX206" fmla="*/ 5784 w 10003"/>
              <a:gd name="connsiteY206" fmla="*/ 579 h 10000"/>
              <a:gd name="connsiteX207" fmla="*/ 5836 w 10003"/>
              <a:gd name="connsiteY207" fmla="*/ 537 h 10000"/>
              <a:gd name="connsiteX208" fmla="*/ 5836 w 10003"/>
              <a:gd name="connsiteY208" fmla="*/ 496 h 10000"/>
              <a:gd name="connsiteX209" fmla="*/ 5836 w 10003"/>
              <a:gd name="connsiteY209" fmla="*/ 455 h 10000"/>
              <a:gd name="connsiteX210" fmla="*/ 5836 w 10003"/>
              <a:gd name="connsiteY210" fmla="*/ 413 h 10000"/>
              <a:gd name="connsiteX211" fmla="*/ 5836 w 10003"/>
              <a:gd name="connsiteY211" fmla="*/ 372 h 10000"/>
              <a:gd name="connsiteX212" fmla="*/ 5836 w 10003"/>
              <a:gd name="connsiteY212" fmla="*/ 331 h 10000"/>
              <a:gd name="connsiteX213" fmla="*/ 5784 w 10003"/>
              <a:gd name="connsiteY213" fmla="*/ 331 h 10000"/>
              <a:gd name="connsiteX214" fmla="*/ 5784 w 10003"/>
              <a:gd name="connsiteY214" fmla="*/ 289 h 10000"/>
              <a:gd name="connsiteX215" fmla="*/ 5784 w 10003"/>
              <a:gd name="connsiteY215" fmla="*/ 248 h 10000"/>
              <a:gd name="connsiteX216" fmla="*/ 5784 w 10003"/>
              <a:gd name="connsiteY216" fmla="*/ 207 h 10000"/>
              <a:gd name="connsiteX217" fmla="*/ 5784 w 10003"/>
              <a:gd name="connsiteY217" fmla="*/ 165 h 10000"/>
              <a:gd name="connsiteX218" fmla="*/ 5784 w 10003"/>
              <a:gd name="connsiteY218" fmla="*/ 124 h 10000"/>
              <a:gd name="connsiteX219" fmla="*/ 5784 w 10003"/>
              <a:gd name="connsiteY219" fmla="*/ 83 h 10000"/>
              <a:gd name="connsiteX220" fmla="*/ 5784 w 10003"/>
              <a:gd name="connsiteY220" fmla="*/ 41 h 10000"/>
              <a:gd name="connsiteX221" fmla="*/ 5784 w 10003"/>
              <a:gd name="connsiteY221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993 w 10003"/>
              <a:gd name="connsiteY180" fmla="*/ 5573 h 10000"/>
              <a:gd name="connsiteX181" fmla="*/ 2416 w 10003"/>
              <a:gd name="connsiteY181" fmla="*/ 5803 h 10000"/>
              <a:gd name="connsiteX182" fmla="*/ 1952 w 10003"/>
              <a:gd name="connsiteY182" fmla="*/ 6122 h 10000"/>
              <a:gd name="connsiteX183" fmla="*/ 0 w 10003"/>
              <a:gd name="connsiteY183" fmla="*/ 6051 h 10000"/>
              <a:gd name="connsiteX184" fmla="*/ 3 w 10003"/>
              <a:gd name="connsiteY184" fmla="*/ 5826 h 10000"/>
              <a:gd name="connsiteX185" fmla="*/ 159 w 10003"/>
              <a:gd name="connsiteY185" fmla="*/ 5909 h 10000"/>
              <a:gd name="connsiteX186" fmla="*/ 368 w 10003"/>
              <a:gd name="connsiteY186" fmla="*/ 5826 h 10000"/>
              <a:gd name="connsiteX187" fmla="*/ 1462 w 10003"/>
              <a:gd name="connsiteY187" fmla="*/ 5826 h 10000"/>
              <a:gd name="connsiteX188" fmla="*/ 1617 w 10003"/>
              <a:gd name="connsiteY188" fmla="*/ 5785 h 10000"/>
              <a:gd name="connsiteX189" fmla="*/ 1670 w 10003"/>
              <a:gd name="connsiteY189" fmla="*/ 5785 h 10000"/>
              <a:gd name="connsiteX190" fmla="*/ 2190 w 10003"/>
              <a:gd name="connsiteY190" fmla="*/ 5248 h 10000"/>
              <a:gd name="connsiteX191" fmla="*/ 2295 w 10003"/>
              <a:gd name="connsiteY191" fmla="*/ 5165 h 10000"/>
              <a:gd name="connsiteX192" fmla="*/ 2763 w 10003"/>
              <a:gd name="connsiteY192" fmla="*/ 4752 h 10000"/>
              <a:gd name="connsiteX193" fmla="*/ 3024 w 10003"/>
              <a:gd name="connsiteY193" fmla="*/ 4504 h 10000"/>
              <a:gd name="connsiteX194" fmla="*/ 3180 w 10003"/>
              <a:gd name="connsiteY194" fmla="*/ 4380 h 10000"/>
              <a:gd name="connsiteX195" fmla="*/ 3597 w 10003"/>
              <a:gd name="connsiteY195" fmla="*/ 3760 h 10000"/>
              <a:gd name="connsiteX196" fmla="*/ 4117 w 10003"/>
              <a:gd name="connsiteY196" fmla="*/ 3512 h 10000"/>
              <a:gd name="connsiteX197" fmla="*/ 5003 w 10003"/>
              <a:gd name="connsiteY197" fmla="*/ 2810 h 10000"/>
              <a:gd name="connsiteX198" fmla="*/ 4846 w 10003"/>
              <a:gd name="connsiteY198" fmla="*/ 2562 h 10000"/>
              <a:gd name="connsiteX199" fmla="*/ 4795 w 10003"/>
              <a:gd name="connsiteY199" fmla="*/ 2397 h 10000"/>
              <a:gd name="connsiteX200" fmla="*/ 4795 w 10003"/>
              <a:gd name="connsiteY200" fmla="*/ 1240 h 10000"/>
              <a:gd name="connsiteX201" fmla="*/ 4117 w 10003"/>
              <a:gd name="connsiteY201" fmla="*/ 744 h 10000"/>
              <a:gd name="connsiteX202" fmla="*/ 4951 w 10003"/>
              <a:gd name="connsiteY202" fmla="*/ 744 h 10000"/>
              <a:gd name="connsiteX203" fmla="*/ 5784 w 10003"/>
              <a:gd name="connsiteY203" fmla="*/ 744 h 10000"/>
              <a:gd name="connsiteX204" fmla="*/ 5784 w 10003"/>
              <a:gd name="connsiteY204" fmla="*/ 702 h 10000"/>
              <a:gd name="connsiteX205" fmla="*/ 5784 w 10003"/>
              <a:gd name="connsiteY205" fmla="*/ 661 h 10000"/>
              <a:gd name="connsiteX206" fmla="*/ 5784 w 10003"/>
              <a:gd name="connsiteY206" fmla="*/ 620 h 10000"/>
              <a:gd name="connsiteX207" fmla="*/ 5784 w 10003"/>
              <a:gd name="connsiteY207" fmla="*/ 579 h 10000"/>
              <a:gd name="connsiteX208" fmla="*/ 5836 w 10003"/>
              <a:gd name="connsiteY208" fmla="*/ 537 h 10000"/>
              <a:gd name="connsiteX209" fmla="*/ 5836 w 10003"/>
              <a:gd name="connsiteY209" fmla="*/ 496 h 10000"/>
              <a:gd name="connsiteX210" fmla="*/ 5836 w 10003"/>
              <a:gd name="connsiteY210" fmla="*/ 455 h 10000"/>
              <a:gd name="connsiteX211" fmla="*/ 5836 w 10003"/>
              <a:gd name="connsiteY211" fmla="*/ 413 h 10000"/>
              <a:gd name="connsiteX212" fmla="*/ 5836 w 10003"/>
              <a:gd name="connsiteY212" fmla="*/ 372 h 10000"/>
              <a:gd name="connsiteX213" fmla="*/ 5836 w 10003"/>
              <a:gd name="connsiteY213" fmla="*/ 331 h 10000"/>
              <a:gd name="connsiteX214" fmla="*/ 5784 w 10003"/>
              <a:gd name="connsiteY214" fmla="*/ 331 h 10000"/>
              <a:gd name="connsiteX215" fmla="*/ 5784 w 10003"/>
              <a:gd name="connsiteY215" fmla="*/ 289 h 10000"/>
              <a:gd name="connsiteX216" fmla="*/ 5784 w 10003"/>
              <a:gd name="connsiteY216" fmla="*/ 248 h 10000"/>
              <a:gd name="connsiteX217" fmla="*/ 5784 w 10003"/>
              <a:gd name="connsiteY217" fmla="*/ 207 h 10000"/>
              <a:gd name="connsiteX218" fmla="*/ 5784 w 10003"/>
              <a:gd name="connsiteY218" fmla="*/ 165 h 10000"/>
              <a:gd name="connsiteX219" fmla="*/ 5784 w 10003"/>
              <a:gd name="connsiteY219" fmla="*/ 124 h 10000"/>
              <a:gd name="connsiteX220" fmla="*/ 5784 w 10003"/>
              <a:gd name="connsiteY220" fmla="*/ 83 h 10000"/>
              <a:gd name="connsiteX221" fmla="*/ 5784 w 10003"/>
              <a:gd name="connsiteY221" fmla="*/ 41 h 10000"/>
              <a:gd name="connsiteX222" fmla="*/ 5784 w 10003"/>
              <a:gd name="connsiteY22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993 w 10003"/>
              <a:gd name="connsiteY180" fmla="*/ 5573 h 10000"/>
              <a:gd name="connsiteX181" fmla="*/ 2416 w 10003"/>
              <a:gd name="connsiteY181" fmla="*/ 5803 h 10000"/>
              <a:gd name="connsiteX182" fmla="*/ 1952 w 10003"/>
              <a:gd name="connsiteY182" fmla="*/ 6122 h 10000"/>
              <a:gd name="connsiteX183" fmla="*/ 0 w 10003"/>
              <a:gd name="connsiteY183" fmla="*/ 6051 h 10000"/>
              <a:gd name="connsiteX184" fmla="*/ 3 w 10003"/>
              <a:gd name="connsiteY184" fmla="*/ 5826 h 10000"/>
              <a:gd name="connsiteX185" fmla="*/ 159 w 10003"/>
              <a:gd name="connsiteY185" fmla="*/ 5909 h 10000"/>
              <a:gd name="connsiteX186" fmla="*/ 368 w 10003"/>
              <a:gd name="connsiteY186" fmla="*/ 5826 h 10000"/>
              <a:gd name="connsiteX187" fmla="*/ 1462 w 10003"/>
              <a:gd name="connsiteY187" fmla="*/ 5826 h 10000"/>
              <a:gd name="connsiteX188" fmla="*/ 1617 w 10003"/>
              <a:gd name="connsiteY188" fmla="*/ 5785 h 10000"/>
              <a:gd name="connsiteX189" fmla="*/ 1670 w 10003"/>
              <a:gd name="connsiteY189" fmla="*/ 5785 h 10000"/>
              <a:gd name="connsiteX190" fmla="*/ 2190 w 10003"/>
              <a:gd name="connsiteY190" fmla="*/ 5248 h 10000"/>
              <a:gd name="connsiteX191" fmla="*/ 2295 w 10003"/>
              <a:gd name="connsiteY191" fmla="*/ 5165 h 10000"/>
              <a:gd name="connsiteX192" fmla="*/ 2763 w 10003"/>
              <a:gd name="connsiteY192" fmla="*/ 4752 h 10000"/>
              <a:gd name="connsiteX193" fmla="*/ 3024 w 10003"/>
              <a:gd name="connsiteY193" fmla="*/ 4504 h 10000"/>
              <a:gd name="connsiteX194" fmla="*/ 3180 w 10003"/>
              <a:gd name="connsiteY194" fmla="*/ 4380 h 10000"/>
              <a:gd name="connsiteX195" fmla="*/ 3597 w 10003"/>
              <a:gd name="connsiteY195" fmla="*/ 3760 h 10000"/>
              <a:gd name="connsiteX196" fmla="*/ 4117 w 10003"/>
              <a:gd name="connsiteY196" fmla="*/ 3512 h 10000"/>
              <a:gd name="connsiteX197" fmla="*/ 5003 w 10003"/>
              <a:gd name="connsiteY197" fmla="*/ 2810 h 10000"/>
              <a:gd name="connsiteX198" fmla="*/ 4846 w 10003"/>
              <a:gd name="connsiteY198" fmla="*/ 2562 h 10000"/>
              <a:gd name="connsiteX199" fmla="*/ 4795 w 10003"/>
              <a:gd name="connsiteY199" fmla="*/ 2397 h 10000"/>
              <a:gd name="connsiteX200" fmla="*/ 4795 w 10003"/>
              <a:gd name="connsiteY200" fmla="*/ 1240 h 10000"/>
              <a:gd name="connsiteX201" fmla="*/ 4117 w 10003"/>
              <a:gd name="connsiteY201" fmla="*/ 744 h 10000"/>
              <a:gd name="connsiteX202" fmla="*/ 4951 w 10003"/>
              <a:gd name="connsiteY202" fmla="*/ 744 h 10000"/>
              <a:gd name="connsiteX203" fmla="*/ 5784 w 10003"/>
              <a:gd name="connsiteY203" fmla="*/ 744 h 10000"/>
              <a:gd name="connsiteX204" fmla="*/ 5784 w 10003"/>
              <a:gd name="connsiteY204" fmla="*/ 702 h 10000"/>
              <a:gd name="connsiteX205" fmla="*/ 5784 w 10003"/>
              <a:gd name="connsiteY205" fmla="*/ 661 h 10000"/>
              <a:gd name="connsiteX206" fmla="*/ 5784 w 10003"/>
              <a:gd name="connsiteY206" fmla="*/ 620 h 10000"/>
              <a:gd name="connsiteX207" fmla="*/ 5784 w 10003"/>
              <a:gd name="connsiteY207" fmla="*/ 579 h 10000"/>
              <a:gd name="connsiteX208" fmla="*/ 5836 w 10003"/>
              <a:gd name="connsiteY208" fmla="*/ 537 h 10000"/>
              <a:gd name="connsiteX209" fmla="*/ 5836 w 10003"/>
              <a:gd name="connsiteY209" fmla="*/ 496 h 10000"/>
              <a:gd name="connsiteX210" fmla="*/ 5836 w 10003"/>
              <a:gd name="connsiteY210" fmla="*/ 455 h 10000"/>
              <a:gd name="connsiteX211" fmla="*/ 5836 w 10003"/>
              <a:gd name="connsiteY211" fmla="*/ 413 h 10000"/>
              <a:gd name="connsiteX212" fmla="*/ 5836 w 10003"/>
              <a:gd name="connsiteY212" fmla="*/ 372 h 10000"/>
              <a:gd name="connsiteX213" fmla="*/ 5836 w 10003"/>
              <a:gd name="connsiteY213" fmla="*/ 331 h 10000"/>
              <a:gd name="connsiteX214" fmla="*/ 5784 w 10003"/>
              <a:gd name="connsiteY214" fmla="*/ 331 h 10000"/>
              <a:gd name="connsiteX215" fmla="*/ 5784 w 10003"/>
              <a:gd name="connsiteY215" fmla="*/ 289 h 10000"/>
              <a:gd name="connsiteX216" fmla="*/ 5784 w 10003"/>
              <a:gd name="connsiteY216" fmla="*/ 248 h 10000"/>
              <a:gd name="connsiteX217" fmla="*/ 5784 w 10003"/>
              <a:gd name="connsiteY217" fmla="*/ 207 h 10000"/>
              <a:gd name="connsiteX218" fmla="*/ 5784 w 10003"/>
              <a:gd name="connsiteY218" fmla="*/ 165 h 10000"/>
              <a:gd name="connsiteX219" fmla="*/ 5784 w 10003"/>
              <a:gd name="connsiteY219" fmla="*/ 124 h 10000"/>
              <a:gd name="connsiteX220" fmla="*/ 5784 w 10003"/>
              <a:gd name="connsiteY220" fmla="*/ 83 h 10000"/>
              <a:gd name="connsiteX221" fmla="*/ 5784 w 10003"/>
              <a:gd name="connsiteY221" fmla="*/ 41 h 10000"/>
              <a:gd name="connsiteX222" fmla="*/ 5784 w 10003"/>
              <a:gd name="connsiteY22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993 w 10003"/>
              <a:gd name="connsiteY180" fmla="*/ 5573 h 10000"/>
              <a:gd name="connsiteX181" fmla="*/ 2416 w 10003"/>
              <a:gd name="connsiteY181" fmla="*/ 5803 h 10000"/>
              <a:gd name="connsiteX182" fmla="*/ 1952 w 10003"/>
              <a:gd name="connsiteY182" fmla="*/ 6122 h 10000"/>
              <a:gd name="connsiteX183" fmla="*/ 0 w 10003"/>
              <a:gd name="connsiteY183" fmla="*/ 6051 h 10000"/>
              <a:gd name="connsiteX184" fmla="*/ 3 w 10003"/>
              <a:gd name="connsiteY184" fmla="*/ 5826 h 10000"/>
              <a:gd name="connsiteX185" fmla="*/ 159 w 10003"/>
              <a:gd name="connsiteY185" fmla="*/ 5909 h 10000"/>
              <a:gd name="connsiteX186" fmla="*/ 368 w 10003"/>
              <a:gd name="connsiteY186" fmla="*/ 5826 h 10000"/>
              <a:gd name="connsiteX187" fmla="*/ 1462 w 10003"/>
              <a:gd name="connsiteY187" fmla="*/ 5826 h 10000"/>
              <a:gd name="connsiteX188" fmla="*/ 1617 w 10003"/>
              <a:gd name="connsiteY188" fmla="*/ 5785 h 10000"/>
              <a:gd name="connsiteX189" fmla="*/ 1670 w 10003"/>
              <a:gd name="connsiteY189" fmla="*/ 5785 h 10000"/>
              <a:gd name="connsiteX190" fmla="*/ 2190 w 10003"/>
              <a:gd name="connsiteY190" fmla="*/ 5248 h 10000"/>
              <a:gd name="connsiteX191" fmla="*/ 2295 w 10003"/>
              <a:gd name="connsiteY191" fmla="*/ 5165 h 10000"/>
              <a:gd name="connsiteX192" fmla="*/ 2763 w 10003"/>
              <a:gd name="connsiteY192" fmla="*/ 4752 h 10000"/>
              <a:gd name="connsiteX193" fmla="*/ 3024 w 10003"/>
              <a:gd name="connsiteY193" fmla="*/ 4504 h 10000"/>
              <a:gd name="connsiteX194" fmla="*/ 3180 w 10003"/>
              <a:gd name="connsiteY194" fmla="*/ 4380 h 10000"/>
              <a:gd name="connsiteX195" fmla="*/ 3597 w 10003"/>
              <a:gd name="connsiteY195" fmla="*/ 3760 h 10000"/>
              <a:gd name="connsiteX196" fmla="*/ 4117 w 10003"/>
              <a:gd name="connsiteY196" fmla="*/ 3512 h 10000"/>
              <a:gd name="connsiteX197" fmla="*/ 5003 w 10003"/>
              <a:gd name="connsiteY197" fmla="*/ 2810 h 10000"/>
              <a:gd name="connsiteX198" fmla="*/ 4846 w 10003"/>
              <a:gd name="connsiteY198" fmla="*/ 2562 h 10000"/>
              <a:gd name="connsiteX199" fmla="*/ 4795 w 10003"/>
              <a:gd name="connsiteY199" fmla="*/ 2397 h 10000"/>
              <a:gd name="connsiteX200" fmla="*/ 4795 w 10003"/>
              <a:gd name="connsiteY200" fmla="*/ 1240 h 10000"/>
              <a:gd name="connsiteX201" fmla="*/ 4117 w 10003"/>
              <a:gd name="connsiteY201" fmla="*/ 744 h 10000"/>
              <a:gd name="connsiteX202" fmla="*/ 4951 w 10003"/>
              <a:gd name="connsiteY202" fmla="*/ 744 h 10000"/>
              <a:gd name="connsiteX203" fmla="*/ 5784 w 10003"/>
              <a:gd name="connsiteY203" fmla="*/ 744 h 10000"/>
              <a:gd name="connsiteX204" fmla="*/ 5784 w 10003"/>
              <a:gd name="connsiteY204" fmla="*/ 702 h 10000"/>
              <a:gd name="connsiteX205" fmla="*/ 5784 w 10003"/>
              <a:gd name="connsiteY205" fmla="*/ 661 h 10000"/>
              <a:gd name="connsiteX206" fmla="*/ 5784 w 10003"/>
              <a:gd name="connsiteY206" fmla="*/ 620 h 10000"/>
              <a:gd name="connsiteX207" fmla="*/ 5784 w 10003"/>
              <a:gd name="connsiteY207" fmla="*/ 579 h 10000"/>
              <a:gd name="connsiteX208" fmla="*/ 5836 w 10003"/>
              <a:gd name="connsiteY208" fmla="*/ 537 h 10000"/>
              <a:gd name="connsiteX209" fmla="*/ 5836 w 10003"/>
              <a:gd name="connsiteY209" fmla="*/ 496 h 10000"/>
              <a:gd name="connsiteX210" fmla="*/ 5836 w 10003"/>
              <a:gd name="connsiteY210" fmla="*/ 455 h 10000"/>
              <a:gd name="connsiteX211" fmla="*/ 5836 w 10003"/>
              <a:gd name="connsiteY211" fmla="*/ 413 h 10000"/>
              <a:gd name="connsiteX212" fmla="*/ 5836 w 10003"/>
              <a:gd name="connsiteY212" fmla="*/ 372 h 10000"/>
              <a:gd name="connsiteX213" fmla="*/ 5836 w 10003"/>
              <a:gd name="connsiteY213" fmla="*/ 331 h 10000"/>
              <a:gd name="connsiteX214" fmla="*/ 5784 w 10003"/>
              <a:gd name="connsiteY214" fmla="*/ 331 h 10000"/>
              <a:gd name="connsiteX215" fmla="*/ 5784 w 10003"/>
              <a:gd name="connsiteY215" fmla="*/ 289 h 10000"/>
              <a:gd name="connsiteX216" fmla="*/ 5784 w 10003"/>
              <a:gd name="connsiteY216" fmla="*/ 248 h 10000"/>
              <a:gd name="connsiteX217" fmla="*/ 5784 w 10003"/>
              <a:gd name="connsiteY217" fmla="*/ 207 h 10000"/>
              <a:gd name="connsiteX218" fmla="*/ 5784 w 10003"/>
              <a:gd name="connsiteY218" fmla="*/ 165 h 10000"/>
              <a:gd name="connsiteX219" fmla="*/ 5784 w 10003"/>
              <a:gd name="connsiteY219" fmla="*/ 124 h 10000"/>
              <a:gd name="connsiteX220" fmla="*/ 5784 w 10003"/>
              <a:gd name="connsiteY220" fmla="*/ 83 h 10000"/>
              <a:gd name="connsiteX221" fmla="*/ 5784 w 10003"/>
              <a:gd name="connsiteY221" fmla="*/ 41 h 10000"/>
              <a:gd name="connsiteX222" fmla="*/ 5784 w 10003"/>
              <a:gd name="connsiteY22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2993 w 10003"/>
              <a:gd name="connsiteY180" fmla="*/ 5573 h 10000"/>
              <a:gd name="connsiteX181" fmla="*/ 2416 w 10003"/>
              <a:gd name="connsiteY181" fmla="*/ 5803 h 10000"/>
              <a:gd name="connsiteX182" fmla="*/ 1952 w 10003"/>
              <a:gd name="connsiteY182" fmla="*/ 6122 h 10000"/>
              <a:gd name="connsiteX183" fmla="*/ 0 w 10003"/>
              <a:gd name="connsiteY183" fmla="*/ 6051 h 10000"/>
              <a:gd name="connsiteX184" fmla="*/ 3 w 10003"/>
              <a:gd name="connsiteY184" fmla="*/ 5826 h 10000"/>
              <a:gd name="connsiteX185" fmla="*/ 159 w 10003"/>
              <a:gd name="connsiteY185" fmla="*/ 5909 h 10000"/>
              <a:gd name="connsiteX186" fmla="*/ 368 w 10003"/>
              <a:gd name="connsiteY186" fmla="*/ 5826 h 10000"/>
              <a:gd name="connsiteX187" fmla="*/ 1462 w 10003"/>
              <a:gd name="connsiteY187" fmla="*/ 5826 h 10000"/>
              <a:gd name="connsiteX188" fmla="*/ 1617 w 10003"/>
              <a:gd name="connsiteY188" fmla="*/ 5785 h 10000"/>
              <a:gd name="connsiteX189" fmla="*/ 1670 w 10003"/>
              <a:gd name="connsiteY189" fmla="*/ 5785 h 10000"/>
              <a:gd name="connsiteX190" fmla="*/ 2190 w 10003"/>
              <a:gd name="connsiteY190" fmla="*/ 5248 h 10000"/>
              <a:gd name="connsiteX191" fmla="*/ 2295 w 10003"/>
              <a:gd name="connsiteY191" fmla="*/ 5165 h 10000"/>
              <a:gd name="connsiteX192" fmla="*/ 2763 w 10003"/>
              <a:gd name="connsiteY192" fmla="*/ 4752 h 10000"/>
              <a:gd name="connsiteX193" fmla="*/ 3024 w 10003"/>
              <a:gd name="connsiteY193" fmla="*/ 4504 h 10000"/>
              <a:gd name="connsiteX194" fmla="*/ 3180 w 10003"/>
              <a:gd name="connsiteY194" fmla="*/ 4380 h 10000"/>
              <a:gd name="connsiteX195" fmla="*/ 3597 w 10003"/>
              <a:gd name="connsiteY195" fmla="*/ 3760 h 10000"/>
              <a:gd name="connsiteX196" fmla="*/ 4117 w 10003"/>
              <a:gd name="connsiteY196" fmla="*/ 3512 h 10000"/>
              <a:gd name="connsiteX197" fmla="*/ 5003 w 10003"/>
              <a:gd name="connsiteY197" fmla="*/ 2810 h 10000"/>
              <a:gd name="connsiteX198" fmla="*/ 4846 w 10003"/>
              <a:gd name="connsiteY198" fmla="*/ 2562 h 10000"/>
              <a:gd name="connsiteX199" fmla="*/ 4795 w 10003"/>
              <a:gd name="connsiteY199" fmla="*/ 2397 h 10000"/>
              <a:gd name="connsiteX200" fmla="*/ 4795 w 10003"/>
              <a:gd name="connsiteY200" fmla="*/ 1240 h 10000"/>
              <a:gd name="connsiteX201" fmla="*/ 4117 w 10003"/>
              <a:gd name="connsiteY201" fmla="*/ 744 h 10000"/>
              <a:gd name="connsiteX202" fmla="*/ 4951 w 10003"/>
              <a:gd name="connsiteY202" fmla="*/ 744 h 10000"/>
              <a:gd name="connsiteX203" fmla="*/ 5784 w 10003"/>
              <a:gd name="connsiteY203" fmla="*/ 744 h 10000"/>
              <a:gd name="connsiteX204" fmla="*/ 5784 w 10003"/>
              <a:gd name="connsiteY204" fmla="*/ 702 h 10000"/>
              <a:gd name="connsiteX205" fmla="*/ 5784 w 10003"/>
              <a:gd name="connsiteY205" fmla="*/ 661 h 10000"/>
              <a:gd name="connsiteX206" fmla="*/ 5784 w 10003"/>
              <a:gd name="connsiteY206" fmla="*/ 620 h 10000"/>
              <a:gd name="connsiteX207" fmla="*/ 5784 w 10003"/>
              <a:gd name="connsiteY207" fmla="*/ 579 h 10000"/>
              <a:gd name="connsiteX208" fmla="*/ 5836 w 10003"/>
              <a:gd name="connsiteY208" fmla="*/ 537 h 10000"/>
              <a:gd name="connsiteX209" fmla="*/ 5836 w 10003"/>
              <a:gd name="connsiteY209" fmla="*/ 496 h 10000"/>
              <a:gd name="connsiteX210" fmla="*/ 5836 w 10003"/>
              <a:gd name="connsiteY210" fmla="*/ 455 h 10000"/>
              <a:gd name="connsiteX211" fmla="*/ 5836 w 10003"/>
              <a:gd name="connsiteY211" fmla="*/ 413 h 10000"/>
              <a:gd name="connsiteX212" fmla="*/ 5836 w 10003"/>
              <a:gd name="connsiteY212" fmla="*/ 372 h 10000"/>
              <a:gd name="connsiteX213" fmla="*/ 5836 w 10003"/>
              <a:gd name="connsiteY213" fmla="*/ 331 h 10000"/>
              <a:gd name="connsiteX214" fmla="*/ 5784 w 10003"/>
              <a:gd name="connsiteY214" fmla="*/ 331 h 10000"/>
              <a:gd name="connsiteX215" fmla="*/ 5784 w 10003"/>
              <a:gd name="connsiteY215" fmla="*/ 289 h 10000"/>
              <a:gd name="connsiteX216" fmla="*/ 5784 w 10003"/>
              <a:gd name="connsiteY216" fmla="*/ 248 h 10000"/>
              <a:gd name="connsiteX217" fmla="*/ 5784 w 10003"/>
              <a:gd name="connsiteY217" fmla="*/ 207 h 10000"/>
              <a:gd name="connsiteX218" fmla="*/ 5784 w 10003"/>
              <a:gd name="connsiteY218" fmla="*/ 165 h 10000"/>
              <a:gd name="connsiteX219" fmla="*/ 5784 w 10003"/>
              <a:gd name="connsiteY219" fmla="*/ 124 h 10000"/>
              <a:gd name="connsiteX220" fmla="*/ 5784 w 10003"/>
              <a:gd name="connsiteY220" fmla="*/ 83 h 10000"/>
              <a:gd name="connsiteX221" fmla="*/ 5784 w 10003"/>
              <a:gd name="connsiteY221" fmla="*/ 41 h 10000"/>
              <a:gd name="connsiteX222" fmla="*/ 5784 w 10003"/>
              <a:gd name="connsiteY22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201 w 10003"/>
              <a:gd name="connsiteY180" fmla="*/ 5839 h 10000"/>
              <a:gd name="connsiteX181" fmla="*/ 2993 w 10003"/>
              <a:gd name="connsiteY181" fmla="*/ 5573 h 10000"/>
              <a:gd name="connsiteX182" fmla="*/ 2416 w 10003"/>
              <a:gd name="connsiteY182" fmla="*/ 5803 h 10000"/>
              <a:gd name="connsiteX183" fmla="*/ 1952 w 10003"/>
              <a:gd name="connsiteY183" fmla="*/ 6122 h 10000"/>
              <a:gd name="connsiteX184" fmla="*/ 0 w 10003"/>
              <a:gd name="connsiteY184" fmla="*/ 6051 h 10000"/>
              <a:gd name="connsiteX185" fmla="*/ 3 w 10003"/>
              <a:gd name="connsiteY185" fmla="*/ 5826 h 10000"/>
              <a:gd name="connsiteX186" fmla="*/ 159 w 10003"/>
              <a:gd name="connsiteY186" fmla="*/ 5909 h 10000"/>
              <a:gd name="connsiteX187" fmla="*/ 368 w 10003"/>
              <a:gd name="connsiteY187" fmla="*/ 5826 h 10000"/>
              <a:gd name="connsiteX188" fmla="*/ 1462 w 10003"/>
              <a:gd name="connsiteY188" fmla="*/ 5826 h 10000"/>
              <a:gd name="connsiteX189" fmla="*/ 1617 w 10003"/>
              <a:gd name="connsiteY189" fmla="*/ 5785 h 10000"/>
              <a:gd name="connsiteX190" fmla="*/ 1670 w 10003"/>
              <a:gd name="connsiteY190" fmla="*/ 5785 h 10000"/>
              <a:gd name="connsiteX191" fmla="*/ 2190 w 10003"/>
              <a:gd name="connsiteY191" fmla="*/ 5248 h 10000"/>
              <a:gd name="connsiteX192" fmla="*/ 2295 w 10003"/>
              <a:gd name="connsiteY192" fmla="*/ 5165 h 10000"/>
              <a:gd name="connsiteX193" fmla="*/ 2763 w 10003"/>
              <a:gd name="connsiteY193" fmla="*/ 4752 h 10000"/>
              <a:gd name="connsiteX194" fmla="*/ 3024 w 10003"/>
              <a:gd name="connsiteY194" fmla="*/ 4504 h 10000"/>
              <a:gd name="connsiteX195" fmla="*/ 3180 w 10003"/>
              <a:gd name="connsiteY195" fmla="*/ 4380 h 10000"/>
              <a:gd name="connsiteX196" fmla="*/ 3597 w 10003"/>
              <a:gd name="connsiteY196" fmla="*/ 3760 h 10000"/>
              <a:gd name="connsiteX197" fmla="*/ 4117 w 10003"/>
              <a:gd name="connsiteY197" fmla="*/ 3512 h 10000"/>
              <a:gd name="connsiteX198" fmla="*/ 5003 w 10003"/>
              <a:gd name="connsiteY198" fmla="*/ 2810 h 10000"/>
              <a:gd name="connsiteX199" fmla="*/ 4846 w 10003"/>
              <a:gd name="connsiteY199" fmla="*/ 2562 h 10000"/>
              <a:gd name="connsiteX200" fmla="*/ 4795 w 10003"/>
              <a:gd name="connsiteY200" fmla="*/ 2397 h 10000"/>
              <a:gd name="connsiteX201" fmla="*/ 4795 w 10003"/>
              <a:gd name="connsiteY201" fmla="*/ 1240 h 10000"/>
              <a:gd name="connsiteX202" fmla="*/ 4117 w 10003"/>
              <a:gd name="connsiteY202" fmla="*/ 744 h 10000"/>
              <a:gd name="connsiteX203" fmla="*/ 4951 w 10003"/>
              <a:gd name="connsiteY203" fmla="*/ 744 h 10000"/>
              <a:gd name="connsiteX204" fmla="*/ 5784 w 10003"/>
              <a:gd name="connsiteY204" fmla="*/ 744 h 10000"/>
              <a:gd name="connsiteX205" fmla="*/ 5784 w 10003"/>
              <a:gd name="connsiteY205" fmla="*/ 702 h 10000"/>
              <a:gd name="connsiteX206" fmla="*/ 5784 w 10003"/>
              <a:gd name="connsiteY206" fmla="*/ 661 h 10000"/>
              <a:gd name="connsiteX207" fmla="*/ 5784 w 10003"/>
              <a:gd name="connsiteY207" fmla="*/ 620 h 10000"/>
              <a:gd name="connsiteX208" fmla="*/ 5784 w 10003"/>
              <a:gd name="connsiteY208" fmla="*/ 579 h 10000"/>
              <a:gd name="connsiteX209" fmla="*/ 5836 w 10003"/>
              <a:gd name="connsiteY209" fmla="*/ 537 h 10000"/>
              <a:gd name="connsiteX210" fmla="*/ 5836 w 10003"/>
              <a:gd name="connsiteY210" fmla="*/ 496 h 10000"/>
              <a:gd name="connsiteX211" fmla="*/ 5836 w 10003"/>
              <a:gd name="connsiteY211" fmla="*/ 455 h 10000"/>
              <a:gd name="connsiteX212" fmla="*/ 5836 w 10003"/>
              <a:gd name="connsiteY212" fmla="*/ 413 h 10000"/>
              <a:gd name="connsiteX213" fmla="*/ 5836 w 10003"/>
              <a:gd name="connsiteY213" fmla="*/ 372 h 10000"/>
              <a:gd name="connsiteX214" fmla="*/ 5836 w 10003"/>
              <a:gd name="connsiteY214" fmla="*/ 331 h 10000"/>
              <a:gd name="connsiteX215" fmla="*/ 5784 w 10003"/>
              <a:gd name="connsiteY215" fmla="*/ 331 h 10000"/>
              <a:gd name="connsiteX216" fmla="*/ 5784 w 10003"/>
              <a:gd name="connsiteY216" fmla="*/ 289 h 10000"/>
              <a:gd name="connsiteX217" fmla="*/ 5784 w 10003"/>
              <a:gd name="connsiteY217" fmla="*/ 248 h 10000"/>
              <a:gd name="connsiteX218" fmla="*/ 5784 w 10003"/>
              <a:gd name="connsiteY218" fmla="*/ 207 h 10000"/>
              <a:gd name="connsiteX219" fmla="*/ 5784 w 10003"/>
              <a:gd name="connsiteY219" fmla="*/ 165 h 10000"/>
              <a:gd name="connsiteX220" fmla="*/ 5784 w 10003"/>
              <a:gd name="connsiteY220" fmla="*/ 124 h 10000"/>
              <a:gd name="connsiteX221" fmla="*/ 5784 w 10003"/>
              <a:gd name="connsiteY221" fmla="*/ 83 h 10000"/>
              <a:gd name="connsiteX222" fmla="*/ 5784 w 10003"/>
              <a:gd name="connsiteY222" fmla="*/ 41 h 10000"/>
              <a:gd name="connsiteX223" fmla="*/ 5784 w 10003"/>
              <a:gd name="connsiteY22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537 w 10003"/>
              <a:gd name="connsiteY180" fmla="*/ 5272 h 10000"/>
              <a:gd name="connsiteX181" fmla="*/ 2993 w 10003"/>
              <a:gd name="connsiteY181" fmla="*/ 5573 h 10000"/>
              <a:gd name="connsiteX182" fmla="*/ 2416 w 10003"/>
              <a:gd name="connsiteY182" fmla="*/ 5803 h 10000"/>
              <a:gd name="connsiteX183" fmla="*/ 1952 w 10003"/>
              <a:gd name="connsiteY183" fmla="*/ 6122 h 10000"/>
              <a:gd name="connsiteX184" fmla="*/ 0 w 10003"/>
              <a:gd name="connsiteY184" fmla="*/ 6051 h 10000"/>
              <a:gd name="connsiteX185" fmla="*/ 3 w 10003"/>
              <a:gd name="connsiteY185" fmla="*/ 5826 h 10000"/>
              <a:gd name="connsiteX186" fmla="*/ 159 w 10003"/>
              <a:gd name="connsiteY186" fmla="*/ 5909 h 10000"/>
              <a:gd name="connsiteX187" fmla="*/ 368 w 10003"/>
              <a:gd name="connsiteY187" fmla="*/ 5826 h 10000"/>
              <a:gd name="connsiteX188" fmla="*/ 1462 w 10003"/>
              <a:gd name="connsiteY188" fmla="*/ 5826 h 10000"/>
              <a:gd name="connsiteX189" fmla="*/ 1617 w 10003"/>
              <a:gd name="connsiteY189" fmla="*/ 5785 h 10000"/>
              <a:gd name="connsiteX190" fmla="*/ 1670 w 10003"/>
              <a:gd name="connsiteY190" fmla="*/ 5785 h 10000"/>
              <a:gd name="connsiteX191" fmla="*/ 2190 w 10003"/>
              <a:gd name="connsiteY191" fmla="*/ 5248 h 10000"/>
              <a:gd name="connsiteX192" fmla="*/ 2295 w 10003"/>
              <a:gd name="connsiteY192" fmla="*/ 5165 h 10000"/>
              <a:gd name="connsiteX193" fmla="*/ 2763 w 10003"/>
              <a:gd name="connsiteY193" fmla="*/ 4752 h 10000"/>
              <a:gd name="connsiteX194" fmla="*/ 3024 w 10003"/>
              <a:gd name="connsiteY194" fmla="*/ 4504 h 10000"/>
              <a:gd name="connsiteX195" fmla="*/ 3180 w 10003"/>
              <a:gd name="connsiteY195" fmla="*/ 4380 h 10000"/>
              <a:gd name="connsiteX196" fmla="*/ 3597 w 10003"/>
              <a:gd name="connsiteY196" fmla="*/ 3760 h 10000"/>
              <a:gd name="connsiteX197" fmla="*/ 4117 w 10003"/>
              <a:gd name="connsiteY197" fmla="*/ 3512 h 10000"/>
              <a:gd name="connsiteX198" fmla="*/ 5003 w 10003"/>
              <a:gd name="connsiteY198" fmla="*/ 2810 h 10000"/>
              <a:gd name="connsiteX199" fmla="*/ 4846 w 10003"/>
              <a:gd name="connsiteY199" fmla="*/ 2562 h 10000"/>
              <a:gd name="connsiteX200" fmla="*/ 4795 w 10003"/>
              <a:gd name="connsiteY200" fmla="*/ 2397 h 10000"/>
              <a:gd name="connsiteX201" fmla="*/ 4795 w 10003"/>
              <a:gd name="connsiteY201" fmla="*/ 1240 h 10000"/>
              <a:gd name="connsiteX202" fmla="*/ 4117 w 10003"/>
              <a:gd name="connsiteY202" fmla="*/ 744 h 10000"/>
              <a:gd name="connsiteX203" fmla="*/ 4951 w 10003"/>
              <a:gd name="connsiteY203" fmla="*/ 744 h 10000"/>
              <a:gd name="connsiteX204" fmla="*/ 5784 w 10003"/>
              <a:gd name="connsiteY204" fmla="*/ 744 h 10000"/>
              <a:gd name="connsiteX205" fmla="*/ 5784 w 10003"/>
              <a:gd name="connsiteY205" fmla="*/ 702 h 10000"/>
              <a:gd name="connsiteX206" fmla="*/ 5784 w 10003"/>
              <a:gd name="connsiteY206" fmla="*/ 661 h 10000"/>
              <a:gd name="connsiteX207" fmla="*/ 5784 w 10003"/>
              <a:gd name="connsiteY207" fmla="*/ 620 h 10000"/>
              <a:gd name="connsiteX208" fmla="*/ 5784 w 10003"/>
              <a:gd name="connsiteY208" fmla="*/ 579 h 10000"/>
              <a:gd name="connsiteX209" fmla="*/ 5836 w 10003"/>
              <a:gd name="connsiteY209" fmla="*/ 537 h 10000"/>
              <a:gd name="connsiteX210" fmla="*/ 5836 w 10003"/>
              <a:gd name="connsiteY210" fmla="*/ 496 h 10000"/>
              <a:gd name="connsiteX211" fmla="*/ 5836 w 10003"/>
              <a:gd name="connsiteY211" fmla="*/ 455 h 10000"/>
              <a:gd name="connsiteX212" fmla="*/ 5836 w 10003"/>
              <a:gd name="connsiteY212" fmla="*/ 413 h 10000"/>
              <a:gd name="connsiteX213" fmla="*/ 5836 w 10003"/>
              <a:gd name="connsiteY213" fmla="*/ 372 h 10000"/>
              <a:gd name="connsiteX214" fmla="*/ 5836 w 10003"/>
              <a:gd name="connsiteY214" fmla="*/ 331 h 10000"/>
              <a:gd name="connsiteX215" fmla="*/ 5784 w 10003"/>
              <a:gd name="connsiteY215" fmla="*/ 331 h 10000"/>
              <a:gd name="connsiteX216" fmla="*/ 5784 w 10003"/>
              <a:gd name="connsiteY216" fmla="*/ 289 h 10000"/>
              <a:gd name="connsiteX217" fmla="*/ 5784 w 10003"/>
              <a:gd name="connsiteY217" fmla="*/ 248 h 10000"/>
              <a:gd name="connsiteX218" fmla="*/ 5784 w 10003"/>
              <a:gd name="connsiteY218" fmla="*/ 207 h 10000"/>
              <a:gd name="connsiteX219" fmla="*/ 5784 w 10003"/>
              <a:gd name="connsiteY219" fmla="*/ 165 h 10000"/>
              <a:gd name="connsiteX220" fmla="*/ 5784 w 10003"/>
              <a:gd name="connsiteY220" fmla="*/ 124 h 10000"/>
              <a:gd name="connsiteX221" fmla="*/ 5784 w 10003"/>
              <a:gd name="connsiteY221" fmla="*/ 83 h 10000"/>
              <a:gd name="connsiteX222" fmla="*/ 5784 w 10003"/>
              <a:gd name="connsiteY222" fmla="*/ 41 h 10000"/>
              <a:gd name="connsiteX223" fmla="*/ 5784 w 10003"/>
              <a:gd name="connsiteY22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665 w 10003"/>
              <a:gd name="connsiteY180" fmla="*/ 5484 h 10000"/>
              <a:gd name="connsiteX181" fmla="*/ 3537 w 10003"/>
              <a:gd name="connsiteY181" fmla="*/ 5272 h 10000"/>
              <a:gd name="connsiteX182" fmla="*/ 2993 w 10003"/>
              <a:gd name="connsiteY182" fmla="*/ 5573 h 10000"/>
              <a:gd name="connsiteX183" fmla="*/ 2416 w 10003"/>
              <a:gd name="connsiteY183" fmla="*/ 5803 h 10000"/>
              <a:gd name="connsiteX184" fmla="*/ 1952 w 10003"/>
              <a:gd name="connsiteY184" fmla="*/ 6122 h 10000"/>
              <a:gd name="connsiteX185" fmla="*/ 0 w 10003"/>
              <a:gd name="connsiteY185" fmla="*/ 6051 h 10000"/>
              <a:gd name="connsiteX186" fmla="*/ 3 w 10003"/>
              <a:gd name="connsiteY186" fmla="*/ 5826 h 10000"/>
              <a:gd name="connsiteX187" fmla="*/ 159 w 10003"/>
              <a:gd name="connsiteY187" fmla="*/ 5909 h 10000"/>
              <a:gd name="connsiteX188" fmla="*/ 368 w 10003"/>
              <a:gd name="connsiteY188" fmla="*/ 5826 h 10000"/>
              <a:gd name="connsiteX189" fmla="*/ 1462 w 10003"/>
              <a:gd name="connsiteY189" fmla="*/ 5826 h 10000"/>
              <a:gd name="connsiteX190" fmla="*/ 1617 w 10003"/>
              <a:gd name="connsiteY190" fmla="*/ 5785 h 10000"/>
              <a:gd name="connsiteX191" fmla="*/ 1670 w 10003"/>
              <a:gd name="connsiteY191" fmla="*/ 5785 h 10000"/>
              <a:gd name="connsiteX192" fmla="*/ 2190 w 10003"/>
              <a:gd name="connsiteY192" fmla="*/ 5248 h 10000"/>
              <a:gd name="connsiteX193" fmla="*/ 2295 w 10003"/>
              <a:gd name="connsiteY193" fmla="*/ 5165 h 10000"/>
              <a:gd name="connsiteX194" fmla="*/ 2763 w 10003"/>
              <a:gd name="connsiteY194" fmla="*/ 4752 h 10000"/>
              <a:gd name="connsiteX195" fmla="*/ 3024 w 10003"/>
              <a:gd name="connsiteY195" fmla="*/ 4504 h 10000"/>
              <a:gd name="connsiteX196" fmla="*/ 3180 w 10003"/>
              <a:gd name="connsiteY196" fmla="*/ 4380 h 10000"/>
              <a:gd name="connsiteX197" fmla="*/ 3597 w 10003"/>
              <a:gd name="connsiteY197" fmla="*/ 3760 h 10000"/>
              <a:gd name="connsiteX198" fmla="*/ 4117 w 10003"/>
              <a:gd name="connsiteY198" fmla="*/ 3512 h 10000"/>
              <a:gd name="connsiteX199" fmla="*/ 5003 w 10003"/>
              <a:gd name="connsiteY199" fmla="*/ 2810 h 10000"/>
              <a:gd name="connsiteX200" fmla="*/ 4846 w 10003"/>
              <a:gd name="connsiteY200" fmla="*/ 2562 h 10000"/>
              <a:gd name="connsiteX201" fmla="*/ 4795 w 10003"/>
              <a:gd name="connsiteY201" fmla="*/ 2397 h 10000"/>
              <a:gd name="connsiteX202" fmla="*/ 4795 w 10003"/>
              <a:gd name="connsiteY202" fmla="*/ 1240 h 10000"/>
              <a:gd name="connsiteX203" fmla="*/ 4117 w 10003"/>
              <a:gd name="connsiteY203" fmla="*/ 744 h 10000"/>
              <a:gd name="connsiteX204" fmla="*/ 4951 w 10003"/>
              <a:gd name="connsiteY204" fmla="*/ 744 h 10000"/>
              <a:gd name="connsiteX205" fmla="*/ 5784 w 10003"/>
              <a:gd name="connsiteY205" fmla="*/ 744 h 10000"/>
              <a:gd name="connsiteX206" fmla="*/ 5784 w 10003"/>
              <a:gd name="connsiteY206" fmla="*/ 702 h 10000"/>
              <a:gd name="connsiteX207" fmla="*/ 5784 w 10003"/>
              <a:gd name="connsiteY207" fmla="*/ 661 h 10000"/>
              <a:gd name="connsiteX208" fmla="*/ 5784 w 10003"/>
              <a:gd name="connsiteY208" fmla="*/ 620 h 10000"/>
              <a:gd name="connsiteX209" fmla="*/ 5784 w 10003"/>
              <a:gd name="connsiteY209" fmla="*/ 579 h 10000"/>
              <a:gd name="connsiteX210" fmla="*/ 5836 w 10003"/>
              <a:gd name="connsiteY210" fmla="*/ 537 h 10000"/>
              <a:gd name="connsiteX211" fmla="*/ 5836 w 10003"/>
              <a:gd name="connsiteY211" fmla="*/ 496 h 10000"/>
              <a:gd name="connsiteX212" fmla="*/ 5836 w 10003"/>
              <a:gd name="connsiteY212" fmla="*/ 455 h 10000"/>
              <a:gd name="connsiteX213" fmla="*/ 5836 w 10003"/>
              <a:gd name="connsiteY213" fmla="*/ 413 h 10000"/>
              <a:gd name="connsiteX214" fmla="*/ 5836 w 10003"/>
              <a:gd name="connsiteY214" fmla="*/ 372 h 10000"/>
              <a:gd name="connsiteX215" fmla="*/ 5836 w 10003"/>
              <a:gd name="connsiteY215" fmla="*/ 331 h 10000"/>
              <a:gd name="connsiteX216" fmla="*/ 5784 w 10003"/>
              <a:gd name="connsiteY216" fmla="*/ 331 h 10000"/>
              <a:gd name="connsiteX217" fmla="*/ 5784 w 10003"/>
              <a:gd name="connsiteY217" fmla="*/ 289 h 10000"/>
              <a:gd name="connsiteX218" fmla="*/ 5784 w 10003"/>
              <a:gd name="connsiteY218" fmla="*/ 248 h 10000"/>
              <a:gd name="connsiteX219" fmla="*/ 5784 w 10003"/>
              <a:gd name="connsiteY219" fmla="*/ 207 h 10000"/>
              <a:gd name="connsiteX220" fmla="*/ 5784 w 10003"/>
              <a:gd name="connsiteY220" fmla="*/ 165 h 10000"/>
              <a:gd name="connsiteX221" fmla="*/ 5784 w 10003"/>
              <a:gd name="connsiteY221" fmla="*/ 124 h 10000"/>
              <a:gd name="connsiteX222" fmla="*/ 5784 w 10003"/>
              <a:gd name="connsiteY222" fmla="*/ 83 h 10000"/>
              <a:gd name="connsiteX223" fmla="*/ 5784 w 10003"/>
              <a:gd name="connsiteY223" fmla="*/ 41 h 10000"/>
              <a:gd name="connsiteX224" fmla="*/ 5784 w 10003"/>
              <a:gd name="connsiteY22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809 w 10003"/>
              <a:gd name="connsiteY180" fmla="*/ 4934 h 10000"/>
              <a:gd name="connsiteX181" fmla="*/ 3537 w 10003"/>
              <a:gd name="connsiteY181" fmla="*/ 5272 h 10000"/>
              <a:gd name="connsiteX182" fmla="*/ 2993 w 10003"/>
              <a:gd name="connsiteY182" fmla="*/ 5573 h 10000"/>
              <a:gd name="connsiteX183" fmla="*/ 2416 w 10003"/>
              <a:gd name="connsiteY183" fmla="*/ 5803 h 10000"/>
              <a:gd name="connsiteX184" fmla="*/ 1952 w 10003"/>
              <a:gd name="connsiteY184" fmla="*/ 6122 h 10000"/>
              <a:gd name="connsiteX185" fmla="*/ 0 w 10003"/>
              <a:gd name="connsiteY185" fmla="*/ 6051 h 10000"/>
              <a:gd name="connsiteX186" fmla="*/ 3 w 10003"/>
              <a:gd name="connsiteY186" fmla="*/ 5826 h 10000"/>
              <a:gd name="connsiteX187" fmla="*/ 159 w 10003"/>
              <a:gd name="connsiteY187" fmla="*/ 5909 h 10000"/>
              <a:gd name="connsiteX188" fmla="*/ 368 w 10003"/>
              <a:gd name="connsiteY188" fmla="*/ 5826 h 10000"/>
              <a:gd name="connsiteX189" fmla="*/ 1462 w 10003"/>
              <a:gd name="connsiteY189" fmla="*/ 5826 h 10000"/>
              <a:gd name="connsiteX190" fmla="*/ 1617 w 10003"/>
              <a:gd name="connsiteY190" fmla="*/ 5785 h 10000"/>
              <a:gd name="connsiteX191" fmla="*/ 1670 w 10003"/>
              <a:gd name="connsiteY191" fmla="*/ 5785 h 10000"/>
              <a:gd name="connsiteX192" fmla="*/ 2190 w 10003"/>
              <a:gd name="connsiteY192" fmla="*/ 5248 h 10000"/>
              <a:gd name="connsiteX193" fmla="*/ 2295 w 10003"/>
              <a:gd name="connsiteY193" fmla="*/ 5165 h 10000"/>
              <a:gd name="connsiteX194" fmla="*/ 2763 w 10003"/>
              <a:gd name="connsiteY194" fmla="*/ 4752 h 10000"/>
              <a:gd name="connsiteX195" fmla="*/ 3024 w 10003"/>
              <a:gd name="connsiteY195" fmla="*/ 4504 h 10000"/>
              <a:gd name="connsiteX196" fmla="*/ 3180 w 10003"/>
              <a:gd name="connsiteY196" fmla="*/ 4380 h 10000"/>
              <a:gd name="connsiteX197" fmla="*/ 3597 w 10003"/>
              <a:gd name="connsiteY197" fmla="*/ 3760 h 10000"/>
              <a:gd name="connsiteX198" fmla="*/ 4117 w 10003"/>
              <a:gd name="connsiteY198" fmla="*/ 3512 h 10000"/>
              <a:gd name="connsiteX199" fmla="*/ 5003 w 10003"/>
              <a:gd name="connsiteY199" fmla="*/ 2810 h 10000"/>
              <a:gd name="connsiteX200" fmla="*/ 4846 w 10003"/>
              <a:gd name="connsiteY200" fmla="*/ 2562 h 10000"/>
              <a:gd name="connsiteX201" fmla="*/ 4795 w 10003"/>
              <a:gd name="connsiteY201" fmla="*/ 2397 h 10000"/>
              <a:gd name="connsiteX202" fmla="*/ 4795 w 10003"/>
              <a:gd name="connsiteY202" fmla="*/ 1240 h 10000"/>
              <a:gd name="connsiteX203" fmla="*/ 4117 w 10003"/>
              <a:gd name="connsiteY203" fmla="*/ 744 h 10000"/>
              <a:gd name="connsiteX204" fmla="*/ 4951 w 10003"/>
              <a:gd name="connsiteY204" fmla="*/ 744 h 10000"/>
              <a:gd name="connsiteX205" fmla="*/ 5784 w 10003"/>
              <a:gd name="connsiteY205" fmla="*/ 744 h 10000"/>
              <a:gd name="connsiteX206" fmla="*/ 5784 w 10003"/>
              <a:gd name="connsiteY206" fmla="*/ 702 h 10000"/>
              <a:gd name="connsiteX207" fmla="*/ 5784 w 10003"/>
              <a:gd name="connsiteY207" fmla="*/ 661 h 10000"/>
              <a:gd name="connsiteX208" fmla="*/ 5784 w 10003"/>
              <a:gd name="connsiteY208" fmla="*/ 620 h 10000"/>
              <a:gd name="connsiteX209" fmla="*/ 5784 w 10003"/>
              <a:gd name="connsiteY209" fmla="*/ 579 h 10000"/>
              <a:gd name="connsiteX210" fmla="*/ 5836 w 10003"/>
              <a:gd name="connsiteY210" fmla="*/ 537 h 10000"/>
              <a:gd name="connsiteX211" fmla="*/ 5836 w 10003"/>
              <a:gd name="connsiteY211" fmla="*/ 496 h 10000"/>
              <a:gd name="connsiteX212" fmla="*/ 5836 w 10003"/>
              <a:gd name="connsiteY212" fmla="*/ 455 h 10000"/>
              <a:gd name="connsiteX213" fmla="*/ 5836 w 10003"/>
              <a:gd name="connsiteY213" fmla="*/ 413 h 10000"/>
              <a:gd name="connsiteX214" fmla="*/ 5836 w 10003"/>
              <a:gd name="connsiteY214" fmla="*/ 372 h 10000"/>
              <a:gd name="connsiteX215" fmla="*/ 5836 w 10003"/>
              <a:gd name="connsiteY215" fmla="*/ 331 h 10000"/>
              <a:gd name="connsiteX216" fmla="*/ 5784 w 10003"/>
              <a:gd name="connsiteY216" fmla="*/ 331 h 10000"/>
              <a:gd name="connsiteX217" fmla="*/ 5784 w 10003"/>
              <a:gd name="connsiteY217" fmla="*/ 289 h 10000"/>
              <a:gd name="connsiteX218" fmla="*/ 5784 w 10003"/>
              <a:gd name="connsiteY218" fmla="*/ 248 h 10000"/>
              <a:gd name="connsiteX219" fmla="*/ 5784 w 10003"/>
              <a:gd name="connsiteY219" fmla="*/ 207 h 10000"/>
              <a:gd name="connsiteX220" fmla="*/ 5784 w 10003"/>
              <a:gd name="connsiteY220" fmla="*/ 165 h 10000"/>
              <a:gd name="connsiteX221" fmla="*/ 5784 w 10003"/>
              <a:gd name="connsiteY221" fmla="*/ 124 h 10000"/>
              <a:gd name="connsiteX222" fmla="*/ 5784 w 10003"/>
              <a:gd name="connsiteY222" fmla="*/ 83 h 10000"/>
              <a:gd name="connsiteX223" fmla="*/ 5784 w 10003"/>
              <a:gd name="connsiteY223" fmla="*/ 41 h 10000"/>
              <a:gd name="connsiteX224" fmla="*/ 5784 w 10003"/>
              <a:gd name="connsiteY22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905 w 10003"/>
              <a:gd name="connsiteY180" fmla="*/ 5059 h 10000"/>
              <a:gd name="connsiteX181" fmla="*/ 3809 w 10003"/>
              <a:gd name="connsiteY181" fmla="*/ 4934 h 10000"/>
              <a:gd name="connsiteX182" fmla="*/ 3537 w 10003"/>
              <a:gd name="connsiteY182" fmla="*/ 5272 h 10000"/>
              <a:gd name="connsiteX183" fmla="*/ 2993 w 10003"/>
              <a:gd name="connsiteY183" fmla="*/ 5573 h 10000"/>
              <a:gd name="connsiteX184" fmla="*/ 2416 w 10003"/>
              <a:gd name="connsiteY184" fmla="*/ 5803 h 10000"/>
              <a:gd name="connsiteX185" fmla="*/ 1952 w 10003"/>
              <a:gd name="connsiteY185" fmla="*/ 6122 h 10000"/>
              <a:gd name="connsiteX186" fmla="*/ 0 w 10003"/>
              <a:gd name="connsiteY186" fmla="*/ 6051 h 10000"/>
              <a:gd name="connsiteX187" fmla="*/ 3 w 10003"/>
              <a:gd name="connsiteY187" fmla="*/ 5826 h 10000"/>
              <a:gd name="connsiteX188" fmla="*/ 159 w 10003"/>
              <a:gd name="connsiteY188" fmla="*/ 5909 h 10000"/>
              <a:gd name="connsiteX189" fmla="*/ 368 w 10003"/>
              <a:gd name="connsiteY189" fmla="*/ 5826 h 10000"/>
              <a:gd name="connsiteX190" fmla="*/ 1462 w 10003"/>
              <a:gd name="connsiteY190" fmla="*/ 5826 h 10000"/>
              <a:gd name="connsiteX191" fmla="*/ 1617 w 10003"/>
              <a:gd name="connsiteY191" fmla="*/ 5785 h 10000"/>
              <a:gd name="connsiteX192" fmla="*/ 1670 w 10003"/>
              <a:gd name="connsiteY192" fmla="*/ 5785 h 10000"/>
              <a:gd name="connsiteX193" fmla="*/ 2190 w 10003"/>
              <a:gd name="connsiteY193" fmla="*/ 5248 h 10000"/>
              <a:gd name="connsiteX194" fmla="*/ 2295 w 10003"/>
              <a:gd name="connsiteY194" fmla="*/ 5165 h 10000"/>
              <a:gd name="connsiteX195" fmla="*/ 2763 w 10003"/>
              <a:gd name="connsiteY195" fmla="*/ 4752 h 10000"/>
              <a:gd name="connsiteX196" fmla="*/ 3024 w 10003"/>
              <a:gd name="connsiteY196" fmla="*/ 4504 h 10000"/>
              <a:gd name="connsiteX197" fmla="*/ 3180 w 10003"/>
              <a:gd name="connsiteY197" fmla="*/ 4380 h 10000"/>
              <a:gd name="connsiteX198" fmla="*/ 3597 w 10003"/>
              <a:gd name="connsiteY198" fmla="*/ 3760 h 10000"/>
              <a:gd name="connsiteX199" fmla="*/ 4117 w 10003"/>
              <a:gd name="connsiteY199" fmla="*/ 3512 h 10000"/>
              <a:gd name="connsiteX200" fmla="*/ 5003 w 10003"/>
              <a:gd name="connsiteY200" fmla="*/ 2810 h 10000"/>
              <a:gd name="connsiteX201" fmla="*/ 4846 w 10003"/>
              <a:gd name="connsiteY201" fmla="*/ 2562 h 10000"/>
              <a:gd name="connsiteX202" fmla="*/ 4795 w 10003"/>
              <a:gd name="connsiteY202" fmla="*/ 2397 h 10000"/>
              <a:gd name="connsiteX203" fmla="*/ 4795 w 10003"/>
              <a:gd name="connsiteY203" fmla="*/ 1240 h 10000"/>
              <a:gd name="connsiteX204" fmla="*/ 4117 w 10003"/>
              <a:gd name="connsiteY204" fmla="*/ 744 h 10000"/>
              <a:gd name="connsiteX205" fmla="*/ 4951 w 10003"/>
              <a:gd name="connsiteY205" fmla="*/ 744 h 10000"/>
              <a:gd name="connsiteX206" fmla="*/ 5784 w 10003"/>
              <a:gd name="connsiteY206" fmla="*/ 744 h 10000"/>
              <a:gd name="connsiteX207" fmla="*/ 5784 w 10003"/>
              <a:gd name="connsiteY207" fmla="*/ 702 h 10000"/>
              <a:gd name="connsiteX208" fmla="*/ 5784 w 10003"/>
              <a:gd name="connsiteY208" fmla="*/ 661 h 10000"/>
              <a:gd name="connsiteX209" fmla="*/ 5784 w 10003"/>
              <a:gd name="connsiteY209" fmla="*/ 620 h 10000"/>
              <a:gd name="connsiteX210" fmla="*/ 5784 w 10003"/>
              <a:gd name="connsiteY210" fmla="*/ 579 h 10000"/>
              <a:gd name="connsiteX211" fmla="*/ 5836 w 10003"/>
              <a:gd name="connsiteY211" fmla="*/ 537 h 10000"/>
              <a:gd name="connsiteX212" fmla="*/ 5836 w 10003"/>
              <a:gd name="connsiteY212" fmla="*/ 496 h 10000"/>
              <a:gd name="connsiteX213" fmla="*/ 5836 w 10003"/>
              <a:gd name="connsiteY213" fmla="*/ 455 h 10000"/>
              <a:gd name="connsiteX214" fmla="*/ 5836 w 10003"/>
              <a:gd name="connsiteY214" fmla="*/ 413 h 10000"/>
              <a:gd name="connsiteX215" fmla="*/ 5836 w 10003"/>
              <a:gd name="connsiteY215" fmla="*/ 372 h 10000"/>
              <a:gd name="connsiteX216" fmla="*/ 5836 w 10003"/>
              <a:gd name="connsiteY216" fmla="*/ 331 h 10000"/>
              <a:gd name="connsiteX217" fmla="*/ 5784 w 10003"/>
              <a:gd name="connsiteY217" fmla="*/ 331 h 10000"/>
              <a:gd name="connsiteX218" fmla="*/ 5784 w 10003"/>
              <a:gd name="connsiteY218" fmla="*/ 289 h 10000"/>
              <a:gd name="connsiteX219" fmla="*/ 5784 w 10003"/>
              <a:gd name="connsiteY219" fmla="*/ 248 h 10000"/>
              <a:gd name="connsiteX220" fmla="*/ 5784 w 10003"/>
              <a:gd name="connsiteY220" fmla="*/ 207 h 10000"/>
              <a:gd name="connsiteX221" fmla="*/ 5784 w 10003"/>
              <a:gd name="connsiteY221" fmla="*/ 165 h 10000"/>
              <a:gd name="connsiteX222" fmla="*/ 5784 w 10003"/>
              <a:gd name="connsiteY222" fmla="*/ 124 h 10000"/>
              <a:gd name="connsiteX223" fmla="*/ 5784 w 10003"/>
              <a:gd name="connsiteY223" fmla="*/ 83 h 10000"/>
              <a:gd name="connsiteX224" fmla="*/ 5784 w 10003"/>
              <a:gd name="connsiteY224" fmla="*/ 41 h 10000"/>
              <a:gd name="connsiteX225" fmla="*/ 5784 w 10003"/>
              <a:gd name="connsiteY22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857 w 10003"/>
              <a:gd name="connsiteY180" fmla="*/ 4421 h 10000"/>
              <a:gd name="connsiteX181" fmla="*/ 3809 w 10003"/>
              <a:gd name="connsiteY181" fmla="*/ 4934 h 10000"/>
              <a:gd name="connsiteX182" fmla="*/ 3537 w 10003"/>
              <a:gd name="connsiteY182" fmla="*/ 5272 h 10000"/>
              <a:gd name="connsiteX183" fmla="*/ 2993 w 10003"/>
              <a:gd name="connsiteY183" fmla="*/ 5573 h 10000"/>
              <a:gd name="connsiteX184" fmla="*/ 2416 w 10003"/>
              <a:gd name="connsiteY184" fmla="*/ 5803 h 10000"/>
              <a:gd name="connsiteX185" fmla="*/ 1952 w 10003"/>
              <a:gd name="connsiteY185" fmla="*/ 6122 h 10000"/>
              <a:gd name="connsiteX186" fmla="*/ 0 w 10003"/>
              <a:gd name="connsiteY186" fmla="*/ 6051 h 10000"/>
              <a:gd name="connsiteX187" fmla="*/ 3 w 10003"/>
              <a:gd name="connsiteY187" fmla="*/ 5826 h 10000"/>
              <a:gd name="connsiteX188" fmla="*/ 159 w 10003"/>
              <a:gd name="connsiteY188" fmla="*/ 5909 h 10000"/>
              <a:gd name="connsiteX189" fmla="*/ 368 w 10003"/>
              <a:gd name="connsiteY189" fmla="*/ 5826 h 10000"/>
              <a:gd name="connsiteX190" fmla="*/ 1462 w 10003"/>
              <a:gd name="connsiteY190" fmla="*/ 5826 h 10000"/>
              <a:gd name="connsiteX191" fmla="*/ 1617 w 10003"/>
              <a:gd name="connsiteY191" fmla="*/ 5785 h 10000"/>
              <a:gd name="connsiteX192" fmla="*/ 1670 w 10003"/>
              <a:gd name="connsiteY192" fmla="*/ 5785 h 10000"/>
              <a:gd name="connsiteX193" fmla="*/ 2190 w 10003"/>
              <a:gd name="connsiteY193" fmla="*/ 5248 h 10000"/>
              <a:gd name="connsiteX194" fmla="*/ 2295 w 10003"/>
              <a:gd name="connsiteY194" fmla="*/ 5165 h 10000"/>
              <a:gd name="connsiteX195" fmla="*/ 2763 w 10003"/>
              <a:gd name="connsiteY195" fmla="*/ 4752 h 10000"/>
              <a:gd name="connsiteX196" fmla="*/ 3024 w 10003"/>
              <a:gd name="connsiteY196" fmla="*/ 4504 h 10000"/>
              <a:gd name="connsiteX197" fmla="*/ 3180 w 10003"/>
              <a:gd name="connsiteY197" fmla="*/ 4380 h 10000"/>
              <a:gd name="connsiteX198" fmla="*/ 3597 w 10003"/>
              <a:gd name="connsiteY198" fmla="*/ 3760 h 10000"/>
              <a:gd name="connsiteX199" fmla="*/ 4117 w 10003"/>
              <a:gd name="connsiteY199" fmla="*/ 3512 h 10000"/>
              <a:gd name="connsiteX200" fmla="*/ 5003 w 10003"/>
              <a:gd name="connsiteY200" fmla="*/ 2810 h 10000"/>
              <a:gd name="connsiteX201" fmla="*/ 4846 w 10003"/>
              <a:gd name="connsiteY201" fmla="*/ 2562 h 10000"/>
              <a:gd name="connsiteX202" fmla="*/ 4795 w 10003"/>
              <a:gd name="connsiteY202" fmla="*/ 2397 h 10000"/>
              <a:gd name="connsiteX203" fmla="*/ 4795 w 10003"/>
              <a:gd name="connsiteY203" fmla="*/ 1240 h 10000"/>
              <a:gd name="connsiteX204" fmla="*/ 4117 w 10003"/>
              <a:gd name="connsiteY204" fmla="*/ 744 h 10000"/>
              <a:gd name="connsiteX205" fmla="*/ 4951 w 10003"/>
              <a:gd name="connsiteY205" fmla="*/ 744 h 10000"/>
              <a:gd name="connsiteX206" fmla="*/ 5784 w 10003"/>
              <a:gd name="connsiteY206" fmla="*/ 744 h 10000"/>
              <a:gd name="connsiteX207" fmla="*/ 5784 w 10003"/>
              <a:gd name="connsiteY207" fmla="*/ 702 h 10000"/>
              <a:gd name="connsiteX208" fmla="*/ 5784 w 10003"/>
              <a:gd name="connsiteY208" fmla="*/ 661 h 10000"/>
              <a:gd name="connsiteX209" fmla="*/ 5784 w 10003"/>
              <a:gd name="connsiteY209" fmla="*/ 620 h 10000"/>
              <a:gd name="connsiteX210" fmla="*/ 5784 w 10003"/>
              <a:gd name="connsiteY210" fmla="*/ 579 h 10000"/>
              <a:gd name="connsiteX211" fmla="*/ 5836 w 10003"/>
              <a:gd name="connsiteY211" fmla="*/ 537 h 10000"/>
              <a:gd name="connsiteX212" fmla="*/ 5836 w 10003"/>
              <a:gd name="connsiteY212" fmla="*/ 496 h 10000"/>
              <a:gd name="connsiteX213" fmla="*/ 5836 w 10003"/>
              <a:gd name="connsiteY213" fmla="*/ 455 h 10000"/>
              <a:gd name="connsiteX214" fmla="*/ 5836 w 10003"/>
              <a:gd name="connsiteY214" fmla="*/ 413 h 10000"/>
              <a:gd name="connsiteX215" fmla="*/ 5836 w 10003"/>
              <a:gd name="connsiteY215" fmla="*/ 372 h 10000"/>
              <a:gd name="connsiteX216" fmla="*/ 5836 w 10003"/>
              <a:gd name="connsiteY216" fmla="*/ 331 h 10000"/>
              <a:gd name="connsiteX217" fmla="*/ 5784 w 10003"/>
              <a:gd name="connsiteY217" fmla="*/ 331 h 10000"/>
              <a:gd name="connsiteX218" fmla="*/ 5784 w 10003"/>
              <a:gd name="connsiteY218" fmla="*/ 289 h 10000"/>
              <a:gd name="connsiteX219" fmla="*/ 5784 w 10003"/>
              <a:gd name="connsiteY219" fmla="*/ 248 h 10000"/>
              <a:gd name="connsiteX220" fmla="*/ 5784 w 10003"/>
              <a:gd name="connsiteY220" fmla="*/ 207 h 10000"/>
              <a:gd name="connsiteX221" fmla="*/ 5784 w 10003"/>
              <a:gd name="connsiteY221" fmla="*/ 165 h 10000"/>
              <a:gd name="connsiteX222" fmla="*/ 5784 w 10003"/>
              <a:gd name="connsiteY222" fmla="*/ 124 h 10000"/>
              <a:gd name="connsiteX223" fmla="*/ 5784 w 10003"/>
              <a:gd name="connsiteY223" fmla="*/ 83 h 10000"/>
              <a:gd name="connsiteX224" fmla="*/ 5784 w 10003"/>
              <a:gd name="connsiteY224" fmla="*/ 41 h 10000"/>
              <a:gd name="connsiteX225" fmla="*/ 5784 w 10003"/>
              <a:gd name="connsiteY22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937 w 10003"/>
              <a:gd name="connsiteY180" fmla="*/ 4527 h 10000"/>
              <a:gd name="connsiteX181" fmla="*/ 3857 w 10003"/>
              <a:gd name="connsiteY181" fmla="*/ 4421 h 10000"/>
              <a:gd name="connsiteX182" fmla="*/ 3809 w 10003"/>
              <a:gd name="connsiteY182" fmla="*/ 4934 h 10000"/>
              <a:gd name="connsiteX183" fmla="*/ 3537 w 10003"/>
              <a:gd name="connsiteY183" fmla="*/ 5272 h 10000"/>
              <a:gd name="connsiteX184" fmla="*/ 2993 w 10003"/>
              <a:gd name="connsiteY184" fmla="*/ 5573 h 10000"/>
              <a:gd name="connsiteX185" fmla="*/ 2416 w 10003"/>
              <a:gd name="connsiteY185" fmla="*/ 5803 h 10000"/>
              <a:gd name="connsiteX186" fmla="*/ 1952 w 10003"/>
              <a:gd name="connsiteY186" fmla="*/ 6122 h 10000"/>
              <a:gd name="connsiteX187" fmla="*/ 0 w 10003"/>
              <a:gd name="connsiteY187" fmla="*/ 6051 h 10000"/>
              <a:gd name="connsiteX188" fmla="*/ 3 w 10003"/>
              <a:gd name="connsiteY188" fmla="*/ 5826 h 10000"/>
              <a:gd name="connsiteX189" fmla="*/ 159 w 10003"/>
              <a:gd name="connsiteY189" fmla="*/ 5909 h 10000"/>
              <a:gd name="connsiteX190" fmla="*/ 368 w 10003"/>
              <a:gd name="connsiteY190" fmla="*/ 5826 h 10000"/>
              <a:gd name="connsiteX191" fmla="*/ 1462 w 10003"/>
              <a:gd name="connsiteY191" fmla="*/ 5826 h 10000"/>
              <a:gd name="connsiteX192" fmla="*/ 1617 w 10003"/>
              <a:gd name="connsiteY192" fmla="*/ 5785 h 10000"/>
              <a:gd name="connsiteX193" fmla="*/ 1670 w 10003"/>
              <a:gd name="connsiteY193" fmla="*/ 5785 h 10000"/>
              <a:gd name="connsiteX194" fmla="*/ 2190 w 10003"/>
              <a:gd name="connsiteY194" fmla="*/ 5248 h 10000"/>
              <a:gd name="connsiteX195" fmla="*/ 2295 w 10003"/>
              <a:gd name="connsiteY195" fmla="*/ 5165 h 10000"/>
              <a:gd name="connsiteX196" fmla="*/ 2763 w 10003"/>
              <a:gd name="connsiteY196" fmla="*/ 4752 h 10000"/>
              <a:gd name="connsiteX197" fmla="*/ 3024 w 10003"/>
              <a:gd name="connsiteY197" fmla="*/ 4504 h 10000"/>
              <a:gd name="connsiteX198" fmla="*/ 3180 w 10003"/>
              <a:gd name="connsiteY198" fmla="*/ 4380 h 10000"/>
              <a:gd name="connsiteX199" fmla="*/ 3597 w 10003"/>
              <a:gd name="connsiteY199" fmla="*/ 3760 h 10000"/>
              <a:gd name="connsiteX200" fmla="*/ 4117 w 10003"/>
              <a:gd name="connsiteY200" fmla="*/ 3512 h 10000"/>
              <a:gd name="connsiteX201" fmla="*/ 5003 w 10003"/>
              <a:gd name="connsiteY201" fmla="*/ 2810 h 10000"/>
              <a:gd name="connsiteX202" fmla="*/ 4846 w 10003"/>
              <a:gd name="connsiteY202" fmla="*/ 2562 h 10000"/>
              <a:gd name="connsiteX203" fmla="*/ 4795 w 10003"/>
              <a:gd name="connsiteY203" fmla="*/ 2397 h 10000"/>
              <a:gd name="connsiteX204" fmla="*/ 4795 w 10003"/>
              <a:gd name="connsiteY204" fmla="*/ 1240 h 10000"/>
              <a:gd name="connsiteX205" fmla="*/ 4117 w 10003"/>
              <a:gd name="connsiteY205" fmla="*/ 744 h 10000"/>
              <a:gd name="connsiteX206" fmla="*/ 4951 w 10003"/>
              <a:gd name="connsiteY206" fmla="*/ 744 h 10000"/>
              <a:gd name="connsiteX207" fmla="*/ 5784 w 10003"/>
              <a:gd name="connsiteY207" fmla="*/ 744 h 10000"/>
              <a:gd name="connsiteX208" fmla="*/ 5784 w 10003"/>
              <a:gd name="connsiteY208" fmla="*/ 702 h 10000"/>
              <a:gd name="connsiteX209" fmla="*/ 5784 w 10003"/>
              <a:gd name="connsiteY209" fmla="*/ 661 h 10000"/>
              <a:gd name="connsiteX210" fmla="*/ 5784 w 10003"/>
              <a:gd name="connsiteY210" fmla="*/ 620 h 10000"/>
              <a:gd name="connsiteX211" fmla="*/ 5784 w 10003"/>
              <a:gd name="connsiteY211" fmla="*/ 579 h 10000"/>
              <a:gd name="connsiteX212" fmla="*/ 5836 w 10003"/>
              <a:gd name="connsiteY212" fmla="*/ 537 h 10000"/>
              <a:gd name="connsiteX213" fmla="*/ 5836 w 10003"/>
              <a:gd name="connsiteY213" fmla="*/ 496 h 10000"/>
              <a:gd name="connsiteX214" fmla="*/ 5836 w 10003"/>
              <a:gd name="connsiteY214" fmla="*/ 455 h 10000"/>
              <a:gd name="connsiteX215" fmla="*/ 5836 w 10003"/>
              <a:gd name="connsiteY215" fmla="*/ 413 h 10000"/>
              <a:gd name="connsiteX216" fmla="*/ 5836 w 10003"/>
              <a:gd name="connsiteY216" fmla="*/ 372 h 10000"/>
              <a:gd name="connsiteX217" fmla="*/ 5836 w 10003"/>
              <a:gd name="connsiteY217" fmla="*/ 331 h 10000"/>
              <a:gd name="connsiteX218" fmla="*/ 5784 w 10003"/>
              <a:gd name="connsiteY218" fmla="*/ 331 h 10000"/>
              <a:gd name="connsiteX219" fmla="*/ 5784 w 10003"/>
              <a:gd name="connsiteY219" fmla="*/ 289 h 10000"/>
              <a:gd name="connsiteX220" fmla="*/ 5784 w 10003"/>
              <a:gd name="connsiteY220" fmla="*/ 248 h 10000"/>
              <a:gd name="connsiteX221" fmla="*/ 5784 w 10003"/>
              <a:gd name="connsiteY221" fmla="*/ 207 h 10000"/>
              <a:gd name="connsiteX222" fmla="*/ 5784 w 10003"/>
              <a:gd name="connsiteY222" fmla="*/ 165 h 10000"/>
              <a:gd name="connsiteX223" fmla="*/ 5784 w 10003"/>
              <a:gd name="connsiteY223" fmla="*/ 124 h 10000"/>
              <a:gd name="connsiteX224" fmla="*/ 5784 w 10003"/>
              <a:gd name="connsiteY224" fmla="*/ 83 h 10000"/>
              <a:gd name="connsiteX225" fmla="*/ 5784 w 10003"/>
              <a:gd name="connsiteY225" fmla="*/ 41 h 10000"/>
              <a:gd name="connsiteX226" fmla="*/ 5784 w 10003"/>
              <a:gd name="connsiteY226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017 w 10003"/>
              <a:gd name="connsiteY180" fmla="*/ 4137 h 10000"/>
              <a:gd name="connsiteX181" fmla="*/ 3857 w 10003"/>
              <a:gd name="connsiteY181" fmla="*/ 4421 h 10000"/>
              <a:gd name="connsiteX182" fmla="*/ 3809 w 10003"/>
              <a:gd name="connsiteY182" fmla="*/ 4934 h 10000"/>
              <a:gd name="connsiteX183" fmla="*/ 3537 w 10003"/>
              <a:gd name="connsiteY183" fmla="*/ 5272 h 10000"/>
              <a:gd name="connsiteX184" fmla="*/ 2993 w 10003"/>
              <a:gd name="connsiteY184" fmla="*/ 5573 h 10000"/>
              <a:gd name="connsiteX185" fmla="*/ 2416 w 10003"/>
              <a:gd name="connsiteY185" fmla="*/ 5803 h 10000"/>
              <a:gd name="connsiteX186" fmla="*/ 1952 w 10003"/>
              <a:gd name="connsiteY186" fmla="*/ 6122 h 10000"/>
              <a:gd name="connsiteX187" fmla="*/ 0 w 10003"/>
              <a:gd name="connsiteY187" fmla="*/ 6051 h 10000"/>
              <a:gd name="connsiteX188" fmla="*/ 3 w 10003"/>
              <a:gd name="connsiteY188" fmla="*/ 5826 h 10000"/>
              <a:gd name="connsiteX189" fmla="*/ 159 w 10003"/>
              <a:gd name="connsiteY189" fmla="*/ 5909 h 10000"/>
              <a:gd name="connsiteX190" fmla="*/ 368 w 10003"/>
              <a:gd name="connsiteY190" fmla="*/ 5826 h 10000"/>
              <a:gd name="connsiteX191" fmla="*/ 1462 w 10003"/>
              <a:gd name="connsiteY191" fmla="*/ 5826 h 10000"/>
              <a:gd name="connsiteX192" fmla="*/ 1617 w 10003"/>
              <a:gd name="connsiteY192" fmla="*/ 5785 h 10000"/>
              <a:gd name="connsiteX193" fmla="*/ 1670 w 10003"/>
              <a:gd name="connsiteY193" fmla="*/ 5785 h 10000"/>
              <a:gd name="connsiteX194" fmla="*/ 2190 w 10003"/>
              <a:gd name="connsiteY194" fmla="*/ 5248 h 10000"/>
              <a:gd name="connsiteX195" fmla="*/ 2295 w 10003"/>
              <a:gd name="connsiteY195" fmla="*/ 5165 h 10000"/>
              <a:gd name="connsiteX196" fmla="*/ 2763 w 10003"/>
              <a:gd name="connsiteY196" fmla="*/ 4752 h 10000"/>
              <a:gd name="connsiteX197" fmla="*/ 3024 w 10003"/>
              <a:gd name="connsiteY197" fmla="*/ 4504 h 10000"/>
              <a:gd name="connsiteX198" fmla="*/ 3180 w 10003"/>
              <a:gd name="connsiteY198" fmla="*/ 4380 h 10000"/>
              <a:gd name="connsiteX199" fmla="*/ 3597 w 10003"/>
              <a:gd name="connsiteY199" fmla="*/ 3760 h 10000"/>
              <a:gd name="connsiteX200" fmla="*/ 4117 w 10003"/>
              <a:gd name="connsiteY200" fmla="*/ 3512 h 10000"/>
              <a:gd name="connsiteX201" fmla="*/ 5003 w 10003"/>
              <a:gd name="connsiteY201" fmla="*/ 2810 h 10000"/>
              <a:gd name="connsiteX202" fmla="*/ 4846 w 10003"/>
              <a:gd name="connsiteY202" fmla="*/ 2562 h 10000"/>
              <a:gd name="connsiteX203" fmla="*/ 4795 w 10003"/>
              <a:gd name="connsiteY203" fmla="*/ 2397 h 10000"/>
              <a:gd name="connsiteX204" fmla="*/ 4795 w 10003"/>
              <a:gd name="connsiteY204" fmla="*/ 1240 h 10000"/>
              <a:gd name="connsiteX205" fmla="*/ 4117 w 10003"/>
              <a:gd name="connsiteY205" fmla="*/ 744 h 10000"/>
              <a:gd name="connsiteX206" fmla="*/ 4951 w 10003"/>
              <a:gd name="connsiteY206" fmla="*/ 744 h 10000"/>
              <a:gd name="connsiteX207" fmla="*/ 5784 w 10003"/>
              <a:gd name="connsiteY207" fmla="*/ 744 h 10000"/>
              <a:gd name="connsiteX208" fmla="*/ 5784 w 10003"/>
              <a:gd name="connsiteY208" fmla="*/ 702 h 10000"/>
              <a:gd name="connsiteX209" fmla="*/ 5784 w 10003"/>
              <a:gd name="connsiteY209" fmla="*/ 661 h 10000"/>
              <a:gd name="connsiteX210" fmla="*/ 5784 w 10003"/>
              <a:gd name="connsiteY210" fmla="*/ 620 h 10000"/>
              <a:gd name="connsiteX211" fmla="*/ 5784 w 10003"/>
              <a:gd name="connsiteY211" fmla="*/ 579 h 10000"/>
              <a:gd name="connsiteX212" fmla="*/ 5836 w 10003"/>
              <a:gd name="connsiteY212" fmla="*/ 537 h 10000"/>
              <a:gd name="connsiteX213" fmla="*/ 5836 w 10003"/>
              <a:gd name="connsiteY213" fmla="*/ 496 h 10000"/>
              <a:gd name="connsiteX214" fmla="*/ 5836 w 10003"/>
              <a:gd name="connsiteY214" fmla="*/ 455 h 10000"/>
              <a:gd name="connsiteX215" fmla="*/ 5836 w 10003"/>
              <a:gd name="connsiteY215" fmla="*/ 413 h 10000"/>
              <a:gd name="connsiteX216" fmla="*/ 5836 w 10003"/>
              <a:gd name="connsiteY216" fmla="*/ 372 h 10000"/>
              <a:gd name="connsiteX217" fmla="*/ 5836 w 10003"/>
              <a:gd name="connsiteY217" fmla="*/ 331 h 10000"/>
              <a:gd name="connsiteX218" fmla="*/ 5784 w 10003"/>
              <a:gd name="connsiteY218" fmla="*/ 331 h 10000"/>
              <a:gd name="connsiteX219" fmla="*/ 5784 w 10003"/>
              <a:gd name="connsiteY219" fmla="*/ 289 h 10000"/>
              <a:gd name="connsiteX220" fmla="*/ 5784 w 10003"/>
              <a:gd name="connsiteY220" fmla="*/ 248 h 10000"/>
              <a:gd name="connsiteX221" fmla="*/ 5784 w 10003"/>
              <a:gd name="connsiteY221" fmla="*/ 207 h 10000"/>
              <a:gd name="connsiteX222" fmla="*/ 5784 w 10003"/>
              <a:gd name="connsiteY222" fmla="*/ 165 h 10000"/>
              <a:gd name="connsiteX223" fmla="*/ 5784 w 10003"/>
              <a:gd name="connsiteY223" fmla="*/ 124 h 10000"/>
              <a:gd name="connsiteX224" fmla="*/ 5784 w 10003"/>
              <a:gd name="connsiteY224" fmla="*/ 83 h 10000"/>
              <a:gd name="connsiteX225" fmla="*/ 5784 w 10003"/>
              <a:gd name="connsiteY225" fmla="*/ 41 h 10000"/>
              <a:gd name="connsiteX226" fmla="*/ 5784 w 10003"/>
              <a:gd name="connsiteY226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081 w 10003"/>
              <a:gd name="connsiteY180" fmla="*/ 4314 h 10000"/>
              <a:gd name="connsiteX181" fmla="*/ 4017 w 10003"/>
              <a:gd name="connsiteY181" fmla="*/ 4137 h 10000"/>
              <a:gd name="connsiteX182" fmla="*/ 3857 w 10003"/>
              <a:gd name="connsiteY182" fmla="*/ 4421 h 10000"/>
              <a:gd name="connsiteX183" fmla="*/ 3809 w 10003"/>
              <a:gd name="connsiteY183" fmla="*/ 4934 h 10000"/>
              <a:gd name="connsiteX184" fmla="*/ 3537 w 10003"/>
              <a:gd name="connsiteY184" fmla="*/ 5272 h 10000"/>
              <a:gd name="connsiteX185" fmla="*/ 2993 w 10003"/>
              <a:gd name="connsiteY185" fmla="*/ 5573 h 10000"/>
              <a:gd name="connsiteX186" fmla="*/ 2416 w 10003"/>
              <a:gd name="connsiteY186" fmla="*/ 5803 h 10000"/>
              <a:gd name="connsiteX187" fmla="*/ 1952 w 10003"/>
              <a:gd name="connsiteY187" fmla="*/ 6122 h 10000"/>
              <a:gd name="connsiteX188" fmla="*/ 0 w 10003"/>
              <a:gd name="connsiteY188" fmla="*/ 6051 h 10000"/>
              <a:gd name="connsiteX189" fmla="*/ 3 w 10003"/>
              <a:gd name="connsiteY189" fmla="*/ 5826 h 10000"/>
              <a:gd name="connsiteX190" fmla="*/ 159 w 10003"/>
              <a:gd name="connsiteY190" fmla="*/ 5909 h 10000"/>
              <a:gd name="connsiteX191" fmla="*/ 368 w 10003"/>
              <a:gd name="connsiteY191" fmla="*/ 5826 h 10000"/>
              <a:gd name="connsiteX192" fmla="*/ 1462 w 10003"/>
              <a:gd name="connsiteY192" fmla="*/ 5826 h 10000"/>
              <a:gd name="connsiteX193" fmla="*/ 1617 w 10003"/>
              <a:gd name="connsiteY193" fmla="*/ 5785 h 10000"/>
              <a:gd name="connsiteX194" fmla="*/ 1670 w 10003"/>
              <a:gd name="connsiteY194" fmla="*/ 5785 h 10000"/>
              <a:gd name="connsiteX195" fmla="*/ 2190 w 10003"/>
              <a:gd name="connsiteY195" fmla="*/ 5248 h 10000"/>
              <a:gd name="connsiteX196" fmla="*/ 2295 w 10003"/>
              <a:gd name="connsiteY196" fmla="*/ 5165 h 10000"/>
              <a:gd name="connsiteX197" fmla="*/ 2763 w 10003"/>
              <a:gd name="connsiteY197" fmla="*/ 4752 h 10000"/>
              <a:gd name="connsiteX198" fmla="*/ 3024 w 10003"/>
              <a:gd name="connsiteY198" fmla="*/ 4504 h 10000"/>
              <a:gd name="connsiteX199" fmla="*/ 3180 w 10003"/>
              <a:gd name="connsiteY199" fmla="*/ 4380 h 10000"/>
              <a:gd name="connsiteX200" fmla="*/ 3597 w 10003"/>
              <a:gd name="connsiteY200" fmla="*/ 3760 h 10000"/>
              <a:gd name="connsiteX201" fmla="*/ 4117 w 10003"/>
              <a:gd name="connsiteY201" fmla="*/ 3512 h 10000"/>
              <a:gd name="connsiteX202" fmla="*/ 5003 w 10003"/>
              <a:gd name="connsiteY202" fmla="*/ 2810 h 10000"/>
              <a:gd name="connsiteX203" fmla="*/ 4846 w 10003"/>
              <a:gd name="connsiteY203" fmla="*/ 2562 h 10000"/>
              <a:gd name="connsiteX204" fmla="*/ 4795 w 10003"/>
              <a:gd name="connsiteY204" fmla="*/ 2397 h 10000"/>
              <a:gd name="connsiteX205" fmla="*/ 4795 w 10003"/>
              <a:gd name="connsiteY205" fmla="*/ 1240 h 10000"/>
              <a:gd name="connsiteX206" fmla="*/ 4117 w 10003"/>
              <a:gd name="connsiteY206" fmla="*/ 744 h 10000"/>
              <a:gd name="connsiteX207" fmla="*/ 4951 w 10003"/>
              <a:gd name="connsiteY207" fmla="*/ 744 h 10000"/>
              <a:gd name="connsiteX208" fmla="*/ 5784 w 10003"/>
              <a:gd name="connsiteY208" fmla="*/ 744 h 10000"/>
              <a:gd name="connsiteX209" fmla="*/ 5784 w 10003"/>
              <a:gd name="connsiteY209" fmla="*/ 702 h 10000"/>
              <a:gd name="connsiteX210" fmla="*/ 5784 w 10003"/>
              <a:gd name="connsiteY210" fmla="*/ 661 h 10000"/>
              <a:gd name="connsiteX211" fmla="*/ 5784 w 10003"/>
              <a:gd name="connsiteY211" fmla="*/ 620 h 10000"/>
              <a:gd name="connsiteX212" fmla="*/ 5784 w 10003"/>
              <a:gd name="connsiteY212" fmla="*/ 579 h 10000"/>
              <a:gd name="connsiteX213" fmla="*/ 5836 w 10003"/>
              <a:gd name="connsiteY213" fmla="*/ 537 h 10000"/>
              <a:gd name="connsiteX214" fmla="*/ 5836 w 10003"/>
              <a:gd name="connsiteY214" fmla="*/ 496 h 10000"/>
              <a:gd name="connsiteX215" fmla="*/ 5836 w 10003"/>
              <a:gd name="connsiteY215" fmla="*/ 455 h 10000"/>
              <a:gd name="connsiteX216" fmla="*/ 5836 w 10003"/>
              <a:gd name="connsiteY216" fmla="*/ 413 h 10000"/>
              <a:gd name="connsiteX217" fmla="*/ 5836 w 10003"/>
              <a:gd name="connsiteY217" fmla="*/ 372 h 10000"/>
              <a:gd name="connsiteX218" fmla="*/ 5836 w 10003"/>
              <a:gd name="connsiteY218" fmla="*/ 331 h 10000"/>
              <a:gd name="connsiteX219" fmla="*/ 5784 w 10003"/>
              <a:gd name="connsiteY219" fmla="*/ 331 h 10000"/>
              <a:gd name="connsiteX220" fmla="*/ 5784 w 10003"/>
              <a:gd name="connsiteY220" fmla="*/ 289 h 10000"/>
              <a:gd name="connsiteX221" fmla="*/ 5784 w 10003"/>
              <a:gd name="connsiteY221" fmla="*/ 248 h 10000"/>
              <a:gd name="connsiteX222" fmla="*/ 5784 w 10003"/>
              <a:gd name="connsiteY222" fmla="*/ 207 h 10000"/>
              <a:gd name="connsiteX223" fmla="*/ 5784 w 10003"/>
              <a:gd name="connsiteY223" fmla="*/ 165 h 10000"/>
              <a:gd name="connsiteX224" fmla="*/ 5784 w 10003"/>
              <a:gd name="connsiteY224" fmla="*/ 124 h 10000"/>
              <a:gd name="connsiteX225" fmla="*/ 5784 w 10003"/>
              <a:gd name="connsiteY225" fmla="*/ 83 h 10000"/>
              <a:gd name="connsiteX226" fmla="*/ 5784 w 10003"/>
              <a:gd name="connsiteY226" fmla="*/ 41 h 10000"/>
              <a:gd name="connsiteX227" fmla="*/ 5784 w 10003"/>
              <a:gd name="connsiteY227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177 w 10003"/>
              <a:gd name="connsiteY180" fmla="*/ 4119 h 10000"/>
              <a:gd name="connsiteX181" fmla="*/ 4017 w 10003"/>
              <a:gd name="connsiteY181" fmla="*/ 4137 h 10000"/>
              <a:gd name="connsiteX182" fmla="*/ 3857 w 10003"/>
              <a:gd name="connsiteY182" fmla="*/ 4421 h 10000"/>
              <a:gd name="connsiteX183" fmla="*/ 3809 w 10003"/>
              <a:gd name="connsiteY183" fmla="*/ 4934 h 10000"/>
              <a:gd name="connsiteX184" fmla="*/ 3537 w 10003"/>
              <a:gd name="connsiteY184" fmla="*/ 5272 h 10000"/>
              <a:gd name="connsiteX185" fmla="*/ 2993 w 10003"/>
              <a:gd name="connsiteY185" fmla="*/ 5573 h 10000"/>
              <a:gd name="connsiteX186" fmla="*/ 2416 w 10003"/>
              <a:gd name="connsiteY186" fmla="*/ 5803 h 10000"/>
              <a:gd name="connsiteX187" fmla="*/ 1952 w 10003"/>
              <a:gd name="connsiteY187" fmla="*/ 6122 h 10000"/>
              <a:gd name="connsiteX188" fmla="*/ 0 w 10003"/>
              <a:gd name="connsiteY188" fmla="*/ 6051 h 10000"/>
              <a:gd name="connsiteX189" fmla="*/ 3 w 10003"/>
              <a:gd name="connsiteY189" fmla="*/ 5826 h 10000"/>
              <a:gd name="connsiteX190" fmla="*/ 159 w 10003"/>
              <a:gd name="connsiteY190" fmla="*/ 5909 h 10000"/>
              <a:gd name="connsiteX191" fmla="*/ 368 w 10003"/>
              <a:gd name="connsiteY191" fmla="*/ 5826 h 10000"/>
              <a:gd name="connsiteX192" fmla="*/ 1462 w 10003"/>
              <a:gd name="connsiteY192" fmla="*/ 5826 h 10000"/>
              <a:gd name="connsiteX193" fmla="*/ 1617 w 10003"/>
              <a:gd name="connsiteY193" fmla="*/ 5785 h 10000"/>
              <a:gd name="connsiteX194" fmla="*/ 1670 w 10003"/>
              <a:gd name="connsiteY194" fmla="*/ 5785 h 10000"/>
              <a:gd name="connsiteX195" fmla="*/ 2190 w 10003"/>
              <a:gd name="connsiteY195" fmla="*/ 5248 h 10000"/>
              <a:gd name="connsiteX196" fmla="*/ 2295 w 10003"/>
              <a:gd name="connsiteY196" fmla="*/ 5165 h 10000"/>
              <a:gd name="connsiteX197" fmla="*/ 2763 w 10003"/>
              <a:gd name="connsiteY197" fmla="*/ 4752 h 10000"/>
              <a:gd name="connsiteX198" fmla="*/ 3024 w 10003"/>
              <a:gd name="connsiteY198" fmla="*/ 4504 h 10000"/>
              <a:gd name="connsiteX199" fmla="*/ 3180 w 10003"/>
              <a:gd name="connsiteY199" fmla="*/ 4380 h 10000"/>
              <a:gd name="connsiteX200" fmla="*/ 3597 w 10003"/>
              <a:gd name="connsiteY200" fmla="*/ 3760 h 10000"/>
              <a:gd name="connsiteX201" fmla="*/ 4117 w 10003"/>
              <a:gd name="connsiteY201" fmla="*/ 3512 h 10000"/>
              <a:gd name="connsiteX202" fmla="*/ 5003 w 10003"/>
              <a:gd name="connsiteY202" fmla="*/ 2810 h 10000"/>
              <a:gd name="connsiteX203" fmla="*/ 4846 w 10003"/>
              <a:gd name="connsiteY203" fmla="*/ 2562 h 10000"/>
              <a:gd name="connsiteX204" fmla="*/ 4795 w 10003"/>
              <a:gd name="connsiteY204" fmla="*/ 2397 h 10000"/>
              <a:gd name="connsiteX205" fmla="*/ 4795 w 10003"/>
              <a:gd name="connsiteY205" fmla="*/ 1240 h 10000"/>
              <a:gd name="connsiteX206" fmla="*/ 4117 w 10003"/>
              <a:gd name="connsiteY206" fmla="*/ 744 h 10000"/>
              <a:gd name="connsiteX207" fmla="*/ 4951 w 10003"/>
              <a:gd name="connsiteY207" fmla="*/ 744 h 10000"/>
              <a:gd name="connsiteX208" fmla="*/ 5784 w 10003"/>
              <a:gd name="connsiteY208" fmla="*/ 744 h 10000"/>
              <a:gd name="connsiteX209" fmla="*/ 5784 w 10003"/>
              <a:gd name="connsiteY209" fmla="*/ 702 h 10000"/>
              <a:gd name="connsiteX210" fmla="*/ 5784 w 10003"/>
              <a:gd name="connsiteY210" fmla="*/ 661 h 10000"/>
              <a:gd name="connsiteX211" fmla="*/ 5784 w 10003"/>
              <a:gd name="connsiteY211" fmla="*/ 620 h 10000"/>
              <a:gd name="connsiteX212" fmla="*/ 5784 w 10003"/>
              <a:gd name="connsiteY212" fmla="*/ 579 h 10000"/>
              <a:gd name="connsiteX213" fmla="*/ 5836 w 10003"/>
              <a:gd name="connsiteY213" fmla="*/ 537 h 10000"/>
              <a:gd name="connsiteX214" fmla="*/ 5836 w 10003"/>
              <a:gd name="connsiteY214" fmla="*/ 496 h 10000"/>
              <a:gd name="connsiteX215" fmla="*/ 5836 w 10003"/>
              <a:gd name="connsiteY215" fmla="*/ 455 h 10000"/>
              <a:gd name="connsiteX216" fmla="*/ 5836 w 10003"/>
              <a:gd name="connsiteY216" fmla="*/ 413 h 10000"/>
              <a:gd name="connsiteX217" fmla="*/ 5836 w 10003"/>
              <a:gd name="connsiteY217" fmla="*/ 372 h 10000"/>
              <a:gd name="connsiteX218" fmla="*/ 5836 w 10003"/>
              <a:gd name="connsiteY218" fmla="*/ 331 h 10000"/>
              <a:gd name="connsiteX219" fmla="*/ 5784 w 10003"/>
              <a:gd name="connsiteY219" fmla="*/ 331 h 10000"/>
              <a:gd name="connsiteX220" fmla="*/ 5784 w 10003"/>
              <a:gd name="connsiteY220" fmla="*/ 289 h 10000"/>
              <a:gd name="connsiteX221" fmla="*/ 5784 w 10003"/>
              <a:gd name="connsiteY221" fmla="*/ 248 h 10000"/>
              <a:gd name="connsiteX222" fmla="*/ 5784 w 10003"/>
              <a:gd name="connsiteY222" fmla="*/ 207 h 10000"/>
              <a:gd name="connsiteX223" fmla="*/ 5784 w 10003"/>
              <a:gd name="connsiteY223" fmla="*/ 165 h 10000"/>
              <a:gd name="connsiteX224" fmla="*/ 5784 w 10003"/>
              <a:gd name="connsiteY224" fmla="*/ 124 h 10000"/>
              <a:gd name="connsiteX225" fmla="*/ 5784 w 10003"/>
              <a:gd name="connsiteY225" fmla="*/ 83 h 10000"/>
              <a:gd name="connsiteX226" fmla="*/ 5784 w 10003"/>
              <a:gd name="connsiteY226" fmla="*/ 41 h 10000"/>
              <a:gd name="connsiteX227" fmla="*/ 5784 w 10003"/>
              <a:gd name="connsiteY227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241 w 10003"/>
              <a:gd name="connsiteY180" fmla="*/ 4296 h 10000"/>
              <a:gd name="connsiteX181" fmla="*/ 4177 w 10003"/>
              <a:gd name="connsiteY181" fmla="*/ 4119 h 10000"/>
              <a:gd name="connsiteX182" fmla="*/ 4017 w 10003"/>
              <a:gd name="connsiteY182" fmla="*/ 4137 h 10000"/>
              <a:gd name="connsiteX183" fmla="*/ 3857 w 10003"/>
              <a:gd name="connsiteY183" fmla="*/ 4421 h 10000"/>
              <a:gd name="connsiteX184" fmla="*/ 3809 w 10003"/>
              <a:gd name="connsiteY184" fmla="*/ 4934 h 10000"/>
              <a:gd name="connsiteX185" fmla="*/ 3537 w 10003"/>
              <a:gd name="connsiteY185" fmla="*/ 5272 h 10000"/>
              <a:gd name="connsiteX186" fmla="*/ 2993 w 10003"/>
              <a:gd name="connsiteY186" fmla="*/ 5573 h 10000"/>
              <a:gd name="connsiteX187" fmla="*/ 2416 w 10003"/>
              <a:gd name="connsiteY187" fmla="*/ 5803 h 10000"/>
              <a:gd name="connsiteX188" fmla="*/ 1952 w 10003"/>
              <a:gd name="connsiteY188" fmla="*/ 6122 h 10000"/>
              <a:gd name="connsiteX189" fmla="*/ 0 w 10003"/>
              <a:gd name="connsiteY189" fmla="*/ 6051 h 10000"/>
              <a:gd name="connsiteX190" fmla="*/ 3 w 10003"/>
              <a:gd name="connsiteY190" fmla="*/ 5826 h 10000"/>
              <a:gd name="connsiteX191" fmla="*/ 159 w 10003"/>
              <a:gd name="connsiteY191" fmla="*/ 5909 h 10000"/>
              <a:gd name="connsiteX192" fmla="*/ 368 w 10003"/>
              <a:gd name="connsiteY192" fmla="*/ 5826 h 10000"/>
              <a:gd name="connsiteX193" fmla="*/ 1462 w 10003"/>
              <a:gd name="connsiteY193" fmla="*/ 5826 h 10000"/>
              <a:gd name="connsiteX194" fmla="*/ 1617 w 10003"/>
              <a:gd name="connsiteY194" fmla="*/ 5785 h 10000"/>
              <a:gd name="connsiteX195" fmla="*/ 1670 w 10003"/>
              <a:gd name="connsiteY195" fmla="*/ 5785 h 10000"/>
              <a:gd name="connsiteX196" fmla="*/ 2190 w 10003"/>
              <a:gd name="connsiteY196" fmla="*/ 5248 h 10000"/>
              <a:gd name="connsiteX197" fmla="*/ 2295 w 10003"/>
              <a:gd name="connsiteY197" fmla="*/ 5165 h 10000"/>
              <a:gd name="connsiteX198" fmla="*/ 2763 w 10003"/>
              <a:gd name="connsiteY198" fmla="*/ 4752 h 10000"/>
              <a:gd name="connsiteX199" fmla="*/ 3024 w 10003"/>
              <a:gd name="connsiteY199" fmla="*/ 4504 h 10000"/>
              <a:gd name="connsiteX200" fmla="*/ 3180 w 10003"/>
              <a:gd name="connsiteY200" fmla="*/ 4380 h 10000"/>
              <a:gd name="connsiteX201" fmla="*/ 3597 w 10003"/>
              <a:gd name="connsiteY201" fmla="*/ 3760 h 10000"/>
              <a:gd name="connsiteX202" fmla="*/ 4117 w 10003"/>
              <a:gd name="connsiteY202" fmla="*/ 3512 h 10000"/>
              <a:gd name="connsiteX203" fmla="*/ 5003 w 10003"/>
              <a:gd name="connsiteY203" fmla="*/ 2810 h 10000"/>
              <a:gd name="connsiteX204" fmla="*/ 4846 w 10003"/>
              <a:gd name="connsiteY204" fmla="*/ 2562 h 10000"/>
              <a:gd name="connsiteX205" fmla="*/ 4795 w 10003"/>
              <a:gd name="connsiteY205" fmla="*/ 2397 h 10000"/>
              <a:gd name="connsiteX206" fmla="*/ 4795 w 10003"/>
              <a:gd name="connsiteY206" fmla="*/ 1240 h 10000"/>
              <a:gd name="connsiteX207" fmla="*/ 4117 w 10003"/>
              <a:gd name="connsiteY207" fmla="*/ 744 h 10000"/>
              <a:gd name="connsiteX208" fmla="*/ 4951 w 10003"/>
              <a:gd name="connsiteY208" fmla="*/ 744 h 10000"/>
              <a:gd name="connsiteX209" fmla="*/ 5784 w 10003"/>
              <a:gd name="connsiteY209" fmla="*/ 744 h 10000"/>
              <a:gd name="connsiteX210" fmla="*/ 5784 w 10003"/>
              <a:gd name="connsiteY210" fmla="*/ 702 h 10000"/>
              <a:gd name="connsiteX211" fmla="*/ 5784 w 10003"/>
              <a:gd name="connsiteY211" fmla="*/ 661 h 10000"/>
              <a:gd name="connsiteX212" fmla="*/ 5784 w 10003"/>
              <a:gd name="connsiteY212" fmla="*/ 620 h 10000"/>
              <a:gd name="connsiteX213" fmla="*/ 5784 w 10003"/>
              <a:gd name="connsiteY213" fmla="*/ 579 h 10000"/>
              <a:gd name="connsiteX214" fmla="*/ 5836 w 10003"/>
              <a:gd name="connsiteY214" fmla="*/ 537 h 10000"/>
              <a:gd name="connsiteX215" fmla="*/ 5836 w 10003"/>
              <a:gd name="connsiteY215" fmla="*/ 496 h 10000"/>
              <a:gd name="connsiteX216" fmla="*/ 5836 w 10003"/>
              <a:gd name="connsiteY216" fmla="*/ 455 h 10000"/>
              <a:gd name="connsiteX217" fmla="*/ 5836 w 10003"/>
              <a:gd name="connsiteY217" fmla="*/ 413 h 10000"/>
              <a:gd name="connsiteX218" fmla="*/ 5836 w 10003"/>
              <a:gd name="connsiteY218" fmla="*/ 372 h 10000"/>
              <a:gd name="connsiteX219" fmla="*/ 5836 w 10003"/>
              <a:gd name="connsiteY219" fmla="*/ 331 h 10000"/>
              <a:gd name="connsiteX220" fmla="*/ 5784 w 10003"/>
              <a:gd name="connsiteY220" fmla="*/ 331 h 10000"/>
              <a:gd name="connsiteX221" fmla="*/ 5784 w 10003"/>
              <a:gd name="connsiteY221" fmla="*/ 289 h 10000"/>
              <a:gd name="connsiteX222" fmla="*/ 5784 w 10003"/>
              <a:gd name="connsiteY222" fmla="*/ 248 h 10000"/>
              <a:gd name="connsiteX223" fmla="*/ 5784 w 10003"/>
              <a:gd name="connsiteY223" fmla="*/ 207 h 10000"/>
              <a:gd name="connsiteX224" fmla="*/ 5784 w 10003"/>
              <a:gd name="connsiteY224" fmla="*/ 165 h 10000"/>
              <a:gd name="connsiteX225" fmla="*/ 5784 w 10003"/>
              <a:gd name="connsiteY225" fmla="*/ 124 h 10000"/>
              <a:gd name="connsiteX226" fmla="*/ 5784 w 10003"/>
              <a:gd name="connsiteY226" fmla="*/ 83 h 10000"/>
              <a:gd name="connsiteX227" fmla="*/ 5784 w 10003"/>
              <a:gd name="connsiteY227" fmla="*/ 41 h 10000"/>
              <a:gd name="connsiteX228" fmla="*/ 5784 w 10003"/>
              <a:gd name="connsiteY228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337 w 10003"/>
              <a:gd name="connsiteY180" fmla="*/ 4278 h 10000"/>
              <a:gd name="connsiteX181" fmla="*/ 4177 w 10003"/>
              <a:gd name="connsiteY181" fmla="*/ 4119 h 10000"/>
              <a:gd name="connsiteX182" fmla="*/ 4017 w 10003"/>
              <a:gd name="connsiteY182" fmla="*/ 4137 h 10000"/>
              <a:gd name="connsiteX183" fmla="*/ 3857 w 10003"/>
              <a:gd name="connsiteY183" fmla="*/ 4421 h 10000"/>
              <a:gd name="connsiteX184" fmla="*/ 3809 w 10003"/>
              <a:gd name="connsiteY184" fmla="*/ 4934 h 10000"/>
              <a:gd name="connsiteX185" fmla="*/ 3537 w 10003"/>
              <a:gd name="connsiteY185" fmla="*/ 5272 h 10000"/>
              <a:gd name="connsiteX186" fmla="*/ 2993 w 10003"/>
              <a:gd name="connsiteY186" fmla="*/ 5573 h 10000"/>
              <a:gd name="connsiteX187" fmla="*/ 2416 w 10003"/>
              <a:gd name="connsiteY187" fmla="*/ 5803 h 10000"/>
              <a:gd name="connsiteX188" fmla="*/ 1952 w 10003"/>
              <a:gd name="connsiteY188" fmla="*/ 6122 h 10000"/>
              <a:gd name="connsiteX189" fmla="*/ 0 w 10003"/>
              <a:gd name="connsiteY189" fmla="*/ 6051 h 10000"/>
              <a:gd name="connsiteX190" fmla="*/ 3 w 10003"/>
              <a:gd name="connsiteY190" fmla="*/ 5826 h 10000"/>
              <a:gd name="connsiteX191" fmla="*/ 159 w 10003"/>
              <a:gd name="connsiteY191" fmla="*/ 5909 h 10000"/>
              <a:gd name="connsiteX192" fmla="*/ 368 w 10003"/>
              <a:gd name="connsiteY192" fmla="*/ 5826 h 10000"/>
              <a:gd name="connsiteX193" fmla="*/ 1462 w 10003"/>
              <a:gd name="connsiteY193" fmla="*/ 5826 h 10000"/>
              <a:gd name="connsiteX194" fmla="*/ 1617 w 10003"/>
              <a:gd name="connsiteY194" fmla="*/ 5785 h 10000"/>
              <a:gd name="connsiteX195" fmla="*/ 1670 w 10003"/>
              <a:gd name="connsiteY195" fmla="*/ 5785 h 10000"/>
              <a:gd name="connsiteX196" fmla="*/ 2190 w 10003"/>
              <a:gd name="connsiteY196" fmla="*/ 5248 h 10000"/>
              <a:gd name="connsiteX197" fmla="*/ 2295 w 10003"/>
              <a:gd name="connsiteY197" fmla="*/ 5165 h 10000"/>
              <a:gd name="connsiteX198" fmla="*/ 2763 w 10003"/>
              <a:gd name="connsiteY198" fmla="*/ 4752 h 10000"/>
              <a:gd name="connsiteX199" fmla="*/ 3024 w 10003"/>
              <a:gd name="connsiteY199" fmla="*/ 4504 h 10000"/>
              <a:gd name="connsiteX200" fmla="*/ 3180 w 10003"/>
              <a:gd name="connsiteY200" fmla="*/ 4380 h 10000"/>
              <a:gd name="connsiteX201" fmla="*/ 3597 w 10003"/>
              <a:gd name="connsiteY201" fmla="*/ 3760 h 10000"/>
              <a:gd name="connsiteX202" fmla="*/ 4117 w 10003"/>
              <a:gd name="connsiteY202" fmla="*/ 3512 h 10000"/>
              <a:gd name="connsiteX203" fmla="*/ 5003 w 10003"/>
              <a:gd name="connsiteY203" fmla="*/ 2810 h 10000"/>
              <a:gd name="connsiteX204" fmla="*/ 4846 w 10003"/>
              <a:gd name="connsiteY204" fmla="*/ 2562 h 10000"/>
              <a:gd name="connsiteX205" fmla="*/ 4795 w 10003"/>
              <a:gd name="connsiteY205" fmla="*/ 2397 h 10000"/>
              <a:gd name="connsiteX206" fmla="*/ 4795 w 10003"/>
              <a:gd name="connsiteY206" fmla="*/ 1240 h 10000"/>
              <a:gd name="connsiteX207" fmla="*/ 4117 w 10003"/>
              <a:gd name="connsiteY207" fmla="*/ 744 h 10000"/>
              <a:gd name="connsiteX208" fmla="*/ 4951 w 10003"/>
              <a:gd name="connsiteY208" fmla="*/ 744 h 10000"/>
              <a:gd name="connsiteX209" fmla="*/ 5784 w 10003"/>
              <a:gd name="connsiteY209" fmla="*/ 744 h 10000"/>
              <a:gd name="connsiteX210" fmla="*/ 5784 w 10003"/>
              <a:gd name="connsiteY210" fmla="*/ 702 h 10000"/>
              <a:gd name="connsiteX211" fmla="*/ 5784 w 10003"/>
              <a:gd name="connsiteY211" fmla="*/ 661 h 10000"/>
              <a:gd name="connsiteX212" fmla="*/ 5784 w 10003"/>
              <a:gd name="connsiteY212" fmla="*/ 620 h 10000"/>
              <a:gd name="connsiteX213" fmla="*/ 5784 w 10003"/>
              <a:gd name="connsiteY213" fmla="*/ 579 h 10000"/>
              <a:gd name="connsiteX214" fmla="*/ 5836 w 10003"/>
              <a:gd name="connsiteY214" fmla="*/ 537 h 10000"/>
              <a:gd name="connsiteX215" fmla="*/ 5836 w 10003"/>
              <a:gd name="connsiteY215" fmla="*/ 496 h 10000"/>
              <a:gd name="connsiteX216" fmla="*/ 5836 w 10003"/>
              <a:gd name="connsiteY216" fmla="*/ 455 h 10000"/>
              <a:gd name="connsiteX217" fmla="*/ 5836 w 10003"/>
              <a:gd name="connsiteY217" fmla="*/ 413 h 10000"/>
              <a:gd name="connsiteX218" fmla="*/ 5836 w 10003"/>
              <a:gd name="connsiteY218" fmla="*/ 372 h 10000"/>
              <a:gd name="connsiteX219" fmla="*/ 5836 w 10003"/>
              <a:gd name="connsiteY219" fmla="*/ 331 h 10000"/>
              <a:gd name="connsiteX220" fmla="*/ 5784 w 10003"/>
              <a:gd name="connsiteY220" fmla="*/ 331 h 10000"/>
              <a:gd name="connsiteX221" fmla="*/ 5784 w 10003"/>
              <a:gd name="connsiteY221" fmla="*/ 289 h 10000"/>
              <a:gd name="connsiteX222" fmla="*/ 5784 w 10003"/>
              <a:gd name="connsiteY222" fmla="*/ 248 h 10000"/>
              <a:gd name="connsiteX223" fmla="*/ 5784 w 10003"/>
              <a:gd name="connsiteY223" fmla="*/ 207 h 10000"/>
              <a:gd name="connsiteX224" fmla="*/ 5784 w 10003"/>
              <a:gd name="connsiteY224" fmla="*/ 165 h 10000"/>
              <a:gd name="connsiteX225" fmla="*/ 5784 w 10003"/>
              <a:gd name="connsiteY225" fmla="*/ 124 h 10000"/>
              <a:gd name="connsiteX226" fmla="*/ 5784 w 10003"/>
              <a:gd name="connsiteY226" fmla="*/ 83 h 10000"/>
              <a:gd name="connsiteX227" fmla="*/ 5784 w 10003"/>
              <a:gd name="connsiteY227" fmla="*/ 41 h 10000"/>
              <a:gd name="connsiteX228" fmla="*/ 5784 w 10003"/>
              <a:gd name="connsiteY228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417 w 10003"/>
              <a:gd name="connsiteY180" fmla="*/ 4474 h 10000"/>
              <a:gd name="connsiteX181" fmla="*/ 4337 w 10003"/>
              <a:gd name="connsiteY181" fmla="*/ 4278 h 10000"/>
              <a:gd name="connsiteX182" fmla="*/ 4177 w 10003"/>
              <a:gd name="connsiteY182" fmla="*/ 4119 h 10000"/>
              <a:gd name="connsiteX183" fmla="*/ 4017 w 10003"/>
              <a:gd name="connsiteY183" fmla="*/ 4137 h 10000"/>
              <a:gd name="connsiteX184" fmla="*/ 3857 w 10003"/>
              <a:gd name="connsiteY184" fmla="*/ 4421 h 10000"/>
              <a:gd name="connsiteX185" fmla="*/ 3809 w 10003"/>
              <a:gd name="connsiteY185" fmla="*/ 4934 h 10000"/>
              <a:gd name="connsiteX186" fmla="*/ 3537 w 10003"/>
              <a:gd name="connsiteY186" fmla="*/ 5272 h 10000"/>
              <a:gd name="connsiteX187" fmla="*/ 2993 w 10003"/>
              <a:gd name="connsiteY187" fmla="*/ 5573 h 10000"/>
              <a:gd name="connsiteX188" fmla="*/ 2416 w 10003"/>
              <a:gd name="connsiteY188" fmla="*/ 5803 h 10000"/>
              <a:gd name="connsiteX189" fmla="*/ 1952 w 10003"/>
              <a:gd name="connsiteY189" fmla="*/ 6122 h 10000"/>
              <a:gd name="connsiteX190" fmla="*/ 0 w 10003"/>
              <a:gd name="connsiteY190" fmla="*/ 6051 h 10000"/>
              <a:gd name="connsiteX191" fmla="*/ 3 w 10003"/>
              <a:gd name="connsiteY191" fmla="*/ 5826 h 10000"/>
              <a:gd name="connsiteX192" fmla="*/ 159 w 10003"/>
              <a:gd name="connsiteY192" fmla="*/ 5909 h 10000"/>
              <a:gd name="connsiteX193" fmla="*/ 368 w 10003"/>
              <a:gd name="connsiteY193" fmla="*/ 5826 h 10000"/>
              <a:gd name="connsiteX194" fmla="*/ 1462 w 10003"/>
              <a:gd name="connsiteY194" fmla="*/ 5826 h 10000"/>
              <a:gd name="connsiteX195" fmla="*/ 1617 w 10003"/>
              <a:gd name="connsiteY195" fmla="*/ 5785 h 10000"/>
              <a:gd name="connsiteX196" fmla="*/ 1670 w 10003"/>
              <a:gd name="connsiteY196" fmla="*/ 5785 h 10000"/>
              <a:gd name="connsiteX197" fmla="*/ 2190 w 10003"/>
              <a:gd name="connsiteY197" fmla="*/ 5248 h 10000"/>
              <a:gd name="connsiteX198" fmla="*/ 2295 w 10003"/>
              <a:gd name="connsiteY198" fmla="*/ 5165 h 10000"/>
              <a:gd name="connsiteX199" fmla="*/ 2763 w 10003"/>
              <a:gd name="connsiteY199" fmla="*/ 4752 h 10000"/>
              <a:gd name="connsiteX200" fmla="*/ 3024 w 10003"/>
              <a:gd name="connsiteY200" fmla="*/ 4504 h 10000"/>
              <a:gd name="connsiteX201" fmla="*/ 3180 w 10003"/>
              <a:gd name="connsiteY201" fmla="*/ 4380 h 10000"/>
              <a:gd name="connsiteX202" fmla="*/ 3597 w 10003"/>
              <a:gd name="connsiteY202" fmla="*/ 3760 h 10000"/>
              <a:gd name="connsiteX203" fmla="*/ 4117 w 10003"/>
              <a:gd name="connsiteY203" fmla="*/ 3512 h 10000"/>
              <a:gd name="connsiteX204" fmla="*/ 5003 w 10003"/>
              <a:gd name="connsiteY204" fmla="*/ 2810 h 10000"/>
              <a:gd name="connsiteX205" fmla="*/ 4846 w 10003"/>
              <a:gd name="connsiteY205" fmla="*/ 2562 h 10000"/>
              <a:gd name="connsiteX206" fmla="*/ 4795 w 10003"/>
              <a:gd name="connsiteY206" fmla="*/ 2397 h 10000"/>
              <a:gd name="connsiteX207" fmla="*/ 4795 w 10003"/>
              <a:gd name="connsiteY207" fmla="*/ 1240 h 10000"/>
              <a:gd name="connsiteX208" fmla="*/ 4117 w 10003"/>
              <a:gd name="connsiteY208" fmla="*/ 744 h 10000"/>
              <a:gd name="connsiteX209" fmla="*/ 4951 w 10003"/>
              <a:gd name="connsiteY209" fmla="*/ 744 h 10000"/>
              <a:gd name="connsiteX210" fmla="*/ 5784 w 10003"/>
              <a:gd name="connsiteY210" fmla="*/ 744 h 10000"/>
              <a:gd name="connsiteX211" fmla="*/ 5784 w 10003"/>
              <a:gd name="connsiteY211" fmla="*/ 702 h 10000"/>
              <a:gd name="connsiteX212" fmla="*/ 5784 w 10003"/>
              <a:gd name="connsiteY212" fmla="*/ 661 h 10000"/>
              <a:gd name="connsiteX213" fmla="*/ 5784 w 10003"/>
              <a:gd name="connsiteY213" fmla="*/ 620 h 10000"/>
              <a:gd name="connsiteX214" fmla="*/ 5784 w 10003"/>
              <a:gd name="connsiteY214" fmla="*/ 579 h 10000"/>
              <a:gd name="connsiteX215" fmla="*/ 5836 w 10003"/>
              <a:gd name="connsiteY215" fmla="*/ 537 h 10000"/>
              <a:gd name="connsiteX216" fmla="*/ 5836 w 10003"/>
              <a:gd name="connsiteY216" fmla="*/ 496 h 10000"/>
              <a:gd name="connsiteX217" fmla="*/ 5836 w 10003"/>
              <a:gd name="connsiteY217" fmla="*/ 455 h 10000"/>
              <a:gd name="connsiteX218" fmla="*/ 5836 w 10003"/>
              <a:gd name="connsiteY218" fmla="*/ 413 h 10000"/>
              <a:gd name="connsiteX219" fmla="*/ 5836 w 10003"/>
              <a:gd name="connsiteY219" fmla="*/ 372 h 10000"/>
              <a:gd name="connsiteX220" fmla="*/ 5836 w 10003"/>
              <a:gd name="connsiteY220" fmla="*/ 331 h 10000"/>
              <a:gd name="connsiteX221" fmla="*/ 5784 w 10003"/>
              <a:gd name="connsiteY221" fmla="*/ 331 h 10000"/>
              <a:gd name="connsiteX222" fmla="*/ 5784 w 10003"/>
              <a:gd name="connsiteY222" fmla="*/ 289 h 10000"/>
              <a:gd name="connsiteX223" fmla="*/ 5784 w 10003"/>
              <a:gd name="connsiteY223" fmla="*/ 248 h 10000"/>
              <a:gd name="connsiteX224" fmla="*/ 5784 w 10003"/>
              <a:gd name="connsiteY224" fmla="*/ 207 h 10000"/>
              <a:gd name="connsiteX225" fmla="*/ 5784 w 10003"/>
              <a:gd name="connsiteY225" fmla="*/ 165 h 10000"/>
              <a:gd name="connsiteX226" fmla="*/ 5784 w 10003"/>
              <a:gd name="connsiteY226" fmla="*/ 124 h 10000"/>
              <a:gd name="connsiteX227" fmla="*/ 5784 w 10003"/>
              <a:gd name="connsiteY227" fmla="*/ 83 h 10000"/>
              <a:gd name="connsiteX228" fmla="*/ 5784 w 10003"/>
              <a:gd name="connsiteY228" fmla="*/ 41 h 10000"/>
              <a:gd name="connsiteX229" fmla="*/ 5784 w 10003"/>
              <a:gd name="connsiteY22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353 w 10003"/>
              <a:gd name="connsiteY180" fmla="*/ 4545 h 10000"/>
              <a:gd name="connsiteX181" fmla="*/ 4337 w 10003"/>
              <a:gd name="connsiteY181" fmla="*/ 4278 h 10000"/>
              <a:gd name="connsiteX182" fmla="*/ 4177 w 10003"/>
              <a:gd name="connsiteY182" fmla="*/ 4119 h 10000"/>
              <a:gd name="connsiteX183" fmla="*/ 4017 w 10003"/>
              <a:gd name="connsiteY183" fmla="*/ 4137 h 10000"/>
              <a:gd name="connsiteX184" fmla="*/ 3857 w 10003"/>
              <a:gd name="connsiteY184" fmla="*/ 4421 h 10000"/>
              <a:gd name="connsiteX185" fmla="*/ 3809 w 10003"/>
              <a:gd name="connsiteY185" fmla="*/ 4934 h 10000"/>
              <a:gd name="connsiteX186" fmla="*/ 3537 w 10003"/>
              <a:gd name="connsiteY186" fmla="*/ 5272 h 10000"/>
              <a:gd name="connsiteX187" fmla="*/ 2993 w 10003"/>
              <a:gd name="connsiteY187" fmla="*/ 5573 h 10000"/>
              <a:gd name="connsiteX188" fmla="*/ 2416 w 10003"/>
              <a:gd name="connsiteY188" fmla="*/ 5803 h 10000"/>
              <a:gd name="connsiteX189" fmla="*/ 1952 w 10003"/>
              <a:gd name="connsiteY189" fmla="*/ 6122 h 10000"/>
              <a:gd name="connsiteX190" fmla="*/ 0 w 10003"/>
              <a:gd name="connsiteY190" fmla="*/ 6051 h 10000"/>
              <a:gd name="connsiteX191" fmla="*/ 3 w 10003"/>
              <a:gd name="connsiteY191" fmla="*/ 5826 h 10000"/>
              <a:gd name="connsiteX192" fmla="*/ 159 w 10003"/>
              <a:gd name="connsiteY192" fmla="*/ 5909 h 10000"/>
              <a:gd name="connsiteX193" fmla="*/ 368 w 10003"/>
              <a:gd name="connsiteY193" fmla="*/ 5826 h 10000"/>
              <a:gd name="connsiteX194" fmla="*/ 1462 w 10003"/>
              <a:gd name="connsiteY194" fmla="*/ 5826 h 10000"/>
              <a:gd name="connsiteX195" fmla="*/ 1617 w 10003"/>
              <a:gd name="connsiteY195" fmla="*/ 5785 h 10000"/>
              <a:gd name="connsiteX196" fmla="*/ 1670 w 10003"/>
              <a:gd name="connsiteY196" fmla="*/ 5785 h 10000"/>
              <a:gd name="connsiteX197" fmla="*/ 2190 w 10003"/>
              <a:gd name="connsiteY197" fmla="*/ 5248 h 10000"/>
              <a:gd name="connsiteX198" fmla="*/ 2295 w 10003"/>
              <a:gd name="connsiteY198" fmla="*/ 5165 h 10000"/>
              <a:gd name="connsiteX199" fmla="*/ 2763 w 10003"/>
              <a:gd name="connsiteY199" fmla="*/ 4752 h 10000"/>
              <a:gd name="connsiteX200" fmla="*/ 3024 w 10003"/>
              <a:gd name="connsiteY200" fmla="*/ 4504 h 10000"/>
              <a:gd name="connsiteX201" fmla="*/ 3180 w 10003"/>
              <a:gd name="connsiteY201" fmla="*/ 4380 h 10000"/>
              <a:gd name="connsiteX202" fmla="*/ 3597 w 10003"/>
              <a:gd name="connsiteY202" fmla="*/ 3760 h 10000"/>
              <a:gd name="connsiteX203" fmla="*/ 4117 w 10003"/>
              <a:gd name="connsiteY203" fmla="*/ 3512 h 10000"/>
              <a:gd name="connsiteX204" fmla="*/ 5003 w 10003"/>
              <a:gd name="connsiteY204" fmla="*/ 2810 h 10000"/>
              <a:gd name="connsiteX205" fmla="*/ 4846 w 10003"/>
              <a:gd name="connsiteY205" fmla="*/ 2562 h 10000"/>
              <a:gd name="connsiteX206" fmla="*/ 4795 w 10003"/>
              <a:gd name="connsiteY206" fmla="*/ 2397 h 10000"/>
              <a:gd name="connsiteX207" fmla="*/ 4795 w 10003"/>
              <a:gd name="connsiteY207" fmla="*/ 1240 h 10000"/>
              <a:gd name="connsiteX208" fmla="*/ 4117 w 10003"/>
              <a:gd name="connsiteY208" fmla="*/ 744 h 10000"/>
              <a:gd name="connsiteX209" fmla="*/ 4951 w 10003"/>
              <a:gd name="connsiteY209" fmla="*/ 744 h 10000"/>
              <a:gd name="connsiteX210" fmla="*/ 5784 w 10003"/>
              <a:gd name="connsiteY210" fmla="*/ 744 h 10000"/>
              <a:gd name="connsiteX211" fmla="*/ 5784 w 10003"/>
              <a:gd name="connsiteY211" fmla="*/ 702 h 10000"/>
              <a:gd name="connsiteX212" fmla="*/ 5784 w 10003"/>
              <a:gd name="connsiteY212" fmla="*/ 661 h 10000"/>
              <a:gd name="connsiteX213" fmla="*/ 5784 w 10003"/>
              <a:gd name="connsiteY213" fmla="*/ 620 h 10000"/>
              <a:gd name="connsiteX214" fmla="*/ 5784 w 10003"/>
              <a:gd name="connsiteY214" fmla="*/ 579 h 10000"/>
              <a:gd name="connsiteX215" fmla="*/ 5836 w 10003"/>
              <a:gd name="connsiteY215" fmla="*/ 537 h 10000"/>
              <a:gd name="connsiteX216" fmla="*/ 5836 w 10003"/>
              <a:gd name="connsiteY216" fmla="*/ 496 h 10000"/>
              <a:gd name="connsiteX217" fmla="*/ 5836 w 10003"/>
              <a:gd name="connsiteY217" fmla="*/ 455 h 10000"/>
              <a:gd name="connsiteX218" fmla="*/ 5836 w 10003"/>
              <a:gd name="connsiteY218" fmla="*/ 413 h 10000"/>
              <a:gd name="connsiteX219" fmla="*/ 5836 w 10003"/>
              <a:gd name="connsiteY219" fmla="*/ 372 h 10000"/>
              <a:gd name="connsiteX220" fmla="*/ 5836 w 10003"/>
              <a:gd name="connsiteY220" fmla="*/ 331 h 10000"/>
              <a:gd name="connsiteX221" fmla="*/ 5784 w 10003"/>
              <a:gd name="connsiteY221" fmla="*/ 331 h 10000"/>
              <a:gd name="connsiteX222" fmla="*/ 5784 w 10003"/>
              <a:gd name="connsiteY222" fmla="*/ 289 h 10000"/>
              <a:gd name="connsiteX223" fmla="*/ 5784 w 10003"/>
              <a:gd name="connsiteY223" fmla="*/ 248 h 10000"/>
              <a:gd name="connsiteX224" fmla="*/ 5784 w 10003"/>
              <a:gd name="connsiteY224" fmla="*/ 207 h 10000"/>
              <a:gd name="connsiteX225" fmla="*/ 5784 w 10003"/>
              <a:gd name="connsiteY225" fmla="*/ 165 h 10000"/>
              <a:gd name="connsiteX226" fmla="*/ 5784 w 10003"/>
              <a:gd name="connsiteY226" fmla="*/ 124 h 10000"/>
              <a:gd name="connsiteX227" fmla="*/ 5784 w 10003"/>
              <a:gd name="connsiteY227" fmla="*/ 83 h 10000"/>
              <a:gd name="connsiteX228" fmla="*/ 5784 w 10003"/>
              <a:gd name="connsiteY228" fmla="*/ 41 h 10000"/>
              <a:gd name="connsiteX229" fmla="*/ 5784 w 10003"/>
              <a:gd name="connsiteY22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449 w 10003"/>
              <a:gd name="connsiteY180" fmla="*/ 4722 h 10000"/>
              <a:gd name="connsiteX181" fmla="*/ 4353 w 10003"/>
              <a:gd name="connsiteY181" fmla="*/ 4545 h 10000"/>
              <a:gd name="connsiteX182" fmla="*/ 4337 w 10003"/>
              <a:gd name="connsiteY182" fmla="*/ 4278 h 10000"/>
              <a:gd name="connsiteX183" fmla="*/ 4177 w 10003"/>
              <a:gd name="connsiteY183" fmla="*/ 4119 h 10000"/>
              <a:gd name="connsiteX184" fmla="*/ 4017 w 10003"/>
              <a:gd name="connsiteY184" fmla="*/ 4137 h 10000"/>
              <a:gd name="connsiteX185" fmla="*/ 3857 w 10003"/>
              <a:gd name="connsiteY185" fmla="*/ 4421 h 10000"/>
              <a:gd name="connsiteX186" fmla="*/ 3809 w 10003"/>
              <a:gd name="connsiteY186" fmla="*/ 4934 h 10000"/>
              <a:gd name="connsiteX187" fmla="*/ 3537 w 10003"/>
              <a:gd name="connsiteY187" fmla="*/ 5272 h 10000"/>
              <a:gd name="connsiteX188" fmla="*/ 2993 w 10003"/>
              <a:gd name="connsiteY188" fmla="*/ 5573 h 10000"/>
              <a:gd name="connsiteX189" fmla="*/ 2416 w 10003"/>
              <a:gd name="connsiteY189" fmla="*/ 5803 h 10000"/>
              <a:gd name="connsiteX190" fmla="*/ 1952 w 10003"/>
              <a:gd name="connsiteY190" fmla="*/ 6122 h 10000"/>
              <a:gd name="connsiteX191" fmla="*/ 0 w 10003"/>
              <a:gd name="connsiteY191" fmla="*/ 6051 h 10000"/>
              <a:gd name="connsiteX192" fmla="*/ 3 w 10003"/>
              <a:gd name="connsiteY192" fmla="*/ 5826 h 10000"/>
              <a:gd name="connsiteX193" fmla="*/ 159 w 10003"/>
              <a:gd name="connsiteY193" fmla="*/ 5909 h 10000"/>
              <a:gd name="connsiteX194" fmla="*/ 368 w 10003"/>
              <a:gd name="connsiteY194" fmla="*/ 5826 h 10000"/>
              <a:gd name="connsiteX195" fmla="*/ 1462 w 10003"/>
              <a:gd name="connsiteY195" fmla="*/ 5826 h 10000"/>
              <a:gd name="connsiteX196" fmla="*/ 1617 w 10003"/>
              <a:gd name="connsiteY196" fmla="*/ 5785 h 10000"/>
              <a:gd name="connsiteX197" fmla="*/ 1670 w 10003"/>
              <a:gd name="connsiteY197" fmla="*/ 5785 h 10000"/>
              <a:gd name="connsiteX198" fmla="*/ 2190 w 10003"/>
              <a:gd name="connsiteY198" fmla="*/ 5248 h 10000"/>
              <a:gd name="connsiteX199" fmla="*/ 2295 w 10003"/>
              <a:gd name="connsiteY199" fmla="*/ 5165 h 10000"/>
              <a:gd name="connsiteX200" fmla="*/ 2763 w 10003"/>
              <a:gd name="connsiteY200" fmla="*/ 4752 h 10000"/>
              <a:gd name="connsiteX201" fmla="*/ 3024 w 10003"/>
              <a:gd name="connsiteY201" fmla="*/ 4504 h 10000"/>
              <a:gd name="connsiteX202" fmla="*/ 3180 w 10003"/>
              <a:gd name="connsiteY202" fmla="*/ 4380 h 10000"/>
              <a:gd name="connsiteX203" fmla="*/ 3597 w 10003"/>
              <a:gd name="connsiteY203" fmla="*/ 3760 h 10000"/>
              <a:gd name="connsiteX204" fmla="*/ 4117 w 10003"/>
              <a:gd name="connsiteY204" fmla="*/ 3512 h 10000"/>
              <a:gd name="connsiteX205" fmla="*/ 5003 w 10003"/>
              <a:gd name="connsiteY205" fmla="*/ 2810 h 10000"/>
              <a:gd name="connsiteX206" fmla="*/ 4846 w 10003"/>
              <a:gd name="connsiteY206" fmla="*/ 2562 h 10000"/>
              <a:gd name="connsiteX207" fmla="*/ 4795 w 10003"/>
              <a:gd name="connsiteY207" fmla="*/ 2397 h 10000"/>
              <a:gd name="connsiteX208" fmla="*/ 4795 w 10003"/>
              <a:gd name="connsiteY208" fmla="*/ 1240 h 10000"/>
              <a:gd name="connsiteX209" fmla="*/ 4117 w 10003"/>
              <a:gd name="connsiteY209" fmla="*/ 744 h 10000"/>
              <a:gd name="connsiteX210" fmla="*/ 4951 w 10003"/>
              <a:gd name="connsiteY210" fmla="*/ 744 h 10000"/>
              <a:gd name="connsiteX211" fmla="*/ 5784 w 10003"/>
              <a:gd name="connsiteY211" fmla="*/ 744 h 10000"/>
              <a:gd name="connsiteX212" fmla="*/ 5784 w 10003"/>
              <a:gd name="connsiteY212" fmla="*/ 702 h 10000"/>
              <a:gd name="connsiteX213" fmla="*/ 5784 w 10003"/>
              <a:gd name="connsiteY213" fmla="*/ 661 h 10000"/>
              <a:gd name="connsiteX214" fmla="*/ 5784 w 10003"/>
              <a:gd name="connsiteY214" fmla="*/ 620 h 10000"/>
              <a:gd name="connsiteX215" fmla="*/ 5784 w 10003"/>
              <a:gd name="connsiteY215" fmla="*/ 579 h 10000"/>
              <a:gd name="connsiteX216" fmla="*/ 5836 w 10003"/>
              <a:gd name="connsiteY216" fmla="*/ 537 h 10000"/>
              <a:gd name="connsiteX217" fmla="*/ 5836 w 10003"/>
              <a:gd name="connsiteY217" fmla="*/ 496 h 10000"/>
              <a:gd name="connsiteX218" fmla="*/ 5836 w 10003"/>
              <a:gd name="connsiteY218" fmla="*/ 455 h 10000"/>
              <a:gd name="connsiteX219" fmla="*/ 5836 w 10003"/>
              <a:gd name="connsiteY219" fmla="*/ 413 h 10000"/>
              <a:gd name="connsiteX220" fmla="*/ 5836 w 10003"/>
              <a:gd name="connsiteY220" fmla="*/ 372 h 10000"/>
              <a:gd name="connsiteX221" fmla="*/ 5836 w 10003"/>
              <a:gd name="connsiteY221" fmla="*/ 331 h 10000"/>
              <a:gd name="connsiteX222" fmla="*/ 5784 w 10003"/>
              <a:gd name="connsiteY222" fmla="*/ 331 h 10000"/>
              <a:gd name="connsiteX223" fmla="*/ 5784 w 10003"/>
              <a:gd name="connsiteY223" fmla="*/ 289 h 10000"/>
              <a:gd name="connsiteX224" fmla="*/ 5784 w 10003"/>
              <a:gd name="connsiteY224" fmla="*/ 248 h 10000"/>
              <a:gd name="connsiteX225" fmla="*/ 5784 w 10003"/>
              <a:gd name="connsiteY225" fmla="*/ 207 h 10000"/>
              <a:gd name="connsiteX226" fmla="*/ 5784 w 10003"/>
              <a:gd name="connsiteY226" fmla="*/ 165 h 10000"/>
              <a:gd name="connsiteX227" fmla="*/ 5784 w 10003"/>
              <a:gd name="connsiteY227" fmla="*/ 124 h 10000"/>
              <a:gd name="connsiteX228" fmla="*/ 5784 w 10003"/>
              <a:gd name="connsiteY228" fmla="*/ 83 h 10000"/>
              <a:gd name="connsiteX229" fmla="*/ 5784 w 10003"/>
              <a:gd name="connsiteY229" fmla="*/ 41 h 10000"/>
              <a:gd name="connsiteX230" fmla="*/ 5784 w 10003"/>
              <a:gd name="connsiteY23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369 w 10003"/>
              <a:gd name="connsiteY180" fmla="*/ 4846 h 10000"/>
              <a:gd name="connsiteX181" fmla="*/ 4353 w 10003"/>
              <a:gd name="connsiteY181" fmla="*/ 4545 h 10000"/>
              <a:gd name="connsiteX182" fmla="*/ 4337 w 10003"/>
              <a:gd name="connsiteY182" fmla="*/ 4278 h 10000"/>
              <a:gd name="connsiteX183" fmla="*/ 4177 w 10003"/>
              <a:gd name="connsiteY183" fmla="*/ 4119 h 10000"/>
              <a:gd name="connsiteX184" fmla="*/ 4017 w 10003"/>
              <a:gd name="connsiteY184" fmla="*/ 4137 h 10000"/>
              <a:gd name="connsiteX185" fmla="*/ 3857 w 10003"/>
              <a:gd name="connsiteY185" fmla="*/ 4421 h 10000"/>
              <a:gd name="connsiteX186" fmla="*/ 3809 w 10003"/>
              <a:gd name="connsiteY186" fmla="*/ 4934 h 10000"/>
              <a:gd name="connsiteX187" fmla="*/ 3537 w 10003"/>
              <a:gd name="connsiteY187" fmla="*/ 5272 h 10000"/>
              <a:gd name="connsiteX188" fmla="*/ 2993 w 10003"/>
              <a:gd name="connsiteY188" fmla="*/ 5573 h 10000"/>
              <a:gd name="connsiteX189" fmla="*/ 2416 w 10003"/>
              <a:gd name="connsiteY189" fmla="*/ 5803 h 10000"/>
              <a:gd name="connsiteX190" fmla="*/ 1952 w 10003"/>
              <a:gd name="connsiteY190" fmla="*/ 6122 h 10000"/>
              <a:gd name="connsiteX191" fmla="*/ 0 w 10003"/>
              <a:gd name="connsiteY191" fmla="*/ 6051 h 10000"/>
              <a:gd name="connsiteX192" fmla="*/ 3 w 10003"/>
              <a:gd name="connsiteY192" fmla="*/ 5826 h 10000"/>
              <a:gd name="connsiteX193" fmla="*/ 159 w 10003"/>
              <a:gd name="connsiteY193" fmla="*/ 5909 h 10000"/>
              <a:gd name="connsiteX194" fmla="*/ 368 w 10003"/>
              <a:gd name="connsiteY194" fmla="*/ 5826 h 10000"/>
              <a:gd name="connsiteX195" fmla="*/ 1462 w 10003"/>
              <a:gd name="connsiteY195" fmla="*/ 5826 h 10000"/>
              <a:gd name="connsiteX196" fmla="*/ 1617 w 10003"/>
              <a:gd name="connsiteY196" fmla="*/ 5785 h 10000"/>
              <a:gd name="connsiteX197" fmla="*/ 1670 w 10003"/>
              <a:gd name="connsiteY197" fmla="*/ 5785 h 10000"/>
              <a:gd name="connsiteX198" fmla="*/ 2190 w 10003"/>
              <a:gd name="connsiteY198" fmla="*/ 5248 h 10000"/>
              <a:gd name="connsiteX199" fmla="*/ 2295 w 10003"/>
              <a:gd name="connsiteY199" fmla="*/ 5165 h 10000"/>
              <a:gd name="connsiteX200" fmla="*/ 2763 w 10003"/>
              <a:gd name="connsiteY200" fmla="*/ 4752 h 10000"/>
              <a:gd name="connsiteX201" fmla="*/ 3024 w 10003"/>
              <a:gd name="connsiteY201" fmla="*/ 4504 h 10000"/>
              <a:gd name="connsiteX202" fmla="*/ 3180 w 10003"/>
              <a:gd name="connsiteY202" fmla="*/ 4380 h 10000"/>
              <a:gd name="connsiteX203" fmla="*/ 3597 w 10003"/>
              <a:gd name="connsiteY203" fmla="*/ 3760 h 10000"/>
              <a:gd name="connsiteX204" fmla="*/ 4117 w 10003"/>
              <a:gd name="connsiteY204" fmla="*/ 3512 h 10000"/>
              <a:gd name="connsiteX205" fmla="*/ 5003 w 10003"/>
              <a:gd name="connsiteY205" fmla="*/ 2810 h 10000"/>
              <a:gd name="connsiteX206" fmla="*/ 4846 w 10003"/>
              <a:gd name="connsiteY206" fmla="*/ 2562 h 10000"/>
              <a:gd name="connsiteX207" fmla="*/ 4795 w 10003"/>
              <a:gd name="connsiteY207" fmla="*/ 2397 h 10000"/>
              <a:gd name="connsiteX208" fmla="*/ 4795 w 10003"/>
              <a:gd name="connsiteY208" fmla="*/ 1240 h 10000"/>
              <a:gd name="connsiteX209" fmla="*/ 4117 w 10003"/>
              <a:gd name="connsiteY209" fmla="*/ 744 h 10000"/>
              <a:gd name="connsiteX210" fmla="*/ 4951 w 10003"/>
              <a:gd name="connsiteY210" fmla="*/ 744 h 10000"/>
              <a:gd name="connsiteX211" fmla="*/ 5784 w 10003"/>
              <a:gd name="connsiteY211" fmla="*/ 744 h 10000"/>
              <a:gd name="connsiteX212" fmla="*/ 5784 w 10003"/>
              <a:gd name="connsiteY212" fmla="*/ 702 h 10000"/>
              <a:gd name="connsiteX213" fmla="*/ 5784 w 10003"/>
              <a:gd name="connsiteY213" fmla="*/ 661 h 10000"/>
              <a:gd name="connsiteX214" fmla="*/ 5784 w 10003"/>
              <a:gd name="connsiteY214" fmla="*/ 620 h 10000"/>
              <a:gd name="connsiteX215" fmla="*/ 5784 w 10003"/>
              <a:gd name="connsiteY215" fmla="*/ 579 h 10000"/>
              <a:gd name="connsiteX216" fmla="*/ 5836 w 10003"/>
              <a:gd name="connsiteY216" fmla="*/ 537 h 10000"/>
              <a:gd name="connsiteX217" fmla="*/ 5836 w 10003"/>
              <a:gd name="connsiteY217" fmla="*/ 496 h 10000"/>
              <a:gd name="connsiteX218" fmla="*/ 5836 w 10003"/>
              <a:gd name="connsiteY218" fmla="*/ 455 h 10000"/>
              <a:gd name="connsiteX219" fmla="*/ 5836 w 10003"/>
              <a:gd name="connsiteY219" fmla="*/ 413 h 10000"/>
              <a:gd name="connsiteX220" fmla="*/ 5836 w 10003"/>
              <a:gd name="connsiteY220" fmla="*/ 372 h 10000"/>
              <a:gd name="connsiteX221" fmla="*/ 5836 w 10003"/>
              <a:gd name="connsiteY221" fmla="*/ 331 h 10000"/>
              <a:gd name="connsiteX222" fmla="*/ 5784 w 10003"/>
              <a:gd name="connsiteY222" fmla="*/ 331 h 10000"/>
              <a:gd name="connsiteX223" fmla="*/ 5784 w 10003"/>
              <a:gd name="connsiteY223" fmla="*/ 289 h 10000"/>
              <a:gd name="connsiteX224" fmla="*/ 5784 w 10003"/>
              <a:gd name="connsiteY224" fmla="*/ 248 h 10000"/>
              <a:gd name="connsiteX225" fmla="*/ 5784 w 10003"/>
              <a:gd name="connsiteY225" fmla="*/ 207 h 10000"/>
              <a:gd name="connsiteX226" fmla="*/ 5784 w 10003"/>
              <a:gd name="connsiteY226" fmla="*/ 165 h 10000"/>
              <a:gd name="connsiteX227" fmla="*/ 5784 w 10003"/>
              <a:gd name="connsiteY227" fmla="*/ 124 h 10000"/>
              <a:gd name="connsiteX228" fmla="*/ 5784 w 10003"/>
              <a:gd name="connsiteY228" fmla="*/ 83 h 10000"/>
              <a:gd name="connsiteX229" fmla="*/ 5784 w 10003"/>
              <a:gd name="connsiteY229" fmla="*/ 41 h 10000"/>
              <a:gd name="connsiteX230" fmla="*/ 5784 w 10003"/>
              <a:gd name="connsiteY23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417 w 10003"/>
              <a:gd name="connsiteY180" fmla="*/ 4988 h 10000"/>
              <a:gd name="connsiteX181" fmla="*/ 4369 w 10003"/>
              <a:gd name="connsiteY181" fmla="*/ 4846 h 10000"/>
              <a:gd name="connsiteX182" fmla="*/ 4353 w 10003"/>
              <a:gd name="connsiteY182" fmla="*/ 4545 h 10000"/>
              <a:gd name="connsiteX183" fmla="*/ 4337 w 10003"/>
              <a:gd name="connsiteY183" fmla="*/ 4278 h 10000"/>
              <a:gd name="connsiteX184" fmla="*/ 4177 w 10003"/>
              <a:gd name="connsiteY184" fmla="*/ 4119 h 10000"/>
              <a:gd name="connsiteX185" fmla="*/ 4017 w 10003"/>
              <a:gd name="connsiteY185" fmla="*/ 4137 h 10000"/>
              <a:gd name="connsiteX186" fmla="*/ 3857 w 10003"/>
              <a:gd name="connsiteY186" fmla="*/ 4421 h 10000"/>
              <a:gd name="connsiteX187" fmla="*/ 3809 w 10003"/>
              <a:gd name="connsiteY187" fmla="*/ 4934 h 10000"/>
              <a:gd name="connsiteX188" fmla="*/ 3537 w 10003"/>
              <a:gd name="connsiteY188" fmla="*/ 5272 h 10000"/>
              <a:gd name="connsiteX189" fmla="*/ 2993 w 10003"/>
              <a:gd name="connsiteY189" fmla="*/ 5573 h 10000"/>
              <a:gd name="connsiteX190" fmla="*/ 2416 w 10003"/>
              <a:gd name="connsiteY190" fmla="*/ 5803 h 10000"/>
              <a:gd name="connsiteX191" fmla="*/ 1952 w 10003"/>
              <a:gd name="connsiteY191" fmla="*/ 6122 h 10000"/>
              <a:gd name="connsiteX192" fmla="*/ 0 w 10003"/>
              <a:gd name="connsiteY192" fmla="*/ 6051 h 10000"/>
              <a:gd name="connsiteX193" fmla="*/ 3 w 10003"/>
              <a:gd name="connsiteY193" fmla="*/ 5826 h 10000"/>
              <a:gd name="connsiteX194" fmla="*/ 159 w 10003"/>
              <a:gd name="connsiteY194" fmla="*/ 5909 h 10000"/>
              <a:gd name="connsiteX195" fmla="*/ 368 w 10003"/>
              <a:gd name="connsiteY195" fmla="*/ 5826 h 10000"/>
              <a:gd name="connsiteX196" fmla="*/ 1462 w 10003"/>
              <a:gd name="connsiteY196" fmla="*/ 5826 h 10000"/>
              <a:gd name="connsiteX197" fmla="*/ 1617 w 10003"/>
              <a:gd name="connsiteY197" fmla="*/ 5785 h 10000"/>
              <a:gd name="connsiteX198" fmla="*/ 1670 w 10003"/>
              <a:gd name="connsiteY198" fmla="*/ 5785 h 10000"/>
              <a:gd name="connsiteX199" fmla="*/ 2190 w 10003"/>
              <a:gd name="connsiteY199" fmla="*/ 5248 h 10000"/>
              <a:gd name="connsiteX200" fmla="*/ 2295 w 10003"/>
              <a:gd name="connsiteY200" fmla="*/ 5165 h 10000"/>
              <a:gd name="connsiteX201" fmla="*/ 2763 w 10003"/>
              <a:gd name="connsiteY201" fmla="*/ 4752 h 10000"/>
              <a:gd name="connsiteX202" fmla="*/ 3024 w 10003"/>
              <a:gd name="connsiteY202" fmla="*/ 4504 h 10000"/>
              <a:gd name="connsiteX203" fmla="*/ 3180 w 10003"/>
              <a:gd name="connsiteY203" fmla="*/ 4380 h 10000"/>
              <a:gd name="connsiteX204" fmla="*/ 3597 w 10003"/>
              <a:gd name="connsiteY204" fmla="*/ 3760 h 10000"/>
              <a:gd name="connsiteX205" fmla="*/ 4117 w 10003"/>
              <a:gd name="connsiteY205" fmla="*/ 3512 h 10000"/>
              <a:gd name="connsiteX206" fmla="*/ 5003 w 10003"/>
              <a:gd name="connsiteY206" fmla="*/ 2810 h 10000"/>
              <a:gd name="connsiteX207" fmla="*/ 4846 w 10003"/>
              <a:gd name="connsiteY207" fmla="*/ 2562 h 10000"/>
              <a:gd name="connsiteX208" fmla="*/ 4795 w 10003"/>
              <a:gd name="connsiteY208" fmla="*/ 2397 h 10000"/>
              <a:gd name="connsiteX209" fmla="*/ 4795 w 10003"/>
              <a:gd name="connsiteY209" fmla="*/ 1240 h 10000"/>
              <a:gd name="connsiteX210" fmla="*/ 4117 w 10003"/>
              <a:gd name="connsiteY210" fmla="*/ 744 h 10000"/>
              <a:gd name="connsiteX211" fmla="*/ 4951 w 10003"/>
              <a:gd name="connsiteY211" fmla="*/ 744 h 10000"/>
              <a:gd name="connsiteX212" fmla="*/ 5784 w 10003"/>
              <a:gd name="connsiteY212" fmla="*/ 744 h 10000"/>
              <a:gd name="connsiteX213" fmla="*/ 5784 w 10003"/>
              <a:gd name="connsiteY213" fmla="*/ 702 h 10000"/>
              <a:gd name="connsiteX214" fmla="*/ 5784 w 10003"/>
              <a:gd name="connsiteY214" fmla="*/ 661 h 10000"/>
              <a:gd name="connsiteX215" fmla="*/ 5784 w 10003"/>
              <a:gd name="connsiteY215" fmla="*/ 620 h 10000"/>
              <a:gd name="connsiteX216" fmla="*/ 5784 w 10003"/>
              <a:gd name="connsiteY216" fmla="*/ 579 h 10000"/>
              <a:gd name="connsiteX217" fmla="*/ 5836 w 10003"/>
              <a:gd name="connsiteY217" fmla="*/ 537 h 10000"/>
              <a:gd name="connsiteX218" fmla="*/ 5836 w 10003"/>
              <a:gd name="connsiteY218" fmla="*/ 496 h 10000"/>
              <a:gd name="connsiteX219" fmla="*/ 5836 w 10003"/>
              <a:gd name="connsiteY219" fmla="*/ 455 h 10000"/>
              <a:gd name="connsiteX220" fmla="*/ 5836 w 10003"/>
              <a:gd name="connsiteY220" fmla="*/ 413 h 10000"/>
              <a:gd name="connsiteX221" fmla="*/ 5836 w 10003"/>
              <a:gd name="connsiteY221" fmla="*/ 372 h 10000"/>
              <a:gd name="connsiteX222" fmla="*/ 5836 w 10003"/>
              <a:gd name="connsiteY222" fmla="*/ 331 h 10000"/>
              <a:gd name="connsiteX223" fmla="*/ 5784 w 10003"/>
              <a:gd name="connsiteY223" fmla="*/ 331 h 10000"/>
              <a:gd name="connsiteX224" fmla="*/ 5784 w 10003"/>
              <a:gd name="connsiteY224" fmla="*/ 289 h 10000"/>
              <a:gd name="connsiteX225" fmla="*/ 5784 w 10003"/>
              <a:gd name="connsiteY225" fmla="*/ 248 h 10000"/>
              <a:gd name="connsiteX226" fmla="*/ 5784 w 10003"/>
              <a:gd name="connsiteY226" fmla="*/ 207 h 10000"/>
              <a:gd name="connsiteX227" fmla="*/ 5784 w 10003"/>
              <a:gd name="connsiteY227" fmla="*/ 165 h 10000"/>
              <a:gd name="connsiteX228" fmla="*/ 5784 w 10003"/>
              <a:gd name="connsiteY228" fmla="*/ 124 h 10000"/>
              <a:gd name="connsiteX229" fmla="*/ 5784 w 10003"/>
              <a:gd name="connsiteY229" fmla="*/ 83 h 10000"/>
              <a:gd name="connsiteX230" fmla="*/ 5784 w 10003"/>
              <a:gd name="connsiteY230" fmla="*/ 41 h 10000"/>
              <a:gd name="connsiteX231" fmla="*/ 5784 w 10003"/>
              <a:gd name="connsiteY231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225 w 10003"/>
              <a:gd name="connsiteY180" fmla="*/ 5112 h 10000"/>
              <a:gd name="connsiteX181" fmla="*/ 4369 w 10003"/>
              <a:gd name="connsiteY181" fmla="*/ 4846 h 10000"/>
              <a:gd name="connsiteX182" fmla="*/ 4353 w 10003"/>
              <a:gd name="connsiteY182" fmla="*/ 4545 h 10000"/>
              <a:gd name="connsiteX183" fmla="*/ 4337 w 10003"/>
              <a:gd name="connsiteY183" fmla="*/ 4278 h 10000"/>
              <a:gd name="connsiteX184" fmla="*/ 4177 w 10003"/>
              <a:gd name="connsiteY184" fmla="*/ 4119 h 10000"/>
              <a:gd name="connsiteX185" fmla="*/ 4017 w 10003"/>
              <a:gd name="connsiteY185" fmla="*/ 4137 h 10000"/>
              <a:gd name="connsiteX186" fmla="*/ 3857 w 10003"/>
              <a:gd name="connsiteY186" fmla="*/ 4421 h 10000"/>
              <a:gd name="connsiteX187" fmla="*/ 3809 w 10003"/>
              <a:gd name="connsiteY187" fmla="*/ 4934 h 10000"/>
              <a:gd name="connsiteX188" fmla="*/ 3537 w 10003"/>
              <a:gd name="connsiteY188" fmla="*/ 5272 h 10000"/>
              <a:gd name="connsiteX189" fmla="*/ 2993 w 10003"/>
              <a:gd name="connsiteY189" fmla="*/ 5573 h 10000"/>
              <a:gd name="connsiteX190" fmla="*/ 2416 w 10003"/>
              <a:gd name="connsiteY190" fmla="*/ 5803 h 10000"/>
              <a:gd name="connsiteX191" fmla="*/ 1952 w 10003"/>
              <a:gd name="connsiteY191" fmla="*/ 6122 h 10000"/>
              <a:gd name="connsiteX192" fmla="*/ 0 w 10003"/>
              <a:gd name="connsiteY192" fmla="*/ 6051 h 10000"/>
              <a:gd name="connsiteX193" fmla="*/ 3 w 10003"/>
              <a:gd name="connsiteY193" fmla="*/ 5826 h 10000"/>
              <a:gd name="connsiteX194" fmla="*/ 159 w 10003"/>
              <a:gd name="connsiteY194" fmla="*/ 5909 h 10000"/>
              <a:gd name="connsiteX195" fmla="*/ 368 w 10003"/>
              <a:gd name="connsiteY195" fmla="*/ 5826 h 10000"/>
              <a:gd name="connsiteX196" fmla="*/ 1462 w 10003"/>
              <a:gd name="connsiteY196" fmla="*/ 5826 h 10000"/>
              <a:gd name="connsiteX197" fmla="*/ 1617 w 10003"/>
              <a:gd name="connsiteY197" fmla="*/ 5785 h 10000"/>
              <a:gd name="connsiteX198" fmla="*/ 1670 w 10003"/>
              <a:gd name="connsiteY198" fmla="*/ 5785 h 10000"/>
              <a:gd name="connsiteX199" fmla="*/ 2190 w 10003"/>
              <a:gd name="connsiteY199" fmla="*/ 5248 h 10000"/>
              <a:gd name="connsiteX200" fmla="*/ 2295 w 10003"/>
              <a:gd name="connsiteY200" fmla="*/ 5165 h 10000"/>
              <a:gd name="connsiteX201" fmla="*/ 2763 w 10003"/>
              <a:gd name="connsiteY201" fmla="*/ 4752 h 10000"/>
              <a:gd name="connsiteX202" fmla="*/ 3024 w 10003"/>
              <a:gd name="connsiteY202" fmla="*/ 4504 h 10000"/>
              <a:gd name="connsiteX203" fmla="*/ 3180 w 10003"/>
              <a:gd name="connsiteY203" fmla="*/ 4380 h 10000"/>
              <a:gd name="connsiteX204" fmla="*/ 3597 w 10003"/>
              <a:gd name="connsiteY204" fmla="*/ 3760 h 10000"/>
              <a:gd name="connsiteX205" fmla="*/ 4117 w 10003"/>
              <a:gd name="connsiteY205" fmla="*/ 3512 h 10000"/>
              <a:gd name="connsiteX206" fmla="*/ 5003 w 10003"/>
              <a:gd name="connsiteY206" fmla="*/ 2810 h 10000"/>
              <a:gd name="connsiteX207" fmla="*/ 4846 w 10003"/>
              <a:gd name="connsiteY207" fmla="*/ 2562 h 10000"/>
              <a:gd name="connsiteX208" fmla="*/ 4795 w 10003"/>
              <a:gd name="connsiteY208" fmla="*/ 2397 h 10000"/>
              <a:gd name="connsiteX209" fmla="*/ 4795 w 10003"/>
              <a:gd name="connsiteY209" fmla="*/ 1240 h 10000"/>
              <a:gd name="connsiteX210" fmla="*/ 4117 w 10003"/>
              <a:gd name="connsiteY210" fmla="*/ 744 h 10000"/>
              <a:gd name="connsiteX211" fmla="*/ 4951 w 10003"/>
              <a:gd name="connsiteY211" fmla="*/ 744 h 10000"/>
              <a:gd name="connsiteX212" fmla="*/ 5784 w 10003"/>
              <a:gd name="connsiteY212" fmla="*/ 744 h 10000"/>
              <a:gd name="connsiteX213" fmla="*/ 5784 w 10003"/>
              <a:gd name="connsiteY213" fmla="*/ 702 h 10000"/>
              <a:gd name="connsiteX214" fmla="*/ 5784 w 10003"/>
              <a:gd name="connsiteY214" fmla="*/ 661 h 10000"/>
              <a:gd name="connsiteX215" fmla="*/ 5784 w 10003"/>
              <a:gd name="connsiteY215" fmla="*/ 620 h 10000"/>
              <a:gd name="connsiteX216" fmla="*/ 5784 w 10003"/>
              <a:gd name="connsiteY216" fmla="*/ 579 h 10000"/>
              <a:gd name="connsiteX217" fmla="*/ 5836 w 10003"/>
              <a:gd name="connsiteY217" fmla="*/ 537 h 10000"/>
              <a:gd name="connsiteX218" fmla="*/ 5836 w 10003"/>
              <a:gd name="connsiteY218" fmla="*/ 496 h 10000"/>
              <a:gd name="connsiteX219" fmla="*/ 5836 w 10003"/>
              <a:gd name="connsiteY219" fmla="*/ 455 h 10000"/>
              <a:gd name="connsiteX220" fmla="*/ 5836 w 10003"/>
              <a:gd name="connsiteY220" fmla="*/ 413 h 10000"/>
              <a:gd name="connsiteX221" fmla="*/ 5836 w 10003"/>
              <a:gd name="connsiteY221" fmla="*/ 372 h 10000"/>
              <a:gd name="connsiteX222" fmla="*/ 5836 w 10003"/>
              <a:gd name="connsiteY222" fmla="*/ 331 h 10000"/>
              <a:gd name="connsiteX223" fmla="*/ 5784 w 10003"/>
              <a:gd name="connsiteY223" fmla="*/ 331 h 10000"/>
              <a:gd name="connsiteX224" fmla="*/ 5784 w 10003"/>
              <a:gd name="connsiteY224" fmla="*/ 289 h 10000"/>
              <a:gd name="connsiteX225" fmla="*/ 5784 w 10003"/>
              <a:gd name="connsiteY225" fmla="*/ 248 h 10000"/>
              <a:gd name="connsiteX226" fmla="*/ 5784 w 10003"/>
              <a:gd name="connsiteY226" fmla="*/ 207 h 10000"/>
              <a:gd name="connsiteX227" fmla="*/ 5784 w 10003"/>
              <a:gd name="connsiteY227" fmla="*/ 165 h 10000"/>
              <a:gd name="connsiteX228" fmla="*/ 5784 w 10003"/>
              <a:gd name="connsiteY228" fmla="*/ 124 h 10000"/>
              <a:gd name="connsiteX229" fmla="*/ 5784 w 10003"/>
              <a:gd name="connsiteY229" fmla="*/ 83 h 10000"/>
              <a:gd name="connsiteX230" fmla="*/ 5784 w 10003"/>
              <a:gd name="connsiteY230" fmla="*/ 41 h 10000"/>
              <a:gd name="connsiteX231" fmla="*/ 5784 w 10003"/>
              <a:gd name="connsiteY231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321 w 10003"/>
              <a:gd name="connsiteY180" fmla="*/ 5307 h 10000"/>
              <a:gd name="connsiteX181" fmla="*/ 4225 w 10003"/>
              <a:gd name="connsiteY181" fmla="*/ 5112 h 10000"/>
              <a:gd name="connsiteX182" fmla="*/ 4369 w 10003"/>
              <a:gd name="connsiteY182" fmla="*/ 4846 h 10000"/>
              <a:gd name="connsiteX183" fmla="*/ 4353 w 10003"/>
              <a:gd name="connsiteY183" fmla="*/ 4545 h 10000"/>
              <a:gd name="connsiteX184" fmla="*/ 4337 w 10003"/>
              <a:gd name="connsiteY184" fmla="*/ 4278 h 10000"/>
              <a:gd name="connsiteX185" fmla="*/ 4177 w 10003"/>
              <a:gd name="connsiteY185" fmla="*/ 4119 h 10000"/>
              <a:gd name="connsiteX186" fmla="*/ 4017 w 10003"/>
              <a:gd name="connsiteY186" fmla="*/ 4137 h 10000"/>
              <a:gd name="connsiteX187" fmla="*/ 3857 w 10003"/>
              <a:gd name="connsiteY187" fmla="*/ 4421 h 10000"/>
              <a:gd name="connsiteX188" fmla="*/ 3809 w 10003"/>
              <a:gd name="connsiteY188" fmla="*/ 4934 h 10000"/>
              <a:gd name="connsiteX189" fmla="*/ 3537 w 10003"/>
              <a:gd name="connsiteY189" fmla="*/ 5272 h 10000"/>
              <a:gd name="connsiteX190" fmla="*/ 2993 w 10003"/>
              <a:gd name="connsiteY190" fmla="*/ 5573 h 10000"/>
              <a:gd name="connsiteX191" fmla="*/ 2416 w 10003"/>
              <a:gd name="connsiteY191" fmla="*/ 5803 h 10000"/>
              <a:gd name="connsiteX192" fmla="*/ 1952 w 10003"/>
              <a:gd name="connsiteY192" fmla="*/ 6122 h 10000"/>
              <a:gd name="connsiteX193" fmla="*/ 0 w 10003"/>
              <a:gd name="connsiteY193" fmla="*/ 6051 h 10000"/>
              <a:gd name="connsiteX194" fmla="*/ 3 w 10003"/>
              <a:gd name="connsiteY194" fmla="*/ 5826 h 10000"/>
              <a:gd name="connsiteX195" fmla="*/ 159 w 10003"/>
              <a:gd name="connsiteY195" fmla="*/ 5909 h 10000"/>
              <a:gd name="connsiteX196" fmla="*/ 368 w 10003"/>
              <a:gd name="connsiteY196" fmla="*/ 5826 h 10000"/>
              <a:gd name="connsiteX197" fmla="*/ 1462 w 10003"/>
              <a:gd name="connsiteY197" fmla="*/ 5826 h 10000"/>
              <a:gd name="connsiteX198" fmla="*/ 1617 w 10003"/>
              <a:gd name="connsiteY198" fmla="*/ 5785 h 10000"/>
              <a:gd name="connsiteX199" fmla="*/ 1670 w 10003"/>
              <a:gd name="connsiteY199" fmla="*/ 5785 h 10000"/>
              <a:gd name="connsiteX200" fmla="*/ 2190 w 10003"/>
              <a:gd name="connsiteY200" fmla="*/ 5248 h 10000"/>
              <a:gd name="connsiteX201" fmla="*/ 2295 w 10003"/>
              <a:gd name="connsiteY201" fmla="*/ 5165 h 10000"/>
              <a:gd name="connsiteX202" fmla="*/ 2763 w 10003"/>
              <a:gd name="connsiteY202" fmla="*/ 4752 h 10000"/>
              <a:gd name="connsiteX203" fmla="*/ 3024 w 10003"/>
              <a:gd name="connsiteY203" fmla="*/ 4504 h 10000"/>
              <a:gd name="connsiteX204" fmla="*/ 3180 w 10003"/>
              <a:gd name="connsiteY204" fmla="*/ 4380 h 10000"/>
              <a:gd name="connsiteX205" fmla="*/ 3597 w 10003"/>
              <a:gd name="connsiteY205" fmla="*/ 3760 h 10000"/>
              <a:gd name="connsiteX206" fmla="*/ 4117 w 10003"/>
              <a:gd name="connsiteY206" fmla="*/ 3512 h 10000"/>
              <a:gd name="connsiteX207" fmla="*/ 5003 w 10003"/>
              <a:gd name="connsiteY207" fmla="*/ 2810 h 10000"/>
              <a:gd name="connsiteX208" fmla="*/ 4846 w 10003"/>
              <a:gd name="connsiteY208" fmla="*/ 2562 h 10000"/>
              <a:gd name="connsiteX209" fmla="*/ 4795 w 10003"/>
              <a:gd name="connsiteY209" fmla="*/ 2397 h 10000"/>
              <a:gd name="connsiteX210" fmla="*/ 4795 w 10003"/>
              <a:gd name="connsiteY210" fmla="*/ 1240 h 10000"/>
              <a:gd name="connsiteX211" fmla="*/ 4117 w 10003"/>
              <a:gd name="connsiteY211" fmla="*/ 744 h 10000"/>
              <a:gd name="connsiteX212" fmla="*/ 4951 w 10003"/>
              <a:gd name="connsiteY212" fmla="*/ 744 h 10000"/>
              <a:gd name="connsiteX213" fmla="*/ 5784 w 10003"/>
              <a:gd name="connsiteY213" fmla="*/ 744 h 10000"/>
              <a:gd name="connsiteX214" fmla="*/ 5784 w 10003"/>
              <a:gd name="connsiteY214" fmla="*/ 702 h 10000"/>
              <a:gd name="connsiteX215" fmla="*/ 5784 w 10003"/>
              <a:gd name="connsiteY215" fmla="*/ 661 h 10000"/>
              <a:gd name="connsiteX216" fmla="*/ 5784 w 10003"/>
              <a:gd name="connsiteY216" fmla="*/ 620 h 10000"/>
              <a:gd name="connsiteX217" fmla="*/ 5784 w 10003"/>
              <a:gd name="connsiteY217" fmla="*/ 579 h 10000"/>
              <a:gd name="connsiteX218" fmla="*/ 5836 w 10003"/>
              <a:gd name="connsiteY218" fmla="*/ 537 h 10000"/>
              <a:gd name="connsiteX219" fmla="*/ 5836 w 10003"/>
              <a:gd name="connsiteY219" fmla="*/ 496 h 10000"/>
              <a:gd name="connsiteX220" fmla="*/ 5836 w 10003"/>
              <a:gd name="connsiteY220" fmla="*/ 455 h 10000"/>
              <a:gd name="connsiteX221" fmla="*/ 5836 w 10003"/>
              <a:gd name="connsiteY221" fmla="*/ 413 h 10000"/>
              <a:gd name="connsiteX222" fmla="*/ 5836 w 10003"/>
              <a:gd name="connsiteY222" fmla="*/ 372 h 10000"/>
              <a:gd name="connsiteX223" fmla="*/ 5836 w 10003"/>
              <a:gd name="connsiteY223" fmla="*/ 331 h 10000"/>
              <a:gd name="connsiteX224" fmla="*/ 5784 w 10003"/>
              <a:gd name="connsiteY224" fmla="*/ 331 h 10000"/>
              <a:gd name="connsiteX225" fmla="*/ 5784 w 10003"/>
              <a:gd name="connsiteY225" fmla="*/ 289 h 10000"/>
              <a:gd name="connsiteX226" fmla="*/ 5784 w 10003"/>
              <a:gd name="connsiteY226" fmla="*/ 248 h 10000"/>
              <a:gd name="connsiteX227" fmla="*/ 5784 w 10003"/>
              <a:gd name="connsiteY227" fmla="*/ 207 h 10000"/>
              <a:gd name="connsiteX228" fmla="*/ 5784 w 10003"/>
              <a:gd name="connsiteY228" fmla="*/ 165 h 10000"/>
              <a:gd name="connsiteX229" fmla="*/ 5784 w 10003"/>
              <a:gd name="connsiteY229" fmla="*/ 124 h 10000"/>
              <a:gd name="connsiteX230" fmla="*/ 5784 w 10003"/>
              <a:gd name="connsiteY230" fmla="*/ 83 h 10000"/>
              <a:gd name="connsiteX231" fmla="*/ 5784 w 10003"/>
              <a:gd name="connsiteY231" fmla="*/ 41 h 10000"/>
              <a:gd name="connsiteX232" fmla="*/ 5784 w 10003"/>
              <a:gd name="connsiteY23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969 w 10003"/>
              <a:gd name="connsiteY180" fmla="*/ 5396 h 10000"/>
              <a:gd name="connsiteX181" fmla="*/ 4225 w 10003"/>
              <a:gd name="connsiteY181" fmla="*/ 5112 h 10000"/>
              <a:gd name="connsiteX182" fmla="*/ 4369 w 10003"/>
              <a:gd name="connsiteY182" fmla="*/ 4846 h 10000"/>
              <a:gd name="connsiteX183" fmla="*/ 4353 w 10003"/>
              <a:gd name="connsiteY183" fmla="*/ 4545 h 10000"/>
              <a:gd name="connsiteX184" fmla="*/ 4337 w 10003"/>
              <a:gd name="connsiteY184" fmla="*/ 4278 h 10000"/>
              <a:gd name="connsiteX185" fmla="*/ 4177 w 10003"/>
              <a:gd name="connsiteY185" fmla="*/ 4119 h 10000"/>
              <a:gd name="connsiteX186" fmla="*/ 4017 w 10003"/>
              <a:gd name="connsiteY186" fmla="*/ 4137 h 10000"/>
              <a:gd name="connsiteX187" fmla="*/ 3857 w 10003"/>
              <a:gd name="connsiteY187" fmla="*/ 4421 h 10000"/>
              <a:gd name="connsiteX188" fmla="*/ 3809 w 10003"/>
              <a:gd name="connsiteY188" fmla="*/ 4934 h 10000"/>
              <a:gd name="connsiteX189" fmla="*/ 3537 w 10003"/>
              <a:gd name="connsiteY189" fmla="*/ 5272 h 10000"/>
              <a:gd name="connsiteX190" fmla="*/ 2993 w 10003"/>
              <a:gd name="connsiteY190" fmla="*/ 5573 h 10000"/>
              <a:gd name="connsiteX191" fmla="*/ 2416 w 10003"/>
              <a:gd name="connsiteY191" fmla="*/ 5803 h 10000"/>
              <a:gd name="connsiteX192" fmla="*/ 1952 w 10003"/>
              <a:gd name="connsiteY192" fmla="*/ 6122 h 10000"/>
              <a:gd name="connsiteX193" fmla="*/ 0 w 10003"/>
              <a:gd name="connsiteY193" fmla="*/ 6051 h 10000"/>
              <a:gd name="connsiteX194" fmla="*/ 3 w 10003"/>
              <a:gd name="connsiteY194" fmla="*/ 5826 h 10000"/>
              <a:gd name="connsiteX195" fmla="*/ 159 w 10003"/>
              <a:gd name="connsiteY195" fmla="*/ 5909 h 10000"/>
              <a:gd name="connsiteX196" fmla="*/ 368 w 10003"/>
              <a:gd name="connsiteY196" fmla="*/ 5826 h 10000"/>
              <a:gd name="connsiteX197" fmla="*/ 1462 w 10003"/>
              <a:gd name="connsiteY197" fmla="*/ 5826 h 10000"/>
              <a:gd name="connsiteX198" fmla="*/ 1617 w 10003"/>
              <a:gd name="connsiteY198" fmla="*/ 5785 h 10000"/>
              <a:gd name="connsiteX199" fmla="*/ 1670 w 10003"/>
              <a:gd name="connsiteY199" fmla="*/ 5785 h 10000"/>
              <a:gd name="connsiteX200" fmla="*/ 2190 w 10003"/>
              <a:gd name="connsiteY200" fmla="*/ 5248 h 10000"/>
              <a:gd name="connsiteX201" fmla="*/ 2295 w 10003"/>
              <a:gd name="connsiteY201" fmla="*/ 5165 h 10000"/>
              <a:gd name="connsiteX202" fmla="*/ 2763 w 10003"/>
              <a:gd name="connsiteY202" fmla="*/ 4752 h 10000"/>
              <a:gd name="connsiteX203" fmla="*/ 3024 w 10003"/>
              <a:gd name="connsiteY203" fmla="*/ 4504 h 10000"/>
              <a:gd name="connsiteX204" fmla="*/ 3180 w 10003"/>
              <a:gd name="connsiteY204" fmla="*/ 4380 h 10000"/>
              <a:gd name="connsiteX205" fmla="*/ 3597 w 10003"/>
              <a:gd name="connsiteY205" fmla="*/ 3760 h 10000"/>
              <a:gd name="connsiteX206" fmla="*/ 4117 w 10003"/>
              <a:gd name="connsiteY206" fmla="*/ 3512 h 10000"/>
              <a:gd name="connsiteX207" fmla="*/ 5003 w 10003"/>
              <a:gd name="connsiteY207" fmla="*/ 2810 h 10000"/>
              <a:gd name="connsiteX208" fmla="*/ 4846 w 10003"/>
              <a:gd name="connsiteY208" fmla="*/ 2562 h 10000"/>
              <a:gd name="connsiteX209" fmla="*/ 4795 w 10003"/>
              <a:gd name="connsiteY209" fmla="*/ 2397 h 10000"/>
              <a:gd name="connsiteX210" fmla="*/ 4795 w 10003"/>
              <a:gd name="connsiteY210" fmla="*/ 1240 h 10000"/>
              <a:gd name="connsiteX211" fmla="*/ 4117 w 10003"/>
              <a:gd name="connsiteY211" fmla="*/ 744 h 10000"/>
              <a:gd name="connsiteX212" fmla="*/ 4951 w 10003"/>
              <a:gd name="connsiteY212" fmla="*/ 744 h 10000"/>
              <a:gd name="connsiteX213" fmla="*/ 5784 w 10003"/>
              <a:gd name="connsiteY213" fmla="*/ 744 h 10000"/>
              <a:gd name="connsiteX214" fmla="*/ 5784 w 10003"/>
              <a:gd name="connsiteY214" fmla="*/ 702 h 10000"/>
              <a:gd name="connsiteX215" fmla="*/ 5784 w 10003"/>
              <a:gd name="connsiteY215" fmla="*/ 661 h 10000"/>
              <a:gd name="connsiteX216" fmla="*/ 5784 w 10003"/>
              <a:gd name="connsiteY216" fmla="*/ 620 h 10000"/>
              <a:gd name="connsiteX217" fmla="*/ 5784 w 10003"/>
              <a:gd name="connsiteY217" fmla="*/ 579 h 10000"/>
              <a:gd name="connsiteX218" fmla="*/ 5836 w 10003"/>
              <a:gd name="connsiteY218" fmla="*/ 537 h 10000"/>
              <a:gd name="connsiteX219" fmla="*/ 5836 w 10003"/>
              <a:gd name="connsiteY219" fmla="*/ 496 h 10000"/>
              <a:gd name="connsiteX220" fmla="*/ 5836 w 10003"/>
              <a:gd name="connsiteY220" fmla="*/ 455 h 10000"/>
              <a:gd name="connsiteX221" fmla="*/ 5836 w 10003"/>
              <a:gd name="connsiteY221" fmla="*/ 413 h 10000"/>
              <a:gd name="connsiteX222" fmla="*/ 5836 w 10003"/>
              <a:gd name="connsiteY222" fmla="*/ 372 h 10000"/>
              <a:gd name="connsiteX223" fmla="*/ 5836 w 10003"/>
              <a:gd name="connsiteY223" fmla="*/ 331 h 10000"/>
              <a:gd name="connsiteX224" fmla="*/ 5784 w 10003"/>
              <a:gd name="connsiteY224" fmla="*/ 331 h 10000"/>
              <a:gd name="connsiteX225" fmla="*/ 5784 w 10003"/>
              <a:gd name="connsiteY225" fmla="*/ 289 h 10000"/>
              <a:gd name="connsiteX226" fmla="*/ 5784 w 10003"/>
              <a:gd name="connsiteY226" fmla="*/ 248 h 10000"/>
              <a:gd name="connsiteX227" fmla="*/ 5784 w 10003"/>
              <a:gd name="connsiteY227" fmla="*/ 207 h 10000"/>
              <a:gd name="connsiteX228" fmla="*/ 5784 w 10003"/>
              <a:gd name="connsiteY228" fmla="*/ 165 h 10000"/>
              <a:gd name="connsiteX229" fmla="*/ 5784 w 10003"/>
              <a:gd name="connsiteY229" fmla="*/ 124 h 10000"/>
              <a:gd name="connsiteX230" fmla="*/ 5784 w 10003"/>
              <a:gd name="connsiteY230" fmla="*/ 83 h 10000"/>
              <a:gd name="connsiteX231" fmla="*/ 5784 w 10003"/>
              <a:gd name="connsiteY231" fmla="*/ 41 h 10000"/>
              <a:gd name="connsiteX232" fmla="*/ 5784 w 10003"/>
              <a:gd name="connsiteY23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081 w 10003"/>
              <a:gd name="connsiteY180" fmla="*/ 5591 h 10000"/>
              <a:gd name="connsiteX181" fmla="*/ 3969 w 10003"/>
              <a:gd name="connsiteY181" fmla="*/ 5396 h 10000"/>
              <a:gd name="connsiteX182" fmla="*/ 4225 w 10003"/>
              <a:gd name="connsiteY182" fmla="*/ 5112 h 10000"/>
              <a:gd name="connsiteX183" fmla="*/ 4369 w 10003"/>
              <a:gd name="connsiteY183" fmla="*/ 4846 h 10000"/>
              <a:gd name="connsiteX184" fmla="*/ 4353 w 10003"/>
              <a:gd name="connsiteY184" fmla="*/ 4545 h 10000"/>
              <a:gd name="connsiteX185" fmla="*/ 4337 w 10003"/>
              <a:gd name="connsiteY185" fmla="*/ 4278 h 10000"/>
              <a:gd name="connsiteX186" fmla="*/ 4177 w 10003"/>
              <a:gd name="connsiteY186" fmla="*/ 4119 h 10000"/>
              <a:gd name="connsiteX187" fmla="*/ 4017 w 10003"/>
              <a:gd name="connsiteY187" fmla="*/ 4137 h 10000"/>
              <a:gd name="connsiteX188" fmla="*/ 3857 w 10003"/>
              <a:gd name="connsiteY188" fmla="*/ 4421 h 10000"/>
              <a:gd name="connsiteX189" fmla="*/ 3809 w 10003"/>
              <a:gd name="connsiteY189" fmla="*/ 4934 h 10000"/>
              <a:gd name="connsiteX190" fmla="*/ 3537 w 10003"/>
              <a:gd name="connsiteY190" fmla="*/ 5272 h 10000"/>
              <a:gd name="connsiteX191" fmla="*/ 2993 w 10003"/>
              <a:gd name="connsiteY191" fmla="*/ 5573 h 10000"/>
              <a:gd name="connsiteX192" fmla="*/ 2416 w 10003"/>
              <a:gd name="connsiteY192" fmla="*/ 5803 h 10000"/>
              <a:gd name="connsiteX193" fmla="*/ 1952 w 10003"/>
              <a:gd name="connsiteY193" fmla="*/ 6122 h 10000"/>
              <a:gd name="connsiteX194" fmla="*/ 0 w 10003"/>
              <a:gd name="connsiteY194" fmla="*/ 6051 h 10000"/>
              <a:gd name="connsiteX195" fmla="*/ 3 w 10003"/>
              <a:gd name="connsiteY195" fmla="*/ 5826 h 10000"/>
              <a:gd name="connsiteX196" fmla="*/ 159 w 10003"/>
              <a:gd name="connsiteY196" fmla="*/ 5909 h 10000"/>
              <a:gd name="connsiteX197" fmla="*/ 368 w 10003"/>
              <a:gd name="connsiteY197" fmla="*/ 5826 h 10000"/>
              <a:gd name="connsiteX198" fmla="*/ 1462 w 10003"/>
              <a:gd name="connsiteY198" fmla="*/ 5826 h 10000"/>
              <a:gd name="connsiteX199" fmla="*/ 1617 w 10003"/>
              <a:gd name="connsiteY199" fmla="*/ 5785 h 10000"/>
              <a:gd name="connsiteX200" fmla="*/ 1670 w 10003"/>
              <a:gd name="connsiteY200" fmla="*/ 5785 h 10000"/>
              <a:gd name="connsiteX201" fmla="*/ 2190 w 10003"/>
              <a:gd name="connsiteY201" fmla="*/ 5248 h 10000"/>
              <a:gd name="connsiteX202" fmla="*/ 2295 w 10003"/>
              <a:gd name="connsiteY202" fmla="*/ 5165 h 10000"/>
              <a:gd name="connsiteX203" fmla="*/ 2763 w 10003"/>
              <a:gd name="connsiteY203" fmla="*/ 4752 h 10000"/>
              <a:gd name="connsiteX204" fmla="*/ 3024 w 10003"/>
              <a:gd name="connsiteY204" fmla="*/ 4504 h 10000"/>
              <a:gd name="connsiteX205" fmla="*/ 3180 w 10003"/>
              <a:gd name="connsiteY205" fmla="*/ 4380 h 10000"/>
              <a:gd name="connsiteX206" fmla="*/ 3597 w 10003"/>
              <a:gd name="connsiteY206" fmla="*/ 3760 h 10000"/>
              <a:gd name="connsiteX207" fmla="*/ 4117 w 10003"/>
              <a:gd name="connsiteY207" fmla="*/ 3512 h 10000"/>
              <a:gd name="connsiteX208" fmla="*/ 5003 w 10003"/>
              <a:gd name="connsiteY208" fmla="*/ 2810 h 10000"/>
              <a:gd name="connsiteX209" fmla="*/ 4846 w 10003"/>
              <a:gd name="connsiteY209" fmla="*/ 2562 h 10000"/>
              <a:gd name="connsiteX210" fmla="*/ 4795 w 10003"/>
              <a:gd name="connsiteY210" fmla="*/ 2397 h 10000"/>
              <a:gd name="connsiteX211" fmla="*/ 4795 w 10003"/>
              <a:gd name="connsiteY211" fmla="*/ 1240 h 10000"/>
              <a:gd name="connsiteX212" fmla="*/ 4117 w 10003"/>
              <a:gd name="connsiteY212" fmla="*/ 744 h 10000"/>
              <a:gd name="connsiteX213" fmla="*/ 4951 w 10003"/>
              <a:gd name="connsiteY213" fmla="*/ 744 h 10000"/>
              <a:gd name="connsiteX214" fmla="*/ 5784 w 10003"/>
              <a:gd name="connsiteY214" fmla="*/ 744 h 10000"/>
              <a:gd name="connsiteX215" fmla="*/ 5784 w 10003"/>
              <a:gd name="connsiteY215" fmla="*/ 702 h 10000"/>
              <a:gd name="connsiteX216" fmla="*/ 5784 w 10003"/>
              <a:gd name="connsiteY216" fmla="*/ 661 h 10000"/>
              <a:gd name="connsiteX217" fmla="*/ 5784 w 10003"/>
              <a:gd name="connsiteY217" fmla="*/ 620 h 10000"/>
              <a:gd name="connsiteX218" fmla="*/ 5784 w 10003"/>
              <a:gd name="connsiteY218" fmla="*/ 579 h 10000"/>
              <a:gd name="connsiteX219" fmla="*/ 5836 w 10003"/>
              <a:gd name="connsiteY219" fmla="*/ 537 h 10000"/>
              <a:gd name="connsiteX220" fmla="*/ 5836 w 10003"/>
              <a:gd name="connsiteY220" fmla="*/ 496 h 10000"/>
              <a:gd name="connsiteX221" fmla="*/ 5836 w 10003"/>
              <a:gd name="connsiteY221" fmla="*/ 455 h 10000"/>
              <a:gd name="connsiteX222" fmla="*/ 5836 w 10003"/>
              <a:gd name="connsiteY222" fmla="*/ 413 h 10000"/>
              <a:gd name="connsiteX223" fmla="*/ 5836 w 10003"/>
              <a:gd name="connsiteY223" fmla="*/ 372 h 10000"/>
              <a:gd name="connsiteX224" fmla="*/ 5836 w 10003"/>
              <a:gd name="connsiteY224" fmla="*/ 331 h 10000"/>
              <a:gd name="connsiteX225" fmla="*/ 5784 w 10003"/>
              <a:gd name="connsiteY225" fmla="*/ 331 h 10000"/>
              <a:gd name="connsiteX226" fmla="*/ 5784 w 10003"/>
              <a:gd name="connsiteY226" fmla="*/ 289 h 10000"/>
              <a:gd name="connsiteX227" fmla="*/ 5784 w 10003"/>
              <a:gd name="connsiteY227" fmla="*/ 248 h 10000"/>
              <a:gd name="connsiteX228" fmla="*/ 5784 w 10003"/>
              <a:gd name="connsiteY228" fmla="*/ 207 h 10000"/>
              <a:gd name="connsiteX229" fmla="*/ 5784 w 10003"/>
              <a:gd name="connsiteY229" fmla="*/ 165 h 10000"/>
              <a:gd name="connsiteX230" fmla="*/ 5784 w 10003"/>
              <a:gd name="connsiteY230" fmla="*/ 124 h 10000"/>
              <a:gd name="connsiteX231" fmla="*/ 5784 w 10003"/>
              <a:gd name="connsiteY231" fmla="*/ 83 h 10000"/>
              <a:gd name="connsiteX232" fmla="*/ 5784 w 10003"/>
              <a:gd name="connsiteY232" fmla="*/ 41 h 10000"/>
              <a:gd name="connsiteX233" fmla="*/ 5784 w 10003"/>
              <a:gd name="connsiteY23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729 w 10003"/>
              <a:gd name="connsiteY180" fmla="*/ 5662 h 10000"/>
              <a:gd name="connsiteX181" fmla="*/ 3969 w 10003"/>
              <a:gd name="connsiteY181" fmla="*/ 5396 h 10000"/>
              <a:gd name="connsiteX182" fmla="*/ 4225 w 10003"/>
              <a:gd name="connsiteY182" fmla="*/ 5112 h 10000"/>
              <a:gd name="connsiteX183" fmla="*/ 4369 w 10003"/>
              <a:gd name="connsiteY183" fmla="*/ 4846 h 10000"/>
              <a:gd name="connsiteX184" fmla="*/ 4353 w 10003"/>
              <a:gd name="connsiteY184" fmla="*/ 4545 h 10000"/>
              <a:gd name="connsiteX185" fmla="*/ 4337 w 10003"/>
              <a:gd name="connsiteY185" fmla="*/ 4278 h 10000"/>
              <a:gd name="connsiteX186" fmla="*/ 4177 w 10003"/>
              <a:gd name="connsiteY186" fmla="*/ 4119 h 10000"/>
              <a:gd name="connsiteX187" fmla="*/ 4017 w 10003"/>
              <a:gd name="connsiteY187" fmla="*/ 4137 h 10000"/>
              <a:gd name="connsiteX188" fmla="*/ 3857 w 10003"/>
              <a:gd name="connsiteY188" fmla="*/ 4421 h 10000"/>
              <a:gd name="connsiteX189" fmla="*/ 3809 w 10003"/>
              <a:gd name="connsiteY189" fmla="*/ 4934 h 10000"/>
              <a:gd name="connsiteX190" fmla="*/ 3537 w 10003"/>
              <a:gd name="connsiteY190" fmla="*/ 5272 h 10000"/>
              <a:gd name="connsiteX191" fmla="*/ 2993 w 10003"/>
              <a:gd name="connsiteY191" fmla="*/ 5573 h 10000"/>
              <a:gd name="connsiteX192" fmla="*/ 2416 w 10003"/>
              <a:gd name="connsiteY192" fmla="*/ 5803 h 10000"/>
              <a:gd name="connsiteX193" fmla="*/ 1952 w 10003"/>
              <a:gd name="connsiteY193" fmla="*/ 6122 h 10000"/>
              <a:gd name="connsiteX194" fmla="*/ 0 w 10003"/>
              <a:gd name="connsiteY194" fmla="*/ 6051 h 10000"/>
              <a:gd name="connsiteX195" fmla="*/ 3 w 10003"/>
              <a:gd name="connsiteY195" fmla="*/ 5826 h 10000"/>
              <a:gd name="connsiteX196" fmla="*/ 159 w 10003"/>
              <a:gd name="connsiteY196" fmla="*/ 5909 h 10000"/>
              <a:gd name="connsiteX197" fmla="*/ 368 w 10003"/>
              <a:gd name="connsiteY197" fmla="*/ 5826 h 10000"/>
              <a:gd name="connsiteX198" fmla="*/ 1462 w 10003"/>
              <a:gd name="connsiteY198" fmla="*/ 5826 h 10000"/>
              <a:gd name="connsiteX199" fmla="*/ 1617 w 10003"/>
              <a:gd name="connsiteY199" fmla="*/ 5785 h 10000"/>
              <a:gd name="connsiteX200" fmla="*/ 1670 w 10003"/>
              <a:gd name="connsiteY200" fmla="*/ 5785 h 10000"/>
              <a:gd name="connsiteX201" fmla="*/ 2190 w 10003"/>
              <a:gd name="connsiteY201" fmla="*/ 5248 h 10000"/>
              <a:gd name="connsiteX202" fmla="*/ 2295 w 10003"/>
              <a:gd name="connsiteY202" fmla="*/ 5165 h 10000"/>
              <a:gd name="connsiteX203" fmla="*/ 2763 w 10003"/>
              <a:gd name="connsiteY203" fmla="*/ 4752 h 10000"/>
              <a:gd name="connsiteX204" fmla="*/ 3024 w 10003"/>
              <a:gd name="connsiteY204" fmla="*/ 4504 h 10000"/>
              <a:gd name="connsiteX205" fmla="*/ 3180 w 10003"/>
              <a:gd name="connsiteY205" fmla="*/ 4380 h 10000"/>
              <a:gd name="connsiteX206" fmla="*/ 3597 w 10003"/>
              <a:gd name="connsiteY206" fmla="*/ 3760 h 10000"/>
              <a:gd name="connsiteX207" fmla="*/ 4117 w 10003"/>
              <a:gd name="connsiteY207" fmla="*/ 3512 h 10000"/>
              <a:gd name="connsiteX208" fmla="*/ 5003 w 10003"/>
              <a:gd name="connsiteY208" fmla="*/ 2810 h 10000"/>
              <a:gd name="connsiteX209" fmla="*/ 4846 w 10003"/>
              <a:gd name="connsiteY209" fmla="*/ 2562 h 10000"/>
              <a:gd name="connsiteX210" fmla="*/ 4795 w 10003"/>
              <a:gd name="connsiteY210" fmla="*/ 2397 h 10000"/>
              <a:gd name="connsiteX211" fmla="*/ 4795 w 10003"/>
              <a:gd name="connsiteY211" fmla="*/ 1240 h 10000"/>
              <a:gd name="connsiteX212" fmla="*/ 4117 w 10003"/>
              <a:gd name="connsiteY212" fmla="*/ 744 h 10000"/>
              <a:gd name="connsiteX213" fmla="*/ 4951 w 10003"/>
              <a:gd name="connsiteY213" fmla="*/ 744 h 10000"/>
              <a:gd name="connsiteX214" fmla="*/ 5784 w 10003"/>
              <a:gd name="connsiteY214" fmla="*/ 744 h 10000"/>
              <a:gd name="connsiteX215" fmla="*/ 5784 w 10003"/>
              <a:gd name="connsiteY215" fmla="*/ 702 h 10000"/>
              <a:gd name="connsiteX216" fmla="*/ 5784 w 10003"/>
              <a:gd name="connsiteY216" fmla="*/ 661 h 10000"/>
              <a:gd name="connsiteX217" fmla="*/ 5784 w 10003"/>
              <a:gd name="connsiteY217" fmla="*/ 620 h 10000"/>
              <a:gd name="connsiteX218" fmla="*/ 5784 w 10003"/>
              <a:gd name="connsiteY218" fmla="*/ 579 h 10000"/>
              <a:gd name="connsiteX219" fmla="*/ 5836 w 10003"/>
              <a:gd name="connsiteY219" fmla="*/ 537 h 10000"/>
              <a:gd name="connsiteX220" fmla="*/ 5836 w 10003"/>
              <a:gd name="connsiteY220" fmla="*/ 496 h 10000"/>
              <a:gd name="connsiteX221" fmla="*/ 5836 w 10003"/>
              <a:gd name="connsiteY221" fmla="*/ 455 h 10000"/>
              <a:gd name="connsiteX222" fmla="*/ 5836 w 10003"/>
              <a:gd name="connsiteY222" fmla="*/ 413 h 10000"/>
              <a:gd name="connsiteX223" fmla="*/ 5836 w 10003"/>
              <a:gd name="connsiteY223" fmla="*/ 372 h 10000"/>
              <a:gd name="connsiteX224" fmla="*/ 5836 w 10003"/>
              <a:gd name="connsiteY224" fmla="*/ 331 h 10000"/>
              <a:gd name="connsiteX225" fmla="*/ 5784 w 10003"/>
              <a:gd name="connsiteY225" fmla="*/ 331 h 10000"/>
              <a:gd name="connsiteX226" fmla="*/ 5784 w 10003"/>
              <a:gd name="connsiteY226" fmla="*/ 289 h 10000"/>
              <a:gd name="connsiteX227" fmla="*/ 5784 w 10003"/>
              <a:gd name="connsiteY227" fmla="*/ 248 h 10000"/>
              <a:gd name="connsiteX228" fmla="*/ 5784 w 10003"/>
              <a:gd name="connsiteY228" fmla="*/ 207 h 10000"/>
              <a:gd name="connsiteX229" fmla="*/ 5784 w 10003"/>
              <a:gd name="connsiteY229" fmla="*/ 165 h 10000"/>
              <a:gd name="connsiteX230" fmla="*/ 5784 w 10003"/>
              <a:gd name="connsiteY230" fmla="*/ 124 h 10000"/>
              <a:gd name="connsiteX231" fmla="*/ 5784 w 10003"/>
              <a:gd name="connsiteY231" fmla="*/ 83 h 10000"/>
              <a:gd name="connsiteX232" fmla="*/ 5784 w 10003"/>
              <a:gd name="connsiteY232" fmla="*/ 41 h 10000"/>
              <a:gd name="connsiteX233" fmla="*/ 5784 w 10003"/>
              <a:gd name="connsiteY23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873 w 10003"/>
              <a:gd name="connsiteY180" fmla="*/ 5874 h 10000"/>
              <a:gd name="connsiteX181" fmla="*/ 3729 w 10003"/>
              <a:gd name="connsiteY181" fmla="*/ 5662 h 10000"/>
              <a:gd name="connsiteX182" fmla="*/ 3969 w 10003"/>
              <a:gd name="connsiteY182" fmla="*/ 5396 h 10000"/>
              <a:gd name="connsiteX183" fmla="*/ 4225 w 10003"/>
              <a:gd name="connsiteY183" fmla="*/ 5112 h 10000"/>
              <a:gd name="connsiteX184" fmla="*/ 4369 w 10003"/>
              <a:gd name="connsiteY184" fmla="*/ 4846 h 10000"/>
              <a:gd name="connsiteX185" fmla="*/ 4353 w 10003"/>
              <a:gd name="connsiteY185" fmla="*/ 4545 h 10000"/>
              <a:gd name="connsiteX186" fmla="*/ 4337 w 10003"/>
              <a:gd name="connsiteY186" fmla="*/ 4278 h 10000"/>
              <a:gd name="connsiteX187" fmla="*/ 4177 w 10003"/>
              <a:gd name="connsiteY187" fmla="*/ 4119 h 10000"/>
              <a:gd name="connsiteX188" fmla="*/ 4017 w 10003"/>
              <a:gd name="connsiteY188" fmla="*/ 4137 h 10000"/>
              <a:gd name="connsiteX189" fmla="*/ 3857 w 10003"/>
              <a:gd name="connsiteY189" fmla="*/ 4421 h 10000"/>
              <a:gd name="connsiteX190" fmla="*/ 3809 w 10003"/>
              <a:gd name="connsiteY190" fmla="*/ 4934 h 10000"/>
              <a:gd name="connsiteX191" fmla="*/ 3537 w 10003"/>
              <a:gd name="connsiteY191" fmla="*/ 5272 h 10000"/>
              <a:gd name="connsiteX192" fmla="*/ 2993 w 10003"/>
              <a:gd name="connsiteY192" fmla="*/ 5573 h 10000"/>
              <a:gd name="connsiteX193" fmla="*/ 2416 w 10003"/>
              <a:gd name="connsiteY193" fmla="*/ 5803 h 10000"/>
              <a:gd name="connsiteX194" fmla="*/ 1952 w 10003"/>
              <a:gd name="connsiteY194" fmla="*/ 6122 h 10000"/>
              <a:gd name="connsiteX195" fmla="*/ 0 w 10003"/>
              <a:gd name="connsiteY195" fmla="*/ 6051 h 10000"/>
              <a:gd name="connsiteX196" fmla="*/ 3 w 10003"/>
              <a:gd name="connsiteY196" fmla="*/ 5826 h 10000"/>
              <a:gd name="connsiteX197" fmla="*/ 159 w 10003"/>
              <a:gd name="connsiteY197" fmla="*/ 5909 h 10000"/>
              <a:gd name="connsiteX198" fmla="*/ 368 w 10003"/>
              <a:gd name="connsiteY198" fmla="*/ 5826 h 10000"/>
              <a:gd name="connsiteX199" fmla="*/ 1462 w 10003"/>
              <a:gd name="connsiteY199" fmla="*/ 5826 h 10000"/>
              <a:gd name="connsiteX200" fmla="*/ 1617 w 10003"/>
              <a:gd name="connsiteY200" fmla="*/ 5785 h 10000"/>
              <a:gd name="connsiteX201" fmla="*/ 1670 w 10003"/>
              <a:gd name="connsiteY201" fmla="*/ 5785 h 10000"/>
              <a:gd name="connsiteX202" fmla="*/ 2190 w 10003"/>
              <a:gd name="connsiteY202" fmla="*/ 5248 h 10000"/>
              <a:gd name="connsiteX203" fmla="*/ 2295 w 10003"/>
              <a:gd name="connsiteY203" fmla="*/ 5165 h 10000"/>
              <a:gd name="connsiteX204" fmla="*/ 2763 w 10003"/>
              <a:gd name="connsiteY204" fmla="*/ 4752 h 10000"/>
              <a:gd name="connsiteX205" fmla="*/ 3024 w 10003"/>
              <a:gd name="connsiteY205" fmla="*/ 4504 h 10000"/>
              <a:gd name="connsiteX206" fmla="*/ 3180 w 10003"/>
              <a:gd name="connsiteY206" fmla="*/ 4380 h 10000"/>
              <a:gd name="connsiteX207" fmla="*/ 3597 w 10003"/>
              <a:gd name="connsiteY207" fmla="*/ 3760 h 10000"/>
              <a:gd name="connsiteX208" fmla="*/ 4117 w 10003"/>
              <a:gd name="connsiteY208" fmla="*/ 3512 h 10000"/>
              <a:gd name="connsiteX209" fmla="*/ 5003 w 10003"/>
              <a:gd name="connsiteY209" fmla="*/ 2810 h 10000"/>
              <a:gd name="connsiteX210" fmla="*/ 4846 w 10003"/>
              <a:gd name="connsiteY210" fmla="*/ 2562 h 10000"/>
              <a:gd name="connsiteX211" fmla="*/ 4795 w 10003"/>
              <a:gd name="connsiteY211" fmla="*/ 2397 h 10000"/>
              <a:gd name="connsiteX212" fmla="*/ 4795 w 10003"/>
              <a:gd name="connsiteY212" fmla="*/ 1240 h 10000"/>
              <a:gd name="connsiteX213" fmla="*/ 4117 w 10003"/>
              <a:gd name="connsiteY213" fmla="*/ 744 h 10000"/>
              <a:gd name="connsiteX214" fmla="*/ 4951 w 10003"/>
              <a:gd name="connsiteY214" fmla="*/ 744 h 10000"/>
              <a:gd name="connsiteX215" fmla="*/ 5784 w 10003"/>
              <a:gd name="connsiteY215" fmla="*/ 744 h 10000"/>
              <a:gd name="connsiteX216" fmla="*/ 5784 w 10003"/>
              <a:gd name="connsiteY216" fmla="*/ 702 h 10000"/>
              <a:gd name="connsiteX217" fmla="*/ 5784 w 10003"/>
              <a:gd name="connsiteY217" fmla="*/ 661 h 10000"/>
              <a:gd name="connsiteX218" fmla="*/ 5784 w 10003"/>
              <a:gd name="connsiteY218" fmla="*/ 620 h 10000"/>
              <a:gd name="connsiteX219" fmla="*/ 5784 w 10003"/>
              <a:gd name="connsiteY219" fmla="*/ 579 h 10000"/>
              <a:gd name="connsiteX220" fmla="*/ 5836 w 10003"/>
              <a:gd name="connsiteY220" fmla="*/ 537 h 10000"/>
              <a:gd name="connsiteX221" fmla="*/ 5836 w 10003"/>
              <a:gd name="connsiteY221" fmla="*/ 496 h 10000"/>
              <a:gd name="connsiteX222" fmla="*/ 5836 w 10003"/>
              <a:gd name="connsiteY222" fmla="*/ 455 h 10000"/>
              <a:gd name="connsiteX223" fmla="*/ 5836 w 10003"/>
              <a:gd name="connsiteY223" fmla="*/ 413 h 10000"/>
              <a:gd name="connsiteX224" fmla="*/ 5836 w 10003"/>
              <a:gd name="connsiteY224" fmla="*/ 372 h 10000"/>
              <a:gd name="connsiteX225" fmla="*/ 5836 w 10003"/>
              <a:gd name="connsiteY225" fmla="*/ 331 h 10000"/>
              <a:gd name="connsiteX226" fmla="*/ 5784 w 10003"/>
              <a:gd name="connsiteY226" fmla="*/ 331 h 10000"/>
              <a:gd name="connsiteX227" fmla="*/ 5784 w 10003"/>
              <a:gd name="connsiteY227" fmla="*/ 289 h 10000"/>
              <a:gd name="connsiteX228" fmla="*/ 5784 w 10003"/>
              <a:gd name="connsiteY228" fmla="*/ 248 h 10000"/>
              <a:gd name="connsiteX229" fmla="*/ 5784 w 10003"/>
              <a:gd name="connsiteY229" fmla="*/ 207 h 10000"/>
              <a:gd name="connsiteX230" fmla="*/ 5784 w 10003"/>
              <a:gd name="connsiteY230" fmla="*/ 165 h 10000"/>
              <a:gd name="connsiteX231" fmla="*/ 5784 w 10003"/>
              <a:gd name="connsiteY231" fmla="*/ 124 h 10000"/>
              <a:gd name="connsiteX232" fmla="*/ 5784 w 10003"/>
              <a:gd name="connsiteY232" fmla="*/ 83 h 10000"/>
              <a:gd name="connsiteX233" fmla="*/ 5784 w 10003"/>
              <a:gd name="connsiteY233" fmla="*/ 41 h 10000"/>
              <a:gd name="connsiteX234" fmla="*/ 5784 w 10003"/>
              <a:gd name="connsiteY23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345 w 10003"/>
              <a:gd name="connsiteY180" fmla="*/ 5945 h 10000"/>
              <a:gd name="connsiteX181" fmla="*/ 3729 w 10003"/>
              <a:gd name="connsiteY181" fmla="*/ 5662 h 10000"/>
              <a:gd name="connsiteX182" fmla="*/ 3969 w 10003"/>
              <a:gd name="connsiteY182" fmla="*/ 5396 h 10000"/>
              <a:gd name="connsiteX183" fmla="*/ 4225 w 10003"/>
              <a:gd name="connsiteY183" fmla="*/ 5112 h 10000"/>
              <a:gd name="connsiteX184" fmla="*/ 4369 w 10003"/>
              <a:gd name="connsiteY184" fmla="*/ 4846 h 10000"/>
              <a:gd name="connsiteX185" fmla="*/ 4353 w 10003"/>
              <a:gd name="connsiteY185" fmla="*/ 4545 h 10000"/>
              <a:gd name="connsiteX186" fmla="*/ 4337 w 10003"/>
              <a:gd name="connsiteY186" fmla="*/ 4278 h 10000"/>
              <a:gd name="connsiteX187" fmla="*/ 4177 w 10003"/>
              <a:gd name="connsiteY187" fmla="*/ 4119 h 10000"/>
              <a:gd name="connsiteX188" fmla="*/ 4017 w 10003"/>
              <a:gd name="connsiteY188" fmla="*/ 4137 h 10000"/>
              <a:gd name="connsiteX189" fmla="*/ 3857 w 10003"/>
              <a:gd name="connsiteY189" fmla="*/ 4421 h 10000"/>
              <a:gd name="connsiteX190" fmla="*/ 3809 w 10003"/>
              <a:gd name="connsiteY190" fmla="*/ 4934 h 10000"/>
              <a:gd name="connsiteX191" fmla="*/ 3537 w 10003"/>
              <a:gd name="connsiteY191" fmla="*/ 5272 h 10000"/>
              <a:gd name="connsiteX192" fmla="*/ 2993 w 10003"/>
              <a:gd name="connsiteY192" fmla="*/ 5573 h 10000"/>
              <a:gd name="connsiteX193" fmla="*/ 2416 w 10003"/>
              <a:gd name="connsiteY193" fmla="*/ 5803 h 10000"/>
              <a:gd name="connsiteX194" fmla="*/ 1952 w 10003"/>
              <a:gd name="connsiteY194" fmla="*/ 6122 h 10000"/>
              <a:gd name="connsiteX195" fmla="*/ 0 w 10003"/>
              <a:gd name="connsiteY195" fmla="*/ 6051 h 10000"/>
              <a:gd name="connsiteX196" fmla="*/ 3 w 10003"/>
              <a:gd name="connsiteY196" fmla="*/ 5826 h 10000"/>
              <a:gd name="connsiteX197" fmla="*/ 159 w 10003"/>
              <a:gd name="connsiteY197" fmla="*/ 5909 h 10000"/>
              <a:gd name="connsiteX198" fmla="*/ 368 w 10003"/>
              <a:gd name="connsiteY198" fmla="*/ 5826 h 10000"/>
              <a:gd name="connsiteX199" fmla="*/ 1462 w 10003"/>
              <a:gd name="connsiteY199" fmla="*/ 5826 h 10000"/>
              <a:gd name="connsiteX200" fmla="*/ 1617 w 10003"/>
              <a:gd name="connsiteY200" fmla="*/ 5785 h 10000"/>
              <a:gd name="connsiteX201" fmla="*/ 1670 w 10003"/>
              <a:gd name="connsiteY201" fmla="*/ 5785 h 10000"/>
              <a:gd name="connsiteX202" fmla="*/ 2190 w 10003"/>
              <a:gd name="connsiteY202" fmla="*/ 5248 h 10000"/>
              <a:gd name="connsiteX203" fmla="*/ 2295 w 10003"/>
              <a:gd name="connsiteY203" fmla="*/ 5165 h 10000"/>
              <a:gd name="connsiteX204" fmla="*/ 2763 w 10003"/>
              <a:gd name="connsiteY204" fmla="*/ 4752 h 10000"/>
              <a:gd name="connsiteX205" fmla="*/ 3024 w 10003"/>
              <a:gd name="connsiteY205" fmla="*/ 4504 h 10000"/>
              <a:gd name="connsiteX206" fmla="*/ 3180 w 10003"/>
              <a:gd name="connsiteY206" fmla="*/ 4380 h 10000"/>
              <a:gd name="connsiteX207" fmla="*/ 3597 w 10003"/>
              <a:gd name="connsiteY207" fmla="*/ 3760 h 10000"/>
              <a:gd name="connsiteX208" fmla="*/ 4117 w 10003"/>
              <a:gd name="connsiteY208" fmla="*/ 3512 h 10000"/>
              <a:gd name="connsiteX209" fmla="*/ 5003 w 10003"/>
              <a:gd name="connsiteY209" fmla="*/ 2810 h 10000"/>
              <a:gd name="connsiteX210" fmla="*/ 4846 w 10003"/>
              <a:gd name="connsiteY210" fmla="*/ 2562 h 10000"/>
              <a:gd name="connsiteX211" fmla="*/ 4795 w 10003"/>
              <a:gd name="connsiteY211" fmla="*/ 2397 h 10000"/>
              <a:gd name="connsiteX212" fmla="*/ 4795 w 10003"/>
              <a:gd name="connsiteY212" fmla="*/ 1240 h 10000"/>
              <a:gd name="connsiteX213" fmla="*/ 4117 w 10003"/>
              <a:gd name="connsiteY213" fmla="*/ 744 h 10000"/>
              <a:gd name="connsiteX214" fmla="*/ 4951 w 10003"/>
              <a:gd name="connsiteY214" fmla="*/ 744 h 10000"/>
              <a:gd name="connsiteX215" fmla="*/ 5784 w 10003"/>
              <a:gd name="connsiteY215" fmla="*/ 744 h 10000"/>
              <a:gd name="connsiteX216" fmla="*/ 5784 w 10003"/>
              <a:gd name="connsiteY216" fmla="*/ 702 h 10000"/>
              <a:gd name="connsiteX217" fmla="*/ 5784 w 10003"/>
              <a:gd name="connsiteY217" fmla="*/ 661 h 10000"/>
              <a:gd name="connsiteX218" fmla="*/ 5784 w 10003"/>
              <a:gd name="connsiteY218" fmla="*/ 620 h 10000"/>
              <a:gd name="connsiteX219" fmla="*/ 5784 w 10003"/>
              <a:gd name="connsiteY219" fmla="*/ 579 h 10000"/>
              <a:gd name="connsiteX220" fmla="*/ 5836 w 10003"/>
              <a:gd name="connsiteY220" fmla="*/ 537 h 10000"/>
              <a:gd name="connsiteX221" fmla="*/ 5836 w 10003"/>
              <a:gd name="connsiteY221" fmla="*/ 496 h 10000"/>
              <a:gd name="connsiteX222" fmla="*/ 5836 w 10003"/>
              <a:gd name="connsiteY222" fmla="*/ 455 h 10000"/>
              <a:gd name="connsiteX223" fmla="*/ 5836 w 10003"/>
              <a:gd name="connsiteY223" fmla="*/ 413 h 10000"/>
              <a:gd name="connsiteX224" fmla="*/ 5836 w 10003"/>
              <a:gd name="connsiteY224" fmla="*/ 372 h 10000"/>
              <a:gd name="connsiteX225" fmla="*/ 5836 w 10003"/>
              <a:gd name="connsiteY225" fmla="*/ 331 h 10000"/>
              <a:gd name="connsiteX226" fmla="*/ 5784 w 10003"/>
              <a:gd name="connsiteY226" fmla="*/ 331 h 10000"/>
              <a:gd name="connsiteX227" fmla="*/ 5784 w 10003"/>
              <a:gd name="connsiteY227" fmla="*/ 289 h 10000"/>
              <a:gd name="connsiteX228" fmla="*/ 5784 w 10003"/>
              <a:gd name="connsiteY228" fmla="*/ 248 h 10000"/>
              <a:gd name="connsiteX229" fmla="*/ 5784 w 10003"/>
              <a:gd name="connsiteY229" fmla="*/ 207 h 10000"/>
              <a:gd name="connsiteX230" fmla="*/ 5784 w 10003"/>
              <a:gd name="connsiteY230" fmla="*/ 165 h 10000"/>
              <a:gd name="connsiteX231" fmla="*/ 5784 w 10003"/>
              <a:gd name="connsiteY231" fmla="*/ 124 h 10000"/>
              <a:gd name="connsiteX232" fmla="*/ 5784 w 10003"/>
              <a:gd name="connsiteY232" fmla="*/ 83 h 10000"/>
              <a:gd name="connsiteX233" fmla="*/ 5784 w 10003"/>
              <a:gd name="connsiteY233" fmla="*/ 41 h 10000"/>
              <a:gd name="connsiteX234" fmla="*/ 5784 w 10003"/>
              <a:gd name="connsiteY23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473 w 10003"/>
              <a:gd name="connsiteY180" fmla="*/ 6140 h 10000"/>
              <a:gd name="connsiteX181" fmla="*/ 3345 w 10003"/>
              <a:gd name="connsiteY181" fmla="*/ 5945 h 10000"/>
              <a:gd name="connsiteX182" fmla="*/ 3729 w 10003"/>
              <a:gd name="connsiteY182" fmla="*/ 5662 h 10000"/>
              <a:gd name="connsiteX183" fmla="*/ 3969 w 10003"/>
              <a:gd name="connsiteY183" fmla="*/ 5396 h 10000"/>
              <a:gd name="connsiteX184" fmla="*/ 4225 w 10003"/>
              <a:gd name="connsiteY184" fmla="*/ 5112 h 10000"/>
              <a:gd name="connsiteX185" fmla="*/ 4369 w 10003"/>
              <a:gd name="connsiteY185" fmla="*/ 4846 h 10000"/>
              <a:gd name="connsiteX186" fmla="*/ 4353 w 10003"/>
              <a:gd name="connsiteY186" fmla="*/ 4545 h 10000"/>
              <a:gd name="connsiteX187" fmla="*/ 4337 w 10003"/>
              <a:gd name="connsiteY187" fmla="*/ 4278 h 10000"/>
              <a:gd name="connsiteX188" fmla="*/ 4177 w 10003"/>
              <a:gd name="connsiteY188" fmla="*/ 4119 h 10000"/>
              <a:gd name="connsiteX189" fmla="*/ 4017 w 10003"/>
              <a:gd name="connsiteY189" fmla="*/ 4137 h 10000"/>
              <a:gd name="connsiteX190" fmla="*/ 3857 w 10003"/>
              <a:gd name="connsiteY190" fmla="*/ 4421 h 10000"/>
              <a:gd name="connsiteX191" fmla="*/ 3809 w 10003"/>
              <a:gd name="connsiteY191" fmla="*/ 4934 h 10000"/>
              <a:gd name="connsiteX192" fmla="*/ 3537 w 10003"/>
              <a:gd name="connsiteY192" fmla="*/ 5272 h 10000"/>
              <a:gd name="connsiteX193" fmla="*/ 2993 w 10003"/>
              <a:gd name="connsiteY193" fmla="*/ 5573 h 10000"/>
              <a:gd name="connsiteX194" fmla="*/ 2416 w 10003"/>
              <a:gd name="connsiteY194" fmla="*/ 5803 h 10000"/>
              <a:gd name="connsiteX195" fmla="*/ 1952 w 10003"/>
              <a:gd name="connsiteY195" fmla="*/ 6122 h 10000"/>
              <a:gd name="connsiteX196" fmla="*/ 0 w 10003"/>
              <a:gd name="connsiteY196" fmla="*/ 6051 h 10000"/>
              <a:gd name="connsiteX197" fmla="*/ 3 w 10003"/>
              <a:gd name="connsiteY197" fmla="*/ 5826 h 10000"/>
              <a:gd name="connsiteX198" fmla="*/ 159 w 10003"/>
              <a:gd name="connsiteY198" fmla="*/ 5909 h 10000"/>
              <a:gd name="connsiteX199" fmla="*/ 368 w 10003"/>
              <a:gd name="connsiteY199" fmla="*/ 5826 h 10000"/>
              <a:gd name="connsiteX200" fmla="*/ 1462 w 10003"/>
              <a:gd name="connsiteY200" fmla="*/ 5826 h 10000"/>
              <a:gd name="connsiteX201" fmla="*/ 1617 w 10003"/>
              <a:gd name="connsiteY201" fmla="*/ 5785 h 10000"/>
              <a:gd name="connsiteX202" fmla="*/ 1670 w 10003"/>
              <a:gd name="connsiteY202" fmla="*/ 5785 h 10000"/>
              <a:gd name="connsiteX203" fmla="*/ 2190 w 10003"/>
              <a:gd name="connsiteY203" fmla="*/ 5248 h 10000"/>
              <a:gd name="connsiteX204" fmla="*/ 2295 w 10003"/>
              <a:gd name="connsiteY204" fmla="*/ 5165 h 10000"/>
              <a:gd name="connsiteX205" fmla="*/ 2763 w 10003"/>
              <a:gd name="connsiteY205" fmla="*/ 4752 h 10000"/>
              <a:gd name="connsiteX206" fmla="*/ 3024 w 10003"/>
              <a:gd name="connsiteY206" fmla="*/ 4504 h 10000"/>
              <a:gd name="connsiteX207" fmla="*/ 3180 w 10003"/>
              <a:gd name="connsiteY207" fmla="*/ 4380 h 10000"/>
              <a:gd name="connsiteX208" fmla="*/ 3597 w 10003"/>
              <a:gd name="connsiteY208" fmla="*/ 3760 h 10000"/>
              <a:gd name="connsiteX209" fmla="*/ 4117 w 10003"/>
              <a:gd name="connsiteY209" fmla="*/ 3512 h 10000"/>
              <a:gd name="connsiteX210" fmla="*/ 5003 w 10003"/>
              <a:gd name="connsiteY210" fmla="*/ 2810 h 10000"/>
              <a:gd name="connsiteX211" fmla="*/ 4846 w 10003"/>
              <a:gd name="connsiteY211" fmla="*/ 2562 h 10000"/>
              <a:gd name="connsiteX212" fmla="*/ 4795 w 10003"/>
              <a:gd name="connsiteY212" fmla="*/ 2397 h 10000"/>
              <a:gd name="connsiteX213" fmla="*/ 4795 w 10003"/>
              <a:gd name="connsiteY213" fmla="*/ 1240 h 10000"/>
              <a:gd name="connsiteX214" fmla="*/ 4117 w 10003"/>
              <a:gd name="connsiteY214" fmla="*/ 744 h 10000"/>
              <a:gd name="connsiteX215" fmla="*/ 4951 w 10003"/>
              <a:gd name="connsiteY215" fmla="*/ 744 h 10000"/>
              <a:gd name="connsiteX216" fmla="*/ 5784 w 10003"/>
              <a:gd name="connsiteY216" fmla="*/ 744 h 10000"/>
              <a:gd name="connsiteX217" fmla="*/ 5784 w 10003"/>
              <a:gd name="connsiteY217" fmla="*/ 702 h 10000"/>
              <a:gd name="connsiteX218" fmla="*/ 5784 w 10003"/>
              <a:gd name="connsiteY218" fmla="*/ 661 h 10000"/>
              <a:gd name="connsiteX219" fmla="*/ 5784 w 10003"/>
              <a:gd name="connsiteY219" fmla="*/ 620 h 10000"/>
              <a:gd name="connsiteX220" fmla="*/ 5784 w 10003"/>
              <a:gd name="connsiteY220" fmla="*/ 579 h 10000"/>
              <a:gd name="connsiteX221" fmla="*/ 5836 w 10003"/>
              <a:gd name="connsiteY221" fmla="*/ 537 h 10000"/>
              <a:gd name="connsiteX222" fmla="*/ 5836 w 10003"/>
              <a:gd name="connsiteY222" fmla="*/ 496 h 10000"/>
              <a:gd name="connsiteX223" fmla="*/ 5836 w 10003"/>
              <a:gd name="connsiteY223" fmla="*/ 455 h 10000"/>
              <a:gd name="connsiteX224" fmla="*/ 5836 w 10003"/>
              <a:gd name="connsiteY224" fmla="*/ 413 h 10000"/>
              <a:gd name="connsiteX225" fmla="*/ 5836 w 10003"/>
              <a:gd name="connsiteY225" fmla="*/ 372 h 10000"/>
              <a:gd name="connsiteX226" fmla="*/ 5836 w 10003"/>
              <a:gd name="connsiteY226" fmla="*/ 331 h 10000"/>
              <a:gd name="connsiteX227" fmla="*/ 5784 w 10003"/>
              <a:gd name="connsiteY227" fmla="*/ 331 h 10000"/>
              <a:gd name="connsiteX228" fmla="*/ 5784 w 10003"/>
              <a:gd name="connsiteY228" fmla="*/ 289 h 10000"/>
              <a:gd name="connsiteX229" fmla="*/ 5784 w 10003"/>
              <a:gd name="connsiteY229" fmla="*/ 248 h 10000"/>
              <a:gd name="connsiteX230" fmla="*/ 5784 w 10003"/>
              <a:gd name="connsiteY230" fmla="*/ 207 h 10000"/>
              <a:gd name="connsiteX231" fmla="*/ 5784 w 10003"/>
              <a:gd name="connsiteY231" fmla="*/ 165 h 10000"/>
              <a:gd name="connsiteX232" fmla="*/ 5784 w 10003"/>
              <a:gd name="connsiteY232" fmla="*/ 124 h 10000"/>
              <a:gd name="connsiteX233" fmla="*/ 5784 w 10003"/>
              <a:gd name="connsiteY233" fmla="*/ 83 h 10000"/>
              <a:gd name="connsiteX234" fmla="*/ 5784 w 10003"/>
              <a:gd name="connsiteY234" fmla="*/ 41 h 10000"/>
              <a:gd name="connsiteX235" fmla="*/ 5784 w 10003"/>
              <a:gd name="connsiteY23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105 w 10003"/>
              <a:gd name="connsiteY180" fmla="*/ 6193 h 10000"/>
              <a:gd name="connsiteX181" fmla="*/ 3345 w 10003"/>
              <a:gd name="connsiteY181" fmla="*/ 5945 h 10000"/>
              <a:gd name="connsiteX182" fmla="*/ 3729 w 10003"/>
              <a:gd name="connsiteY182" fmla="*/ 5662 h 10000"/>
              <a:gd name="connsiteX183" fmla="*/ 3969 w 10003"/>
              <a:gd name="connsiteY183" fmla="*/ 5396 h 10000"/>
              <a:gd name="connsiteX184" fmla="*/ 4225 w 10003"/>
              <a:gd name="connsiteY184" fmla="*/ 5112 h 10000"/>
              <a:gd name="connsiteX185" fmla="*/ 4369 w 10003"/>
              <a:gd name="connsiteY185" fmla="*/ 4846 h 10000"/>
              <a:gd name="connsiteX186" fmla="*/ 4353 w 10003"/>
              <a:gd name="connsiteY186" fmla="*/ 4545 h 10000"/>
              <a:gd name="connsiteX187" fmla="*/ 4337 w 10003"/>
              <a:gd name="connsiteY187" fmla="*/ 4278 h 10000"/>
              <a:gd name="connsiteX188" fmla="*/ 4177 w 10003"/>
              <a:gd name="connsiteY188" fmla="*/ 4119 h 10000"/>
              <a:gd name="connsiteX189" fmla="*/ 4017 w 10003"/>
              <a:gd name="connsiteY189" fmla="*/ 4137 h 10000"/>
              <a:gd name="connsiteX190" fmla="*/ 3857 w 10003"/>
              <a:gd name="connsiteY190" fmla="*/ 4421 h 10000"/>
              <a:gd name="connsiteX191" fmla="*/ 3809 w 10003"/>
              <a:gd name="connsiteY191" fmla="*/ 4934 h 10000"/>
              <a:gd name="connsiteX192" fmla="*/ 3537 w 10003"/>
              <a:gd name="connsiteY192" fmla="*/ 5272 h 10000"/>
              <a:gd name="connsiteX193" fmla="*/ 2993 w 10003"/>
              <a:gd name="connsiteY193" fmla="*/ 5573 h 10000"/>
              <a:gd name="connsiteX194" fmla="*/ 2416 w 10003"/>
              <a:gd name="connsiteY194" fmla="*/ 5803 h 10000"/>
              <a:gd name="connsiteX195" fmla="*/ 1952 w 10003"/>
              <a:gd name="connsiteY195" fmla="*/ 6122 h 10000"/>
              <a:gd name="connsiteX196" fmla="*/ 0 w 10003"/>
              <a:gd name="connsiteY196" fmla="*/ 6051 h 10000"/>
              <a:gd name="connsiteX197" fmla="*/ 3 w 10003"/>
              <a:gd name="connsiteY197" fmla="*/ 5826 h 10000"/>
              <a:gd name="connsiteX198" fmla="*/ 159 w 10003"/>
              <a:gd name="connsiteY198" fmla="*/ 5909 h 10000"/>
              <a:gd name="connsiteX199" fmla="*/ 368 w 10003"/>
              <a:gd name="connsiteY199" fmla="*/ 5826 h 10000"/>
              <a:gd name="connsiteX200" fmla="*/ 1462 w 10003"/>
              <a:gd name="connsiteY200" fmla="*/ 5826 h 10000"/>
              <a:gd name="connsiteX201" fmla="*/ 1617 w 10003"/>
              <a:gd name="connsiteY201" fmla="*/ 5785 h 10000"/>
              <a:gd name="connsiteX202" fmla="*/ 1670 w 10003"/>
              <a:gd name="connsiteY202" fmla="*/ 5785 h 10000"/>
              <a:gd name="connsiteX203" fmla="*/ 2190 w 10003"/>
              <a:gd name="connsiteY203" fmla="*/ 5248 h 10000"/>
              <a:gd name="connsiteX204" fmla="*/ 2295 w 10003"/>
              <a:gd name="connsiteY204" fmla="*/ 5165 h 10000"/>
              <a:gd name="connsiteX205" fmla="*/ 2763 w 10003"/>
              <a:gd name="connsiteY205" fmla="*/ 4752 h 10000"/>
              <a:gd name="connsiteX206" fmla="*/ 3024 w 10003"/>
              <a:gd name="connsiteY206" fmla="*/ 4504 h 10000"/>
              <a:gd name="connsiteX207" fmla="*/ 3180 w 10003"/>
              <a:gd name="connsiteY207" fmla="*/ 4380 h 10000"/>
              <a:gd name="connsiteX208" fmla="*/ 3597 w 10003"/>
              <a:gd name="connsiteY208" fmla="*/ 3760 h 10000"/>
              <a:gd name="connsiteX209" fmla="*/ 4117 w 10003"/>
              <a:gd name="connsiteY209" fmla="*/ 3512 h 10000"/>
              <a:gd name="connsiteX210" fmla="*/ 5003 w 10003"/>
              <a:gd name="connsiteY210" fmla="*/ 2810 h 10000"/>
              <a:gd name="connsiteX211" fmla="*/ 4846 w 10003"/>
              <a:gd name="connsiteY211" fmla="*/ 2562 h 10000"/>
              <a:gd name="connsiteX212" fmla="*/ 4795 w 10003"/>
              <a:gd name="connsiteY212" fmla="*/ 2397 h 10000"/>
              <a:gd name="connsiteX213" fmla="*/ 4795 w 10003"/>
              <a:gd name="connsiteY213" fmla="*/ 1240 h 10000"/>
              <a:gd name="connsiteX214" fmla="*/ 4117 w 10003"/>
              <a:gd name="connsiteY214" fmla="*/ 744 h 10000"/>
              <a:gd name="connsiteX215" fmla="*/ 4951 w 10003"/>
              <a:gd name="connsiteY215" fmla="*/ 744 h 10000"/>
              <a:gd name="connsiteX216" fmla="*/ 5784 w 10003"/>
              <a:gd name="connsiteY216" fmla="*/ 744 h 10000"/>
              <a:gd name="connsiteX217" fmla="*/ 5784 w 10003"/>
              <a:gd name="connsiteY217" fmla="*/ 702 h 10000"/>
              <a:gd name="connsiteX218" fmla="*/ 5784 w 10003"/>
              <a:gd name="connsiteY218" fmla="*/ 661 h 10000"/>
              <a:gd name="connsiteX219" fmla="*/ 5784 w 10003"/>
              <a:gd name="connsiteY219" fmla="*/ 620 h 10000"/>
              <a:gd name="connsiteX220" fmla="*/ 5784 w 10003"/>
              <a:gd name="connsiteY220" fmla="*/ 579 h 10000"/>
              <a:gd name="connsiteX221" fmla="*/ 5836 w 10003"/>
              <a:gd name="connsiteY221" fmla="*/ 537 h 10000"/>
              <a:gd name="connsiteX222" fmla="*/ 5836 w 10003"/>
              <a:gd name="connsiteY222" fmla="*/ 496 h 10000"/>
              <a:gd name="connsiteX223" fmla="*/ 5836 w 10003"/>
              <a:gd name="connsiteY223" fmla="*/ 455 h 10000"/>
              <a:gd name="connsiteX224" fmla="*/ 5836 w 10003"/>
              <a:gd name="connsiteY224" fmla="*/ 413 h 10000"/>
              <a:gd name="connsiteX225" fmla="*/ 5836 w 10003"/>
              <a:gd name="connsiteY225" fmla="*/ 372 h 10000"/>
              <a:gd name="connsiteX226" fmla="*/ 5836 w 10003"/>
              <a:gd name="connsiteY226" fmla="*/ 331 h 10000"/>
              <a:gd name="connsiteX227" fmla="*/ 5784 w 10003"/>
              <a:gd name="connsiteY227" fmla="*/ 331 h 10000"/>
              <a:gd name="connsiteX228" fmla="*/ 5784 w 10003"/>
              <a:gd name="connsiteY228" fmla="*/ 289 h 10000"/>
              <a:gd name="connsiteX229" fmla="*/ 5784 w 10003"/>
              <a:gd name="connsiteY229" fmla="*/ 248 h 10000"/>
              <a:gd name="connsiteX230" fmla="*/ 5784 w 10003"/>
              <a:gd name="connsiteY230" fmla="*/ 207 h 10000"/>
              <a:gd name="connsiteX231" fmla="*/ 5784 w 10003"/>
              <a:gd name="connsiteY231" fmla="*/ 165 h 10000"/>
              <a:gd name="connsiteX232" fmla="*/ 5784 w 10003"/>
              <a:gd name="connsiteY232" fmla="*/ 124 h 10000"/>
              <a:gd name="connsiteX233" fmla="*/ 5784 w 10003"/>
              <a:gd name="connsiteY233" fmla="*/ 83 h 10000"/>
              <a:gd name="connsiteX234" fmla="*/ 5784 w 10003"/>
              <a:gd name="connsiteY234" fmla="*/ 41 h 10000"/>
              <a:gd name="connsiteX235" fmla="*/ 5784 w 10003"/>
              <a:gd name="connsiteY23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105 w 10003"/>
              <a:gd name="connsiteY180" fmla="*/ 6193 h 10000"/>
              <a:gd name="connsiteX181" fmla="*/ 3233 w 10003"/>
              <a:gd name="connsiteY181" fmla="*/ 6087 h 10000"/>
              <a:gd name="connsiteX182" fmla="*/ 3345 w 10003"/>
              <a:gd name="connsiteY182" fmla="*/ 5945 h 10000"/>
              <a:gd name="connsiteX183" fmla="*/ 3729 w 10003"/>
              <a:gd name="connsiteY183" fmla="*/ 5662 h 10000"/>
              <a:gd name="connsiteX184" fmla="*/ 3969 w 10003"/>
              <a:gd name="connsiteY184" fmla="*/ 5396 h 10000"/>
              <a:gd name="connsiteX185" fmla="*/ 4225 w 10003"/>
              <a:gd name="connsiteY185" fmla="*/ 5112 h 10000"/>
              <a:gd name="connsiteX186" fmla="*/ 4369 w 10003"/>
              <a:gd name="connsiteY186" fmla="*/ 4846 h 10000"/>
              <a:gd name="connsiteX187" fmla="*/ 4353 w 10003"/>
              <a:gd name="connsiteY187" fmla="*/ 4545 h 10000"/>
              <a:gd name="connsiteX188" fmla="*/ 4337 w 10003"/>
              <a:gd name="connsiteY188" fmla="*/ 4278 h 10000"/>
              <a:gd name="connsiteX189" fmla="*/ 4177 w 10003"/>
              <a:gd name="connsiteY189" fmla="*/ 4119 h 10000"/>
              <a:gd name="connsiteX190" fmla="*/ 4017 w 10003"/>
              <a:gd name="connsiteY190" fmla="*/ 4137 h 10000"/>
              <a:gd name="connsiteX191" fmla="*/ 3857 w 10003"/>
              <a:gd name="connsiteY191" fmla="*/ 4421 h 10000"/>
              <a:gd name="connsiteX192" fmla="*/ 3809 w 10003"/>
              <a:gd name="connsiteY192" fmla="*/ 4934 h 10000"/>
              <a:gd name="connsiteX193" fmla="*/ 3537 w 10003"/>
              <a:gd name="connsiteY193" fmla="*/ 5272 h 10000"/>
              <a:gd name="connsiteX194" fmla="*/ 2993 w 10003"/>
              <a:gd name="connsiteY194" fmla="*/ 5573 h 10000"/>
              <a:gd name="connsiteX195" fmla="*/ 2416 w 10003"/>
              <a:gd name="connsiteY195" fmla="*/ 5803 h 10000"/>
              <a:gd name="connsiteX196" fmla="*/ 1952 w 10003"/>
              <a:gd name="connsiteY196" fmla="*/ 6122 h 10000"/>
              <a:gd name="connsiteX197" fmla="*/ 0 w 10003"/>
              <a:gd name="connsiteY197" fmla="*/ 6051 h 10000"/>
              <a:gd name="connsiteX198" fmla="*/ 3 w 10003"/>
              <a:gd name="connsiteY198" fmla="*/ 5826 h 10000"/>
              <a:gd name="connsiteX199" fmla="*/ 159 w 10003"/>
              <a:gd name="connsiteY199" fmla="*/ 5909 h 10000"/>
              <a:gd name="connsiteX200" fmla="*/ 368 w 10003"/>
              <a:gd name="connsiteY200" fmla="*/ 5826 h 10000"/>
              <a:gd name="connsiteX201" fmla="*/ 1462 w 10003"/>
              <a:gd name="connsiteY201" fmla="*/ 5826 h 10000"/>
              <a:gd name="connsiteX202" fmla="*/ 1617 w 10003"/>
              <a:gd name="connsiteY202" fmla="*/ 5785 h 10000"/>
              <a:gd name="connsiteX203" fmla="*/ 1670 w 10003"/>
              <a:gd name="connsiteY203" fmla="*/ 5785 h 10000"/>
              <a:gd name="connsiteX204" fmla="*/ 2190 w 10003"/>
              <a:gd name="connsiteY204" fmla="*/ 5248 h 10000"/>
              <a:gd name="connsiteX205" fmla="*/ 2295 w 10003"/>
              <a:gd name="connsiteY205" fmla="*/ 5165 h 10000"/>
              <a:gd name="connsiteX206" fmla="*/ 2763 w 10003"/>
              <a:gd name="connsiteY206" fmla="*/ 4752 h 10000"/>
              <a:gd name="connsiteX207" fmla="*/ 3024 w 10003"/>
              <a:gd name="connsiteY207" fmla="*/ 4504 h 10000"/>
              <a:gd name="connsiteX208" fmla="*/ 3180 w 10003"/>
              <a:gd name="connsiteY208" fmla="*/ 4380 h 10000"/>
              <a:gd name="connsiteX209" fmla="*/ 3597 w 10003"/>
              <a:gd name="connsiteY209" fmla="*/ 3760 h 10000"/>
              <a:gd name="connsiteX210" fmla="*/ 4117 w 10003"/>
              <a:gd name="connsiteY210" fmla="*/ 3512 h 10000"/>
              <a:gd name="connsiteX211" fmla="*/ 5003 w 10003"/>
              <a:gd name="connsiteY211" fmla="*/ 2810 h 10000"/>
              <a:gd name="connsiteX212" fmla="*/ 4846 w 10003"/>
              <a:gd name="connsiteY212" fmla="*/ 2562 h 10000"/>
              <a:gd name="connsiteX213" fmla="*/ 4795 w 10003"/>
              <a:gd name="connsiteY213" fmla="*/ 2397 h 10000"/>
              <a:gd name="connsiteX214" fmla="*/ 4795 w 10003"/>
              <a:gd name="connsiteY214" fmla="*/ 1240 h 10000"/>
              <a:gd name="connsiteX215" fmla="*/ 4117 w 10003"/>
              <a:gd name="connsiteY215" fmla="*/ 744 h 10000"/>
              <a:gd name="connsiteX216" fmla="*/ 4951 w 10003"/>
              <a:gd name="connsiteY216" fmla="*/ 744 h 10000"/>
              <a:gd name="connsiteX217" fmla="*/ 5784 w 10003"/>
              <a:gd name="connsiteY217" fmla="*/ 744 h 10000"/>
              <a:gd name="connsiteX218" fmla="*/ 5784 w 10003"/>
              <a:gd name="connsiteY218" fmla="*/ 702 h 10000"/>
              <a:gd name="connsiteX219" fmla="*/ 5784 w 10003"/>
              <a:gd name="connsiteY219" fmla="*/ 661 h 10000"/>
              <a:gd name="connsiteX220" fmla="*/ 5784 w 10003"/>
              <a:gd name="connsiteY220" fmla="*/ 620 h 10000"/>
              <a:gd name="connsiteX221" fmla="*/ 5784 w 10003"/>
              <a:gd name="connsiteY221" fmla="*/ 579 h 10000"/>
              <a:gd name="connsiteX222" fmla="*/ 5836 w 10003"/>
              <a:gd name="connsiteY222" fmla="*/ 537 h 10000"/>
              <a:gd name="connsiteX223" fmla="*/ 5836 w 10003"/>
              <a:gd name="connsiteY223" fmla="*/ 496 h 10000"/>
              <a:gd name="connsiteX224" fmla="*/ 5836 w 10003"/>
              <a:gd name="connsiteY224" fmla="*/ 455 h 10000"/>
              <a:gd name="connsiteX225" fmla="*/ 5836 w 10003"/>
              <a:gd name="connsiteY225" fmla="*/ 413 h 10000"/>
              <a:gd name="connsiteX226" fmla="*/ 5836 w 10003"/>
              <a:gd name="connsiteY226" fmla="*/ 372 h 10000"/>
              <a:gd name="connsiteX227" fmla="*/ 5836 w 10003"/>
              <a:gd name="connsiteY227" fmla="*/ 331 h 10000"/>
              <a:gd name="connsiteX228" fmla="*/ 5784 w 10003"/>
              <a:gd name="connsiteY228" fmla="*/ 331 h 10000"/>
              <a:gd name="connsiteX229" fmla="*/ 5784 w 10003"/>
              <a:gd name="connsiteY229" fmla="*/ 289 h 10000"/>
              <a:gd name="connsiteX230" fmla="*/ 5784 w 10003"/>
              <a:gd name="connsiteY230" fmla="*/ 248 h 10000"/>
              <a:gd name="connsiteX231" fmla="*/ 5784 w 10003"/>
              <a:gd name="connsiteY231" fmla="*/ 207 h 10000"/>
              <a:gd name="connsiteX232" fmla="*/ 5784 w 10003"/>
              <a:gd name="connsiteY232" fmla="*/ 165 h 10000"/>
              <a:gd name="connsiteX233" fmla="*/ 5784 w 10003"/>
              <a:gd name="connsiteY233" fmla="*/ 124 h 10000"/>
              <a:gd name="connsiteX234" fmla="*/ 5784 w 10003"/>
              <a:gd name="connsiteY234" fmla="*/ 83 h 10000"/>
              <a:gd name="connsiteX235" fmla="*/ 5784 w 10003"/>
              <a:gd name="connsiteY235" fmla="*/ 41 h 10000"/>
              <a:gd name="connsiteX236" fmla="*/ 5784 w 10003"/>
              <a:gd name="connsiteY236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105 w 10003"/>
              <a:gd name="connsiteY180" fmla="*/ 6193 h 10000"/>
              <a:gd name="connsiteX181" fmla="*/ 3201 w 10003"/>
              <a:gd name="connsiteY181" fmla="*/ 5998 h 10000"/>
              <a:gd name="connsiteX182" fmla="*/ 3345 w 10003"/>
              <a:gd name="connsiteY182" fmla="*/ 5945 h 10000"/>
              <a:gd name="connsiteX183" fmla="*/ 3729 w 10003"/>
              <a:gd name="connsiteY183" fmla="*/ 5662 h 10000"/>
              <a:gd name="connsiteX184" fmla="*/ 3969 w 10003"/>
              <a:gd name="connsiteY184" fmla="*/ 5396 h 10000"/>
              <a:gd name="connsiteX185" fmla="*/ 4225 w 10003"/>
              <a:gd name="connsiteY185" fmla="*/ 5112 h 10000"/>
              <a:gd name="connsiteX186" fmla="*/ 4369 w 10003"/>
              <a:gd name="connsiteY186" fmla="*/ 4846 h 10000"/>
              <a:gd name="connsiteX187" fmla="*/ 4353 w 10003"/>
              <a:gd name="connsiteY187" fmla="*/ 4545 h 10000"/>
              <a:gd name="connsiteX188" fmla="*/ 4337 w 10003"/>
              <a:gd name="connsiteY188" fmla="*/ 4278 h 10000"/>
              <a:gd name="connsiteX189" fmla="*/ 4177 w 10003"/>
              <a:gd name="connsiteY189" fmla="*/ 4119 h 10000"/>
              <a:gd name="connsiteX190" fmla="*/ 4017 w 10003"/>
              <a:gd name="connsiteY190" fmla="*/ 4137 h 10000"/>
              <a:gd name="connsiteX191" fmla="*/ 3857 w 10003"/>
              <a:gd name="connsiteY191" fmla="*/ 4421 h 10000"/>
              <a:gd name="connsiteX192" fmla="*/ 3809 w 10003"/>
              <a:gd name="connsiteY192" fmla="*/ 4934 h 10000"/>
              <a:gd name="connsiteX193" fmla="*/ 3537 w 10003"/>
              <a:gd name="connsiteY193" fmla="*/ 5272 h 10000"/>
              <a:gd name="connsiteX194" fmla="*/ 2993 w 10003"/>
              <a:gd name="connsiteY194" fmla="*/ 5573 h 10000"/>
              <a:gd name="connsiteX195" fmla="*/ 2416 w 10003"/>
              <a:gd name="connsiteY195" fmla="*/ 5803 h 10000"/>
              <a:gd name="connsiteX196" fmla="*/ 1952 w 10003"/>
              <a:gd name="connsiteY196" fmla="*/ 6122 h 10000"/>
              <a:gd name="connsiteX197" fmla="*/ 0 w 10003"/>
              <a:gd name="connsiteY197" fmla="*/ 6051 h 10000"/>
              <a:gd name="connsiteX198" fmla="*/ 3 w 10003"/>
              <a:gd name="connsiteY198" fmla="*/ 5826 h 10000"/>
              <a:gd name="connsiteX199" fmla="*/ 159 w 10003"/>
              <a:gd name="connsiteY199" fmla="*/ 5909 h 10000"/>
              <a:gd name="connsiteX200" fmla="*/ 368 w 10003"/>
              <a:gd name="connsiteY200" fmla="*/ 5826 h 10000"/>
              <a:gd name="connsiteX201" fmla="*/ 1462 w 10003"/>
              <a:gd name="connsiteY201" fmla="*/ 5826 h 10000"/>
              <a:gd name="connsiteX202" fmla="*/ 1617 w 10003"/>
              <a:gd name="connsiteY202" fmla="*/ 5785 h 10000"/>
              <a:gd name="connsiteX203" fmla="*/ 1670 w 10003"/>
              <a:gd name="connsiteY203" fmla="*/ 5785 h 10000"/>
              <a:gd name="connsiteX204" fmla="*/ 2190 w 10003"/>
              <a:gd name="connsiteY204" fmla="*/ 5248 h 10000"/>
              <a:gd name="connsiteX205" fmla="*/ 2295 w 10003"/>
              <a:gd name="connsiteY205" fmla="*/ 5165 h 10000"/>
              <a:gd name="connsiteX206" fmla="*/ 2763 w 10003"/>
              <a:gd name="connsiteY206" fmla="*/ 4752 h 10000"/>
              <a:gd name="connsiteX207" fmla="*/ 3024 w 10003"/>
              <a:gd name="connsiteY207" fmla="*/ 4504 h 10000"/>
              <a:gd name="connsiteX208" fmla="*/ 3180 w 10003"/>
              <a:gd name="connsiteY208" fmla="*/ 4380 h 10000"/>
              <a:gd name="connsiteX209" fmla="*/ 3597 w 10003"/>
              <a:gd name="connsiteY209" fmla="*/ 3760 h 10000"/>
              <a:gd name="connsiteX210" fmla="*/ 4117 w 10003"/>
              <a:gd name="connsiteY210" fmla="*/ 3512 h 10000"/>
              <a:gd name="connsiteX211" fmla="*/ 5003 w 10003"/>
              <a:gd name="connsiteY211" fmla="*/ 2810 h 10000"/>
              <a:gd name="connsiteX212" fmla="*/ 4846 w 10003"/>
              <a:gd name="connsiteY212" fmla="*/ 2562 h 10000"/>
              <a:gd name="connsiteX213" fmla="*/ 4795 w 10003"/>
              <a:gd name="connsiteY213" fmla="*/ 2397 h 10000"/>
              <a:gd name="connsiteX214" fmla="*/ 4795 w 10003"/>
              <a:gd name="connsiteY214" fmla="*/ 1240 h 10000"/>
              <a:gd name="connsiteX215" fmla="*/ 4117 w 10003"/>
              <a:gd name="connsiteY215" fmla="*/ 744 h 10000"/>
              <a:gd name="connsiteX216" fmla="*/ 4951 w 10003"/>
              <a:gd name="connsiteY216" fmla="*/ 744 h 10000"/>
              <a:gd name="connsiteX217" fmla="*/ 5784 w 10003"/>
              <a:gd name="connsiteY217" fmla="*/ 744 h 10000"/>
              <a:gd name="connsiteX218" fmla="*/ 5784 w 10003"/>
              <a:gd name="connsiteY218" fmla="*/ 702 h 10000"/>
              <a:gd name="connsiteX219" fmla="*/ 5784 w 10003"/>
              <a:gd name="connsiteY219" fmla="*/ 661 h 10000"/>
              <a:gd name="connsiteX220" fmla="*/ 5784 w 10003"/>
              <a:gd name="connsiteY220" fmla="*/ 620 h 10000"/>
              <a:gd name="connsiteX221" fmla="*/ 5784 w 10003"/>
              <a:gd name="connsiteY221" fmla="*/ 579 h 10000"/>
              <a:gd name="connsiteX222" fmla="*/ 5836 w 10003"/>
              <a:gd name="connsiteY222" fmla="*/ 537 h 10000"/>
              <a:gd name="connsiteX223" fmla="*/ 5836 w 10003"/>
              <a:gd name="connsiteY223" fmla="*/ 496 h 10000"/>
              <a:gd name="connsiteX224" fmla="*/ 5836 w 10003"/>
              <a:gd name="connsiteY224" fmla="*/ 455 h 10000"/>
              <a:gd name="connsiteX225" fmla="*/ 5836 w 10003"/>
              <a:gd name="connsiteY225" fmla="*/ 413 h 10000"/>
              <a:gd name="connsiteX226" fmla="*/ 5836 w 10003"/>
              <a:gd name="connsiteY226" fmla="*/ 372 h 10000"/>
              <a:gd name="connsiteX227" fmla="*/ 5836 w 10003"/>
              <a:gd name="connsiteY227" fmla="*/ 331 h 10000"/>
              <a:gd name="connsiteX228" fmla="*/ 5784 w 10003"/>
              <a:gd name="connsiteY228" fmla="*/ 331 h 10000"/>
              <a:gd name="connsiteX229" fmla="*/ 5784 w 10003"/>
              <a:gd name="connsiteY229" fmla="*/ 289 h 10000"/>
              <a:gd name="connsiteX230" fmla="*/ 5784 w 10003"/>
              <a:gd name="connsiteY230" fmla="*/ 248 h 10000"/>
              <a:gd name="connsiteX231" fmla="*/ 5784 w 10003"/>
              <a:gd name="connsiteY231" fmla="*/ 207 h 10000"/>
              <a:gd name="connsiteX232" fmla="*/ 5784 w 10003"/>
              <a:gd name="connsiteY232" fmla="*/ 165 h 10000"/>
              <a:gd name="connsiteX233" fmla="*/ 5784 w 10003"/>
              <a:gd name="connsiteY233" fmla="*/ 124 h 10000"/>
              <a:gd name="connsiteX234" fmla="*/ 5784 w 10003"/>
              <a:gd name="connsiteY234" fmla="*/ 83 h 10000"/>
              <a:gd name="connsiteX235" fmla="*/ 5784 w 10003"/>
              <a:gd name="connsiteY235" fmla="*/ 41 h 10000"/>
              <a:gd name="connsiteX236" fmla="*/ 5784 w 10003"/>
              <a:gd name="connsiteY236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105 w 10003"/>
              <a:gd name="connsiteY180" fmla="*/ 6193 h 10000"/>
              <a:gd name="connsiteX181" fmla="*/ 3201 w 10003"/>
              <a:gd name="connsiteY181" fmla="*/ 5998 h 10000"/>
              <a:gd name="connsiteX182" fmla="*/ 3345 w 10003"/>
              <a:gd name="connsiteY182" fmla="*/ 5945 h 10000"/>
              <a:gd name="connsiteX183" fmla="*/ 3729 w 10003"/>
              <a:gd name="connsiteY183" fmla="*/ 5662 h 10000"/>
              <a:gd name="connsiteX184" fmla="*/ 3969 w 10003"/>
              <a:gd name="connsiteY184" fmla="*/ 5396 h 10000"/>
              <a:gd name="connsiteX185" fmla="*/ 4225 w 10003"/>
              <a:gd name="connsiteY185" fmla="*/ 5112 h 10000"/>
              <a:gd name="connsiteX186" fmla="*/ 4369 w 10003"/>
              <a:gd name="connsiteY186" fmla="*/ 4846 h 10000"/>
              <a:gd name="connsiteX187" fmla="*/ 4353 w 10003"/>
              <a:gd name="connsiteY187" fmla="*/ 4545 h 10000"/>
              <a:gd name="connsiteX188" fmla="*/ 4337 w 10003"/>
              <a:gd name="connsiteY188" fmla="*/ 4278 h 10000"/>
              <a:gd name="connsiteX189" fmla="*/ 4177 w 10003"/>
              <a:gd name="connsiteY189" fmla="*/ 4119 h 10000"/>
              <a:gd name="connsiteX190" fmla="*/ 4017 w 10003"/>
              <a:gd name="connsiteY190" fmla="*/ 4137 h 10000"/>
              <a:gd name="connsiteX191" fmla="*/ 3857 w 10003"/>
              <a:gd name="connsiteY191" fmla="*/ 4421 h 10000"/>
              <a:gd name="connsiteX192" fmla="*/ 3809 w 10003"/>
              <a:gd name="connsiteY192" fmla="*/ 4934 h 10000"/>
              <a:gd name="connsiteX193" fmla="*/ 3537 w 10003"/>
              <a:gd name="connsiteY193" fmla="*/ 5272 h 10000"/>
              <a:gd name="connsiteX194" fmla="*/ 2993 w 10003"/>
              <a:gd name="connsiteY194" fmla="*/ 5573 h 10000"/>
              <a:gd name="connsiteX195" fmla="*/ 2416 w 10003"/>
              <a:gd name="connsiteY195" fmla="*/ 5803 h 10000"/>
              <a:gd name="connsiteX196" fmla="*/ 1952 w 10003"/>
              <a:gd name="connsiteY196" fmla="*/ 6122 h 10000"/>
              <a:gd name="connsiteX197" fmla="*/ 0 w 10003"/>
              <a:gd name="connsiteY197" fmla="*/ 6051 h 10000"/>
              <a:gd name="connsiteX198" fmla="*/ 3 w 10003"/>
              <a:gd name="connsiteY198" fmla="*/ 5826 h 10000"/>
              <a:gd name="connsiteX199" fmla="*/ 159 w 10003"/>
              <a:gd name="connsiteY199" fmla="*/ 5909 h 10000"/>
              <a:gd name="connsiteX200" fmla="*/ 368 w 10003"/>
              <a:gd name="connsiteY200" fmla="*/ 5826 h 10000"/>
              <a:gd name="connsiteX201" fmla="*/ 1462 w 10003"/>
              <a:gd name="connsiteY201" fmla="*/ 5826 h 10000"/>
              <a:gd name="connsiteX202" fmla="*/ 1617 w 10003"/>
              <a:gd name="connsiteY202" fmla="*/ 5785 h 10000"/>
              <a:gd name="connsiteX203" fmla="*/ 1670 w 10003"/>
              <a:gd name="connsiteY203" fmla="*/ 5785 h 10000"/>
              <a:gd name="connsiteX204" fmla="*/ 2190 w 10003"/>
              <a:gd name="connsiteY204" fmla="*/ 5248 h 10000"/>
              <a:gd name="connsiteX205" fmla="*/ 2295 w 10003"/>
              <a:gd name="connsiteY205" fmla="*/ 5165 h 10000"/>
              <a:gd name="connsiteX206" fmla="*/ 2763 w 10003"/>
              <a:gd name="connsiteY206" fmla="*/ 4752 h 10000"/>
              <a:gd name="connsiteX207" fmla="*/ 3024 w 10003"/>
              <a:gd name="connsiteY207" fmla="*/ 4504 h 10000"/>
              <a:gd name="connsiteX208" fmla="*/ 3180 w 10003"/>
              <a:gd name="connsiteY208" fmla="*/ 4380 h 10000"/>
              <a:gd name="connsiteX209" fmla="*/ 3597 w 10003"/>
              <a:gd name="connsiteY209" fmla="*/ 3760 h 10000"/>
              <a:gd name="connsiteX210" fmla="*/ 4117 w 10003"/>
              <a:gd name="connsiteY210" fmla="*/ 3512 h 10000"/>
              <a:gd name="connsiteX211" fmla="*/ 5003 w 10003"/>
              <a:gd name="connsiteY211" fmla="*/ 2810 h 10000"/>
              <a:gd name="connsiteX212" fmla="*/ 4846 w 10003"/>
              <a:gd name="connsiteY212" fmla="*/ 2562 h 10000"/>
              <a:gd name="connsiteX213" fmla="*/ 4795 w 10003"/>
              <a:gd name="connsiteY213" fmla="*/ 2397 h 10000"/>
              <a:gd name="connsiteX214" fmla="*/ 4795 w 10003"/>
              <a:gd name="connsiteY214" fmla="*/ 1240 h 10000"/>
              <a:gd name="connsiteX215" fmla="*/ 4117 w 10003"/>
              <a:gd name="connsiteY215" fmla="*/ 744 h 10000"/>
              <a:gd name="connsiteX216" fmla="*/ 4951 w 10003"/>
              <a:gd name="connsiteY216" fmla="*/ 744 h 10000"/>
              <a:gd name="connsiteX217" fmla="*/ 5784 w 10003"/>
              <a:gd name="connsiteY217" fmla="*/ 744 h 10000"/>
              <a:gd name="connsiteX218" fmla="*/ 5784 w 10003"/>
              <a:gd name="connsiteY218" fmla="*/ 702 h 10000"/>
              <a:gd name="connsiteX219" fmla="*/ 5784 w 10003"/>
              <a:gd name="connsiteY219" fmla="*/ 661 h 10000"/>
              <a:gd name="connsiteX220" fmla="*/ 5784 w 10003"/>
              <a:gd name="connsiteY220" fmla="*/ 620 h 10000"/>
              <a:gd name="connsiteX221" fmla="*/ 5784 w 10003"/>
              <a:gd name="connsiteY221" fmla="*/ 579 h 10000"/>
              <a:gd name="connsiteX222" fmla="*/ 5836 w 10003"/>
              <a:gd name="connsiteY222" fmla="*/ 537 h 10000"/>
              <a:gd name="connsiteX223" fmla="*/ 5836 w 10003"/>
              <a:gd name="connsiteY223" fmla="*/ 496 h 10000"/>
              <a:gd name="connsiteX224" fmla="*/ 5836 w 10003"/>
              <a:gd name="connsiteY224" fmla="*/ 455 h 10000"/>
              <a:gd name="connsiteX225" fmla="*/ 5836 w 10003"/>
              <a:gd name="connsiteY225" fmla="*/ 413 h 10000"/>
              <a:gd name="connsiteX226" fmla="*/ 5836 w 10003"/>
              <a:gd name="connsiteY226" fmla="*/ 372 h 10000"/>
              <a:gd name="connsiteX227" fmla="*/ 5836 w 10003"/>
              <a:gd name="connsiteY227" fmla="*/ 331 h 10000"/>
              <a:gd name="connsiteX228" fmla="*/ 5784 w 10003"/>
              <a:gd name="connsiteY228" fmla="*/ 331 h 10000"/>
              <a:gd name="connsiteX229" fmla="*/ 5784 w 10003"/>
              <a:gd name="connsiteY229" fmla="*/ 289 h 10000"/>
              <a:gd name="connsiteX230" fmla="*/ 5784 w 10003"/>
              <a:gd name="connsiteY230" fmla="*/ 248 h 10000"/>
              <a:gd name="connsiteX231" fmla="*/ 5784 w 10003"/>
              <a:gd name="connsiteY231" fmla="*/ 207 h 10000"/>
              <a:gd name="connsiteX232" fmla="*/ 5784 w 10003"/>
              <a:gd name="connsiteY232" fmla="*/ 165 h 10000"/>
              <a:gd name="connsiteX233" fmla="*/ 5784 w 10003"/>
              <a:gd name="connsiteY233" fmla="*/ 124 h 10000"/>
              <a:gd name="connsiteX234" fmla="*/ 5784 w 10003"/>
              <a:gd name="connsiteY234" fmla="*/ 83 h 10000"/>
              <a:gd name="connsiteX235" fmla="*/ 5784 w 10003"/>
              <a:gd name="connsiteY235" fmla="*/ 41 h 10000"/>
              <a:gd name="connsiteX236" fmla="*/ 5784 w 10003"/>
              <a:gd name="connsiteY236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409 w 10003"/>
              <a:gd name="connsiteY180" fmla="*/ 6548 h 10000"/>
              <a:gd name="connsiteX181" fmla="*/ 3105 w 10003"/>
              <a:gd name="connsiteY181" fmla="*/ 6193 h 10000"/>
              <a:gd name="connsiteX182" fmla="*/ 3201 w 10003"/>
              <a:gd name="connsiteY182" fmla="*/ 5998 h 10000"/>
              <a:gd name="connsiteX183" fmla="*/ 3345 w 10003"/>
              <a:gd name="connsiteY183" fmla="*/ 5945 h 10000"/>
              <a:gd name="connsiteX184" fmla="*/ 3729 w 10003"/>
              <a:gd name="connsiteY184" fmla="*/ 5662 h 10000"/>
              <a:gd name="connsiteX185" fmla="*/ 3969 w 10003"/>
              <a:gd name="connsiteY185" fmla="*/ 5396 h 10000"/>
              <a:gd name="connsiteX186" fmla="*/ 4225 w 10003"/>
              <a:gd name="connsiteY186" fmla="*/ 5112 h 10000"/>
              <a:gd name="connsiteX187" fmla="*/ 4369 w 10003"/>
              <a:gd name="connsiteY187" fmla="*/ 4846 h 10000"/>
              <a:gd name="connsiteX188" fmla="*/ 4353 w 10003"/>
              <a:gd name="connsiteY188" fmla="*/ 4545 h 10000"/>
              <a:gd name="connsiteX189" fmla="*/ 4337 w 10003"/>
              <a:gd name="connsiteY189" fmla="*/ 4278 h 10000"/>
              <a:gd name="connsiteX190" fmla="*/ 4177 w 10003"/>
              <a:gd name="connsiteY190" fmla="*/ 4119 h 10000"/>
              <a:gd name="connsiteX191" fmla="*/ 4017 w 10003"/>
              <a:gd name="connsiteY191" fmla="*/ 4137 h 10000"/>
              <a:gd name="connsiteX192" fmla="*/ 3857 w 10003"/>
              <a:gd name="connsiteY192" fmla="*/ 4421 h 10000"/>
              <a:gd name="connsiteX193" fmla="*/ 3809 w 10003"/>
              <a:gd name="connsiteY193" fmla="*/ 4934 h 10000"/>
              <a:gd name="connsiteX194" fmla="*/ 3537 w 10003"/>
              <a:gd name="connsiteY194" fmla="*/ 5272 h 10000"/>
              <a:gd name="connsiteX195" fmla="*/ 2993 w 10003"/>
              <a:gd name="connsiteY195" fmla="*/ 5573 h 10000"/>
              <a:gd name="connsiteX196" fmla="*/ 2416 w 10003"/>
              <a:gd name="connsiteY196" fmla="*/ 5803 h 10000"/>
              <a:gd name="connsiteX197" fmla="*/ 1952 w 10003"/>
              <a:gd name="connsiteY197" fmla="*/ 6122 h 10000"/>
              <a:gd name="connsiteX198" fmla="*/ 0 w 10003"/>
              <a:gd name="connsiteY198" fmla="*/ 6051 h 10000"/>
              <a:gd name="connsiteX199" fmla="*/ 3 w 10003"/>
              <a:gd name="connsiteY199" fmla="*/ 5826 h 10000"/>
              <a:gd name="connsiteX200" fmla="*/ 159 w 10003"/>
              <a:gd name="connsiteY200" fmla="*/ 5909 h 10000"/>
              <a:gd name="connsiteX201" fmla="*/ 368 w 10003"/>
              <a:gd name="connsiteY201" fmla="*/ 5826 h 10000"/>
              <a:gd name="connsiteX202" fmla="*/ 1462 w 10003"/>
              <a:gd name="connsiteY202" fmla="*/ 5826 h 10000"/>
              <a:gd name="connsiteX203" fmla="*/ 1617 w 10003"/>
              <a:gd name="connsiteY203" fmla="*/ 5785 h 10000"/>
              <a:gd name="connsiteX204" fmla="*/ 1670 w 10003"/>
              <a:gd name="connsiteY204" fmla="*/ 5785 h 10000"/>
              <a:gd name="connsiteX205" fmla="*/ 2190 w 10003"/>
              <a:gd name="connsiteY205" fmla="*/ 5248 h 10000"/>
              <a:gd name="connsiteX206" fmla="*/ 2295 w 10003"/>
              <a:gd name="connsiteY206" fmla="*/ 5165 h 10000"/>
              <a:gd name="connsiteX207" fmla="*/ 2763 w 10003"/>
              <a:gd name="connsiteY207" fmla="*/ 4752 h 10000"/>
              <a:gd name="connsiteX208" fmla="*/ 3024 w 10003"/>
              <a:gd name="connsiteY208" fmla="*/ 4504 h 10000"/>
              <a:gd name="connsiteX209" fmla="*/ 3180 w 10003"/>
              <a:gd name="connsiteY209" fmla="*/ 4380 h 10000"/>
              <a:gd name="connsiteX210" fmla="*/ 3597 w 10003"/>
              <a:gd name="connsiteY210" fmla="*/ 3760 h 10000"/>
              <a:gd name="connsiteX211" fmla="*/ 4117 w 10003"/>
              <a:gd name="connsiteY211" fmla="*/ 3512 h 10000"/>
              <a:gd name="connsiteX212" fmla="*/ 5003 w 10003"/>
              <a:gd name="connsiteY212" fmla="*/ 2810 h 10000"/>
              <a:gd name="connsiteX213" fmla="*/ 4846 w 10003"/>
              <a:gd name="connsiteY213" fmla="*/ 2562 h 10000"/>
              <a:gd name="connsiteX214" fmla="*/ 4795 w 10003"/>
              <a:gd name="connsiteY214" fmla="*/ 2397 h 10000"/>
              <a:gd name="connsiteX215" fmla="*/ 4795 w 10003"/>
              <a:gd name="connsiteY215" fmla="*/ 1240 h 10000"/>
              <a:gd name="connsiteX216" fmla="*/ 4117 w 10003"/>
              <a:gd name="connsiteY216" fmla="*/ 744 h 10000"/>
              <a:gd name="connsiteX217" fmla="*/ 4951 w 10003"/>
              <a:gd name="connsiteY217" fmla="*/ 744 h 10000"/>
              <a:gd name="connsiteX218" fmla="*/ 5784 w 10003"/>
              <a:gd name="connsiteY218" fmla="*/ 744 h 10000"/>
              <a:gd name="connsiteX219" fmla="*/ 5784 w 10003"/>
              <a:gd name="connsiteY219" fmla="*/ 702 h 10000"/>
              <a:gd name="connsiteX220" fmla="*/ 5784 w 10003"/>
              <a:gd name="connsiteY220" fmla="*/ 661 h 10000"/>
              <a:gd name="connsiteX221" fmla="*/ 5784 w 10003"/>
              <a:gd name="connsiteY221" fmla="*/ 620 h 10000"/>
              <a:gd name="connsiteX222" fmla="*/ 5784 w 10003"/>
              <a:gd name="connsiteY222" fmla="*/ 579 h 10000"/>
              <a:gd name="connsiteX223" fmla="*/ 5836 w 10003"/>
              <a:gd name="connsiteY223" fmla="*/ 537 h 10000"/>
              <a:gd name="connsiteX224" fmla="*/ 5836 w 10003"/>
              <a:gd name="connsiteY224" fmla="*/ 496 h 10000"/>
              <a:gd name="connsiteX225" fmla="*/ 5836 w 10003"/>
              <a:gd name="connsiteY225" fmla="*/ 455 h 10000"/>
              <a:gd name="connsiteX226" fmla="*/ 5836 w 10003"/>
              <a:gd name="connsiteY226" fmla="*/ 413 h 10000"/>
              <a:gd name="connsiteX227" fmla="*/ 5836 w 10003"/>
              <a:gd name="connsiteY227" fmla="*/ 372 h 10000"/>
              <a:gd name="connsiteX228" fmla="*/ 5836 w 10003"/>
              <a:gd name="connsiteY228" fmla="*/ 331 h 10000"/>
              <a:gd name="connsiteX229" fmla="*/ 5784 w 10003"/>
              <a:gd name="connsiteY229" fmla="*/ 331 h 10000"/>
              <a:gd name="connsiteX230" fmla="*/ 5784 w 10003"/>
              <a:gd name="connsiteY230" fmla="*/ 289 h 10000"/>
              <a:gd name="connsiteX231" fmla="*/ 5784 w 10003"/>
              <a:gd name="connsiteY231" fmla="*/ 248 h 10000"/>
              <a:gd name="connsiteX232" fmla="*/ 5784 w 10003"/>
              <a:gd name="connsiteY232" fmla="*/ 207 h 10000"/>
              <a:gd name="connsiteX233" fmla="*/ 5784 w 10003"/>
              <a:gd name="connsiteY233" fmla="*/ 165 h 10000"/>
              <a:gd name="connsiteX234" fmla="*/ 5784 w 10003"/>
              <a:gd name="connsiteY234" fmla="*/ 124 h 10000"/>
              <a:gd name="connsiteX235" fmla="*/ 5784 w 10003"/>
              <a:gd name="connsiteY235" fmla="*/ 83 h 10000"/>
              <a:gd name="connsiteX236" fmla="*/ 5784 w 10003"/>
              <a:gd name="connsiteY236" fmla="*/ 41 h 10000"/>
              <a:gd name="connsiteX237" fmla="*/ 5784 w 10003"/>
              <a:gd name="connsiteY237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585 w 10003"/>
              <a:gd name="connsiteY180" fmla="*/ 6247 h 10000"/>
              <a:gd name="connsiteX181" fmla="*/ 3105 w 10003"/>
              <a:gd name="connsiteY181" fmla="*/ 6193 h 10000"/>
              <a:gd name="connsiteX182" fmla="*/ 3201 w 10003"/>
              <a:gd name="connsiteY182" fmla="*/ 5998 h 10000"/>
              <a:gd name="connsiteX183" fmla="*/ 3345 w 10003"/>
              <a:gd name="connsiteY183" fmla="*/ 5945 h 10000"/>
              <a:gd name="connsiteX184" fmla="*/ 3729 w 10003"/>
              <a:gd name="connsiteY184" fmla="*/ 5662 h 10000"/>
              <a:gd name="connsiteX185" fmla="*/ 3969 w 10003"/>
              <a:gd name="connsiteY185" fmla="*/ 5396 h 10000"/>
              <a:gd name="connsiteX186" fmla="*/ 4225 w 10003"/>
              <a:gd name="connsiteY186" fmla="*/ 5112 h 10000"/>
              <a:gd name="connsiteX187" fmla="*/ 4369 w 10003"/>
              <a:gd name="connsiteY187" fmla="*/ 4846 h 10000"/>
              <a:gd name="connsiteX188" fmla="*/ 4353 w 10003"/>
              <a:gd name="connsiteY188" fmla="*/ 4545 h 10000"/>
              <a:gd name="connsiteX189" fmla="*/ 4337 w 10003"/>
              <a:gd name="connsiteY189" fmla="*/ 4278 h 10000"/>
              <a:gd name="connsiteX190" fmla="*/ 4177 w 10003"/>
              <a:gd name="connsiteY190" fmla="*/ 4119 h 10000"/>
              <a:gd name="connsiteX191" fmla="*/ 4017 w 10003"/>
              <a:gd name="connsiteY191" fmla="*/ 4137 h 10000"/>
              <a:gd name="connsiteX192" fmla="*/ 3857 w 10003"/>
              <a:gd name="connsiteY192" fmla="*/ 4421 h 10000"/>
              <a:gd name="connsiteX193" fmla="*/ 3809 w 10003"/>
              <a:gd name="connsiteY193" fmla="*/ 4934 h 10000"/>
              <a:gd name="connsiteX194" fmla="*/ 3537 w 10003"/>
              <a:gd name="connsiteY194" fmla="*/ 5272 h 10000"/>
              <a:gd name="connsiteX195" fmla="*/ 2993 w 10003"/>
              <a:gd name="connsiteY195" fmla="*/ 5573 h 10000"/>
              <a:gd name="connsiteX196" fmla="*/ 2416 w 10003"/>
              <a:gd name="connsiteY196" fmla="*/ 5803 h 10000"/>
              <a:gd name="connsiteX197" fmla="*/ 1952 w 10003"/>
              <a:gd name="connsiteY197" fmla="*/ 6122 h 10000"/>
              <a:gd name="connsiteX198" fmla="*/ 0 w 10003"/>
              <a:gd name="connsiteY198" fmla="*/ 6051 h 10000"/>
              <a:gd name="connsiteX199" fmla="*/ 3 w 10003"/>
              <a:gd name="connsiteY199" fmla="*/ 5826 h 10000"/>
              <a:gd name="connsiteX200" fmla="*/ 159 w 10003"/>
              <a:gd name="connsiteY200" fmla="*/ 5909 h 10000"/>
              <a:gd name="connsiteX201" fmla="*/ 368 w 10003"/>
              <a:gd name="connsiteY201" fmla="*/ 5826 h 10000"/>
              <a:gd name="connsiteX202" fmla="*/ 1462 w 10003"/>
              <a:gd name="connsiteY202" fmla="*/ 5826 h 10000"/>
              <a:gd name="connsiteX203" fmla="*/ 1617 w 10003"/>
              <a:gd name="connsiteY203" fmla="*/ 5785 h 10000"/>
              <a:gd name="connsiteX204" fmla="*/ 1670 w 10003"/>
              <a:gd name="connsiteY204" fmla="*/ 5785 h 10000"/>
              <a:gd name="connsiteX205" fmla="*/ 2190 w 10003"/>
              <a:gd name="connsiteY205" fmla="*/ 5248 h 10000"/>
              <a:gd name="connsiteX206" fmla="*/ 2295 w 10003"/>
              <a:gd name="connsiteY206" fmla="*/ 5165 h 10000"/>
              <a:gd name="connsiteX207" fmla="*/ 2763 w 10003"/>
              <a:gd name="connsiteY207" fmla="*/ 4752 h 10000"/>
              <a:gd name="connsiteX208" fmla="*/ 3024 w 10003"/>
              <a:gd name="connsiteY208" fmla="*/ 4504 h 10000"/>
              <a:gd name="connsiteX209" fmla="*/ 3180 w 10003"/>
              <a:gd name="connsiteY209" fmla="*/ 4380 h 10000"/>
              <a:gd name="connsiteX210" fmla="*/ 3597 w 10003"/>
              <a:gd name="connsiteY210" fmla="*/ 3760 h 10000"/>
              <a:gd name="connsiteX211" fmla="*/ 4117 w 10003"/>
              <a:gd name="connsiteY211" fmla="*/ 3512 h 10000"/>
              <a:gd name="connsiteX212" fmla="*/ 5003 w 10003"/>
              <a:gd name="connsiteY212" fmla="*/ 2810 h 10000"/>
              <a:gd name="connsiteX213" fmla="*/ 4846 w 10003"/>
              <a:gd name="connsiteY213" fmla="*/ 2562 h 10000"/>
              <a:gd name="connsiteX214" fmla="*/ 4795 w 10003"/>
              <a:gd name="connsiteY214" fmla="*/ 2397 h 10000"/>
              <a:gd name="connsiteX215" fmla="*/ 4795 w 10003"/>
              <a:gd name="connsiteY215" fmla="*/ 1240 h 10000"/>
              <a:gd name="connsiteX216" fmla="*/ 4117 w 10003"/>
              <a:gd name="connsiteY216" fmla="*/ 744 h 10000"/>
              <a:gd name="connsiteX217" fmla="*/ 4951 w 10003"/>
              <a:gd name="connsiteY217" fmla="*/ 744 h 10000"/>
              <a:gd name="connsiteX218" fmla="*/ 5784 w 10003"/>
              <a:gd name="connsiteY218" fmla="*/ 744 h 10000"/>
              <a:gd name="connsiteX219" fmla="*/ 5784 w 10003"/>
              <a:gd name="connsiteY219" fmla="*/ 702 h 10000"/>
              <a:gd name="connsiteX220" fmla="*/ 5784 w 10003"/>
              <a:gd name="connsiteY220" fmla="*/ 661 h 10000"/>
              <a:gd name="connsiteX221" fmla="*/ 5784 w 10003"/>
              <a:gd name="connsiteY221" fmla="*/ 620 h 10000"/>
              <a:gd name="connsiteX222" fmla="*/ 5784 w 10003"/>
              <a:gd name="connsiteY222" fmla="*/ 579 h 10000"/>
              <a:gd name="connsiteX223" fmla="*/ 5836 w 10003"/>
              <a:gd name="connsiteY223" fmla="*/ 537 h 10000"/>
              <a:gd name="connsiteX224" fmla="*/ 5836 w 10003"/>
              <a:gd name="connsiteY224" fmla="*/ 496 h 10000"/>
              <a:gd name="connsiteX225" fmla="*/ 5836 w 10003"/>
              <a:gd name="connsiteY225" fmla="*/ 455 h 10000"/>
              <a:gd name="connsiteX226" fmla="*/ 5836 w 10003"/>
              <a:gd name="connsiteY226" fmla="*/ 413 h 10000"/>
              <a:gd name="connsiteX227" fmla="*/ 5836 w 10003"/>
              <a:gd name="connsiteY227" fmla="*/ 372 h 10000"/>
              <a:gd name="connsiteX228" fmla="*/ 5836 w 10003"/>
              <a:gd name="connsiteY228" fmla="*/ 331 h 10000"/>
              <a:gd name="connsiteX229" fmla="*/ 5784 w 10003"/>
              <a:gd name="connsiteY229" fmla="*/ 331 h 10000"/>
              <a:gd name="connsiteX230" fmla="*/ 5784 w 10003"/>
              <a:gd name="connsiteY230" fmla="*/ 289 h 10000"/>
              <a:gd name="connsiteX231" fmla="*/ 5784 w 10003"/>
              <a:gd name="connsiteY231" fmla="*/ 248 h 10000"/>
              <a:gd name="connsiteX232" fmla="*/ 5784 w 10003"/>
              <a:gd name="connsiteY232" fmla="*/ 207 h 10000"/>
              <a:gd name="connsiteX233" fmla="*/ 5784 w 10003"/>
              <a:gd name="connsiteY233" fmla="*/ 165 h 10000"/>
              <a:gd name="connsiteX234" fmla="*/ 5784 w 10003"/>
              <a:gd name="connsiteY234" fmla="*/ 124 h 10000"/>
              <a:gd name="connsiteX235" fmla="*/ 5784 w 10003"/>
              <a:gd name="connsiteY235" fmla="*/ 83 h 10000"/>
              <a:gd name="connsiteX236" fmla="*/ 5784 w 10003"/>
              <a:gd name="connsiteY236" fmla="*/ 41 h 10000"/>
              <a:gd name="connsiteX237" fmla="*/ 5784 w 10003"/>
              <a:gd name="connsiteY237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3585 w 10003"/>
              <a:gd name="connsiteY180" fmla="*/ 6247 h 10000"/>
              <a:gd name="connsiteX181" fmla="*/ 3105 w 10003"/>
              <a:gd name="connsiteY181" fmla="*/ 6193 h 10000"/>
              <a:gd name="connsiteX182" fmla="*/ 3201 w 10003"/>
              <a:gd name="connsiteY182" fmla="*/ 5998 h 10000"/>
              <a:gd name="connsiteX183" fmla="*/ 3345 w 10003"/>
              <a:gd name="connsiteY183" fmla="*/ 5945 h 10000"/>
              <a:gd name="connsiteX184" fmla="*/ 3729 w 10003"/>
              <a:gd name="connsiteY184" fmla="*/ 5662 h 10000"/>
              <a:gd name="connsiteX185" fmla="*/ 3969 w 10003"/>
              <a:gd name="connsiteY185" fmla="*/ 5396 h 10000"/>
              <a:gd name="connsiteX186" fmla="*/ 4225 w 10003"/>
              <a:gd name="connsiteY186" fmla="*/ 5112 h 10000"/>
              <a:gd name="connsiteX187" fmla="*/ 4369 w 10003"/>
              <a:gd name="connsiteY187" fmla="*/ 4846 h 10000"/>
              <a:gd name="connsiteX188" fmla="*/ 4353 w 10003"/>
              <a:gd name="connsiteY188" fmla="*/ 4545 h 10000"/>
              <a:gd name="connsiteX189" fmla="*/ 4337 w 10003"/>
              <a:gd name="connsiteY189" fmla="*/ 4278 h 10000"/>
              <a:gd name="connsiteX190" fmla="*/ 4177 w 10003"/>
              <a:gd name="connsiteY190" fmla="*/ 4119 h 10000"/>
              <a:gd name="connsiteX191" fmla="*/ 4017 w 10003"/>
              <a:gd name="connsiteY191" fmla="*/ 4137 h 10000"/>
              <a:gd name="connsiteX192" fmla="*/ 3857 w 10003"/>
              <a:gd name="connsiteY192" fmla="*/ 4421 h 10000"/>
              <a:gd name="connsiteX193" fmla="*/ 3809 w 10003"/>
              <a:gd name="connsiteY193" fmla="*/ 4934 h 10000"/>
              <a:gd name="connsiteX194" fmla="*/ 3537 w 10003"/>
              <a:gd name="connsiteY194" fmla="*/ 5272 h 10000"/>
              <a:gd name="connsiteX195" fmla="*/ 2993 w 10003"/>
              <a:gd name="connsiteY195" fmla="*/ 5573 h 10000"/>
              <a:gd name="connsiteX196" fmla="*/ 2416 w 10003"/>
              <a:gd name="connsiteY196" fmla="*/ 5803 h 10000"/>
              <a:gd name="connsiteX197" fmla="*/ 1952 w 10003"/>
              <a:gd name="connsiteY197" fmla="*/ 6122 h 10000"/>
              <a:gd name="connsiteX198" fmla="*/ 0 w 10003"/>
              <a:gd name="connsiteY198" fmla="*/ 6051 h 10000"/>
              <a:gd name="connsiteX199" fmla="*/ 3 w 10003"/>
              <a:gd name="connsiteY199" fmla="*/ 5826 h 10000"/>
              <a:gd name="connsiteX200" fmla="*/ 159 w 10003"/>
              <a:gd name="connsiteY200" fmla="*/ 5909 h 10000"/>
              <a:gd name="connsiteX201" fmla="*/ 368 w 10003"/>
              <a:gd name="connsiteY201" fmla="*/ 5826 h 10000"/>
              <a:gd name="connsiteX202" fmla="*/ 1462 w 10003"/>
              <a:gd name="connsiteY202" fmla="*/ 5826 h 10000"/>
              <a:gd name="connsiteX203" fmla="*/ 1617 w 10003"/>
              <a:gd name="connsiteY203" fmla="*/ 5785 h 10000"/>
              <a:gd name="connsiteX204" fmla="*/ 1670 w 10003"/>
              <a:gd name="connsiteY204" fmla="*/ 5785 h 10000"/>
              <a:gd name="connsiteX205" fmla="*/ 2190 w 10003"/>
              <a:gd name="connsiteY205" fmla="*/ 5248 h 10000"/>
              <a:gd name="connsiteX206" fmla="*/ 2295 w 10003"/>
              <a:gd name="connsiteY206" fmla="*/ 5165 h 10000"/>
              <a:gd name="connsiteX207" fmla="*/ 2763 w 10003"/>
              <a:gd name="connsiteY207" fmla="*/ 4752 h 10000"/>
              <a:gd name="connsiteX208" fmla="*/ 3024 w 10003"/>
              <a:gd name="connsiteY208" fmla="*/ 4504 h 10000"/>
              <a:gd name="connsiteX209" fmla="*/ 3180 w 10003"/>
              <a:gd name="connsiteY209" fmla="*/ 4380 h 10000"/>
              <a:gd name="connsiteX210" fmla="*/ 3597 w 10003"/>
              <a:gd name="connsiteY210" fmla="*/ 3760 h 10000"/>
              <a:gd name="connsiteX211" fmla="*/ 4117 w 10003"/>
              <a:gd name="connsiteY211" fmla="*/ 3512 h 10000"/>
              <a:gd name="connsiteX212" fmla="*/ 5003 w 10003"/>
              <a:gd name="connsiteY212" fmla="*/ 2810 h 10000"/>
              <a:gd name="connsiteX213" fmla="*/ 4846 w 10003"/>
              <a:gd name="connsiteY213" fmla="*/ 2562 h 10000"/>
              <a:gd name="connsiteX214" fmla="*/ 4795 w 10003"/>
              <a:gd name="connsiteY214" fmla="*/ 2397 h 10000"/>
              <a:gd name="connsiteX215" fmla="*/ 4795 w 10003"/>
              <a:gd name="connsiteY215" fmla="*/ 1240 h 10000"/>
              <a:gd name="connsiteX216" fmla="*/ 4117 w 10003"/>
              <a:gd name="connsiteY216" fmla="*/ 744 h 10000"/>
              <a:gd name="connsiteX217" fmla="*/ 4951 w 10003"/>
              <a:gd name="connsiteY217" fmla="*/ 744 h 10000"/>
              <a:gd name="connsiteX218" fmla="*/ 5784 w 10003"/>
              <a:gd name="connsiteY218" fmla="*/ 744 h 10000"/>
              <a:gd name="connsiteX219" fmla="*/ 5784 w 10003"/>
              <a:gd name="connsiteY219" fmla="*/ 702 h 10000"/>
              <a:gd name="connsiteX220" fmla="*/ 5784 w 10003"/>
              <a:gd name="connsiteY220" fmla="*/ 661 h 10000"/>
              <a:gd name="connsiteX221" fmla="*/ 5784 w 10003"/>
              <a:gd name="connsiteY221" fmla="*/ 620 h 10000"/>
              <a:gd name="connsiteX222" fmla="*/ 5784 w 10003"/>
              <a:gd name="connsiteY222" fmla="*/ 579 h 10000"/>
              <a:gd name="connsiteX223" fmla="*/ 5836 w 10003"/>
              <a:gd name="connsiteY223" fmla="*/ 537 h 10000"/>
              <a:gd name="connsiteX224" fmla="*/ 5836 w 10003"/>
              <a:gd name="connsiteY224" fmla="*/ 496 h 10000"/>
              <a:gd name="connsiteX225" fmla="*/ 5836 w 10003"/>
              <a:gd name="connsiteY225" fmla="*/ 455 h 10000"/>
              <a:gd name="connsiteX226" fmla="*/ 5836 w 10003"/>
              <a:gd name="connsiteY226" fmla="*/ 413 h 10000"/>
              <a:gd name="connsiteX227" fmla="*/ 5836 w 10003"/>
              <a:gd name="connsiteY227" fmla="*/ 372 h 10000"/>
              <a:gd name="connsiteX228" fmla="*/ 5836 w 10003"/>
              <a:gd name="connsiteY228" fmla="*/ 331 h 10000"/>
              <a:gd name="connsiteX229" fmla="*/ 5784 w 10003"/>
              <a:gd name="connsiteY229" fmla="*/ 331 h 10000"/>
              <a:gd name="connsiteX230" fmla="*/ 5784 w 10003"/>
              <a:gd name="connsiteY230" fmla="*/ 289 h 10000"/>
              <a:gd name="connsiteX231" fmla="*/ 5784 w 10003"/>
              <a:gd name="connsiteY231" fmla="*/ 248 h 10000"/>
              <a:gd name="connsiteX232" fmla="*/ 5784 w 10003"/>
              <a:gd name="connsiteY232" fmla="*/ 207 h 10000"/>
              <a:gd name="connsiteX233" fmla="*/ 5784 w 10003"/>
              <a:gd name="connsiteY233" fmla="*/ 165 h 10000"/>
              <a:gd name="connsiteX234" fmla="*/ 5784 w 10003"/>
              <a:gd name="connsiteY234" fmla="*/ 124 h 10000"/>
              <a:gd name="connsiteX235" fmla="*/ 5784 w 10003"/>
              <a:gd name="connsiteY235" fmla="*/ 83 h 10000"/>
              <a:gd name="connsiteX236" fmla="*/ 5784 w 10003"/>
              <a:gd name="connsiteY236" fmla="*/ 41 h 10000"/>
              <a:gd name="connsiteX237" fmla="*/ 5784 w 10003"/>
              <a:gd name="connsiteY237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385 w 10003"/>
              <a:gd name="connsiteY180" fmla="*/ 6991 h 10000"/>
              <a:gd name="connsiteX181" fmla="*/ 3585 w 10003"/>
              <a:gd name="connsiteY181" fmla="*/ 6247 h 10000"/>
              <a:gd name="connsiteX182" fmla="*/ 3105 w 10003"/>
              <a:gd name="connsiteY182" fmla="*/ 6193 h 10000"/>
              <a:gd name="connsiteX183" fmla="*/ 3201 w 10003"/>
              <a:gd name="connsiteY183" fmla="*/ 5998 h 10000"/>
              <a:gd name="connsiteX184" fmla="*/ 3345 w 10003"/>
              <a:gd name="connsiteY184" fmla="*/ 5945 h 10000"/>
              <a:gd name="connsiteX185" fmla="*/ 3729 w 10003"/>
              <a:gd name="connsiteY185" fmla="*/ 5662 h 10000"/>
              <a:gd name="connsiteX186" fmla="*/ 3969 w 10003"/>
              <a:gd name="connsiteY186" fmla="*/ 5396 h 10000"/>
              <a:gd name="connsiteX187" fmla="*/ 4225 w 10003"/>
              <a:gd name="connsiteY187" fmla="*/ 5112 h 10000"/>
              <a:gd name="connsiteX188" fmla="*/ 4369 w 10003"/>
              <a:gd name="connsiteY188" fmla="*/ 4846 h 10000"/>
              <a:gd name="connsiteX189" fmla="*/ 4353 w 10003"/>
              <a:gd name="connsiteY189" fmla="*/ 4545 h 10000"/>
              <a:gd name="connsiteX190" fmla="*/ 4337 w 10003"/>
              <a:gd name="connsiteY190" fmla="*/ 4278 h 10000"/>
              <a:gd name="connsiteX191" fmla="*/ 4177 w 10003"/>
              <a:gd name="connsiteY191" fmla="*/ 4119 h 10000"/>
              <a:gd name="connsiteX192" fmla="*/ 4017 w 10003"/>
              <a:gd name="connsiteY192" fmla="*/ 4137 h 10000"/>
              <a:gd name="connsiteX193" fmla="*/ 3857 w 10003"/>
              <a:gd name="connsiteY193" fmla="*/ 4421 h 10000"/>
              <a:gd name="connsiteX194" fmla="*/ 3809 w 10003"/>
              <a:gd name="connsiteY194" fmla="*/ 4934 h 10000"/>
              <a:gd name="connsiteX195" fmla="*/ 3537 w 10003"/>
              <a:gd name="connsiteY195" fmla="*/ 5272 h 10000"/>
              <a:gd name="connsiteX196" fmla="*/ 2993 w 10003"/>
              <a:gd name="connsiteY196" fmla="*/ 5573 h 10000"/>
              <a:gd name="connsiteX197" fmla="*/ 2416 w 10003"/>
              <a:gd name="connsiteY197" fmla="*/ 5803 h 10000"/>
              <a:gd name="connsiteX198" fmla="*/ 1952 w 10003"/>
              <a:gd name="connsiteY198" fmla="*/ 6122 h 10000"/>
              <a:gd name="connsiteX199" fmla="*/ 0 w 10003"/>
              <a:gd name="connsiteY199" fmla="*/ 6051 h 10000"/>
              <a:gd name="connsiteX200" fmla="*/ 3 w 10003"/>
              <a:gd name="connsiteY200" fmla="*/ 5826 h 10000"/>
              <a:gd name="connsiteX201" fmla="*/ 159 w 10003"/>
              <a:gd name="connsiteY201" fmla="*/ 5909 h 10000"/>
              <a:gd name="connsiteX202" fmla="*/ 368 w 10003"/>
              <a:gd name="connsiteY202" fmla="*/ 5826 h 10000"/>
              <a:gd name="connsiteX203" fmla="*/ 1462 w 10003"/>
              <a:gd name="connsiteY203" fmla="*/ 5826 h 10000"/>
              <a:gd name="connsiteX204" fmla="*/ 1617 w 10003"/>
              <a:gd name="connsiteY204" fmla="*/ 5785 h 10000"/>
              <a:gd name="connsiteX205" fmla="*/ 1670 w 10003"/>
              <a:gd name="connsiteY205" fmla="*/ 5785 h 10000"/>
              <a:gd name="connsiteX206" fmla="*/ 2190 w 10003"/>
              <a:gd name="connsiteY206" fmla="*/ 5248 h 10000"/>
              <a:gd name="connsiteX207" fmla="*/ 2295 w 10003"/>
              <a:gd name="connsiteY207" fmla="*/ 5165 h 10000"/>
              <a:gd name="connsiteX208" fmla="*/ 2763 w 10003"/>
              <a:gd name="connsiteY208" fmla="*/ 4752 h 10000"/>
              <a:gd name="connsiteX209" fmla="*/ 3024 w 10003"/>
              <a:gd name="connsiteY209" fmla="*/ 4504 h 10000"/>
              <a:gd name="connsiteX210" fmla="*/ 3180 w 10003"/>
              <a:gd name="connsiteY210" fmla="*/ 4380 h 10000"/>
              <a:gd name="connsiteX211" fmla="*/ 3597 w 10003"/>
              <a:gd name="connsiteY211" fmla="*/ 3760 h 10000"/>
              <a:gd name="connsiteX212" fmla="*/ 4117 w 10003"/>
              <a:gd name="connsiteY212" fmla="*/ 3512 h 10000"/>
              <a:gd name="connsiteX213" fmla="*/ 5003 w 10003"/>
              <a:gd name="connsiteY213" fmla="*/ 2810 h 10000"/>
              <a:gd name="connsiteX214" fmla="*/ 4846 w 10003"/>
              <a:gd name="connsiteY214" fmla="*/ 2562 h 10000"/>
              <a:gd name="connsiteX215" fmla="*/ 4795 w 10003"/>
              <a:gd name="connsiteY215" fmla="*/ 2397 h 10000"/>
              <a:gd name="connsiteX216" fmla="*/ 4795 w 10003"/>
              <a:gd name="connsiteY216" fmla="*/ 1240 h 10000"/>
              <a:gd name="connsiteX217" fmla="*/ 4117 w 10003"/>
              <a:gd name="connsiteY217" fmla="*/ 744 h 10000"/>
              <a:gd name="connsiteX218" fmla="*/ 4951 w 10003"/>
              <a:gd name="connsiteY218" fmla="*/ 744 h 10000"/>
              <a:gd name="connsiteX219" fmla="*/ 5784 w 10003"/>
              <a:gd name="connsiteY219" fmla="*/ 744 h 10000"/>
              <a:gd name="connsiteX220" fmla="*/ 5784 w 10003"/>
              <a:gd name="connsiteY220" fmla="*/ 702 h 10000"/>
              <a:gd name="connsiteX221" fmla="*/ 5784 w 10003"/>
              <a:gd name="connsiteY221" fmla="*/ 661 h 10000"/>
              <a:gd name="connsiteX222" fmla="*/ 5784 w 10003"/>
              <a:gd name="connsiteY222" fmla="*/ 620 h 10000"/>
              <a:gd name="connsiteX223" fmla="*/ 5784 w 10003"/>
              <a:gd name="connsiteY223" fmla="*/ 579 h 10000"/>
              <a:gd name="connsiteX224" fmla="*/ 5836 w 10003"/>
              <a:gd name="connsiteY224" fmla="*/ 537 h 10000"/>
              <a:gd name="connsiteX225" fmla="*/ 5836 w 10003"/>
              <a:gd name="connsiteY225" fmla="*/ 496 h 10000"/>
              <a:gd name="connsiteX226" fmla="*/ 5836 w 10003"/>
              <a:gd name="connsiteY226" fmla="*/ 455 h 10000"/>
              <a:gd name="connsiteX227" fmla="*/ 5836 w 10003"/>
              <a:gd name="connsiteY227" fmla="*/ 413 h 10000"/>
              <a:gd name="connsiteX228" fmla="*/ 5836 w 10003"/>
              <a:gd name="connsiteY228" fmla="*/ 372 h 10000"/>
              <a:gd name="connsiteX229" fmla="*/ 5836 w 10003"/>
              <a:gd name="connsiteY229" fmla="*/ 331 h 10000"/>
              <a:gd name="connsiteX230" fmla="*/ 5784 w 10003"/>
              <a:gd name="connsiteY230" fmla="*/ 331 h 10000"/>
              <a:gd name="connsiteX231" fmla="*/ 5784 w 10003"/>
              <a:gd name="connsiteY231" fmla="*/ 289 h 10000"/>
              <a:gd name="connsiteX232" fmla="*/ 5784 w 10003"/>
              <a:gd name="connsiteY232" fmla="*/ 248 h 10000"/>
              <a:gd name="connsiteX233" fmla="*/ 5784 w 10003"/>
              <a:gd name="connsiteY233" fmla="*/ 207 h 10000"/>
              <a:gd name="connsiteX234" fmla="*/ 5784 w 10003"/>
              <a:gd name="connsiteY234" fmla="*/ 165 h 10000"/>
              <a:gd name="connsiteX235" fmla="*/ 5784 w 10003"/>
              <a:gd name="connsiteY235" fmla="*/ 124 h 10000"/>
              <a:gd name="connsiteX236" fmla="*/ 5784 w 10003"/>
              <a:gd name="connsiteY236" fmla="*/ 83 h 10000"/>
              <a:gd name="connsiteX237" fmla="*/ 5784 w 10003"/>
              <a:gd name="connsiteY237" fmla="*/ 41 h 10000"/>
              <a:gd name="connsiteX238" fmla="*/ 5784 w 10003"/>
              <a:gd name="connsiteY238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417 w 10003"/>
              <a:gd name="connsiteY180" fmla="*/ 6530 h 10000"/>
              <a:gd name="connsiteX181" fmla="*/ 3585 w 10003"/>
              <a:gd name="connsiteY181" fmla="*/ 6247 h 10000"/>
              <a:gd name="connsiteX182" fmla="*/ 3105 w 10003"/>
              <a:gd name="connsiteY182" fmla="*/ 6193 h 10000"/>
              <a:gd name="connsiteX183" fmla="*/ 3201 w 10003"/>
              <a:gd name="connsiteY183" fmla="*/ 5998 h 10000"/>
              <a:gd name="connsiteX184" fmla="*/ 3345 w 10003"/>
              <a:gd name="connsiteY184" fmla="*/ 5945 h 10000"/>
              <a:gd name="connsiteX185" fmla="*/ 3729 w 10003"/>
              <a:gd name="connsiteY185" fmla="*/ 5662 h 10000"/>
              <a:gd name="connsiteX186" fmla="*/ 3969 w 10003"/>
              <a:gd name="connsiteY186" fmla="*/ 5396 h 10000"/>
              <a:gd name="connsiteX187" fmla="*/ 4225 w 10003"/>
              <a:gd name="connsiteY187" fmla="*/ 5112 h 10000"/>
              <a:gd name="connsiteX188" fmla="*/ 4369 w 10003"/>
              <a:gd name="connsiteY188" fmla="*/ 4846 h 10000"/>
              <a:gd name="connsiteX189" fmla="*/ 4353 w 10003"/>
              <a:gd name="connsiteY189" fmla="*/ 4545 h 10000"/>
              <a:gd name="connsiteX190" fmla="*/ 4337 w 10003"/>
              <a:gd name="connsiteY190" fmla="*/ 4278 h 10000"/>
              <a:gd name="connsiteX191" fmla="*/ 4177 w 10003"/>
              <a:gd name="connsiteY191" fmla="*/ 4119 h 10000"/>
              <a:gd name="connsiteX192" fmla="*/ 4017 w 10003"/>
              <a:gd name="connsiteY192" fmla="*/ 4137 h 10000"/>
              <a:gd name="connsiteX193" fmla="*/ 3857 w 10003"/>
              <a:gd name="connsiteY193" fmla="*/ 4421 h 10000"/>
              <a:gd name="connsiteX194" fmla="*/ 3809 w 10003"/>
              <a:gd name="connsiteY194" fmla="*/ 4934 h 10000"/>
              <a:gd name="connsiteX195" fmla="*/ 3537 w 10003"/>
              <a:gd name="connsiteY195" fmla="*/ 5272 h 10000"/>
              <a:gd name="connsiteX196" fmla="*/ 2993 w 10003"/>
              <a:gd name="connsiteY196" fmla="*/ 5573 h 10000"/>
              <a:gd name="connsiteX197" fmla="*/ 2416 w 10003"/>
              <a:gd name="connsiteY197" fmla="*/ 5803 h 10000"/>
              <a:gd name="connsiteX198" fmla="*/ 1952 w 10003"/>
              <a:gd name="connsiteY198" fmla="*/ 6122 h 10000"/>
              <a:gd name="connsiteX199" fmla="*/ 0 w 10003"/>
              <a:gd name="connsiteY199" fmla="*/ 6051 h 10000"/>
              <a:gd name="connsiteX200" fmla="*/ 3 w 10003"/>
              <a:gd name="connsiteY200" fmla="*/ 5826 h 10000"/>
              <a:gd name="connsiteX201" fmla="*/ 159 w 10003"/>
              <a:gd name="connsiteY201" fmla="*/ 5909 h 10000"/>
              <a:gd name="connsiteX202" fmla="*/ 368 w 10003"/>
              <a:gd name="connsiteY202" fmla="*/ 5826 h 10000"/>
              <a:gd name="connsiteX203" fmla="*/ 1462 w 10003"/>
              <a:gd name="connsiteY203" fmla="*/ 5826 h 10000"/>
              <a:gd name="connsiteX204" fmla="*/ 1617 w 10003"/>
              <a:gd name="connsiteY204" fmla="*/ 5785 h 10000"/>
              <a:gd name="connsiteX205" fmla="*/ 1670 w 10003"/>
              <a:gd name="connsiteY205" fmla="*/ 5785 h 10000"/>
              <a:gd name="connsiteX206" fmla="*/ 2190 w 10003"/>
              <a:gd name="connsiteY206" fmla="*/ 5248 h 10000"/>
              <a:gd name="connsiteX207" fmla="*/ 2295 w 10003"/>
              <a:gd name="connsiteY207" fmla="*/ 5165 h 10000"/>
              <a:gd name="connsiteX208" fmla="*/ 2763 w 10003"/>
              <a:gd name="connsiteY208" fmla="*/ 4752 h 10000"/>
              <a:gd name="connsiteX209" fmla="*/ 3024 w 10003"/>
              <a:gd name="connsiteY209" fmla="*/ 4504 h 10000"/>
              <a:gd name="connsiteX210" fmla="*/ 3180 w 10003"/>
              <a:gd name="connsiteY210" fmla="*/ 4380 h 10000"/>
              <a:gd name="connsiteX211" fmla="*/ 3597 w 10003"/>
              <a:gd name="connsiteY211" fmla="*/ 3760 h 10000"/>
              <a:gd name="connsiteX212" fmla="*/ 4117 w 10003"/>
              <a:gd name="connsiteY212" fmla="*/ 3512 h 10000"/>
              <a:gd name="connsiteX213" fmla="*/ 5003 w 10003"/>
              <a:gd name="connsiteY213" fmla="*/ 2810 h 10000"/>
              <a:gd name="connsiteX214" fmla="*/ 4846 w 10003"/>
              <a:gd name="connsiteY214" fmla="*/ 2562 h 10000"/>
              <a:gd name="connsiteX215" fmla="*/ 4795 w 10003"/>
              <a:gd name="connsiteY215" fmla="*/ 2397 h 10000"/>
              <a:gd name="connsiteX216" fmla="*/ 4795 w 10003"/>
              <a:gd name="connsiteY216" fmla="*/ 1240 h 10000"/>
              <a:gd name="connsiteX217" fmla="*/ 4117 w 10003"/>
              <a:gd name="connsiteY217" fmla="*/ 744 h 10000"/>
              <a:gd name="connsiteX218" fmla="*/ 4951 w 10003"/>
              <a:gd name="connsiteY218" fmla="*/ 744 h 10000"/>
              <a:gd name="connsiteX219" fmla="*/ 5784 w 10003"/>
              <a:gd name="connsiteY219" fmla="*/ 744 h 10000"/>
              <a:gd name="connsiteX220" fmla="*/ 5784 w 10003"/>
              <a:gd name="connsiteY220" fmla="*/ 702 h 10000"/>
              <a:gd name="connsiteX221" fmla="*/ 5784 w 10003"/>
              <a:gd name="connsiteY221" fmla="*/ 661 h 10000"/>
              <a:gd name="connsiteX222" fmla="*/ 5784 w 10003"/>
              <a:gd name="connsiteY222" fmla="*/ 620 h 10000"/>
              <a:gd name="connsiteX223" fmla="*/ 5784 w 10003"/>
              <a:gd name="connsiteY223" fmla="*/ 579 h 10000"/>
              <a:gd name="connsiteX224" fmla="*/ 5836 w 10003"/>
              <a:gd name="connsiteY224" fmla="*/ 537 h 10000"/>
              <a:gd name="connsiteX225" fmla="*/ 5836 w 10003"/>
              <a:gd name="connsiteY225" fmla="*/ 496 h 10000"/>
              <a:gd name="connsiteX226" fmla="*/ 5836 w 10003"/>
              <a:gd name="connsiteY226" fmla="*/ 455 h 10000"/>
              <a:gd name="connsiteX227" fmla="*/ 5836 w 10003"/>
              <a:gd name="connsiteY227" fmla="*/ 413 h 10000"/>
              <a:gd name="connsiteX228" fmla="*/ 5836 w 10003"/>
              <a:gd name="connsiteY228" fmla="*/ 372 h 10000"/>
              <a:gd name="connsiteX229" fmla="*/ 5836 w 10003"/>
              <a:gd name="connsiteY229" fmla="*/ 331 h 10000"/>
              <a:gd name="connsiteX230" fmla="*/ 5784 w 10003"/>
              <a:gd name="connsiteY230" fmla="*/ 331 h 10000"/>
              <a:gd name="connsiteX231" fmla="*/ 5784 w 10003"/>
              <a:gd name="connsiteY231" fmla="*/ 289 h 10000"/>
              <a:gd name="connsiteX232" fmla="*/ 5784 w 10003"/>
              <a:gd name="connsiteY232" fmla="*/ 248 h 10000"/>
              <a:gd name="connsiteX233" fmla="*/ 5784 w 10003"/>
              <a:gd name="connsiteY233" fmla="*/ 207 h 10000"/>
              <a:gd name="connsiteX234" fmla="*/ 5784 w 10003"/>
              <a:gd name="connsiteY234" fmla="*/ 165 h 10000"/>
              <a:gd name="connsiteX235" fmla="*/ 5784 w 10003"/>
              <a:gd name="connsiteY235" fmla="*/ 124 h 10000"/>
              <a:gd name="connsiteX236" fmla="*/ 5784 w 10003"/>
              <a:gd name="connsiteY236" fmla="*/ 83 h 10000"/>
              <a:gd name="connsiteX237" fmla="*/ 5784 w 10003"/>
              <a:gd name="connsiteY237" fmla="*/ 41 h 10000"/>
              <a:gd name="connsiteX238" fmla="*/ 5784 w 10003"/>
              <a:gd name="connsiteY238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417 w 10003"/>
              <a:gd name="connsiteY180" fmla="*/ 6530 h 10000"/>
              <a:gd name="connsiteX181" fmla="*/ 3585 w 10003"/>
              <a:gd name="connsiteY181" fmla="*/ 6247 h 10000"/>
              <a:gd name="connsiteX182" fmla="*/ 3105 w 10003"/>
              <a:gd name="connsiteY182" fmla="*/ 6193 h 10000"/>
              <a:gd name="connsiteX183" fmla="*/ 3201 w 10003"/>
              <a:gd name="connsiteY183" fmla="*/ 5998 h 10000"/>
              <a:gd name="connsiteX184" fmla="*/ 3345 w 10003"/>
              <a:gd name="connsiteY184" fmla="*/ 5945 h 10000"/>
              <a:gd name="connsiteX185" fmla="*/ 3729 w 10003"/>
              <a:gd name="connsiteY185" fmla="*/ 5662 h 10000"/>
              <a:gd name="connsiteX186" fmla="*/ 3969 w 10003"/>
              <a:gd name="connsiteY186" fmla="*/ 5396 h 10000"/>
              <a:gd name="connsiteX187" fmla="*/ 4225 w 10003"/>
              <a:gd name="connsiteY187" fmla="*/ 5112 h 10000"/>
              <a:gd name="connsiteX188" fmla="*/ 4369 w 10003"/>
              <a:gd name="connsiteY188" fmla="*/ 4846 h 10000"/>
              <a:gd name="connsiteX189" fmla="*/ 4353 w 10003"/>
              <a:gd name="connsiteY189" fmla="*/ 4545 h 10000"/>
              <a:gd name="connsiteX190" fmla="*/ 4337 w 10003"/>
              <a:gd name="connsiteY190" fmla="*/ 4278 h 10000"/>
              <a:gd name="connsiteX191" fmla="*/ 4177 w 10003"/>
              <a:gd name="connsiteY191" fmla="*/ 4119 h 10000"/>
              <a:gd name="connsiteX192" fmla="*/ 4017 w 10003"/>
              <a:gd name="connsiteY192" fmla="*/ 4137 h 10000"/>
              <a:gd name="connsiteX193" fmla="*/ 3857 w 10003"/>
              <a:gd name="connsiteY193" fmla="*/ 4421 h 10000"/>
              <a:gd name="connsiteX194" fmla="*/ 3809 w 10003"/>
              <a:gd name="connsiteY194" fmla="*/ 4934 h 10000"/>
              <a:gd name="connsiteX195" fmla="*/ 3537 w 10003"/>
              <a:gd name="connsiteY195" fmla="*/ 5272 h 10000"/>
              <a:gd name="connsiteX196" fmla="*/ 2993 w 10003"/>
              <a:gd name="connsiteY196" fmla="*/ 5573 h 10000"/>
              <a:gd name="connsiteX197" fmla="*/ 2416 w 10003"/>
              <a:gd name="connsiteY197" fmla="*/ 5803 h 10000"/>
              <a:gd name="connsiteX198" fmla="*/ 1952 w 10003"/>
              <a:gd name="connsiteY198" fmla="*/ 6122 h 10000"/>
              <a:gd name="connsiteX199" fmla="*/ 0 w 10003"/>
              <a:gd name="connsiteY199" fmla="*/ 6051 h 10000"/>
              <a:gd name="connsiteX200" fmla="*/ 3 w 10003"/>
              <a:gd name="connsiteY200" fmla="*/ 5826 h 10000"/>
              <a:gd name="connsiteX201" fmla="*/ 159 w 10003"/>
              <a:gd name="connsiteY201" fmla="*/ 5909 h 10000"/>
              <a:gd name="connsiteX202" fmla="*/ 368 w 10003"/>
              <a:gd name="connsiteY202" fmla="*/ 5826 h 10000"/>
              <a:gd name="connsiteX203" fmla="*/ 1462 w 10003"/>
              <a:gd name="connsiteY203" fmla="*/ 5826 h 10000"/>
              <a:gd name="connsiteX204" fmla="*/ 1617 w 10003"/>
              <a:gd name="connsiteY204" fmla="*/ 5785 h 10000"/>
              <a:gd name="connsiteX205" fmla="*/ 1670 w 10003"/>
              <a:gd name="connsiteY205" fmla="*/ 5785 h 10000"/>
              <a:gd name="connsiteX206" fmla="*/ 2190 w 10003"/>
              <a:gd name="connsiteY206" fmla="*/ 5248 h 10000"/>
              <a:gd name="connsiteX207" fmla="*/ 2295 w 10003"/>
              <a:gd name="connsiteY207" fmla="*/ 5165 h 10000"/>
              <a:gd name="connsiteX208" fmla="*/ 2763 w 10003"/>
              <a:gd name="connsiteY208" fmla="*/ 4752 h 10000"/>
              <a:gd name="connsiteX209" fmla="*/ 3024 w 10003"/>
              <a:gd name="connsiteY209" fmla="*/ 4504 h 10000"/>
              <a:gd name="connsiteX210" fmla="*/ 3180 w 10003"/>
              <a:gd name="connsiteY210" fmla="*/ 4380 h 10000"/>
              <a:gd name="connsiteX211" fmla="*/ 3597 w 10003"/>
              <a:gd name="connsiteY211" fmla="*/ 3760 h 10000"/>
              <a:gd name="connsiteX212" fmla="*/ 4117 w 10003"/>
              <a:gd name="connsiteY212" fmla="*/ 3512 h 10000"/>
              <a:gd name="connsiteX213" fmla="*/ 5003 w 10003"/>
              <a:gd name="connsiteY213" fmla="*/ 2810 h 10000"/>
              <a:gd name="connsiteX214" fmla="*/ 4846 w 10003"/>
              <a:gd name="connsiteY214" fmla="*/ 2562 h 10000"/>
              <a:gd name="connsiteX215" fmla="*/ 4795 w 10003"/>
              <a:gd name="connsiteY215" fmla="*/ 2397 h 10000"/>
              <a:gd name="connsiteX216" fmla="*/ 4795 w 10003"/>
              <a:gd name="connsiteY216" fmla="*/ 1240 h 10000"/>
              <a:gd name="connsiteX217" fmla="*/ 4117 w 10003"/>
              <a:gd name="connsiteY217" fmla="*/ 744 h 10000"/>
              <a:gd name="connsiteX218" fmla="*/ 4951 w 10003"/>
              <a:gd name="connsiteY218" fmla="*/ 744 h 10000"/>
              <a:gd name="connsiteX219" fmla="*/ 5784 w 10003"/>
              <a:gd name="connsiteY219" fmla="*/ 744 h 10000"/>
              <a:gd name="connsiteX220" fmla="*/ 5784 w 10003"/>
              <a:gd name="connsiteY220" fmla="*/ 702 h 10000"/>
              <a:gd name="connsiteX221" fmla="*/ 5784 w 10003"/>
              <a:gd name="connsiteY221" fmla="*/ 661 h 10000"/>
              <a:gd name="connsiteX222" fmla="*/ 5784 w 10003"/>
              <a:gd name="connsiteY222" fmla="*/ 620 h 10000"/>
              <a:gd name="connsiteX223" fmla="*/ 5784 w 10003"/>
              <a:gd name="connsiteY223" fmla="*/ 579 h 10000"/>
              <a:gd name="connsiteX224" fmla="*/ 5836 w 10003"/>
              <a:gd name="connsiteY224" fmla="*/ 537 h 10000"/>
              <a:gd name="connsiteX225" fmla="*/ 5836 w 10003"/>
              <a:gd name="connsiteY225" fmla="*/ 496 h 10000"/>
              <a:gd name="connsiteX226" fmla="*/ 5836 w 10003"/>
              <a:gd name="connsiteY226" fmla="*/ 455 h 10000"/>
              <a:gd name="connsiteX227" fmla="*/ 5836 w 10003"/>
              <a:gd name="connsiteY227" fmla="*/ 413 h 10000"/>
              <a:gd name="connsiteX228" fmla="*/ 5836 w 10003"/>
              <a:gd name="connsiteY228" fmla="*/ 372 h 10000"/>
              <a:gd name="connsiteX229" fmla="*/ 5836 w 10003"/>
              <a:gd name="connsiteY229" fmla="*/ 331 h 10000"/>
              <a:gd name="connsiteX230" fmla="*/ 5784 w 10003"/>
              <a:gd name="connsiteY230" fmla="*/ 331 h 10000"/>
              <a:gd name="connsiteX231" fmla="*/ 5784 w 10003"/>
              <a:gd name="connsiteY231" fmla="*/ 289 h 10000"/>
              <a:gd name="connsiteX232" fmla="*/ 5784 w 10003"/>
              <a:gd name="connsiteY232" fmla="*/ 248 h 10000"/>
              <a:gd name="connsiteX233" fmla="*/ 5784 w 10003"/>
              <a:gd name="connsiteY233" fmla="*/ 207 h 10000"/>
              <a:gd name="connsiteX234" fmla="*/ 5784 w 10003"/>
              <a:gd name="connsiteY234" fmla="*/ 165 h 10000"/>
              <a:gd name="connsiteX235" fmla="*/ 5784 w 10003"/>
              <a:gd name="connsiteY235" fmla="*/ 124 h 10000"/>
              <a:gd name="connsiteX236" fmla="*/ 5784 w 10003"/>
              <a:gd name="connsiteY236" fmla="*/ 83 h 10000"/>
              <a:gd name="connsiteX237" fmla="*/ 5784 w 10003"/>
              <a:gd name="connsiteY237" fmla="*/ 41 h 10000"/>
              <a:gd name="connsiteX238" fmla="*/ 5784 w 10003"/>
              <a:gd name="connsiteY238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657 w 10003"/>
              <a:gd name="connsiteY180" fmla="*/ 6832 h 10000"/>
              <a:gd name="connsiteX181" fmla="*/ 4417 w 10003"/>
              <a:gd name="connsiteY181" fmla="*/ 6530 h 10000"/>
              <a:gd name="connsiteX182" fmla="*/ 3585 w 10003"/>
              <a:gd name="connsiteY182" fmla="*/ 6247 h 10000"/>
              <a:gd name="connsiteX183" fmla="*/ 3105 w 10003"/>
              <a:gd name="connsiteY183" fmla="*/ 6193 h 10000"/>
              <a:gd name="connsiteX184" fmla="*/ 3201 w 10003"/>
              <a:gd name="connsiteY184" fmla="*/ 5998 h 10000"/>
              <a:gd name="connsiteX185" fmla="*/ 3345 w 10003"/>
              <a:gd name="connsiteY185" fmla="*/ 5945 h 10000"/>
              <a:gd name="connsiteX186" fmla="*/ 3729 w 10003"/>
              <a:gd name="connsiteY186" fmla="*/ 5662 h 10000"/>
              <a:gd name="connsiteX187" fmla="*/ 3969 w 10003"/>
              <a:gd name="connsiteY187" fmla="*/ 5396 h 10000"/>
              <a:gd name="connsiteX188" fmla="*/ 4225 w 10003"/>
              <a:gd name="connsiteY188" fmla="*/ 5112 h 10000"/>
              <a:gd name="connsiteX189" fmla="*/ 4369 w 10003"/>
              <a:gd name="connsiteY189" fmla="*/ 4846 h 10000"/>
              <a:gd name="connsiteX190" fmla="*/ 4353 w 10003"/>
              <a:gd name="connsiteY190" fmla="*/ 4545 h 10000"/>
              <a:gd name="connsiteX191" fmla="*/ 4337 w 10003"/>
              <a:gd name="connsiteY191" fmla="*/ 4278 h 10000"/>
              <a:gd name="connsiteX192" fmla="*/ 4177 w 10003"/>
              <a:gd name="connsiteY192" fmla="*/ 4119 h 10000"/>
              <a:gd name="connsiteX193" fmla="*/ 4017 w 10003"/>
              <a:gd name="connsiteY193" fmla="*/ 4137 h 10000"/>
              <a:gd name="connsiteX194" fmla="*/ 3857 w 10003"/>
              <a:gd name="connsiteY194" fmla="*/ 4421 h 10000"/>
              <a:gd name="connsiteX195" fmla="*/ 3809 w 10003"/>
              <a:gd name="connsiteY195" fmla="*/ 4934 h 10000"/>
              <a:gd name="connsiteX196" fmla="*/ 3537 w 10003"/>
              <a:gd name="connsiteY196" fmla="*/ 5272 h 10000"/>
              <a:gd name="connsiteX197" fmla="*/ 2993 w 10003"/>
              <a:gd name="connsiteY197" fmla="*/ 5573 h 10000"/>
              <a:gd name="connsiteX198" fmla="*/ 2416 w 10003"/>
              <a:gd name="connsiteY198" fmla="*/ 5803 h 10000"/>
              <a:gd name="connsiteX199" fmla="*/ 1952 w 10003"/>
              <a:gd name="connsiteY199" fmla="*/ 6122 h 10000"/>
              <a:gd name="connsiteX200" fmla="*/ 0 w 10003"/>
              <a:gd name="connsiteY200" fmla="*/ 6051 h 10000"/>
              <a:gd name="connsiteX201" fmla="*/ 3 w 10003"/>
              <a:gd name="connsiteY201" fmla="*/ 5826 h 10000"/>
              <a:gd name="connsiteX202" fmla="*/ 159 w 10003"/>
              <a:gd name="connsiteY202" fmla="*/ 5909 h 10000"/>
              <a:gd name="connsiteX203" fmla="*/ 368 w 10003"/>
              <a:gd name="connsiteY203" fmla="*/ 5826 h 10000"/>
              <a:gd name="connsiteX204" fmla="*/ 1462 w 10003"/>
              <a:gd name="connsiteY204" fmla="*/ 5826 h 10000"/>
              <a:gd name="connsiteX205" fmla="*/ 1617 w 10003"/>
              <a:gd name="connsiteY205" fmla="*/ 5785 h 10000"/>
              <a:gd name="connsiteX206" fmla="*/ 1670 w 10003"/>
              <a:gd name="connsiteY206" fmla="*/ 5785 h 10000"/>
              <a:gd name="connsiteX207" fmla="*/ 2190 w 10003"/>
              <a:gd name="connsiteY207" fmla="*/ 5248 h 10000"/>
              <a:gd name="connsiteX208" fmla="*/ 2295 w 10003"/>
              <a:gd name="connsiteY208" fmla="*/ 5165 h 10000"/>
              <a:gd name="connsiteX209" fmla="*/ 2763 w 10003"/>
              <a:gd name="connsiteY209" fmla="*/ 4752 h 10000"/>
              <a:gd name="connsiteX210" fmla="*/ 3024 w 10003"/>
              <a:gd name="connsiteY210" fmla="*/ 4504 h 10000"/>
              <a:gd name="connsiteX211" fmla="*/ 3180 w 10003"/>
              <a:gd name="connsiteY211" fmla="*/ 4380 h 10000"/>
              <a:gd name="connsiteX212" fmla="*/ 3597 w 10003"/>
              <a:gd name="connsiteY212" fmla="*/ 3760 h 10000"/>
              <a:gd name="connsiteX213" fmla="*/ 4117 w 10003"/>
              <a:gd name="connsiteY213" fmla="*/ 3512 h 10000"/>
              <a:gd name="connsiteX214" fmla="*/ 5003 w 10003"/>
              <a:gd name="connsiteY214" fmla="*/ 2810 h 10000"/>
              <a:gd name="connsiteX215" fmla="*/ 4846 w 10003"/>
              <a:gd name="connsiteY215" fmla="*/ 2562 h 10000"/>
              <a:gd name="connsiteX216" fmla="*/ 4795 w 10003"/>
              <a:gd name="connsiteY216" fmla="*/ 2397 h 10000"/>
              <a:gd name="connsiteX217" fmla="*/ 4795 w 10003"/>
              <a:gd name="connsiteY217" fmla="*/ 1240 h 10000"/>
              <a:gd name="connsiteX218" fmla="*/ 4117 w 10003"/>
              <a:gd name="connsiteY218" fmla="*/ 744 h 10000"/>
              <a:gd name="connsiteX219" fmla="*/ 4951 w 10003"/>
              <a:gd name="connsiteY219" fmla="*/ 744 h 10000"/>
              <a:gd name="connsiteX220" fmla="*/ 5784 w 10003"/>
              <a:gd name="connsiteY220" fmla="*/ 744 h 10000"/>
              <a:gd name="connsiteX221" fmla="*/ 5784 w 10003"/>
              <a:gd name="connsiteY221" fmla="*/ 702 h 10000"/>
              <a:gd name="connsiteX222" fmla="*/ 5784 w 10003"/>
              <a:gd name="connsiteY222" fmla="*/ 661 h 10000"/>
              <a:gd name="connsiteX223" fmla="*/ 5784 w 10003"/>
              <a:gd name="connsiteY223" fmla="*/ 620 h 10000"/>
              <a:gd name="connsiteX224" fmla="*/ 5784 w 10003"/>
              <a:gd name="connsiteY224" fmla="*/ 579 h 10000"/>
              <a:gd name="connsiteX225" fmla="*/ 5836 w 10003"/>
              <a:gd name="connsiteY225" fmla="*/ 537 h 10000"/>
              <a:gd name="connsiteX226" fmla="*/ 5836 w 10003"/>
              <a:gd name="connsiteY226" fmla="*/ 496 h 10000"/>
              <a:gd name="connsiteX227" fmla="*/ 5836 w 10003"/>
              <a:gd name="connsiteY227" fmla="*/ 455 h 10000"/>
              <a:gd name="connsiteX228" fmla="*/ 5836 w 10003"/>
              <a:gd name="connsiteY228" fmla="*/ 413 h 10000"/>
              <a:gd name="connsiteX229" fmla="*/ 5836 w 10003"/>
              <a:gd name="connsiteY229" fmla="*/ 372 h 10000"/>
              <a:gd name="connsiteX230" fmla="*/ 5836 w 10003"/>
              <a:gd name="connsiteY230" fmla="*/ 331 h 10000"/>
              <a:gd name="connsiteX231" fmla="*/ 5784 w 10003"/>
              <a:gd name="connsiteY231" fmla="*/ 331 h 10000"/>
              <a:gd name="connsiteX232" fmla="*/ 5784 w 10003"/>
              <a:gd name="connsiteY232" fmla="*/ 289 h 10000"/>
              <a:gd name="connsiteX233" fmla="*/ 5784 w 10003"/>
              <a:gd name="connsiteY233" fmla="*/ 248 h 10000"/>
              <a:gd name="connsiteX234" fmla="*/ 5784 w 10003"/>
              <a:gd name="connsiteY234" fmla="*/ 207 h 10000"/>
              <a:gd name="connsiteX235" fmla="*/ 5784 w 10003"/>
              <a:gd name="connsiteY235" fmla="*/ 165 h 10000"/>
              <a:gd name="connsiteX236" fmla="*/ 5784 w 10003"/>
              <a:gd name="connsiteY236" fmla="*/ 124 h 10000"/>
              <a:gd name="connsiteX237" fmla="*/ 5784 w 10003"/>
              <a:gd name="connsiteY237" fmla="*/ 83 h 10000"/>
              <a:gd name="connsiteX238" fmla="*/ 5784 w 10003"/>
              <a:gd name="connsiteY238" fmla="*/ 41 h 10000"/>
              <a:gd name="connsiteX239" fmla="*/ 5784 w 10003"/>
              <a:gd name="connsiteY23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913 w 10003"/>
              <a:gd name="connsiteY180" fmla="*/ 6690 h 10000"/>
              <a:gd name="connsiteX181" fmla="*/ 4417 w 10003"/>
              <a:gd name="connsiteY181" fmla="*/ 6530 h 10000"/>
              <a:gd name="connsiteX182" fmla="*/ 3585 w 10003"/>
              <a:gd name="connsiteY182" fmla="*/ 6247 h 10000"/>
              <a:gd name="connsiteX183" fmla="*/ 3105 w 10003"/>
              <a:gd name="connsiteY183" fmla="*/ 6193 h 10000"/>
              <a:gd name="connsiteX184" fmla="*/ 3201 w 10003"/>
              <a:gd name="connsiteY184" fmla="*/ 5998 h 10000"/>
              <a:gd name="connsiteX185" fmla="*/ 3345 w 10003"/>
              <a:gd name="connsiteY185" fmla="*/ 5945 h 10000"/>
              <a:gd name="connsiteX186" fmla="*/ 3729 w 10003"/>
              <a:gd name="connsiteY186" fmla="*/ 5662 h 10000"/>
              <a:gd name="connsiteX187" fmla="*/ 3969 w 10003"/>
              <a:gd name="connsiteY187" fmla="*/ 5396 h 10000"/>
              <a:gd name="connsiteX188" fmla="*/ 4225 w 10003"/>
              <a:gd name="connsiteY188" fmla="*/ 5112 h 10000"/>
              <a:gd name="connsiteX189" fmla="*/ 4369 w 10003"/>
              <a:gd name="connsiteY189" fmla="*/ 4846 h 10000"/>
              <a:gd name="connsiteX190" fmla="*/ 4353 w 10003"/>
              <a:gd name="connsiteY190" fmla="*/ 4545 h 10000"/>
              <a:gd name="connsiteX191" fmla="*/ 4337 w 10003"/>
              <a:gd name="connsiteY191" fmla="*/ 4278 h 10000"/>
              <a:gd name="connsiteX192" fmla="*/ 4177 w 10003"/>
              <a:gd name="connsiteY192" fmla="*/ 4119 h 10000"/>
              <a:gd name="connsiteX193" fmla="*/ 4017 w 10003"/>
              <a:gd name="connsiteY193" fmla="*/ 4137 h 10000"/>
              <a:gd name="connsiteX194" fmla="*/ 3857 w 10003"/>
              <a:gd name="connsiteY194" fmla="*/ 4421 h 10000"/>
              <a:gd name="connsiteX195" fmla="*/ 3809 w 10003"/>
              <a:gd name="connsiteY195" fmla="*/ 4934 h 10000"/>
              <a:gd name="connsiteX196" fmla="*/ 3537 w 10003"/>
              <a:gd name="connsiteY196" fmla="*/ 5272 h 10000"/>
              <a:gd name="connsiteX197" fmla="*/ 2993 w 10003"/>
              <a:gd name="connsiteY197" fmla="*/ 5573 h 10000"/>
              <a:gd name="connsiteX198" fmla="*/ 2416 w 10003"/>
              <a:gd name="connsiteY198" fmla="*/ 5803 h 10000"/>
              <a:gd name="connsiteX199" fmla="*/ 1952 w 10003"/>
              <a:gd name="connsiteY199" fmla="*/ 6122 h 10000"/>
              <a:gd name="connsiteX200" fmla="*/ 0 w 10003"/>
              <a:gd name="connsiteY200" fmla="*/ 6051 h 10000"/>
              <a:gd name="connsiteX201" fmla="*/ 3 w 10003"/>
              <a:gd name="connsiteY201" fmla="*/ 5826 h 10000"/>
              <a:gd name="connsiteX202" fmla="*/ 159 w 10003"/>
              <a:gd name="connsiteY202" fmla="*/ 5909 h 10000"/>
              <a:gd name="connsiteX203" fmla="*/ 368 w 10003"/>
              <a:gd name="connsiteY203" fmla="*/ 5826 h 10000"/>
              <a:gd name="connsiteX204" fmla="*/ 1462 w 10003"/>
              <a:gd name="connsiteY204" fmla="*/ 5826 h 10000"/>
              <a:gd name="connsiteX205" fmla="*/ 1617 w 10003"/>
              <a:gd name="connsiteY205" fmla="*/ 5785 h 10000"/>
              <a:gd name="connsiteX206" fmla="*/ 1670 w 10003"/>
              <a:gd name="connsiteY206" fmla="*/ 5785 h 10000"/>
              <a:gd name="connsiteX207" fmla="*/ 2190 w 10003"/>
              <a:gd name="connsiteY207" fmla="*/ 5248 h 10000"/>
              <a:gd name="connsiteX208" fmla="*/ 2295 w 10003"/>
              <a:gd name="connsiteY208" fmla="*/ 5165 h 10000"/>
              <a:gd name="connsiteX209" fmla="*/ 2763 w 10003"/>
              <a:gd name="connsiteY209" fmla="*/ 4752 h 10000"/>
              <a:gd name="connsiteX210" fmla="*/ 3024 w 10003"/>
              <a:gd name="connsiteY210" fmla="*/ 4504 h 10000"/>
              <a:gd name="connsiteX211" fmla="*/ 3180 w 10003"/>
              <a:gd name="connsiteY211" fmla="*/ 4380 h 10000"/>
              <a:gd name="connsiteX212" fmla="*/ 3597 w 10003"/>
              <a:gd name="connsiteY212" fmla="*/ 3760 h 10000"/>
              <a:gd name="connsiteX213" fmla="*/ 4117 w 10003"/>
              <a:gd name="connsiteY213" fmla="*/ 3512 h 10000"/>
              <a:gd name="connsiteX214" fmla="*/ 5003 w 10003"/>
              <a:gd name="connsiteY214" fmla="*/ 2810 h 10000"/>
              <a:gd name="connsiteX215" fmla="*/ 4846 w 10003"/>
              <a:gd name="connsiteY215" fmla="*/ 2562 h 10000"/>
              <a:gd name="connsiteX216" fmla="*/ 4795 w 10003"/>
              <a:gd name="connsiteY216" fmla="*/ 2397 h 10000"/>
              <a:gd name="connsiteX217" fmla="*/ 4795 w 10003"/>
              <a:gd name="connsiteY217" fmla="*/ 1240 h 10000"/>
              <a:gd name="connsiteX218" fmla="*/ 4117 w 10003"/>
              <a:gd name="connsiteY218" fmla="*/ 744 h 10000"/>
              <a:gd name="connsiteX219" fmla="*/ 4951 w 10003"/>
              <a:gd name="connsiteY219" fmla="*/ 744 h 10000"/>
              <a:gd name="connsiteX220" fmla="*/ 5784 w 10003"/>
              <a:gd name="connsiteY220" fmla="*/ 744 h 10000"/>
              <a:gd name="connsiteX221" fmla="*/ 5784 w 10003"/>
              <a:gd name="connsiteY221" fmla="*/ 702 h 10000"/>
              <a:gd name="connsiteX222" fmla="*/ 5784 w 10003"/>
              <a:gd name="connsiteY222" fmla="*/ 661 h 10000"/>
              <a:gd name="connsiteX223" fmla="*/ 5784 w 10003"/>
              <a:gd name="connsiteY223" fmla="*/ 620 h 10000"/>
              <a:gd name="connsiteX224" fmla="*/ 5784 w 10003"/>
              <a:gd name="connsiteY224" fmla="*/ 579 h 10000"/>
              <a:gd name="connsiteX225" fmla="*/ 5836 w 10003"/>
              <a:gd name="connsiteY225" fmla="*/ 537 h 10000"/>
              <a:gd name="connsiteX226" fmla="*/ 5836 w 10003"/>
              <a:gd name="connsiteY226" fmla="*/ 496 h 10000"/>
              <a:gd name="connsiteX227" fmla="*/ 5836 w 10003"/>
              <a:gd name="connsiteY227" fmla="*/ 455 h 10000"/>
              <a:gd name="connsiteX228" fmla="*/ 5836 w 10003"/>
              <a:gd name="connsiteY228" fmla="*/ 413 h 10000"/>
              <a:gd name="connsiteX229" fmla="*/ 5836 w 10003"/>
              <a:gd name="connsiteY229" fmla="*/ 372 h 10000"/>
              <a:gd name="connsiteX230" fmla="*/ 5836 w 10003"/>
              <a:gd name="connsiteY230" fmla="*/ 331 h 10000"/>
              <a:gd name="connsiteX231" fmla="*/ 5784 w 10003"/>
              <a:gd name="connsiteY231" fmla="*/ 331 h 10000"/>
              <a:gd name="connsiteX232" fmla="*/ 5784 w 10003"/>
              <a:gd name="connsiteY232" fmla="*/ 289 h 10000"/>
              <a:gd name="connsiteX233" fmla="*/ 5784 w 10003"/>
              <a:gd name="connsiteY233" fmla="*/ 248 h 10000"/>
              <a:gd name="connsiteX234" fmla="*/ 5784 w 10003"/>
              <a:gd name="connsiteY234" fmla="*/ 207 h 10000"/>
              <a:gd name="connsiteX235" fmla="*/ 5784 w 10003"/>
              <a:gd name="connsiteY235" fmla="*/ 165 h 10000"/>
              <a:gd name="connsiteX236" fmla="*/ 5784 w 10003"/>
              <a:gd name="connsiteY236" fmla="*/ 124 h 10000"/>
              <a:gd name="connsiteX237" fmla="*/ 5784 w 10003"/>
              <a:gd name="connsiteY237" fmla="*/ 83 h 10000"/>
              <a:gd name="connsiteX238" fmla="*/ 5784 w 10003"/>
              <a:gd name="connsiteY238" fmla="*/ 41 h 10000"/>
              <a:gd name="connsiteX239" fmla="*/ 5784 w 10003"/>
              <a:gd name="connsiteY23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913 w 10003"/>
              <a:gd name="connsiteY180" fmla="*/ 6690 h 10000"/>
              <a:gd name="connsiteX181" fmla="*/ 4417 w 10003"/>
              <a:gd name="connsiteY181" fmla="*/ 6530 h 10000"/>
              <a:gd name="connsiteX182" fmla="*/ 3585 w 10003"/>
              <a:gd name="connsiteY182" fmla="*/ 6247 h 10000"/>
              <a:gd name="connsiteX183" fmla="*/ 3105 w 10003"/>
              <a:gd name="connsiteY183" fmla="*/ 6193 h 10000"/>
              <a:gd name="connsiteX184" fmla="*/ 3201 w 10003"/>
              <a:gd name="connsiteY184" fmla="*/ 5998 h 10000"/>
              <a:gd name="connsiteX185" fmla="*/ 3345 w 10003"/>
              <a:gd name="connsiteY185" fmla="*/ 5945 h 10000"/>
              <a:gd name="connsiteX186" fmla="*/ 3729 w 10003"/>
              <a:gd name="connsiteY186" fmla="*/ 5662 h 10000"/>
              <a:gd name="connsiteX187" fmla="*/ 3969 w 10003"/>
              <a:gd name="connsiteY187" fmla="*/ 5396 h 10000"/>
              <a:gd name="connsiteX188" fmla="*/ 4225 w 10003"/>
              <a:gd name="connsiteY188" fmla="*/ 5112 h 10000"/>
              <a:gd name="connsiteX189" fmla="*/ 4369 w 10003"/>
              <a:gd name="connsiteY189" fmla="*/ 4846 h 10000"/>
              <a:gd name="connsiteX190" fmla="*/ 4353 w 10003"/>
              <a:gd name="connsiteY190" fmla="*/ 4545 h 10000"/>
              <a:gd name="connsiteX191" fmla="*/ 4337 w 10003"/>
              <a:gd name="connsiteY191" fmla="*/ 4278 h 10000"/>
              <a:gd name="connsiteX192" fmla="*/ 4177 w 10003"/>
              <a:gd name="connsiteY192" fmla="*/ 4119 h 10000"/>
              <a:gd name="connsiteX193" fmla="*/ 4017 w 10003"/>
              <a:gd name="connsiteY193" fmla="*/ 4137 h 10000"/>
              <a:gd name="connsiteX194" fmla="*/ 3857 w 10003"/>
              <a:gd name="connsiteY194" fmla="*/ 4421 h 10000"/>
              <a:gd name="connsiteX195" fmla="*/ 3809 w 10003"/>
              <a:gd name="connsiteY195" fmla="*/ 4934 h 10000"/>
              <a:gd name="connsiteX196" fmla="*/ 3537 w 10003"/>
              <a:gd name="connsiteY196" fmla="*/ 5272 h 10000"/>
              <a:gd name="connsiteX197" fmla="*/ 2993 w 10003"/>
              <a:gd name="connsiteY197" fmla="*/ 5573 h 10000"/>
              <a:gd name="connsiteX198" fmla="*/ 2416 w 10003"/>
              <a:gd name="connsiteY198" fmla="*/ 5803 h 10000"/>
              <a:gd name="connsiteX199" fmla="*/ 1952 w 10003"/>
              <a:gd name="connsiteY199" fmla="*/ 6122 h 10000"/>
              <a:gd name="connsiteX200" fmla="*/ 0 w 10003"/>
              <a:gd name="connsiteY200" fmla="*/ 6051 h 10000"/>
              <a:gd name="connsiteX201" fmla="*/ 3 w 10003"/>
              <a:gd name="connsiteY201" fmla="*/ 5826 h 10000"/>
              <a:gd name="connsiteX202" fmla="*/ 159 w 10003"/>
              <a:gd name="connsiteY202" fmla="*/ 5909 h 10000"/>
              <a:gd name="connsiteX203" fmla="*/ 368 w 10003"/>
              <a:gd name="connsiteY203" fmla="*/ 5826 h 10000"/>
              <a:gd name="connsiteX204" fmla="*/ 1462 w 10003"/>
              <a:gd name="connsiteY204" fmla="*/ 5826 h 10000"/>
              <a:gd name="connsiteX205" fmla="*/ 1617 w 10003"/>
              <a:gd name="connsiteY205" fmla="*/ 5785 h 10000"/>
              <a:gd name="connsiteX206" fmla="*/ 1670 w 10003"/>
              <a:gd name="connsiteY206" fmla="*/ 5785 h 10000"/>
              <a:gd name="connsiteX207" fmla="*/ 2190 w 10003"/>
              <a:gd name="connsiteY207" fmla="*/ 5248 h 10000"/>
              <a:gd name="connsiteX208" fmla="*/ 2295 w 10003"/>
              <a:gd name="connsiteY208" fmla="*/ 5165 h 10000"/>
              <a:gd name="connsiteX209" fmla="*/ 2763 w 10003"/>
              <a:gd name="connsiteY209" fmla="*/ 4752 h 10000"/>
              <a:gd name="connsiteX210" fmla="*/ 3024 w 10003"/>
              <a:gd name="connsiteY210" fmla="*/ 4504 h 10000"/>
              <a:gd name="connsiteX211" fmla="*/ 3180 w 10003"/>
              <a:gd name="connsiteY211" fmla="*/ 4380 h 10000"/>
              <a:gd name="connsiteX212" fmla="*/ 3597 w 10003"/>
              <a:gd name="connsiteY212" fmla="*/ 3760 h 10000"/>
              <a:gd name="connsiteX213" fmla="*/ 4117 w 10003"/>
              <a:gd name="connsiteY213" fmla="*/ 3512 h 10000"/>
              <a:gd name="connsiteX214" fmla="*/ 5003 w 10003"/>
              <a:gd name="connsiteY214" fmla="*/ 2810 h 10000"/>
              <a:gd name="connsiteX215" fmla="*/ 4846 w 10003"/>
              <a:gd name="connsiteY215" fmla="*/ 2562 h 10000"/>
              <a:gd name="connsiteX216" fmla="*/ 4795 w 10003"/>
              <a:gd name="connsiteY216" fmla="*/ 2397 h 10000"/>
              <a:gd name="connsiteX217" fmla="*/ 4795 w 10003"/>
              <a:gd name="connsiteY217" fmla="*/ 1240 h 10000"/>
              <a:gd name="connsiteX218" fmla="*/ 4117 w 10003"/>
              <a:gd name="connsiteY218" fmla="*/ 744 h 10000"/>
              <a:gd name="connsiteX219" fmla="*/ 4951 w 10003"/>
              <a:gd name="connsiteY219" fmla="*/ 744 h 10000"/>
              <a:gd name="connsiteX220" fmla="*/ 5784 w 10003"/>
              <a:gd name="connsiteY220" fmla="*/ 744 h 10000"/>
              <a:gd name="connsiteX221" fmla="*/ 5784 w 10003"/>
              <a:gd name="connsiteY221" fmla="*/ 702 h 10000"/>
              <a:gd name="connsiteX222" fmla="*/ 5784 w 10003"/>
              <a:gd name="connsiteY222" fmla="*/ 661 h 10000"/>
              <a:gd name="connsiteX223" fmla="*/ 5784 w 10003"/>
              <a:gd name="connsiteY223" fmla="*/ 620 h 10000"/>
              <a:gd name="connsiteX224" fmla="*/ 5784 w 10003"/>
              <a:gd name="connsiteY224" fmla="*/ 579 h 10000"/>
              <a:gd name="connsiteX225" fmla="*/ 5836 w 10003"/>
              <a:gd name="connsiteY225" fmla="*/ 537 h 10000"/>
              <a:gd name="connsiteX226" fmla="*/ 5836 w 10003"/>
              <a:gd name="connsiteY226" fmla="*/ 496 h 10000"/>
              <a:gd name="connsiteX227" fmla="*/ 5836 w 10003"/>
              <a:gd name="connsiteY227" fmla="*/ 455 h 10000"/>
              <a:gd name="connsiteX228" fmla="*/ 5836 w 10003"/>
              <a:gd name="connsiteY228" fmla="*/ 413 h 10000"/>
              <a:gd name="connsiteX229" fmla="*/ 5836 w 10003"/>
              <a:gd name="connsiteY229" fmla="*/ 372 h 10000"/>
              <a:gd name="connsiteX230" fmla="*/ 5836 w 10003"/>
              <a:gd name="connsiteY230" fmla="*/ 331 h 10000"/>
              <a:gd name="connsiteX231" fmla="*/ 5784 w 10003"/>
              <a:gd name="connsiteY231" fmla="*/ 331 h 10000"/>
              <a:gd name="connsiteX232" fmla="*/ 5784 w 10003"/>
              <a:gd name="connsiteY232" fmla="*/ 289 h 10000"/>
              <a:gd name="connsiteX233" fmla="*/ 5784 w 10003"/>
              <a:gd name="connsiteY233" fmla="*/ 248 h 10000"/>
              <a:gd name="connsiteX234" fmla="*/ 5784 w 10003"/>
              <a:gd name="connsiteY234" fmla="*/ 207 h 10000"/>
              <a:gd name="connsiteX235" fmla="*/ 5784 w 10003"/>
              <a:gd name="connsiteY235" fmla="*/ 165 h 10000"/>
              <a:gd name="connsiteX236" fmla="*/ 5784 w 10003"/>
              <a:gd name="connsiteY236" fmla="*/ 124 h 10000"/>
              <a:gd name="connsiteX237" fmla="*/ 5784 w 10003"/>
              <a:gd name="connsiteY237" fmla="*/ 83 h 10000"/>
              <a:gd name="connsiteX238" fmla="*/ 5784 w 10003"/>
              <a:gd name="connsiteY238" fmla="*/ 41 h 10000"/>
              <a:gd name="connsiteX239" fmla="*/ 5784 w 10003"/>
              <a:gd name="connsiteY23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4913 w 10003"/>
              <a:gd name="connsiteY180" fmla="*/ 6690 h 10000"/>
              <a:gd name="connsiteX181" fmla="*/ 4417 w 10003"/>
              <a:gd name="connsiteY181" fmla="*/ 6530 h 10000"/>
              <a:gd name="connsiteX182" fmla="*/ 3585 w 10003"/>
              <a:gd name="connsiteY182" fmla="*/ 6247 h 10000"/>
              <a:gd name="connsiteX183" fmla="*/ 3105 w 10003"/>
              <a:gd name="connsiteY183" fmla="*/ 6193 h 10000"/>
              <a:gd name="connsiteX184" fmla="*/ 3201 w 10003"/>
              <a:gd name="connsiteY184" fmla="*/ 5998 h 10000"/>
              <a:gd name="connsiteX185" fmla="*/ 3345 w 10003"/>
              <a:gd name="connsiteY185" fmla="*/ 5945 h 10000"/>
              <a:gd name="connsiteX186" fmla="*/ 3729 w 10003"/>
              <a:gd name="connsiteY186" fmla="*/ 5662 h 10000"/>
              <a:gd name="connsiteX187" fmla="*/ 3969 w 10003"/>
              <a:gd name="connsiteY187" fmla="*/ 5396 h 10000"/>
              <a:gd name="connsiteX188" fmla="*/ 4225 w 10003"/>
              <a:gd name="connsiteY188" fmla="*/ 5112 h 10000"/>
              <a:gd name="connsiteX189" fmla="*/ 4369 w 10003"/>
              <a:gd name="connsiteY189" fmla="*/ 4846 h 10000"/>
              <a:gd name="connsiteX190" fmla="*/ 4353 w 10003"/>
              <a:gd name="connsiteY190" fmla="*/ 4545 h 10000"/>
              <a:gd name="connsiteX191" fmla="*/ 4337 w 10003"/>
              <a:gd name="connsiteY191" fmla="*/ 4278 h 10000"/>
              <a:gd name="connsiteX192" fmla="*/ 4177 w 10003"/>
              <a:gd name="connsiteY192" fmla="*/ 4119 h 10000"/>
              <a:gd name="connsiteX193" fmla="*/ 4017 w 10003"/>
              <a:gd name="connsiteY193" fmla="*/ 4137 h 10000"/>
              <a:gd name="connsiteX194" fmla="*/ 3857 w 10003"/>
              <a:gd name="connsiteY194" fmla="*/ 4421 h 10000"/>
              <a:gd name="connsiteX195" fmla="*/ 3809 w 10003"/>
              <a:gd name="connsiteY195" fmla="*/ 4934 h 10000"/>
              <a:gd name="connsiteX196" fmla="*/ 3537 w 10003"/>
              <a:gd name="connsiteY196" fmla="*/ 5272 h 10000"/>
              <a:gd name="connsiteX197" fmla="*/ 2993 w 10003"/>
              <a:gd name="connsiteY197" fmla="*/ 5573 h 10000"/>
              <a:gd name="connsiteX198" fmla="*/ 2416 w 10003"/>
              <a:gd name="connsiteY198" fmla="*/ 5803 h 10000"/>
              <a:gd name="connsiteX199" fmla="*/ 1952 w 10003"/>
              <a:gd name="connsiteY199" fmla="*/ 6122 h 10000"/>
              <a:gd name="connsiteX200" fmla="*/ 0 w 10003"/>
              <a:gd name="connsiteY200" fmla="*/ 6051 h 10000"/>
              <a:gd name="connsiteX201" fmla="*/ 3 w 10003"/>
              <a:gd name="connsiteY201" fmla="*/ 5826 h 10000"/>
              <a:gd name="connsiteX202" fmla="*/ 159 w 10003"/>
              <a:gd name="connsiteY202" fmla="*/ 5909 h 10000"/>
              <a:gd name="connsiteX203" fmla="*/ 368 w 10003"/>
              <a:gd name="connsiteY203" fmla="*/ 5826 h 10000"/>
              <a:gd name="connsiteX204" fmla="*/ 1462 w 10003"/>
              <a:gd name="connsiteY204" fmla="*/ 5826 h 10000"/>
              <a:gd name="connsiteX205" fmla="*/ 1617 w 10003"/>
              <a:gd name="connsiteY205" fmla="*/ 5785 h 10000"/>
              <a:gd name="connsiteX206" fmla="*/ 1670 w 10003"/>
              <a:gd name="connsiteY206" fmla="*/ 5785 h 10000"/>
              <a:gd name="connsiteX207" fmla="*/ 2190 w 10003"/>
              <a:gd name="connsiteY207" fmla="*/ 5248 h 10000"/>
              <a:gd name="connsiteX208" fmla="*/ 2295 w 10003"/>
              <a:gd name="connsiteY208" fmla="*/ 5165 h 10000"/>
              <a:gd name="connsiteX209" fmla="*/ 2763 w 10003"/>
              <a:gd name="connsiteY209" fmla="*/ 4752 h 10000"/>
              <a:gd name="connsiteX210" fmla="*/ 3024 w 10003"/>
              <a:gd name="connsiteY210" fmla="*/ 4504 h 10000"/>
              <a:gd name="connsiteX211" fmla="*/ 3180 w 10003"/>
              <a:gd name="connsiteY211" fmla="*/ 4380 h 10000"/>
              <a:gd name="connsiteX212" fmla="*/ 3597 w 10003"/>
              <a:gd name="connsiteY212" fmla="*/ 3760 h 10000"/>
              <a:gd name="connsiteX213" fmla="*/ 4117 w 10003"/>
              <a:gd name="connsiteY213" fmla="*/ 3512 h 10000"/>
              <a:gd name="connsiteX214" fmla="*/ 5003 w 10003"/>
              <a:gd name="connsiteY214" fmla="*/ 2810 h 10000"/>
              <a:gd name="connsiteX215" fmla="*/ 4846 w 10003"/>
              <a:gd name="connsiteY215" fmla="*/ 2562 h 10000"/>
              <a:gd name="connsiteX216" fmla="*/ 4795 w 10003"/>
              <a:gd name="connsiteY216" fmla="*/ 2397 h 10000"/>
              <a:gd name="connsiteX217" fmla="*/ 4795 w 10003"/>
              <a:gd name="connsiteY217" fmla="*/ 1240 h 10000"/>
              <a:gd name="connsiteX218" fmla="*/ 4117 w 10003"/>
              <a:gd name="connsiteY218" fmla="*/ 744 h 10000"/>
              <a:gd name="connsiteX219" fmla="*/ 4951 w 10003"/>
              <a:gd name="connsiteY219" fmla="*/ 744 h 10000"/>
              <a:gd name="connsiteX220" fmla="*/ 5784 w 10003"/>
              <a:gd name="connsiteY220" fmla="*/ 744 h 10000"/>
              <a:gd name="connsiteX221" fmla="*/ 5784 w 10003"/>
              <a:gd name="connsiteY221" fmla="*/ 702 h 10000"/>
              <a:gd name="connsiteX222" fmla="*/ 5784 w 10003"/>
              <a:gd name="connsiteY222" fmla="*/ 661 h 10000"/>
              <a:gd name="connsiteX223" fmla="*/ 5784 w 10003"/>
              <a:gd name="connsiteY223" fmla="*/ 620 h 10000"/>
              <a:gd name="connsiteX224" fmla="*/ 5784 w 10003"/>
              <a:gd name="connsiteY224" fmla="*/ 579 h 10000"/>
              <a:gd name="connsiteX225" fmla="*/ 5836 w 10003"/>
              <a:gd name="connsiteY225" fmla="*/ 537 h 10000"/>
              <a:gd name="connsiteX226" fmla="*/ 5836 w 10003"/>
              <a:gd name="connsiteY226" fmla="*/ 496 h 10000"/>
              <a:gd name="connsiteX227" fmla="*/ 5836 w 10003"/>
              <a:gd name="connsiteY227" fmla="*/ 455 h 10000"/>
              <a:gd name="connsiteX228" fmla="*/ 5836 w 10003"/>
              <a:gd name="connsiteY228" fmla="*/ 413 h 10000"/>
              <a:gd name="connsiteX229" fmla="*/ 5836 w 10003"/>
              <a:gd name="connsiteY229" fmla="*/ 372 h 10000"/>
              <a:gd name="connsiteX230" fmla="*/ 5836 w 10003"/>
              <a:gd name="connsiteY230" fmla="*/ 331 h 10000"/>
              <a:gd name="connsiteX231" fmla="*/ 5784 w 10003"/>
              <a:gd name="connsiteY231" fmla="*/ 331 h 10000"/>
              <a:gd name="connsiteX232" fmla="*/ 5784 w 10003"/>
              <a:gd name="connsiteY232" fmla="*/ 289 h 10000"/>
              <a:gd name="connsiteX233" fmla="*/ 5784 w 10003"/>
              <a:gd name="connsiteY233" fmla="*/ 248 h 10000"/>
              <a:gd name="connsiteX234" fmla="*/ 5784 w 10003"/>
              <a:gd name="connsiteY234" fmla="*/ 207 h 10000"/>
              <a:gd name="connsiteX235" fmla="*/ 5784 w 10003"/>
              <a:gd name="connsiteY235" fmla="*/ 165 h 10000"/>
              <a:gd name="connsiteX236" fmla="*/ 5784 w 10003"/>
              <a:gd name="connsiteY236" fmla="*/ 124 h 10000"/>
              <a:gd name="connsiteX237" fmla="*/ 5784 w 10003"/>
              <a:gd name="connsiteY237" fmla="*/ 83 h 10000"/>
              <a:gd name="connsiteX238" fmla="*/ 5784 w 10003"/>
              <a:gd name="connsiteY238" fmla="*/ 41 h 10000"/>
              <a:gd name="connsiteX239" fmla="*/ 5784 w 10003"/>
              <a:gd name="connsiteY239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057 w 10003"/>
              <a:gd name="connsiteY180" fmla="*/ 7027 h 10000"/>
              <a:gd name="connsiteX181" fmla="*/ 4913 w 10003"/>
              <a:gd name="connsiteY181" fmla="*/ 6690 h 10000"/>
              <a:gd name="connsiteX182" fmla="*/ 4417 w 10003"/>
              <a:gd name="connsiteY182" fmla="*/ 6530 h 10000"/>
              <a:gd name="connsiteX183" fmla="*/ 3585 w 10003"/>
              <a:gd name="connsiteY183" fmla="*/ 6247 h 10000"/>
              <a:gd name="connsiteX184" fmla="*/ 3105 w 10003"/>
              <a:gd name="connsiteY184" fmla="*/ 6193 h 10000"/>
              <a:gd name="connsiteX185" fmla="*/ 3201 w 10003"/>
              <a:gd name="connsiteY185" fmla="*/ 5998 h 10000"/>
              <a:gd name="connsiteX186" fmla="*/ 3345 w 10003"/>
              <a:gd name="connsiteY186" fmla="*/ 5945 h 10000"/>
              <a:gd name="connsiteX187" fmla="*/ 3729 w 10003"/>
              <a:gd name="connsiteY187" fmla="*/ 5662 h 10000"/>
              <a:gd name="connsiteX188" fmla="*/ 3969 w 10003"/>
              <a:gd name="connsiteY188" fmla="*/ 5396 h 10000"/>
              <a:gd name="connsiteX189" fmla="*/ 4225 w 10003"/>
              <a:gd name="connsiteY189" fmla="*/ 5112 h 10000"/>
              <a:gd name="connsiteX190" fmla="*/ 4369 w 10003"/>
              <a:gd name="connsiteY190" fmla="*/ 4846 h 10000"/>
              <a:gd name="connsiteX191" fmla="*/ 4353 w 10003"/>
              <a:gd name="connsiteY191" fmla="*/ 4545 h 10000"/>
              <a:gd name="connsiteX192" fmla="*/ 4337 w 10003"/>
              <a:gd name="connsiteY192" fmla="*/ 4278 h 10000"/>
              <a:gd name="connsiteX193" fmla="*/ 4177 w 10003"/>
              <a:gd name="connsiteY193" fmla="*/ 4119 h 10000"/>
              <a:gd name="connsiteX194" fmla="*/ 4017 w 10003"/>
              <a:gd name="connsiteY194" fmla="*/ 4137 h 10000"/>
              <a:gd name="connsiteX195" fmla="*/ 3857 w 10003"/>
              <a:gd name="connsiteY195" fmla="*/ 4421 h 10000"/>
              <a:gd name="connsiteX196" fmla="*/ 3809 w 10003"/>
              <a:gd name="connsiteY196" fmla="*/ 4934 h 10000"/>
              <a:gd name="connsiteX197" fmla="*/ 3537 w 10003"/>
              <a:gd name="connsiteY197" fmla="*/ 5272 h 10000"/>
              <a:gd name="connsiteX198" fmla="*/ 2993 w 10003"/>
              <a:gd name="connsiteY198" fmla="*/ 5573 h 10000"/>
              <a:gd name="connsiteX199" fmla="*/ 2416 w 10003"/>
              <a:gd name="connsiteY199" fmla="*/ 5803 h 10000"/>
              <a:gd name="connsiteX200" fmla="*/ 1952 w 10003"/>
              <a:gd name="connsiteY200" fmla="*/ 6122 h 10000"/>
              <a:gd name="connsiteX201" fmla="*/ 0 w 10003"/>
              <a:gd name="connsiteY201" fmla="*/ 6051 h 10000"/>
              <a:gd name="connsiteX202" fmla="*/ 3 w 10003"/>
              <a:gd name="connsiteY202" fmla="*/ 5826 h 10000"/>
              <a:gd name="connsiteX203" fmla="*/ 159 w 10003"/>
              <a:gd name="connsiteY203" fmla="*/ 5909 h 10000"/>
              <a:gd name="connsiteX204" fmla="*/ 368 w 10003"/>
              <a:gd name="connsiteY204" fmla="*/ 5826 h 10000"/>
              <a:gd name="connsiteX205" fmla="*/ 1462 w 10003"/>
              <a:gd name="connsiteY205" fmla="*/ 5826 h 10000"/>
              <a:gd name="connsiteX206" fmla="*/ 1617 w 10003"/>
              <a:gd name="connsiteY206" fmla="*/ 5785 h 10000"/>
              <a:gd name="connsiteX207" fmla="*/ 1670 w 10003"/>
              <a:gd name="connsiteY207" fmla="*/ 5785 h 10000"/>
              <a:gd name="connsiteX208" fmla="*/ 2190 w 10003"/>
              <a:gd name="connsiteY208" fmla="*/ 5248 h 10000"/>
              <a:gd name="connsiteX209" fmla="*/ 2295 w 10003"/>
              <a:gd name="connsiteY209" fmla="*/ 5165 h 10000"/>
              <a:gd name="connsiteX210" fmla="*/ 2763 w 10003"/>
              <a:gd name="connsiteY210" fmla="*/ 4752 h 10000"/>
              <a:gd name="connsiteX211" fmla="*/ 3024 w 10003"/>
              <a:gd name="connsiteY211" fmla="*/ 4504 h 10000"/>
              <a:gd name="connsiteX212" fmla="*/ 3180 w 10003"/>
              <a:gd name="connsiteY212" fmla="*/ 4380 h 10000"/>
              <a:gd name="connsiteX213" fmla="*/ 3597 w 10003"/>
              <a:gd name="connsiteY213" fmla="*/ 3760 h 10000"/>
              <a:gd name="connsiteX214" fmla="*/ 4117 w 10003"/>
              <a:gd name="connsiteY214" fmla="*/ 3512 h 10000"/>
              <a:gd name="connsiteX215" fmla="*/ 5003 w 10003"/>
              <a:gd name="connsiteY215" fmla="*/ 2810 h 10000"/>
              <a:gd name="connsiteX216" fmla="*/ 4846 w 10003"/>
              <a:gd name="connsiteY216" fmla="*/ 2562 h 10000"/>
              <a:gd name="connsiteX217" fmla="*/ 4795 w 10003"/>
              <a:gd name="connsiteY217" fmla="*/ 2397 h 10000"/>
              <a:gd name="connsiteX218" fmla="*/ 4795 w 10003"/>
              <a:gd name="connsiteY218" fmla="*/ 1240 h 10000"/>
              <a:gd name="connsiteX219" fmla="*/ 4117 w 10003"/>
              <a:gd name="connsiteY219" fmla="*/ 744 h 10000"/>
              <a:gd name="connsiteX220" fmla="*/ 4951 w 10003"/>
              <a:gd name="connsiteY220" fmla="*/ 744 h 10000"/>
              <a:gd name="connsiteX221" fmla="*/ 5784 w 10003"/>
              <a:gd name="connsiteY221" fmla="*/ 744 h 10000"/>
              <a:gd name="connsiteX222" fmla="*/ 5784 w 10003"/>
              <a:gd name="connsiteY222" fmla="*/ 702 h 10000"/>
              <a:gd name="connsiteX223" fmla="*/ 5784 w 10003"/>
              <a:gd name="connsiteY223" fmla="*/ 661 h 10000"/>
              <a:gd name="connsiteX224" fmla="*/ 5784 w 10003"/>
              <a:gd name="connsiteY224" fmla="*/ 620 h 10000"/>
              <a:gd name="connsiteX225" fmla="*/ 5784 w 10003"/>
              <a:gd name="connsiteY225" fmla="*/ 579 h 10000"/>
              <a:gd name="connsiteX226" fmla="*/ 5836 w 10003"/>
              <a:gd name="connsiteY226" fmla="*/ 537 h 10000"/>
              <a:gd name="connsiteX227" fmla="*/ 5836 w 10003"/>
              <a:gd name="connsiteY227" fmla="*/ 496 h 10000"/>
              <a:gd name="connsiteX228" fmla="*/ 5836 w 10003"/>
              <a:gd name="connsiteY228" fmla="*/ 455 h 10000"/>
              <a:gd name="connsiteX229" fmla="*/ 5836 w 10003"/>
              <a:gd name="connsiteY229" fmla="*/ 413 h 10000"/>
              <a:gd name="connsiteX230" fmla="*/ 5836 w 10003"/>
              <a:gd name="connsiteY230" fmla="*/ 372 h 10000"/>
              <a:gd name="connsiteX231" fmla="*/ 5836 w 10003"/>
              <a:gd name="connsiteY231" fmla="*/ 331 h 10000"/>
              <a:gd name="connsiteX232" fmla="*/ 5784 w 10003"/>
              <a:gd name="connsiteY232" fmla="*/ 331 h 10000"/>
              <a:gd name="connsiteX233" fmla="*/ 5784 w 10003"/>
              <a:gd name="connsiteY233" fmla="*/ 289 h 10000"/>
              <a:gd name="connsiteX234" fmla="*/ 5784 w 10003"/>
              <a:gd name="connsiteY234" fmla="*/ 248 h 10000"/>
              <a:gd name="connsiteX235" fmla="*/ 5784 w 10003"/>
              <a:gd name="connsiteY235" fmla="*/ 207 h 10000"/>
              <a:gd name="connsiteX236" fmla="*/ 5784 w 10003"/>
              <a:gd name="connsiteY236" fmla="*/ 165 h 10000"/>
              <a:gd name="connsiteX237" fmla="*/ 5784 w 10003"/>
              <a:gd name="connsiteY237" fmla="*/ 124 h 10000"/>
              <a:gd name="connsiteX238" fmla="*/ 5784 w 10003"/>
              <a:gd name="connsiteY238" fmla="*/ 83 h 10000"/>
              <a:gd name="connsiteX239" fmla="*/ 5784 w 10003"/>
              <a:gd name="connsiteY239" fmla="*/ 41 h 10000"/>
              <a:gd name="connsiteX240" fmla="*/ 5784 w 10003"/>
              <a:gd name="connsiteY24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313 w 10003"/>
              <a:gd name="connsiteY180" fmla="*/ 6708 h 10000"/>
              <a:gd name="connsiteX181" fmla="*/ 4913 w 10003"/>
              <a:gd name="connsiteY181" fmla="*/ 6690 h 10000"/>
              <a:gd name="connsiteX182" fmla="*/ 4417 w 10003"/>
              <a:gd name="connsiteY182" fmla="*/ 6530 h 10000"/>
              <a:gd name="connsiteX183" fmla="*/ 3585 w 10003"/>
              <a:gd name="connsiteY183" fmla="*/ 6247 h 10000"/>
              <a:gd name="connsiteX184" fmla="*/ 3105 w 10003"/>
              <a:gd name="connsiteY184" fmla="*/ 6193 h 10000"/>
              <a:gd name="connsiteX185" fmla="*/ 3201 w 10003"/>
              <a:gd name="connsiteY185" fmla="*/ 5998 h 10000"/>
              <a:gd name="connsiteX186" fmla="*/ 3345 w 10003"/>
              <a:gd name="connsiteY186" fmla="*/ 5945 h 10000"/>
              <a:gd name="connsiteX187" fmla="*/ 3729 w 10003"/>
              <a:gd name="connsiteY187" fmla="*/ 5662 h 10000"/>
              <a:gd name="connsiteX188" fmla="*/ 3969 w 10003"/>
              <a:gd name="connsiteY188" fmla="*/ 5396 h 10000"/>
              <a:gd name="connsiteX189" fmla="*/ 4225 w 10003"/>
              <a:gd name="connsiteY189" fmla="*/ 5112 h 10000"/>
              <a:gd name="connsiteX190" fmla="*/ 4369 w 10003"/>
              <a:gd name="connsiteY190" fmla="*/ 4846 h 10000"/>
              <a:gd name="connsiteX191" fmla="*/ 4353 w 10003"/>
              <a:gd name="connsiteY191" fmla="*/ 4545 h 10000"/>
              <a:gd name="connsiteX192" fmla="*/ 4337 w 10003"/>
              <a:gd name="connsiteY192" fmla="*/ 4278 h 10000"/>
              <a:gd name="connsiteX193" fmla="*/ 4177 w 10003"/>
              <a:gd name="connsiteY193" fmla="*/ 4119 h 10000"/>
              <a:gd name="connsiteX194" fmla="*/ 4017 w 10003"/>
              <a:gd name="connsiteY194" fmla="*/ 4137 h 10000"/>
              <a:gd name="connsiteX195" fmla="*/ 3857 w 10003"/>
              <a:gd name="connsiteY195" fmla="*/ 4421 h 10000"/>
              <a:gd name="connsiteX196" fmla="*/ 3809 w 10003"/>
              <a:gd name="connsiteY196" fmla="*/ 4934 h 10000"/>
              <a:gd name="connsiteX197" fmla="*/ 3537 w 10003"/>
              <a:gd name="connsiteY197" fmla="*/ 5272 h 10000"/>
              <a:gd name="connsiteX198" fmla="*/ 2993 w 10003"/>
              <a:gd name="connsiteY198" fmla="*/ 5573 h 10000"/>
              <a:gd name="connsiteX199" fmla="*/ 2416 w 10003"/>
              <a:gd name="connsiteY199" fmla="*/ 5803 h 10000"/>
              <a:gd name="connsiteX200" fmla="*/ 1952 w 10003"/>
              <a:gd name="connsiteY200" fmla="*/ 6122 h 10000"/>
              <a:gd name="connsiteX201" fmla="*/ 0 w 10003"/>
              <a:gd name="connsiteY201" fmla="*/ 6051 h 10000"/>
              <a:gd name="connsiteX202" fmla="*/ 3 w 10003"/>
              <a:gd name="connsiteY202" fmla="*/ 5826 h 10000"/>
              <a:gd name="connsiteX203" fmla="*/ 159 w 10003"/>
              <a:gd name="connsiteY203" fmla="*/ 5909 h 10000"/>
              <a:gd name="connsiteX204" fmla="*/ 368 w 10003"/>
              <a:gd name="connsiteY204" fmla="*/ 5826 h 10000"/>
              <a:gd name="connsiteX205" fmla="*/ 1462 w 10003"/>
              <a:gd name="connsiteY205" fmla="*/ 5826 h 10000"/>
              <a:gd name="connsiteX206" fmla="*/ 1617 w 10003"/>
              <a:gd name="connsiteY206" fmla="*/ 5785 h 10000"/>
              <a:gd name="connsiteX207" fmla="*/ 1670 w 10003"/>
              <a:gd name="connsiteY207" fmla="*/ 5785 h 10000"/>
              <a:gd name="connsiteX208" fmla="*/ 2190 w 10003"/>
              <a:gd name="connsiteY208" fmla="*/ 5248 h 10000"/>
              <a:gd name="connsiteX209" fmla="*/ 2295 w 10003"/>
              <a:gd name="connsiteY209" fmla="*/ 5165 h 10000"/>
              <a:gd name="connsiteX210" fmla="*/ 2763 w 10003"/>
              <a:gd name="connsiteY210" fmla="*/ 4752 h 10000"/>
              <a:gd name="connsiteX211" fmla="*/ 3024 w 10003"/>
              <a:gd name="connsiteY211" fmla="*/ 4504 h 10000"/>
              <a:gd name="connsiteX212" fmla="*/ 3180 w 10003"/>
              <a:gd name="connsiteY212" fmla="*/ 4380 h 10000"/>
              <a:gd name="connsiteX213" fmla="*/ 3597 w 10003"/>
              <a:gd name="connsiteY213" fmla="*/ 3760 h 10000"/>
              <a:gd name="connsiteX214" fmla="*/ 4117 w 10003"/>
              <a:gd name="connsiteY214" fmla="*/ 3512 h 10000"/>
              <a:gd name="connsiteX215" fmla="*/ 5003 w 10003"/>
              <a:gd name="connsiteY215" fmla="*/ 2810 h 10000"/>
              <a:gd name="connsiteX216" fmla="*/ 4846 w 10003"/>
              <a:gd name="connsiteY216" fmla="*/ 2562 h 10000"/>
              <a:gd name="connsiteX217" fmla="*/ 4795 w 10003"/>
              <a:gd name="connsiteY217" fmla="*/ 2397 h 10000"/>
              <a:gd name="connsiteX218" fmla="*/ 4795 w 10003"/>
              <a:gd name="connsiteY218" fmla="*/ 1240 h 10000"/>
              <a:gd name="connsiteX219" fmla="*/ 4117 w 10003"/>
              <a:gd name="connsiteY219" fmla="*/ 744 h 10000"/>
              <a:gd name="connsiteX220" fmla="*/ 4951 w 10003"/>
              <a:gd name="connsiteY220" fmla="*/ 744 h 10000"/>
              <a:gd name="connsiteX221" fmla="*/ 5784 w 10003"/>
              <a:gd name="connsiteY221" fmla="*/ 744 h 10000"/>
              <a:gd name="connsiteX222" fmla="*/ 5784 w 10003"/>
              <a:gd name="connsiteY222" fmla="*/ 702 h 10000"/>
              <a:gd name="connsiteX223" fmla="*/ 5784 w 10003"/>
              <a:gd name="connsiteY223" fmla="*/ 661 h 10000"/>
              <a:gd name="connsiteX224" fmla="*/ 5784 w 10003"/>
              <a:gd name="connsiteY224" fmla="*/ 620 h 10000"/>
              <a:gd name="connsiteX225" fmla="*/ 5784 w 10003"/>
              <a:gd name="connsiteY225" fmla="*/ 579 h 10000"/>
              <a:gd name="connsiteX226" fmla="*/ 5836 w 10003"/>
              <a:gd name="connsiteY226" fmla="*/ 537 h 10000"/>
              <a:gd name="connsiteX227" fmla="*/ 5836 w 10003"/>
              <a:gd name="connsiteY227" fmla="*/ 496 h 10000"/>
              <a:gd name="connsiteX228" fmla="*/ 5836 w 10003"/>
              <a:gd name="connsiteY228" fmla="*/ 455 h 10000"/>
              <a:gd name="connsiteX229" fmla="*/ 5836 w 10003"/>
              <a:gd name="connsiteY229" fmla="*/ 413 h 10000"/>
              <a:gd name="connsiteX230" fmla="*/ 5836 w 10003"/>
              <a:gd name="connsiteY230" fmla="*/ 372 h 10000"/>
              <a:gd name="connsiteX231" fmla="*/ 5836 w 10003"/>
              <a:gd name="connsiteY231" fmla="*/ 331 h 10000"/>
              <a:gd name="connsiteX232" fmla="*/ 5784 w 10003"/>
              <a:gd name="connsiteY232" fmla="*/ 331 h 10000"/>
              <a:gd name="connsiteX233" fmla="*/ 5784 w 10003"/>
              <a:gd name="connsiteY233" fmla="*/ 289 h 10000"/>
              <a:gd name="connsiteX234" fmla="*/ 5784 w 10003"/>
              <a:gd name="connsiteY234" fmla="*/ 248 h 10000"/>
              <a:gd name="connsiteX235" fmla="*/ 5784 w 10003"/>
              <a:gd name="connsiteY235" fmla="*/ 207 h 10000"/>
              <a:gd name="connsiteX236" fmla="*/ 5784 w 10003"/>
              <a:gd name="connsiteY236" fmla="*/ 165 h 10000"/>
              <a:gd name="connsiteX237" fmla="*/ 5784 w 10003"/>
              <a:gd name="connsiteY237" fmla="*/ 124 h 10000"/>
              <a:gd name="connsiteX238" fmla="*/ 5784 w 10003"/>
              <a:gd name="connsiteY238" fmla="*/ 83 h 10000"/>
              <a:gd name="connsiteX239" fmla="*/ 5784 w 10003"/>
              <a:gd name="connsiteY239" fmla="*/ 41 h 10000"/>
              <a:gd name="connsiteX240" fmla="*/ 5784 w 10003"/>
              <a:gd name="connsiteY240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313 w 10003"/>
              <a:gd name="connsiteY180" fmla="*/ 6708 h 10000"/>
              <a:gd name="connsiteX181" fmla="*/ 5073 w 10003"/>
              <a:gd name="connsiteY181" fmla="*/ 6708 h 10000"/>
              <a:gd name="connsiteX182" fmla="*/ 4913 w 10003"/>
              <a:gd name="connsiteY182" fmla="*/ 6690 h 10000"/>
              <a:gd name="connsiteX183" fmla="*/ 4417 w 10003"/>
              <a:gd name="connsiteY183" fmla="*/ 6530 h 10000"/>
              <a:gd name="connsiteX184" fmla="*/ 3585 w 10003"/>
              <a:gd name="connsiteY184" fmla="*/ 6247 h 10000"/>
              <a:gd name="connsiteX185" fmla="*/ 3105 w 10003"/>
              <a:gd name="connsiteY185" fmla="*/ 6193 h 10000"/>
              <a:gd name="connsiteX186" fmla="*/ 3201 w 10003"/>
              <a:gd name="connsiteY186" fmla="*/ 5998 h 10000"/>
              <a:gd name="connsiteX187" fmla="*/ 3345 w 10003"/>
              <a:gd name="connsiteY187" fmla="*/ 5945 h 10000"/>
              <a:gd name="connsiteX188" fmla="*/ 3729 w 10003"/>
              <a:gd name="connsiteY188" fmla="*/ 5662 h 10000"/>
              <a:gd name="connsiteX189" fmla="*/ 3969 w 10003"/>
              <a:gd name="connsiteY189" fmla="*/ 5396 h 10000"/>
              <a:gd name="connsiteX190" fmla="*/ 4225 w 10003"/>
              <a:gd name="connsiteY190" fmla="*/ 5112 h 10000"/>
              <a:gd name="connsiteX191" fmla="*/ 4369 w 10003"/>
              <a:gd name="connsiteY191" fmla="*/ 4846 h 10000"/>
              <a:gd name="connsiteX192" fmla="*/ 4353 w 10003"/>
              <a:gd name="connsiteY192" fmla="*/ 4545 h 10000"/>
              <a:gd name="connsiteX193" fmla="*/ 4337 w 10003"/>
              <a:gd name="connsiteY193" fmla="*/ 4278 h 10000"/>
              <a:gd name="connsiteX194" fmla="*/ 4177 w 10003"/>
              <a:gd name="connsiteY194" fmla="*/ 4119 h 10000"/>
              <a:gd name="connsiteX195" fmla="*/ 4017 w 10003"/>
              <a:gd name="connsiteY195" fmla="*/ 4137 h 10000"/>
              <a:gd name="connsiteX196" fmla="*/ 3857 w 10003"/>
              <a:gd name="connsiteY196" fmla="*/ 4421 h 10000"/>
              <a:gd name="connsiteX197" fmla="*/ 3809 w 10003"/>
              <a:gd name="connsiteY197" fmla="*/ 4934 h 10000"/>
              <a:gd name="connsiteX198" fmla="*/ 3537 w 10003"/>
              <a:gd name="connsiteY198" fmla="*/ 5272 h 10000"/>
              <a:gd name="connsiteX199" fmla="*/ 2993 w 10003"/>
              <a:gd name="connsiteY199" fmla="*/ 5573 h 10000"/>
              <a:gd name="connsiteX200" fmla="*/ 2416 w 10003"/>
              <a:gd name="connsiteY200" fmla="*/ 5803 h 10000"/>
              <a:gd name="connsiteX201" fmla="*/ 1952 w 10003"/>
              <a:gd name="connsiteY201" fmla="*/ 6122 h 10000"/>
              <a:gd name="connsiteX202" fmla="*/ 0 w 10003"/>
              <a:gd name="connsiteY202" fmla="*/ 6051 h 10000"/>
              <a:gd name="connsiteX203" fmla="*/ 3 w 10003"/>
              <a:gd name="connsiteY203" fmla="*/ 5826 h 10000"/>
              <a:gd name="connsiteX204" fmla="*/ 159 w 10003"/>
              <a:gd name="connsiteY204" fmla="*/ 5909 h 10000"/>
              <a:gd name="connsiteX205" fmla="*/ 368 w 10003"/>
              <a:gd name="connsiteY205" fmla="*/ 5826 h 10000"/>
              <a:gd name="connsiteX206" fmla="*/ 1462 w 10003"/>
              <a:gd name="connsiteY206" fmla="*/ 5826 h 10000"/>
              <a:gd name="connsiteX207" fmla="*/ 1617 w 10003"/>
              <a:gd name="connsiteY207" fmla="*/ 5785 h 10000"/>
              <a:gd name="connsiteX208" fmla="*/ 1670 w 10003"/>
              <a:gd name="connsiteY208" fmla="*/ 5785 h 10000"/>
              <a:gd name="connsiteX209" fmla="*/ 2190 w 10003"/>
              <a:gd name="connsiteY209" fmla="*/ 5248 h 10000"/>
              <a:gd name="connsiteX210" fmla="*/ 2295 w 10003"/>
              <a:gd name="connsiteY210" fmla="*/ 5165 h 10000"/>
              <a:gd name="connsiteX211" fmla="*/ 2763 w 10003"/>
              <a:gd name="connsiteY211" fmla="*/ 4752 h 10000"/>
              <a:gd name="connsiteX212" fmla="*/ 3024 w 10003"/>
              <a:gd name="connsiteY212" fmla="*/ 4504 h 10000"/>
              <a:gd name="connsiteX213" fmla="*/ 3180 w 10003"/>
              <a:gd name="connsiteY213" fmla="*/ 4380 h 10000"/>
              <a:gd name="connsiteX214" fmla="*/ 3597 w 10003"/>
              <a:gd name="connsiteY214" fmla="*/ 3760 h 10000"/>
              <a:gd name="connsiteX215" fmla="*/ 4117 w 10003"/>
              <a:gd name="connsiteY215" fmla="*/ 3512 h 10000"/>
              <a:gd name="connsiteX216" fmla="*/ 5003 w 10003"/>
              <a:gd name="connsiteY216" fmla="*/ 2810 h 10000"/>
              <a:gd name="connsiteX217" fmla="*/ 4846 w 10003"/>
              <a:gd name="connsiteY217" fmla="*/ 2562 h 10000"/>
              <a:gd name="connsiteX218" fmla="*/ 4795 w 10003"/>
              <a:gd name="connsiteY218" fmla="*/ 2397 h 10000"/>
              <a:gd name="connsiteX219" fmla="*/ 4795 w 10003"/>
              <a:gd name="connsiteY219" fmla="*/ 1240 h 10000"/>
              <a:gd name="connsiteX220" fmla="*/ 4117 w 10003"/>
              <a:gd name="connsiteY220" fmla="*/ 744 h 10000"/>
              <a:gd name="connsiteX221" fmla="*/ 4951 w 10003"/>
              <a:gd name="connsiteY221" fmla="*/ 744 h 10000"/>
              <a:gd name="connsiteX222" fmla="*/ 5784 w 10003"/>
              <a:gd name="connsiteY222" fmla="*/ 744 h 10000"/>
              <a:gd name="connsiteX223" fmla="*/ 5784 w 10003"/>
              <a:gd name="connsiteY223" fmla="*/ 702 h 10000"/>
              <a:gd name="connsiteX224" fmla="*/ 5784 w 10003"/>
              <a:gd name="connsiteY224" fmla="*/ 661 h 10000"/>
              <a:gd name="connsiteX225" fmla="*/ 5784 w 10003"/>
              <a:gd name="connsiteY225" fmla="*/ 620 h 10000"/>
              <a:gd name="connsiteX226" fmla="*/ 5784 w 10003"/>
              <a:gd name="connsiteY226" fmla="*/ 579 h 10000"/>
              <a:gd name="connsiteX227" fmla="*/ 5836 w 10003"/>
              <a:gd name="connsiteY227" fmla="*/ 537 h 10000"/>
              <a:gd name="connsiteX228" fmla="*/ 5836 w 10003"/>
              <a:gd name="connsiteY228" fmla="*/ 496 h 10000"/>
              <a:gd name="connsiteX229" fmla="*/ 5836 w 10003"/>
              <a:gd name="connsiteY229" fmla="*/ 455 h 10000"/>
              <a:gd name="connsiteX230" fmla="*/ 5836 w 10003"/>
              <a:gd name="connsiteY230" fmla="*/ 413 h 10000"/>
              <a:gd name="connsiteX231" fmla="*/ 5836 w 10003"/>
              <a:gd name="connsiteY231" fmla="*/ 372 h 10000"/>
              <a:gd name="connsiteX232" fmla="*/ 5836 w 10003"/>
              <a:gd name="connsiteY232" fmla="*/ 331 h 10000"/>
              <a:gd name="connsiteX233" fmla="*/ 5784 w 10003"/>
              <a:gd name="connsiteY233" fmla="*/ 331 h 10000"/>
              <a:gd name="connsiteX234" fmla="*/ 5784 w 10003"/>
              <a:gd name="connsiteY234" fmla="*/ 289 h 10000"/>
              <a:gd name="connsiteX235" fmla="*/ 5784 w 10003"/>
              <a:gd name="connsiteY235" fmla="*/ 248 h 10000"/>
              <a:gd name="connsiteX236" fmla="*/ 5784 w 10003"/>
              <a:gd name="connsiteY236" fmla="*/ 207 h 10000"/>
              <a:gd name="connsiteX237" fmla="*/ 5784 w 10003"/>
              <a:gd name="connsiteY237" fmla="*/ 165 h 10000"/>
              <a:gd name="connsiteX238" fmla="*/ 5784 w 10003"/>
              <a:gd name="connsiteY238" fmla="*/ 124 h 10000"/>
              <a:gd name="connsiteX239" fmla="*/ 5784 w 10003"/>
              <a:gd name="connsiteY239" fmla="*/ 83 h 10000"/>
              <a:gd name="connsiteX240" fmla="*/ 5784 w 10003"/>
              <a:gd name="connsiteY240" fmla="*/ 41 h 10000"/>
              <a:gd name="connsiteX241" fmla="*/ 5784 w 10003"/>
              <a:gd name="connsiteY241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313 w 10003"/>
              <a:gd name="connsiteY180" fmla="*/ 6708 h 10000"/>
              <a:gd name="connsiteX181" fmla="*/ 5073 w 10003"/>
              <a:gd name="connsiteY181" fmla="*/ 6602 h 10000"/>
              <a:gd name="connsiteX182" fmla="*/ 4913 w 10003"/>
              <a:gd name="connsiteY182" fmla="*/ 6690 h 10000"/>
              <a:gd name="connsiteX183" fmla="*/ 4417 w 10003"/>
              <a:gd name="connsiteY183" fmla="*/ 6530 h 10000"/>
              <a:gd name="connsiteX184" fmla="*/ 3585 w 10003"/>
              <a:gd name="connsiteY184" fmla="*/ 6247 h 10000"/>
              <a:gd name="connsiteX185" fmla="*/ 3105 w 10003"/>
              <a:gd name="connsiteY185" fmla="*/ 6193 h 10000"/>
              <a:gd name="connsiteX186" fmla="*/ 3201 w 10003"/>
              <a:gd name="connsiteY186" fmla="*/ 5998 h 10000"/>
              <a:gd name="connsiteX187" fmla="*/ 3345 w 10003"/>
              <a:gd name="connsiteY187" fmla="*/ 5945 h 10000"/>
              <a:gd name="connsiteX188" fmla="*/ 3729 w 10003"/>
              <a:gd name="connsiteY188" fmla="*/ 5662 h 10000"/>
              <a:gd name="connsiteX189" fmla="*/ 3969 w 10003"/>
              <a:gd name="connsiteY189" fmla="*/ 5396 h 10000"/>
              <a:gd name="connsiteX190" fmla="*/ 4225 w 10003"/>
              <a:gd name="connsiteY190" fmla="*/ 5112 h 10000"/>
              <a:gd name="connsiteX191" fmla="*/ 4369 w 10003"/>
              <a:gd name="connsiteY191" fmla="*/ 4846 h 10000"/>
              <a:gd name="connsiteX192" fmla="*/ 4353 w 10003"/>
              <a:gd name="connsiteY192" fmla="*/ 4545 h 10000"/>
              <a:gd name="connsiteX193" fmla="*/ 4337 w 10003"/>
              <a:gd name="connsiteY193" fmla="*/ 4278 h 10000"/>
              <a:gd name="connsiteX194" fmla="*/ 4177 w 10003"/>
              <a:gd name="connsiteY194" fmla="*/ 4119 h 10000"/>
              <a:gd name="connsiteX195" fmla="*/ 4017 w 10003"/>
              <a:gd name="connsiteY195" fmla="*/ 4137 h 10000"/>
              <a:gd name="connsiteX196" fmla="*/ 3857 w 10003"/>
              <a:gd name="connsiteY196" fmla="*/ 4421 h 10000"/>
              <a:gd name="connsiteX197" fmla="*/ 3809 w 10003"/>
              <a:gd name="connsiteY197" fmla="*/ 4934 h 10000"/>
              <a:gd name="connsiteX198" fmla="*/ 3537 w 10003"/>
              <a:gd name="connsiteY198" fmla="*/ 5272 h 10000"/>
              <a:gd name="connsiteX199" fmla="*/ 2993 w 10003"/>
              <a:gd name="connsiteY199" fmla="*/ 5573 h 10000"/>
              <a:gd name="connsiteX200" fmla="*/ 2416 w 10003"/>
              <a:gd name="connsiteY200" fmla="*/ 5803 h 10000"/>
              <a:gd name="connsiteX201" fmla="*/ 1952 w 10003"/>
              <a:gd name="connsiteY201" fmla="*/ 6122 h 10000"/>
              <a:gd name="connsiteX202" fmla="*/ 0 w 10003"/>
              <a:gd name="connsiteY202" fmla="*/ 6051 h 10000"/>
              <a:gd name="connsiteX203" fmla="*/ 3 w 10003"/>
              <a:gd name="connsiteY203" fmla="*/ 5826 h 10000"/>
              <a:gd name="connsiteX204" fmla="*/ 159 w 10003"/>
              <a:gd name="connsiteY204" fmla="*/ 5909 h 10000"/>
              <a:gd name="connsiteX205" fmla="*/ 368 w 10003"/>
              <a:gd name="connsiteY205" fmla="*/ 5826 h 10000"/>
              <a:gd name="connsiteX206" fmla="*/ 1462 w 10003"/>
              <a:gd name="connsiteY206" fmla="*/ 5826 h 10000"/>
              <a:gd name="connsiteX207" fmla="*/ 1617 w 10003"/>
              <a:gd name="connsiteY207" fmla="*/ 5785 h 10000"/>
              <a:gd name="connsiteX208" fmla="*/ 1670 w 10003"/>
              <a:gd name="connsiteY208" fmla="*/ 5785 h 10000"/>
              <a:gd name="connsiteX209" fmla="*/ 2190 w 10003"/>
              <a:gd name="connsiteY209" fmla="*/ 5248 h 10000"/>
              <a:gd name="connsiteX210" fmla="*/ 2295 w 10003"/>
              <a:gd name="connsiteY210" fmla="*/ 5165 h 10000"/>
              <a:gd name="connsiteX211" fmla="*/ 2763 w 10003"/>
              <a:gd name="connsiteY211" fmla="*/ 4752 h 10000"/>
              <a:gd name="connsiteX212" fmla="*/ 3024 w 10003"/>
              <a:gd name="connsiteY212" fmla="*/ 4504 h 10000"/>
              <a:gd name="connsiteX213" fmla="*/ 3180 w 10003"/>
              <a:gd name="connsiteY213" fmla="*/ 4380 h 10000"/>
              <a:gd name="connsiteX214" fmla="*/ 3597 w 10003"/>
              <a:gd name="connsiteY214" fmla="*/ 3760 h 10000"/>
              <a:gd name="connsiteX215" fmla="*/ 4117 w 10003"/>
              <a:gd name="connsiteY215" fmla="*/ 3512 h 10000"/>
              <a:gd name="connsiteX216" fmla="*/ 5003 w 10003"/>
              <a:gd name="connsiteY216" fmla="*/ 2810 h 10000"/>
              <a:gd name="connsiteX217" fmla="*/ 4846 w 10003"/>
              <a:gd name="connsiteY217" fmla="*/ 2562 h 10000"/>
              <a:gd name="connsiteX218" fmla="*/ 4795 w 10003"/>
              <a:gd name="connsiteY218" fmla="*/ 2397 h 10000"/>
              <a:gd name="connsiteX219" fmla="*/ 4795 w 10003"/>
              <a:gd name="connsiteY219" fmla="*/ 1240 h 10000"/>
              <a:gd name="connsiteX220" fmla="*/ 4117 w 10003"/>
              <a:gd name="connsiteY220" fmla="*/ 744 h 10000"/>
              <a:gd name="connsiteX221" fmla="*/ 4951 w 10003"/>
              <a:gd name="connsiteY221" fmla="*/ 744 h 10000"/>
              <a:gd name="connsiteX222" fmla="*/ 5784 w 10003"/>
              <a:gd name="connsiteY222" fmla="*/ 744 h 10000"/>
              <a:gd name="connsiteX223" fmla="*/ 5784 w 10003"/>
              <a:gd name="connsiteY223" fmla="*/ 702 h 10000"/>
              <a:gd name="connsiteX224" fmla="*/ 5784 w 10003"/>
              <a:gd name="connsiteY224" fmla="*/ 661 h 10000"/>
              <a:gd name="connsiteX225" fmla="*/ 5784 w 10003"/>
              <a:gd name="connsiteY225" fmla="*/ 620 h 10000"/>
              <a:gd name="connsiteX226" fmla="*/ 5784 w 10003"/>
              <a:gd name="connsiteY226" fmla="*/ 579 h 10000"/>
              <a:gd name="connsiteX227" fmla="*/ 5836 w 10003"/>
              <a:gd name="connsiteY227" fmla="*/ 537 h 10000"/>
              <a:gd name="connsiteX228" fmla="*/ 5836 w 10003"/>
              <a:gd name="connsiteY228" fmla="*/ 496 h 10000"/>
              <a:gd name="connsiteX229" fmla="*/ 5836 w 10003"/>
              <a:gd name="connsiteY229" fmla="*/ 455 h 10000"/>
              <a:gd name="connsiteX230" fmla="*/ 5836 w 10003"/>
              <a:gd name="connsiteY230" fmla="*/ 413 h 10000"/>
              <a:gd name="connsiteX231" fmla="*/ 5836 w 10003"/>
              <a:gd name="connsiteY231" fmla="*/ 372 h 10000"/>
              <a:gd name="connsiteX232" fmla="*/ 5836 w 10003"/>
              <a:gd name="connsiteY232" fmla="*/ 331 h 10000"/>
              <a:gd name="connsiteX233" fmla="*/ 5784 w 10003"/>
              <a:gd name="connsiteY233" fmla="*/ 331 h 10000"/>
              <a:gd name="connsiteX234" fmla="*/ 5784 w 10003"/>
              <a:gd name="connsiteY234" fmla="*/ 289 h 10000"/>
              <a:gd name="connsiteX235" fmla="*/ 5784 w 10003"/>
              <a:gd name="connsiteY235" fmla="*/ 248 h 10000"/>
              <a:gd name="connsiteX236" fmla="*/ 5784 w 10003"/>
              <a:gd name="connsiteY236" fmla="*/ 207 h 10000"/>
              <a:gd name="connsiteX237" fmla="*/ 5784 w 10003"/>
              <a:gd name="connsiteY237" fmla="*/ 165 h 10000"/>
              <a:gd name="connsiteX238" fmla="*/ 5784 w 10003"/>
              <a:gd name="connsiteY238" fmla="*/ 124 h 10000"/>
              <a:gd name="connsiteX239" fmla="*/ 5784 w 10003"/>
              <a:gd name="connsiteY239" fmla="*/ 83 h 10000"/>
              <a:gd name="connsiteX240" fmla="*/ 5784 w 10003"/>
              <a:gd name="connsiteY240" fmla="*/ 41 h 10000"/>
              <a:gd name="connsiteX241" fmla="*/ 5784 w 10003"/>
              <a:gd name="connsiteY241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457 w 10003"/>
              <a:gd name="connsiteY180" fmla="*/ 7151 h 10000"/>
              <a:gd name="connsiteX181" fmla="*/ 5313 w 10003"/>
              <a:gd name="connsiteY181" fmla="*/ 6708 h 10000"/>
              <a:gd name="connsiteX182" fmla="*/ 5073 w 10003"/>
              <a:gd name="connsiteY182" fmla="*/ 6602 h 10000"/>
              <a:gd name="connsiteX183" fmla="*/ 4913 w 10003"/>
              <a:gd name="connsiteY183" fmla="*/ 6690 h 10000"/>
              <a:gd name="connsiteX184" fmla="*/ 4417 w 10003"/>
              <a:gd name="connsiteY184" fmla="*/ 6530 h 10000"/>
              <a:gd name="connsiteX185" fmla="*/ 3585 w 10003"/>
              <a:gd name="connsiteY185" fmla="*/ 6247 h 10000"/>
              <a:gd name="connsiteX186" fmla="*/ 3105 w 10003"/>
              <a:gd name="connsiteY186" fmla="*/ 6193 h 10000"/>
              <a:gd name="connsiteX187" fmla="*/ 3201 w 10003"/>
              <a:gd name="connsiteY187" fmla="*/ 5998 h 10000"/>
              <a:gd name="connsiteX188" fmla="*/ 3345 w 10003"/>
              <a:gd name="connsiteY188" fmla="*/ 5945 h 10000"/>
              <a:gd name="connsiteX189" fmla="*/ 3729 w 10003"/>
              <a:gd name="connsiteY189" fmla="*/ 5662 h 10000"/>
              <a:gd name="connsiteX190" fmla="*/ 3969 w 10003"/>
              <a:gd name="connsiteY190" fmla="*/ 5396 h 10000"/>
              <a:gd name="connsiteX191" fmla="*/ 4225 w 10003"/>
              <a:gd name="connsiteY191" fmla="*/ 5112 h 10000"/>
              <a:gd name="connsiteX192" fmla="*/ 4369 w 10003"/>
              <a:gd name="connsiteY192" fmla="*/ 4846 h 10000"/>
              <a:gd name="connsiteX193" fmla="*/ 4353 w 10003"/>
              <a:gd name="connsiteY193" fmla="*/ 4545 h 10000"/>
              <a:gd name="connsiteX194" fmla="*/ 4337 w 10003"/>
              <a:gd name="connsiteY194" fmla="*/ 4278 h 10000"/>
              <a:gd name="connsiteX195" fmla="*/ 4177 w 10003"/>
              <a:gd name="connsiteY195" fmla="*/ 4119 h 10000"/>
              <a:gd name="connsiteX196" fmla="*/ 4017 w 10003"/>
              <a:gd name="connsiteY196" fmla="*/ 4137 h 10000"/>
              <a:gd name="connsiteX197" fmla="*/ 3857 w 10003"/>
              <a:gd name="connsiteY197" fmla="*/ 4421 h 10000"/>
              <a:gd name="connsiteX198" fmla="*/ 3809 w 10003"/>
              <a:gd name="connsiteY198" fmla="*/ 4934 h 10000"/>
              <a:gd name="connsiteX199" fmla="*/ 3537 w 10003"/>
              <a:gd name="connsiteY199" fmla="*/ 5272 h 10000"/>
              <a:gd name="connsiteX200" fmla="*/ 2993 w 10003"/>
              <a:gd name="connsiteY200" fmla="*/ 5573 h 10000"/>
              <a:gd name="connsiteX201" fmla="*/ 2416 w 10003"/>
              <a:gd name="connsiteY201" fmla="*/ 5803 h 10000"/>
              <a:gd name="connsiteX202" fmla="*/ 1952 w 10003"/>
              <a:gd name="connsiteY202" fmla="*/ 6122 h 10000"/>
              <a:gd name="connsiteX203" fmla="*/ 0 w 10003"/>
              <a:gd name="connsiteY203" fmla="*/ 6051 h 10000"/>
              <a:gd name="connsiteX204" fmla="*/ 3 w 10003"/>
              <a:gd name="connsiteY204" fmla="*/ 5826 h 10000"/>
              <a:gd name="connsiteX205" fmla="*/ 159 w 10003"/>
              <a:gd name="connsiteY205" fmla="*/ 5909 h 10000"/>
              <a:gd name="connsiteX206" fmla="*/ 368 w 10003"/>
              <a:gd name="connsiteY206" fmla="*/ 5826 h 10000"/>
              <a:gd name="connsiteX207" fmla="*/ 1462 w 10003"/>
              <a:gd name="connsiteY207" fmla="*/ 5826 h 10000"/>
              <a:gd name="connsiteX208" fmla="*/ 1617 w 10003"/>
              <a:gd name="connsiteY208" fmla="*/ 5785 h 10000"/>
              <a:gd name="connsiteX209" fmla="*/ 1670 w 10003"/>
              <a:gd name="connsiteY209" fmla="*/ 5785 h 10000"/>
              <a:gd name="connsiteX210" fmla="*/ 2190 w 10003"/>
              <a:gd name="connsiteY210" fmla="*/ 5248 h 10000"/>
              <a:gd name="connsiteX211" fmla="*/ 2295 w 10003"/>
              <a:gd name="connsiteY211" fmla="*/ 5165 h 10000"/>
              <a:gd name="connsiteX212" fmla="*/ 2763 w 10003"/>
              <a:gd name="connsiteY212" fmla="*/ 4752 h 10000"/>
              <a:gd name="connsiteX213" fmla="*/ 3024 w 10003"/>
              <a:gd name="connsiteY213" fmla="*/ 4504 h 10000"/>
              <a:gd name="connsiteX214" fmla="*/ 3180 w 10003"/>
              <a:gd name="connsiteY214" fmla="*/ 4380 h 10000"/>
              <a:gd name="connsiteX215" fmla="*/ 3597 w 10003"/>
              <a:gd name="connsiteY215" fmla="*/ 3760 h 10000"/>
              <a:gd name="connsiteX216" fmla="*/ 4117 w 10003"/>
              <a:gd name="connsiteY216" fmla="*/ 3512 h 10000"/>
              <a:gd name="connsiteX217" fmla="*/ 5003 w 10003"/>
              <a:gd name="connsiteY217" fmla="*/ 2810 h 10000"/>
              <a:gd name="connsiteX218" fmla="*/ 4846 w 10003"/>
              <a:gd name="connsiteY218" fmla="*/ 2562 h 10000"/>
              <a:gd name="connsiteX219" fmla="*/ 4795 w 10003"/>
              <a:gd name="connsiteY219" fmla="*/ 2397 h 10000"/>
              <a:gd name="connsiteX220" fmla="*/ 4795 w 10003"/>
              <a:gd name="connsiteY220" fmla="*/ 1240 h 10000"/>
              <a:gd name="connsiteX221" fmla="*/ 4117 w 10003"/>
              <a:gd name="connsiteY221" fmla="*/ 744 h 10000"/>
              <a:gd name="connsiteX222" fmla="*/ 4951 w 10003"/>
              <a:gd name="connsiteY222" fmla="*/ 744 h 10000"/>
              <a:gd name="connsiteX223" fmla="*/ 5784 w 10003"/>
              <a:gd name="connsiteY223" fmla="*/ 744 h 10000"/>
              <a:gd name="connsiteX224" fmla="*/ 5784 w 10003"/>
              <a:gd name="connsiteY224" fmla="*/ 702 h 10000"/>
              <a:gd name="connsiteX225" fmla="*/ 5784 w 10003"/>
              <a:gd name="connsiteY225" fmla="*/ 661 h 10000"/>
              <a:gd name="connsiteX226" fmla="*/ 5784 w 10003"/>
              <a:gd name="connsiteY226" fmla="*/ 620 h 10000"/>
              <a:gd name="connsiteX227" fmla="*/ 5784 w 10003"/>
              <a:gd name="connsiteY227" fmla="*/ 579 h 10000"/>
              <a:gd name="connsiteX228" fmla="*/ 5836 w 10003"/>
              <a:gd name="connsiteY228" fmla="*/ 537 h 10000"/>
              <a:gd name="connsiteX229" fmla="*/ 5836 w 10003"/>
              <a:gd name="connsiteY229" fmla="*/ 496 h 10000"/>
              <a:gd name="connsiteX230" fmla="*/ 5836 w 10003"/>
              <a:gd name="connsiteY230" fmla="*/ 455 h 10000"/>
              <a:gd name="connsiteX231" fmla="*/ 5836 w 10003"/>
              <a:gd name="connsiteY231" fmla="*/ 413 h 10000"/>
              <a:gd name="connsiteX232" fmla="*/ 5836 w 10003"/>
              <a:gd name="connsiteY232" fmla="*/ 372 h 10000"/>
              <a:gd name="connsiteX233" fmla="*/ 5836 w 10003"/>
              <a:gd name="connsiteY233" fmla="*/ 331 h 10000"/>
              <a:gd name="connsiteX234" fmla="*/ 5784 w 10003"/>
              <a:gd name="connsiteY234" fmla="*/ 331 h 10000"/>
              <a:gd name="connsiteX235" fmla="*/ 5784 w 10003"/>
              <a:gd name="connsiteY235" fmla="*/ 289 h 10000"/>
              <a:gd name="connsiteX236" fmla="*/ 5784 w 10003"/>
              <a:gd name="connsiteY236" fmla="*/ 248 h 10000"/>
              <a:gd name="connsiteX237" fmla="*/ 5784 w 10003"/>
              <a:gd name="connsiteY237" fmla="*/ 207 h 10000"/>
              <a:gd name="connsiteX238" fmla="*/ 5784 w 10003"/>
              <a:gd name="connsiteY238" fmla="*/ 165 h 10000"/>
              <a:gd name="connsiteX239" fmla="*/ 5784 w 10003"/>
              <a:gd name="connsiteY239" fmla="*/ 124 h 10000"/>
              <a:gd name="connsiteX240" fmla="*/ 5784 w 10003"/>
              <a:gd name="connsiteY240" fmla="*/ 83 h 10000"/>
              <a:gd name="connsiteX241" fmla="*/ 5784 w 10003"/>
              <a:gd name="connsiteY241" fmla="*/ 41 h 10000"/>
              <a:gd name="connsiteX242" fmla="*/ 5784 w 10003"/>
              <a:gd name="connsiteY24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777 w 10003"/>
              <a:gd name="connsiteY180" fmla="*/ 6814 h 10000"/>
              <a:gd name="connsiteX181" fmla="*/ 5313 w 10003"/>
              <a:gd name="connsiteY181" fmla="*/ 6708 h 10000"/>
              <a:gd name="connsiteX182" fmla="*/ 5073 w 10003"/>
              <a:gd name="connsiteY182" fmla="*/ 6602 h 10000"/>
              <a:gd name="connsiteX183" fmla="*/ 4913 w 10003"/>
              <a:gd name="connsiteY183" fmla="*/ 6690 h 10000"/>
              <a:gd name="connsiteX184" fmla="*/ 4417 w 10003"/>
              <a:gd name="connsiteY184" fmla="*/ 6530 h 10000"/>
              <a:gd name="connsiteX185" fmla="*/ 3585 w 10003"/>
              <a:gd name="connsiteY185" fmla="*/ 6247 h 10000"/>
              <a:gd name="connsiteX186" fmla="*/ 3105 w 10003"/>
              <a:gd name="connsiteY186" fmla="*/ 6193 h 10000"/>
              <a:gd name="connsiteX187" fmla="*/ 3201 w 10003"/>
              <a:gd name="connsiteY187" fmla="*/ 5998 h 10000"/>
              <a:gd name="connsiteX188" fmla="*/ 3345 w 10003"/>
              <a:gd name="connsiteY188" fmla="*/ 5945 h 10000"/>
              <a:gd name="connsiteX189" fmla="*/ 3729 w 10003"/>
              <a:gd name="connsiteY189" fmla="*/ 5662 h 10000"/>
              <a:gd name="connsiteX190" fmla="*/ 3969 w 10003"/>
              <a:gd name="connsiteY190" fmla="*/ 5396 h 10000"/>
              <a:gd name="connsiteX191" fmla="*/ 4225 w 10003"/>
              <a:gd name="connsiteY191" fmla="*/ 5112 h 10000"/>
              <a:gd name="connsiteX192" fmla="*/ 4369 w 10003"/>
              <a:gd name="connsiteY192" fmla="*/ 4846 h 10000"/>
              <a:gd name="connsiteX193" fmla="*/ 4353 w 10003"/>
              <a:gd name="connsiteY193" fmla="*/ 4545 h 10000"/>
              <a:gd name="connsiteX194" fmla="*/ 4337 w 10003"/>
              <a:gd name="connsiteY194" fmla="*/ 4278 h 10000"/>
              <a:gd name="connsiteX195" fmla="*/ 4177 w 10003"/>
              <a:gd name="connsiteY195" fmla="*/ 4119 h 10000"/>
              <a:gd name="connsiteX196" fmla="*/ 4017 w 10003"/>
              <a:gd name="connsiteY196" fmla="*/ 4137 h 10000"/>
              <a:gd name="connsiteX197" fmla="*/ 3857 w 10003"/>
              <a:gd name="connsiteY197" fmla="*/ 4421 h 10000"/>
              <a:gd name="connsiteX198" fmla="*/ 3809 w 10003"/>
              <a:gd name="connsiteY198" fmla="*/ 4934 h 10000"/>
              <a:gd name="connsiteX199" fmla="*/ 3537 w 10003"/>
              <a:gd name="connsiteY199" fmla="*/ 5272 h 10000"/>
              <a:gd name="connsiteX200" fmla="*/ 2993 w 10003"/>
              <a:gd name="connsiteY200" fmla="*/ 5573 h 10000"/>
              <a:gd name="connsiteX201" fmla="*/ 2416 w 10003"/>
              <a:gd name="connsiteY201" fmla="*/ 5803 h 10000"/>
              <a:gd name="connsiteX202" fmla="*/ 1952 w 10003"/>
              <a:gd name="connsiteY202" fmla="*/ 6122 h 10000"/>
              <a:gd name="connsiteX203" fmla="*/ 0 w 10003"/>
              <a:gd name="connsiteY203" fmla="*/ 6051 h 10000"/>
              <a:gd name="connsiteX204" fmla="*/ 3 w 10003"/>
              <a:gd name="connsiteY204" fmla="*/ 5826 h 10000"/>
              <a:gd name="connsiteX205" fmla="*/ 159 w 10003"/>
              <a:gd name="connsiteY205" fmla="*/ 5909 h 10000"/>
              <a:gd name="connsiteX206" fmla="*/ 368 w 10003"/>
              <a:gd name="connsiteY206" fmla="*/ 5826 h 10000"/>
              <a:gd name="connsiteX207" fmla="*/ 1462 w 10003"/>
              <a:gd name="connsiteY207" fmla="*/ 5826 h 10000"/>
              <a:gd name="connsiteX208" fmla="*/ 1617 w 10003"/>
              <a:gd name="connsiteY208" fmla="*/ 5785 h 10000"/>
              <a:gd name="connsiteX209" fmla="*/ 1670 w 10003"/>
              <a:gd name="connsiteY209" fmla="*/ 5785 h 10000"/>
              <a:gd name="connsiteX210" fmla="*/ 2190 w 10003"/>
              <a:gd name="connsiteY210" fmla="*/ 5248 h 10000"/>
              <a:gd name="connsiteX211" fmla="*/ 2295 w 10003"/>
              <a:gd name="connsiteY211" fmla="*/ 5165 h 10000"/>
              <a:gd name="connsiteX212" fmla="*/ 2763 w 10003"/>
              <a:gd name="connsiteY212" fmla="*/ 4752 h 10000"/>
              <a:gd name="connsiteX213" fmla="*/ 3024 w 10003"/>
              <a:gd name="connsiteY213" fmla="*/ 4504 h 10000"/>
              <a:gd name="connsiteX214" fmla="*/ 3180 w 10003"/>
              <a:gd name="connsiteY214" fmla="*/ 4380 h 10000"/>
              <a:gd name="connsiteX215" fmla="*/ 3597 w 10003"/>
              <a:gd name="connsiteY215" fmla="*/ 3760 h 10000"/>
              <a:gd name="connsiteX216" fmla="*/ 4117 w 10003"/>
              <a:gd name="connsiteY216" fmla="*/ 3512 h 10000"/>
              <a:gd name="connsiteX217" fmla="*/ 5003 w 10003"/>
              <a:gd name="connsiteY217" fmla="*/ 2810 h 10000"/>
              <a:gd name="connsiteX218" fmla="*/ 4846 w 10003"/>
              <a:gd name="connsiteY218" fmla="*/ 2562 h 10000"/>
              <a:gd name="connsiteX219" fmla="*/ 4795 w 10003"/>
              <a:gd name="connsiteY219" fmla="*/ 2397 h 10000"/>
              <a:gd name="connsiteX220" fmla="*/ 4795 w 10003"/>
              <a:gd name="connsiteY220" fmla="*/ 1240 h 10000"/>
              <a:gd name="connsiteX221" fmla="*/ 4117 w 10003"/>
              <a:gd name="connsiteY221" fmla="*/ 744 h 10000"/>
              <a:gd name="connsiteX222" fmla="*/ 4951 w 10003"/>
              <a:gd name="connsiteY222" fmla="*/ 744 h 10000"/>
              <a:gd name="connsiteX223" fmla="*/ 5784 w 10003"/>
              <a:gd name="connsiteY223" fmla="*/ 744 h 10000"/>
              <a:gd name="connsiteX224" fmla="*/ 5784 w 10003"/>
              <a:gd name="connsiteY224" fmla="*/ 702 h 10000"/>
              <a:gd name="connsiteX225" fmla="*/ 5784 w 10003"/>
              <a:gd name="connsiteY225" fmla="*/ 661 h 10000"/>
              <a:gd name="connsiteX226" fmla="*/ 5784 w 10003"/>
              <a:gd name="connsiteY226" fmla="*/ 620 h 10000"/>
              <a:gd name="connsiteX227" fmla="*/ 5784 w 10003"/>
              <a:gd name="connsiteY227" fmla="*/ 579 h 10000"/>
              <a:gd name="connsiteX228" fmla="*/ 5836 w 10003"/>
              <a:gd name="connsiteY228" fmla="*/ 537 h 10000"/>
              <a:gd name="connsiteX229" fmla="*/ 5836 w 10003"/>
              <a:gd name="connsiteY229" fmla="*/ 496 h 10000"/>
              <a:gd name="connsiteX230" fmla="*/ 5836 w 10003"/>
              <a:gd name="connsiteY230" fmla="*/ 455 h 10000"/>
              <a:gd name="connsiteX231" fmla="*/ 5836 w 10003"/>
              <a:gd name="connsiteY231" fmla="*/ 413 h 10000"/>
              <a:gd name="connsiteX232" fmla="*/ 5836 w 10003"/>
              <a:gd name="connsiteY232" fmla="*/ 372 h 10000"/>
              <a:gd name="connsiteX233" fmla="*/ 5836 w 10003"/>
              <a:gd name="connsiteY233" fmla="*/ 331 h 10000"/>
              <a:gd name="connsiteX234" fmla="*/ 5784 w 10003"/>
              <a:gd name="connsiteY234" fmla="*/ 331 h 10000"/>
              <a:gd name="connsiteX235" fmla="*/ 5784 w 10003"/>
              <a:gd name="connsiteY235" fmla="*/ 289 h 10000"/>
              <a:gd name="connsiteX236" fmla="*/ 5784 w 10003"/>
              <a:gd name="connsiteY236" fmla="*/ 248 h 10000"/>
              <a:gd name="connsiteX237" fmla="*/ 5784 w 10003"/>
              <a:gd name="connsiteY237" fmla="*/ 207 h 10000"/>
              <a:gd name="connsiteX238" fmla="*/ 5784 w 10003"/>
              <a:gd name="connsiteY238" fmla="*/ 165 h 10000"/>
              <a:gd name="connsiteX239" fmla="*/ 5784 w 10003"/>
              <a:gd name="connsiteY239" fmla="*/ 124 h 10000"/>
              <a:gd name="connsiteX240" fmla="*/ 5784 w 10003"/>
              <a:gd name="connsiteY240" fmla="*/ 83 h 10000"/>
              <a:gd name="connsiteX241" fmla="*/ 5784 w 10003"/>
              <a:gd name="connsiteY241" fmla="*/ 41 h 10000"/>
              <a:gd name="connsiteX242" fmla="*/ 5784 w 10003"/>
              <a:gd name="connsiteY242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5970 w 10003"/>
              <a:gd name="connsiteY180" fmla="*/ 7700 h 10000"/>
              <a:gd name="connsiteX181" fmla="*/ 5777 w 10003"/>
              <a:gd name="connsiteY181" fmla="*/ 6814 h 10000"/>
              <a:gd name="connsiteX182" fmla="*/ 5313 w 10003"/>
              <a:gd name="connsiteY182" fmla="*/ 6708 h 10000"/>
              <a:gd name="connsiteX183" fmla="*/ 5073 w 10003"/>
              <a:gd name="connsiteY183" fmla="*/ 6602 h 10000"/>
              <a:gd name="connsiteX184" fmla="*/ 4913 w 10003"/>
              <a:gd name="connsiteY184" fmla="*/ 6690 h 10000"/>
              <a:gd name="connsiteX185" fmla="*/ 4417 w 10003"/>
              <a:gd name="connsiteY185" fmla="*/ 6530 h 10000"/>
              <a:gd name="connsiteX186" fmla="*/ 3585 w 10003"/>
              <a:gd name="connsiteY186" fmla="*/ 6247 h 10000"/>
              <a:gd name="connsiteX187" fmla="*/ 3105 w 10003"/>
              <a:gd name="connsiteY187" fmla="*/ 6193 h 10000"/>
              <a:gd name="connsiteX188" fmla="*/ 3201 w 10003"/>
              <a:gd name="connsiteY188" fmla="*/ 5998 h 10000"/>
              <a:gd name="connsiteX189" fmla="*/ 3345 w 10003"/>
              <a:gd name="connsiteY189" fmla="*/ 5945 h 10000"/>
              <a:gd name="connsiteX190" fmla="*/ 3729 w 10003"/>
              <a:gd name="connsiteY190" fmla="*/ 5662 h 10000"/>
              <a:gd name="connsiteX191" fmla="*/ 3969 w 10003"/>
              <a:gd name="connsiteY191" fmla="*/ 5396 h 10000"/>
              <a:gd name="connsiteX192" fmla="*/ 4225 w 10003"/>
              <a:gd name="connsiteY192" fmla="*/ 5112 h 10000"/>
              <a:gd name="connsiteX193" fmla="*/ 4369 w 10003"/>
              <a:gd name="connsiteY193" fmla="*/ 4846 h 10000"/>
              <a:gd name="connsiteX194" fmla="*/ 4353 w 10003"/>
              <a:gd name="connsiteY194" fmla="*/ 4545 h 10000"/>
              <a:gd name="connsiteX195" fmla="*/ 4337 w 10003"/>
              <a:gd name="connsiteY195" fmla="*/ 4278 h 10000"/>
              <a:gd name="connsiteX196" fmla="*/ 4177 w 10003"/>
              <a:gd name="connsiteY196" fmla="*/ 4119 h 10000"/>
              <a:gd name="connsiteX197" fmla="*/ 4017 w 10003"/>
              <a:gd name="connsiteY197" fmla="*/ 4137 h 10000"/>
              <a:gd name="connsiteX198" fmla="*/ 3857 w 10003"/>
              <a:gd name="connsiteY198" fmla="*/ 4421 h 10000"/>
              <a:gd name="connsiteX199" fmla="*/ 3809 w 10003"/>
              <a:gd name="connsiteY199" fmla="*/ 4934 h 10000"/>
              <a:gd name="connsiteX200" fmla="*/ 3537 w 10003"/>
              <a:gd name="connsiteY200" fmla="*/ 5272 h 10000"/>
              <a:gd name="connsiteX201" fmla="*/ 2993 w 10003"/>
              <a:gd name="connsiteY201" fmla="*/ 5573 h 10000"/>
              <a:gd name="connsiteX202" fmla="*/ 2416 w 10003"/>
              <a:gd name="connsiteY202" fmla="*/ 5803 h 10000"/>
              <a:gd name="connsiteX203" fmla="*/ 1952 w 10003"/>
              <a:gd name="connsiteY203" fmla="*/ 6122 h 10000"/>
              <a:gd name="connsiteX204" fmla="*/ 0 w 10003"/>
              <a:gd name="connsiteY204" fmla="*/ 6051 h 10000"/>
              <a:gd name="connsiteX205" fmla="*/ 3 w 10003"/>
              <a:gd name="connsiteY205" fmla="*/ 5826 h 10000"/>
              <a:gd name="connsiteX206" fmla="*/ 159 w 10003"/>
              <a:gd name="connsiteY206" fmla="*/ 5909 h 10000"/>
              <a:gd name="connsiteX207" fmla="*/ 368 w 10003"/>
              <a:gd name="connsiteY207" fmla="*/ 5826 h 10000"/>
              <a:gd name="connsiteX208" fmla="*/ 1462 w 10003"/>
              <a:gd name="connsiteY208" fmla="*/ 5826 h 10000"/>
              <a:gd name="connsiteX209" fmla="*/ 1617 w 10003"/>
              <a:gd name="connsiteY209" fmla="*/ 5785 h 10000"/>
              <a:gd name="connsiteX210" fmla="*/ 1670 w 10003"/>
              <a:gd name="connsiteY210" fmla="*/ 5785 h 10000"/>
              <a:gd name="connsiteX211" fmla="*/ 2190 w 10003"/>
              <a:gd name="connsiteY211" fmla="*/ 5248 h 10000"/>
              <a:gd name="connsiteX212" fmla="*/ 2295 w 10003"/>
              <a:gd name="connsiteY212" fmla="*/ 5165 h 10000"/>
              <a:gd name="connsiteX213" fmla="*/ 2763 w 10003"/>
              <a:gd name="connsiteY213" fmla="*/ 4752 h 10000"/>
              <a:gd name="connsiteX214" fmla="*/ 3024 w 10003"/>
              <a:gd name="connsiteY214" fmla="*/ 4504 h 10000"/>
              <a:gd name="connsiteX215" fmla="*/ 3180 w 10003"/>
              <a:gd name="connsiteY215" fmla="*/ 4380 h 10000"/>
              <a:gd name="connsiteX216" fmla="*/ 3597 w 10003"/>
              <a:gd name="connsiteY216" fmla="*/ 3760 h 10000"/>
              <a:gd name="connsiteX217" fmla="*/ 4117 w 10003"/>
              <a:gd name="connsiteY217" fmla="*/ 3512 h 10000"/>
              <a:gd name="connsiteX218" fmla="*/ 5003 w 10003"/>
              <a:gd name="connsiteY218" fmla="*/ 2810 h 10000"/>
              <a:gd name="connsiteX219" fmla="*/ 4846 w 10003"/>
              <a:gd name="connsiteY219" fmla="*/ 2562 h 10000"/>
              <a:gd name="connsiteX220" fmla="*/ 4795 w 10003"/>
              <a:gd name="connsiteY220" fmla="*/ 2397 h 10000"/>
              <a:gd name="connsiteX221" fmla="*/ 4795 w 10003"/>
              <a:gd name="connsiteY221" fmla="*/ 1240 h 10000"/>
              <a:gd name="connsiteX222" fmla="*/ 4117 w 10003"/>
              <a:gd name="connsiteY222" fmla="*/ 744 h 10000"/>
              <a:gd name="connsiteX223" fmla="*/ 4951 w 10003"/>
              <a:gd name="connsiteY223" fmla="*/ 744 h 10000"/>
              <a:gd name="connsiteX224" fmla="*/ 5784 w 10003"/>
              <a:gd name="connsiteY224" fmla="*/ 744 h 10000"/>
              <a:gd name="connsiteX225" fmla="*/ 5784 w 10003"/>
              <a:gd name="connsiteY225" fmla="*/ 702 h 10000"/>
              <a:gd name="connsiteX226" fmla="*/ 5784 w 10003"/>
              <a:gd name="connsiteY226" fmla="*/ 661 h 10000"/>
              <a:gd name="connsiteX227" fmla="*/ 5784 w 10003"/>
              <a:gd name="connsiteY227" fmla="*/ 620 h 10000"/>
              <a:gd name="connsiteX228" fmla="*/ 5784 w 10003"/>
              <a:gd name="connsiteY228" fmla="*/ 579 h 10000"/>
              <a:gd name="connsiteX229" fmla="*/ 5836 w 10003"/>
              <a:gd name="connsiteY229" fmla="*/ 537 h 10000"/>
              <a:gd name="connsiteX230" fmla="*/ 5836 w 10003"/>
              <a:gd name="connsiteY230" fmla="*/ 496 h 10000"/>
              <a:gd name="connsiteX231" fmla="*/ 5836 w 10003"/>
              <a:gd name="connsiteY231" fmla="*/ 455 h 10000"/>
              <a:gd name="connsiteX232" fmla="*/ 5836 w 10003"/>
              <a:gd name="connsiteY232" fmla="*/ 413 h 10000"/>
              <a:gd name="connsiteX233" fmla="*/ 5836 w 10003"/>
              <a:gd name="connsiteY233" fmla="*/ 372 h 10000"/>
              <a:gd name="connsiteX234" fmla="*/ 5836 w 10003"/>
              <a:gd name="connsiteY234" fmla="*/ 331 h 10000"/>
              <a:gd name="connsiteX235" fmla="*/ 5784 w 10003"/>
              <a:gd name="connsiteY235" fmla="*/ 331 h 10000"/>
              <a:gd name="connsiteX236" fmla="*/ 5784 w 10003"/>
              <a:gd name="connsiteY236" fmla="*/ 289 h 10000"/>
              <a:gd name="connsiteX237" fmla="*/ 5784 w 10003"/>
              <a:gd name="connsiteY237" fmla="*/ 248 h 10000"/>
              <a:gd name="connsiteX238" fmla="*/ 5784 w 10003"/>
              <a:gd name="connsiteY238" fmla="*/ 207 h 10000"/>
              <a:gd name="connsiteX239" fmla="*/ 5784 w 10003"/>
              <a:gd name="connsiteY239" fmla="*/ 165 h 10000"/>
              <a:gd name="connsiteX240" fmla="*/ 5784 w 10003"/>
              <a:gd name="connsiteY240" fmla="*/ 124 h 10000"/>
              <a:gd name="connsiteX241" fmla="*/ 5784 w 10003"/>
              <a:gd name="connsiteY241" fmla="*/ 83 h 10000"/>
              <a:gd name="connsiteX242" fmla="*/ 5784 w 10003"/>
              <a:gd name="connsiteY242" fmla="*/ 41 h 10000"/>
              <a:gd name="connsiteX243" fmla="*/ 5784 w 10003"/>
              <a:gd name="connsiteY24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6482 w 10003"/>
              <a:gd name="connsiteY180" fmla="*/ 6973 h 10000"/>
              <a:gd name="connsiteX181" fmla="*/ 5777 w 10003"/>
              <a:gd name="connsiteY181" fmla="*/ 6814 h 10000"/>
              <a:gd name="connsiteX182" fmla="*/ 5313 w 10003"/>
              <a:gd name="connsiteY182" fmla="*/ 6708 h 10000"/>
              <a:gd name="connsiteX183" fmla="*/ 5073 w 10003"/>
              <a:gd name="connsiteY183" fmla="*/ 6602 h 10000"/>
              <a:gd name="connsiteX184" fmla="*/ 4913 w 10003"/>
              <a:gd name="connsiteY184" fmla="*/ 6690 h 10000"/>
              <a:gd name="connsiteX185" fmla="*/ 4417 w 10003"/>
              <a:gd name="connsiteY185" fmla="*/ 6530 h 10000"/>
              <a:gd name="connsiteX186" fmla="*/ 3585 w 10003"/>
              <a:gd name="connsiteY186" fmla="*/ 6247 h 10000"/>
              <a:gd name="connsiteX187" fmla="*/ 3105 w 10003"/>
              <a:gd name="connsiteY187" fmla="*/ 6193 h 10000"/>
              <a:gd name="connsiteX188" fmla="*/ 3201 w 10003"/>
              <a:gd name="connsiteY188" fmla="*/ 5998 h 10000"/>
              <a:gd name="connsiteX189" fmla="*/ 3345 w 10003"/>
              <a:gd name="connsiteY189" fmla="*/ 5945 h 10000"/>
              <a:gd name="connsiteX190" fmla="*/ 3729 w 10003"/>
              <a:gd name="connsiteY190" fmla="*/ 5662 h 10000"/>
              <a:gd name="connsiteX191" fmla="*/ 3969 w 10003"/>
              <a:gd name="connsiteY191" fmla="*/ 5396 h 10000"/>
              <a:gd name="connsiteX192" fmla="*/ 4225 w 10003"/>
              <a:gd name="connsiteY192" fmla="*/ 5112 h 10000"/>
              <a:gd name="connsiteX193" fmla="*/ 4369 w 10003"/>
              <a:gd name="connsiteY193" fmla="*/ 4846 h 10000"/>
              <a:gd name="connsiteX194" fmla="*/ 4353 w 10003"/>
              <a:gd name="connsiteY194" fmla="*/ 4545 h 10000"/>
              <a:gd name="connsiteX195" fmla="*/ 4337 w 10003"/>
              <a:gd name="connsiteY195" fmla="*/ 4278 h 10000"/>
              <a:gd name="connsiteX196" fmla="*/ 4177 w 10003"/>
              <a:gd name="connsiteY196" fmla="*/ 4119 h 10000"/>
              <a:gd name="connsiteX197" fmla="*/ 4017 w 10003"/>
              <a:gd name="connsiteY197" fmla="*/ 4137 h 10000"/>
              <a:gd name="connsiteX198" fmla="*/ 3857 w 10003"/>
              <a:gd name="connsiteY198" fmla="*/ 4421 h 10000"/>
              <a:gd name="connsiteX199" fmla="*/ 3809 w 10003"/>
              <a:gd name="connsiteY199" fmla="*/ 4934 h 10000"/>
              <a:gd name="connsiteX200" fmla="*/ 3537 w 10003"/>
              <a:gd name="connsiteY200" fmla="*/ 5272 h 10000"/>
              <a:gd name="connsiteX201" fmla="*/ 2993 w 10003"/>
              <a:gd name="connsiteY201" fmla="*/ 5573 h 10000"/>
              <a:gd name="connsiteX202" fmla="*/ 2416 w 10003"/>
              <a:gd name="connsiteY202" fmla="*/ 5803 h 10000"/>
              <a:gd name="connsiteX203" fmla="*/ 1952 w 10003"/>
              <a:gd name="connsiteY203" fmla="*/ 6122 h 10000"/>
              <a:gd name="connsiteX204" fmla="*/ 0 w 10003"/>
              <a:gd name="connsiteY204" fmla="*/ 6051 h 10000"/>
              <a:gd name="connsiteX205" fmla="*/ 3 w 10003"/>
              <a:gd name="connsiteY205" fmla="*/ 5826 h 10000"/>
              <a:gd name="connsiteX206" fmla="*/ 159 w 10003"/>
              <a:gd name="connsiteY206" fmla="*/ 5909 h 10000"/>
              <a:gd name="connsiteX207" fmla="*/ 368 w 10003"/>
              <a:gd name="connsiteY207" fmla="*/ 5826 h 10000"/>
              <a:gd name="connsiteX208" fmla="*/ 1462 w 10003"/>
              <a:gd name="connsiteY208" fmla="*/ 5826 h 10000"/>
              <a:gd name="connsiteX209" fmla="*/ 1617 w 10003"/>
              <a:gd name="connsiteY209" fmla="*/ 5785 h 10000"/>
              <a:gd name="connsiteX210" fmla="*/ 1670 w 10003"/>
              <a:gd name="connsiteY210" fmla="*/ 5785 h 10000"/>
              <a:gd name="connsiteX211" fmla="*/ 2190 w 10003"/>
              <a:gd name="connsiteY211" fmla="*/ 5248 h 10000"/>
              <a:gd name="connsiteX212" fmla="*/ 2295 w 10003"/>
              <a:gd name="connsiteY212" fmla="*/ 5165 h 10000"/>
              <a:gd name="connsiteX213" fmla="*/ 2763 w 10003"/>
              <a:gd name="connsiteY213" fmla="*/ 4752 h 10000"/>
              <a:gd name="connsiteX214" fmla="*/ 3024 w 10003"/>
              <a:gd name="connsiteY214" fmla="*/ 4504 h 10000"/>
              <a:gd name="connsiteX215" fmla="*/ 3180 w 10003"/>
              <a:gd name="connsiteY215" fmla="*/ 4380 h 10000"/>
              <a:gd name="connsiteX216" fmla="*/ 3597 w 10003"/>
              <a:gd name="connsiteY216" fmla="*/ 3760 h 10000"/>
              <a:gd name="connsiteX217" fmla="*/ 4117 w 10003"/>
              <a:gd name="connsiteY217" fmla="*/ 3512 h 10000"/>
              <a:gd name="connsiteX218" fmla="*/ 5003 w 10003"/>
              <a:gd name="connsiteY218" fmla="*/ 2810 h 10000"/>
              <a:gd name="connsiteX219" fmla="*/ 4846 w 10003"/>
              <a:gd name="connsiteY219" fmla="*/ 2562 h 10000"/>
              <a:gd name="connsiteX220" fmla="*/ 4795 w 10003"/>
              <a:gd name="connsiteY220" fmla="*/ 2397 h 10000"/>
              <a:gd name="connsiteX221" fmla="*/ 4795 w 10003"/>
              <a:gd name="connsiteY221" fmla="*/ 1240 h 10000"/>
              <a:gd name="connsiteX222" fmla="*/ 4117 w 10003"/>
              <a:gd name="connsiteY222" fmla="*/ 744 h 10000"/>
              <a:gd name="connsiteX223" fmla="*/ 4951 w 10003"/>
              <a:gd name="connsiteY223" fmla="*/ 744 h 10000"/>
              <a:gd name="connsiteX224" fmla="*/ 5784 w 10003"/>
              <a:gd name="connsiteY224" fmla="*/ 744 h 10000"/>
              <a:gd name="connsiteX225" fmla="*/ 5784 w 10003"/>
              <a:gd name="connsiteY225" fmla="*/ 702 h 10000"/>
              <a:gd name="connsiteX226" fmla="*/ 5784 w 10003"/>
              <a:gd name="connsiteY226" fmla="*/ 661 h 10000"/>
              <a:gd name="connsiteX227" fmla="*/ 5784 w 10003"/>
              <a:gd name="connsiteY227" fmla="*/ 620 h 10000"/>
              <a:gd name="connsiteX228" fmla="*/ 5784 w 10003"/>
              <a:gd name="connsiteY228" fmla="*/ 579 h 10000"/>
              <a:gd name="connsiteX229" fmla="*/ 5836 w 10003"/>
              <a:gd name="connsiteY229" fmla="*/ 537 h 10000"/>
              <a:gd name="connsiteX230" fmla="*/ 5836 w 10003"/>
              <a:gd name="connsiteY230" fmla="*/ 496 h 10000"/>
              <a:gd name="connsiteX231" fmla="*/ 5836 w 10003"/>
              <a:gd name="connsiteY231" fmla="*/ 455 h 10000"/>
              <a:gd name="connsiteX232" fmla="*/ 5836 w 10003"/>
              <a:gd name="connsiteY232" fmla="*/ 413 h 10000"/>
              <a:gd name="connsiteX233" fmla="*/ 5836 w 10003"/>
              <a:gd name="connsiteY233" fmla="*/ 372 h 10000"/>
              <a:gd name="connsiteX234" fmla="*/ 5836 w 10003"/>
              <a:gd name="connsiteY234" fmla="*/ 331 h 10000"/>
              <a:gd name="connsiteX235" fmla="*/ 5784 w 10003"/>
              <a:gd name="connsiteY235" fmla="*/ 331 h 10000"/>
              <a:gd name="connsiteX236" fmla="*/ 5784 w 10003"/>
              <a:gd name="connsiteY236" fmla="*/ 289 h 10000"/>
              <a:gd name="connsiteX237" fmla="*/ 5784 w 10003"/>
              <a:gd name="connsiteY237" fmla="*/ 248 h 10000"/>
              <a:gd name="connsiteX238" fmla="*/ 5784 w 10003"/>
              <a:gd name="connsiteY238" fmla="*/ 207 h 10000"/>
              <a:gd name="connsiteX239" fmla="*/ 5784 w 10003"/>
              <a:gd name="connsiteY239" fmla="*/ 165 h 10000"/>
              <a:gd name="connsiteX240" fmla="*/ 5784 w 10003"/>
              <a:gd name="connsiteY240" fmla="*/ 124 h 10000"/>
              <a:gd name="connsiteX241" fmla="*/ 5784 w 10003"/>
              <a:gd name="connsiteY241" fmla="*/ 83 h 10000"/>
              <a:gd name="connsiteX242" fmla="*/ 5784 w 10003"/>
              <a:gd name="connsiteY242" fmla="*/ 41 h 10000"/>
              <a:gd name="connsiteX243" fmla="*/ 5784 w 10003"/>
              <a:gd name="connsiteY24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6482 w 10003"/>
              <a:gd name="connsiteY180" fmla="*/ 6973 h 10000"/>
              <a:gd name="connsiteX181" fmla="*/ 5777 w 10003"/>
              <a:gd name="connsiteY181" fmla="*/ 6814 h 10000"/>
              <a:gd name="connsiteX182" fmla="*/ 5313 w 10003"/>
              <a:gd name="connsiteY182" fmla="*/ 6708 h 10000"/>
              <a:gd name="connsiteX183" fmla="*/ 5073 w 10003"/>
              <a:gd name="connsiteY183" fmla="*/ 6602 h 10000"/>
              <a:gd name="connsiteX184" fmla="*/ 4913 w 10003"/>
              <a:gd name="connsiteY184" fmla="*/ 6690 h 10000"/>
              <a:gd name="connsiteX185" fmla="*/ 4417 w 10003"/>
              <a:gd name="connsiteY185" fmla="*/ 6530 h 10000"/>
              <a:gd name="connsiteX186" fmla="*/ 3585 w 10003"/>
              <a:gd name="connsiteY186" fmla="*/ 6247 h 10000"/>
              <a:gd name="connsiteX187" fmla="*/ 3105 w 10003"/>
              <a:gd name="connsiteY187" fmla="*/ 6193 h 10000"/>
              <a:gd name="connsiteX188" fmla="*/ 3201 w 10003"/>
              <a:gd name="connsiteY188" fmla="*/ 5998 h 10000"/>
              <a:gd name="connsiteX189" fmla="*/ 3345 w 10003"/>
              <a:gd name="connsiteY189" fmla="*/ 5945 h 10000"/>
              <a:gd name="connsiteX190" fmla="*/ 3729 w 10003"/>
              <a:gd name="connsiteY190" fmla="*/ 5662 h 10000"/>
              <a:gd name="connsiteX191" fmla="*/ 3969 w 10003"/>
              <a:gd name="connsiteY191" fmla="*/ 5396 h 10000"/>
              <a:gd name="connsiteX192" fmla="*/ 4225 w 10003"/>
              <a:gd name="connsiteY192" fmla="*/ 5112 h 10000"/>
              <a:gd name="connsiteX193" fmla="*/ 4369 w 10003"/>
              <a:gd name="connsiteY193" fmla="*/ 4846 h 10000"/>
              <a:gd name="connsiteX194" fmla="*/ 4353 w 10003"/>
              <a:gd name="connsiteY194" fmla="*/ 4545 h 10000"/>
              <a:gd name="connsiteX195" fmla="*/ 4337 w 10003"/>
              <a:gd name="connsiteY195" fmla="*/ 4278 h 10000"/>
              <a:gd name="connsiteX196" fmla="*/ 4177 w 10003"/>
              <a:gd name="connsiteY196" fmla="*/ 4119 h 10000"/>
              <a:gd name="connsiteX197" fmla="*/ 4017 w 10003"/>
              <a:gd name="connsiteY197" fmla="*/ 4137 h 10000"/>
              <a:gd name="connsiteX198" fmla="*/ 3857 w 10003"/>
              <a:gd name="connsiteY198" fmla="*/ 4421 h 10000"/>
              <a:gd name="connsiteX199" fmla="*/ 3809 w 10003"/>
              <a:gd name="connsiteY199" fmla="*/ 4934 h 10000"/>
              <a:gd name="connsiteX200" fmla="*/ 3537 w 10003"/>
              <a:gd name="connsiteY200" fmla="*/ 5272 h 10000"/>
              <a:gd name="connsiteX201" fmla="*/ 2993 w 10003"/>
              <a:gd name="connsiteY201" fmla="*/ 5573 h 10000"/>
              <a:gd name="connsiteX202" fmla="*/ 2416 w 10003"/>
              <a:gd name="connsiteY202" fmla="*/ 5803 h 10000"/>
              <a:gd name="connsiteX203" fmla="*/ 1952 w 10003"/>
              <a:gd name="connsiteY203" fmla="*/ 6122 h 10000"/>
              <a:gd name="connsiteX204" fmla="*/ 0 w 10003"/>
              <a:gd name="connsiteY204" fmla="*/ 6051 h 10000"/>
              <a:gd name="connsiteX205" fmla="*/ 3 w 10003"/>
              <a:gd name="connsiteY205" fmla="*/ 5826 h 10000"/>
              <a:gd name="connsiteX206" fmla="*/ 159 w 10003"/>
              <a:gd name="connsiteY206" fmla="*/ 5909 h 10000"/>
              <a:gd name="connsiteX207" fmla="*/ 368 w 10003"/>
              <a:gd name="connsiteY207" fmla="*/ 5826 h 10000"/>
              <a:gd name="connsiteX208" fmla="*/ 1462 w 10003"/>
              <a:gd name="connsiteY208" fmla="*/ 5826 h 10000"/>
              <a:gd name="connsiteX209" fmla="*/ 1617 w 10003"/>
              <a:gd name="connsiteY209" fmla="*/ 5785 h 10000"/>
              <a:gd name="connsiteX210" fmla="*/ 1670 w 10003"/>
              <a:gd name="connsiteY210" fmla="*/ 5785 h 10000"/>
              <a:gd name="connsiteX211" fmla="*/ 2190 w 10003"/>
              <a:gd name="connsiteY211" fmla="*/ 5248 h 10000"/>
              <a:gd name="connsiteX212" fmla="*/ 2295 w 10003"/>
              <a:gd name="connsiteY212" fmla="*/ 5165 h 10000"/>
              <a:gd name="connsiteX213" fmla="*/ 2763 w 10003"/>
              <a:gd name="connsiteY213" fmla="*/ 4752 h 10000"/>
              <a:gd name="connsiteX214" fmla="*/ 3024 w 10003"/>
              <a:gd name="connsiteY214" fmla="*/ 4504 h 10000"/>
              <a:gd name="connsiteX215" fmla="*/ 3180 w 10003"/>
              <a:gd name="connsiteY215" fmla="*/ 4380 h 10000"/>
              <a:gd name="connsiteX216" fmla="*/ 3597 w 10003"/>
              <a:gd name="connsiteY216" fmla="*/ 3760 h 10000"/>
              <a:gd name="connsiteX217" fmla="*/ 4117 w 10003"/>
              <a:gd name="connsiteY217" fmla="*/ 3512 h 10000"/>
              <a:gd name="connsiteX218" fmla="*/ 5003 w 10003"/>
              <a:gd name="connsiteY218" fmla="*/ 2810 h 10000"/>
              <a:gd name="connsiteX219" fmla="*/ 4846 w 10003"/>
              <a:gd name="connsiteY219" fmla="*/ 2562 h 10000"/>
              <a:gd name="connsiteX220" fmla="*/ 4795 w 10003"/>
              <a:gd name="connsiteY220" fmla="*/ 2397 h 10000"/>
              <a:gd name="connsiteX221" fmla="*/ 4795 w 10003"/>
              <a:gd name="connsiteY221" fmla="*/ 1240 h 10000"/>
              <a:gd name="connsiteX222" fmla="*/ 4117 w 10003"/>
              <a:gd name="connsiteY222" fmla="*/ 744 h 10000"/>
              <a:gd name="connsiteX223" fmla="*/ 4951 w 10003"/>
              <a:gd name="connsiteY223" fmla="*/ 744 h 10000"/>
              <a:gd name="connsiteX224" fmla="*/ 5784 w 10003"/>
              <a:gd name="connsiteY224" fmla="*/ 744 h 10000"/>
              <a:gd name="connsiteX225" fmla="*/ 5784 w 10003"/>
              <a:gd name="connsiteY225" fmla="*/ 702 h 10000"/>
              <a:gd name="connsiteX226" fmla="*/ 5784 w 10003"/>
              <a:gd name="connsiteY226" fmla="*/ 661 h 10000"/>
              <a:gd name="connsiteX227" fmla="*/ 5784 w 10003"/>
              <a:gd name="connsiteY227" fmla="*/ 620 h 10000"/>
              <a:gd name="connsiteX228" fmla="*/ 5784 w 10003"/>
              <a:gd name="connsiteY228" fmla="*/ 579 h 10000"/>
              <a:gd name="connsiteX229" fmla="*/ 5836 w 10003"/>
              <a:gd name="connsiteY229" fmla="*/ 537 h 10000"/>
              <a:gd name="connsiteX230" fmla="*/ 5836 w 10003"/>
              <a:gd name="connsiteY230" fmla="*/ 496 h 10000"/>
              <a:gd name="connsiteX231" fmla="*/ 5836 w 10003"/>
              <a:gd name="connsiteY231" fmla="*/ 455 h 10000"/>
              <a:gd name="connsiteX232" fmla="*/ 5836 w 10003"/>
              <a:gd name="connsiteY232" fmla="*/ 413 h 10000"/>
              <a:gd name="connsiteX233" fmla="*/ 5836 w 10003"/>
              <a:gd name="connsiteY233" fmla="*/ 372 h 10000"/>
              <a:gd name="connsiteX234" fmla="*/ 5836 w 10003"/>
              <a:gd name="connsiteY234" fmla="*/ 331 h 10000"/>
              <a:gd name="connsiteX235" fmla="*/ 5784 w 10003"/>
              <a:gd name="connsiteY235" fmla="*/ 331 h 10000"/>
              <a:gd name="connsiteX236" fmla="*/ 5784 w 10003"/>
              <a:gd name="connsiteY236" fmla="*/ 289 h 10000"/>
              <a:gd name="connsiteX237" fmla="*/ 5784 w 10003"/>
              <a:gd name="connsiteY237" fmla="*/ 248 h 10000"/>
              <a:gd name="connsiteX238" fmla="*/ 5784 w 10003"/>
              <a:gd name="connsiteY238" fmla="*/ 207 h 10000"/>
              <a:gd name="connsiteX239" fmla="*/ 5784 w 10003"/>
              <a:gd name="connsiteY239" fmla="*/ 165 h 10000"/>
              <a:gd name="connsiteX240" fmla="*/ 5784 w 10003"/>
              <a:gd name="connsiteY240" fmla="*/ 124 h 10000"/>
              <a:gd name="connsiteX241" fmla="*/ 5784 w 10003"/>
              <a:gd name="connsiteY241" fmla="*/ 83 h 10000"/>
              <a:gd name="connsiteX242" fmla="*/ 5784 w 10003"/>
              <a:gd name="connsiteY242" fmla="*/ 41 h 10000"/>
              <a:gd name="connsiteX243" fmla="*/ 5784 w 10003"/>
              <a:gd name="connsiteY24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6546 w 10003"/>
              <a:gd name="connsiteY180" fmla="*/ 6849 h 10000"/>
              <a:gd name="connsiteX181" fmla="*/ 5777 w 10003"/>
              <a:gd name="connsiteY181" fmla="*/ 6814 h 10000"/>
              <a:gd name="connsiteX182" fmla="*/ 5313 w 10003"/>
              <a:gd name="connsiteY182" fmla="*/ 6708 h 10000"/>
              <a:gd name="connsiteX183" fmla="*/ 5073 w 10003"/>
              <a:gd name="connsiteY183" fmla="*/ 6602 h 10000"/>
              <a:gd name="connsiteX184" fmla="*/ 4913 w 10003"/>
              <a:gd name="connsiteY184" fmla="*/ 6690 h 10000"/>
              <a:gd name="connsiteX185" fmla="*/ 4417 w 10003"/>
              <a:gd name="connsiteY185" fmla="*/ 6530 h 10000"/>
              <a:gd name="connsiteX186" fmla="*/ 3585 w 10003"/>
              <a:gd name="connsiteY186" fmla="*/ 6247 h 10000"/>
              <a:gd name="connsiteX187" fmla="*/ 3105 w 10003"/>
              <a:gd name="connsiteY187" fmla="*/ 6193 h 10000"/>
              <a:gd name="connsiteX188" fmla="*/ 3201 w 10003"/>
              <a:gd name="connsiteY188" fmla="*/ 5998 h 10000"/>
              <a:gd name="connsiteX189" fmla="*/ 3345 w 10003"/>
              <a:gd name="connsiteY189" fmla="*/ 5945 h 10000"/>
              <a:gd name="connsiteX190" fmla="*/ 3729 w 10003"/>
              <a:gd name="connsiteY190" fmla="*/ 5662 h 10000"/>
              <a:gd name="connsiteX191" fmla="*/ 3969 w 10003"/>
              <a:gd name="connsiteY191" fmla="*/ 5396 h 10000"/>
              <a:gd name="connsiteX192" fmla="*/ 4225 w 10003"/>
              <a:gd name="connsiteY192" fmla="*/ 5112 h 10000"/>
              <a:gd name="connsiteX193" fmla="*/ 4369 w 10003"/>
              <a:gd name="connsiteY193" fmla="*/ 4846 h 10000"/>
              <a:gd name="connsiteX194" fmla="*/ 4353 w 10003"/>
              <a:gd name="connsiteY194" fmla="*/ 4545 h 10000"/>
              <a:gd name="connsiteX195" fmla="*/ 4337 w 10003"/>
              <a:gd name="connsiteY195" fmla="*/ 4278 h 10000"/>
              <a:gd name="connsiteX196" fmla="*/ 4177 w 10003"/>
              <a:gd name="connsiteY196" fmla="*/ 4119 h 10000"/>
              <a:gd name="connsiteX197" fmla="*/ 4017 w 10003"/>
              <a:gd name="connsiteY197" fmla="*/ 4137 h 10000"/>
              <a:gd name="connsiteX198" fmla="*/ 3857 w 10003"/>
              <a:gd name="connsiteY198" fmla="*/ 4421 h 10000"/>
              <a:gd name="connsiteX199" fmla="*/ 3809 w 10003"/>
              <a:gd name="connsiteY199" fmla="*/ 4934 h 10000"/>
              <a:gd name="connsiteX200" fmla="*/ 3537 w 10003"/>
              <a:gd name="connsiteY200" fmla="*/ 5272 h 10000"/>
              <a:gd name="connsiteX201" fmla="*/ 2993 w 10003"/>
              <a:gd name="connsiteY201" fmla="*/ 5573 h 10000"/>
              <a:gd name="connsiteX202" fmla="*/ 2416 w 10003"/>
              <a:gd name="connsiteY202" fmla="*/ 5803 h 10000"/>
              <a:gd name="connsiteX203" fmla="*/ 1952 w 10003"/>
              <a:gd name="connsiteY203" fmla="*/ 6122 h 10000"/>
              <a:gd name="connsiteX204" fmla="*/ 0 w 10003"/>
              <a:gd name="connsiteY204" fmla="*/ 6051 h 10000"/>
              <a:gd name="connsiteX205" fmla="*/ 3 w 10003"/>
              <a:gd name="connsiteY205" fmla="*/ 5826 h 10000"/>
              <a:gd name="connsiteX206" fmla="*/ 159 w 10003"/>
              <a:gd name="connsiteY206" fmla="*/ 5909 h 10000"/>
              <a:gd name="connsiteX207" fmla="*/ 368 w 10003"/>
              <a:gd name="connsiteY207" fmla="*/ 5826 h 10000"/>
              <a:gd name="connsiteX208" fmla="*/ 1462 w 10003"/>
              <a:gd name="connsiteY208" fmla="*/ 5826 h 10000"/>
              <a:gd name="connsiteX209" fmla="*/ 1617 w 10003"/>
              <a:gd name="connsiteY209" fmla="*/ 5785 h 10000"/>
              <a:gd name="connsiteX210" fmla="*/ 1670 w 10003"/>
              <a:gd name="connsiteY210" fmla="*/ 5785 h 10000"/>
              <a:gd name="connsiteX211" fmla="*/ 2190 w 10003"/>
              <a:gd name="connsiteY211" fmla="*/ 5248 h 10000"/>
              <a:gd name="connsiteX212" fmla="*/ 2295 w 10003"/>
              <a:gd name="connsiteY212" fmla="*/ 5165 h 10000"/>
              <a:gd name="connsiteX213" fmla="*/ 2763 w 10003"/>
              <a:gd name="connsiteY213" fmla="*/ 4752 h 10000"/>
              <a:gd name="connsiteX214" fmla="*/ 3024 w 10003"/>
              <a:gd name="connsiteY214" fmla="*/ 4504 h 10000"/>
              <a:gd name="connsiteX215" fmla="*/ 3180 w 10003"/>
              <a:gd name="connsiteY215" fmla="*/ 4380 h 10000"/>
              <a:gd name="connsiteX216" fmla="*/ 3597 w 10003"/>
              <a:gd name="connsiteY216" fmla="*/ 3760 h 10000"/>
              <a:gd name="connsiteX217" fmla="*/ 4117 w 10003"/>
              <a:gd name="connsiteY217" fmla="*/ 3512 h 10000"/>
              <a:gd name="connsiteX218" fmla="*/ 5003 w 10003"/>
              <a:gd name="connsiteY218" fmla="*/ 2810 h 10000"/>
              <a:gd name="connsiteX219" fmla="*/ 4846 w 10003"/>
              <a:gd name="connsiteY219" fmla="*/ 2562 h 10000"/>
              <a:gd name="connsiteX220" fmla="*/ 4795 w 10003"/>
              <a:gd name="connsiteY220" fmla="*/ 2397 h 10000"/>
              <a:gd name="connsiteX221" fmla="*/ 4795 w 10003"/>
              <a:gd name="connsiteY221" fmla="*/ 1240 h 10000"/>
              <a:gd name="connsiteX222" fmla="*/ 4117 w 10003"/>
              <a:gd name="connsiteY222" fmla="*/ 744 h 10000"/>
              <a:gd name="connsiteX223" fmla="*/ 4951 w 10003"/>
              <a:gd name="connsiteY223" fmla="*/ 744 h 10000"/>
              <a:gd name="connsiteX224" fmla="*/ 5784 w 10003"/>
              <a:gd name="connsiteY224" fmla="*/ 744 h 10000"/>
              <a:gd name="connsiteX225" fmla="*/ 5784 w 10003"/>
              <a:gd name="connsiteY225" fmla="*/ 702 h 10000"/>
              <a:gd name="connsiteX226" fmla="*/ 5784 w 10003"/>
              <a:gd name="connsiteY226" fmla="*/ 661 h 10000"/>
              <a:gd name="connsiteX227" fmla="*/ 5784 w 10003"/>
              <a:gd name="connsiteY227" fmla="*/ 620 h 10000"/>
              <a:gd name="connsiteX228" fmla="*/ 5784 w 10003"/>
              <a:gd name="connsiteY228" fmla="*/ 579 h 10000"/>
              <a:gd name="connsiteX229" fmla="*/ 5836 w 10003"/>
              <a:gd name="connsiteY229" fmla="*/ 537 h 10000"/>
              <a:gd name="connsiteX230" fmla="*/ 5836 w 10003"/>
              <a:gd name="connsiteY230" fmla="*/ 496 h 10000"/>
              <a:gd name="connsiteX231" fmla="*/ 5836 w 10003"/>
              <a:gd name="connsiteY231" fmla="*/ 455 h 10000"/>
              <a:gd name="connsiteX232" fmla="*/ 5836 w 10003"/>
              <a:gd name="connsiteY232" fmla="*/ 413 h 10000"/>
              <a:gd name="connsiteX233" fmla="*/ 5836 w 10003"/>
              <a:gd name="connsiteY233" fmla="*/ 372 h 10000"/>
              <a:gd name="connsiteX234" fmla="*/ 5836 w 10003"/>
              <a:gd name="connsiteY234" fmla="*/ 331 h 10000"/>
              <a:gd name="connsiteX235" fmla="*/ 5784 w 10003"/>
              <a:gd name="connsiteY235" fmla="*/ 331 h 10000"/>
              <a:gd name="connsiteX236" fmla="*/ 5784 w 10003"/>
              <a:gd name="connsiteY236" fmla="*/ 289 h 10000"/>
              <a:gd name="connsiteX237" fmla="*/ 5784 w 10003"/>
              <a:gd name="connsiteY237" fmla="*/ 248 h 10000"/>
              <a:gd name="connsiteX238" fmla="*/ 5784 w 10003"/>
              <a:gd name="connsiteY238" fmla="*/ 207 h 10000"/>
              <a:gd name="connsiteX239" fmla="*/ 5784 w 10003"/>
              <a:gd name="connsiteY239" fmla="*/ 165 h 10000"/>
              <a:gd name="connsiteX240" fmla="*/ 5784 w 10003"/>
              <a:gd name="connsiteY240" fmla="*/ 124 h 10000"/>
              <a:gd name="connsiteX241" fmla="*/ 5784 w 10003"/>
              <a:gd name="connsiteY241" fmla="*/ 83 h 10000"/>
              <a:gd name="connsiteX242" fmla="*/ 5784 w 10003"/>
              <a:gd name="connsiteY242" fmla="*/ 41 h 10000"/>
              <a:gd name="connsiteX243" fmla="*/ 5784 w 10003"/>
              <a:gd name="connsiteY243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6530 w 10003"/>
              <a:gd name="connsiteY180" fmla="*/ 7435 h 10000"/>
              <a:gd name="connsiteX181" fmla="*/ 6546 w 10003"/>
              <a:gd name="connsiteY181" fmla="*/ 6849 h 10000"/>
              <a:gd name="connsiteX182" fmla="*/ 5777 w 10003"/>
              <a:gd name="connsiteY182" fmla="*/ 6814 h 10000"/>
              <a:gd name="connsiteX183" fmla="*/ 5313 w 10003"/>
              <a:gd name="connsiteY183" fmla="*/ 6708 h 10000"/>
              <a:gd name="connsiteX184" fmla="*/ 5073 w 10003"/>
              <a:gd name="connsiteY184" fmla="*/ 6602 h 10000"/>
              <a:gd name="connsiteX185" fmla="*/ 4913 w 10003"/>
              <a:gd name="connsiteY185" fmla="*/ 6690 h 10000"/>
              <a:gd name="connsiteX186" fmla="*/ 4417 w 10003"/>
              <a:gd name="connsiteY186" fmla="*/ 6530 h 10000"/>
              <a:gd name="connsiteX187" fmla="*/ 3585 w 10003"/>
              <a:gd name="connsiteY187" fmla="*/ 6247 h 10000"/>
              <a:gd name="connsiteX188" fmla="*/ 3105 w 10003"/>
              <a:gd name="connsiteY188" fmla="*/ 6193 h 10000"/>
              <a:gd name="connsiteX189" fmla="*/ 3201 w 10003"/>
              <a:gd name="connsiteY189" fmla="*/ 5998 h 10000"/>
              <a:gd name="connsiteX190" fmla="*/ 3345 w 10003"/>
              <a:gd name="connsiteY190" fmla="*/ 5945 h 10000"/>
              <a:gd name="connsiteX191" fmla="*/ 3729 w 10003"/>
              <a:gd name="connsiteY191" fmla="*/ 5662 h 10000"/>
              <a:gd name="connsiteX192" fmla="*/ 3969 w 10003"/>
              <a:gd name="connsiteY192" fmla="*/ 5396 h 10000"/>
              <a:gd name="connsiteX193" fmla="*/ 4225 w 10003"/>
              <a:gd name="connsiteY193" fmla="*/ 5112 h 10000"/>
              <a:gd name="connsiteX194" fmla="*/ 4369 w 10003"/>
              <a:gd name="connsiteY194" fmla="*/ 4846 h 10000"/>
              <a:gd name="connsiteX195" fmla="*/ 4353 w 10003"/>
              <a:gd name="connsiteY195" fmla="*/ 4545 h 10000"/>
              <a:gd name="connsiteX196" fmla="*/ 4337 w 10003"/>
              <a:gd name="connsiteY196" fmla="*/ 4278 h 10000"/>
              <a:gd name="connsiteX197" fmla="*/ 4177 w 10003"/>
              <a:gd name="connsiteY197" fmla="*/ 4119 h 10000"/>
              <a:gd name="connsiteX198" fmla="*/ 4017 w 10003"/>
              <a:gd name="connsiteY198" fmla="*/ 4137 h 10000"/>
              <a:gd name="connsiteX199" fmla="*/ 3857 w 10003"/>
              <a:gd name="connsiteY199" fmla="*/ 4421 h 10000"/>
              <a:gd name="connsiteX200" fmla="*/ 3809 w 10003"/>
              <a:gd name="connsiteY200" fmla="*/ 4934 h 10000"/>
              <a:gd name="connsiteX201" fmla="*/ 3537 w 10003"/>
              <a:gd name="connsiteY201" fmla="*/ 5272 h 10000"/>
              <a:gd name="connsiteX202" fmla="*/ 2993 w 10003"/>
              <a:gd name="connsiteY202" fmla="*/ 5573 h 10000"/>
              <a:gd name="connsiteX203" fmla="*/ 2416 w 10003"/>
              <a:gd name="connsiteY203" fmla="*/ 5803 h 10000"/>
              <a:gd name="connsiteX204" fmla="*/ 1952 w 10003"/>
              <a:gd name="connsiteY204" fmla="*/ 6122 h 10000"/>
              <a:gd name="connsiteX205" fmla="*/ 0 w 10003"/>
              <a:gd name="connsiteY205" fmla="*/ 6051 h 10000"/>
              <a:gd name="connsiteX206" fmla="*/ 3 w 10003"/>
              <a:gd name="connsiteY206" fmla="*/ 5826 h 10000"/>
              <a:gd name="connsiteX207" fmla="*/ 159 w 10003"/>
              <a:gd name="connsiteY207" fmla="*/ 5909 h 10000"/>
              <a:gd name="connsiteX208" fmla="*/ 368 w 10003"/>
              <a:gd name="connsiteY208" fmla="*/ 5826 h 10000"/>
              <a:gd name="connsiteX209" fmla="*/ 1462 w 10003"/>
              <a:gd name="connsiteY209" fmla="*/ 5826 h 10000"/>
              <a:gd name="connsiteX210" fmla="*/ 1617 w 10003"/>
              <a:gd name="connsiteY210" fmla="*/ 5785 h 10000"/>
              <a:gd name="connsiteX211" fmla="*/ 1670 w 10003"/>
              <a:gd name="connsiteY211" fmla="*/ 5785 h 10000"/>
              <a:gd name="connsiteX212" fmla="*/ 2190 w 10003"/>
              <a:gd name="connsiteY212" fmla="*/ 5248 h 10000"/>
              <a:gd name="connsiteX213" fmla="*/ 2295 w 10003"/>
              <a:gd name="connsiteY213" fmla="*/ 5165 h 10000"/>
              <a:gd name="connsiteX214" fmla="*/ 2763 w 10003"/>
              <a:gd name="connsiteY214" fmla="*/ 4752 h 10000"/>
              <a:gd name="connsiteX215" fmla="*/ 3024 w 10003"/>
              <a:gd name="connsiteY215" fmla="*/ 4504 h 10000"/>
              <a:gd name="connsiteX216" fmla="*/ 3180 w 10003"/>
              <a:gd name="connsiteY216" fmla="*/ 4380 h 10000"/>
              <a:gd name="connsiteX217" fmla="*/ 3597 w 10003"/>
              <a:gd name="connsiteY217" fmla="*/ 3760 h 10000"/>
              <a:gd name="connsiteX218" fmla="*/ 4117 w 10003"/>
              <a:gd name="connsiteY218" fmla="*/ 3512 h 10000"/>
              <a:gd name="connsiteX219" fmla="*/ 5003 w 10003"/>
              <a:gd name="connsiteY219" fmla="*/ 2810 h 10000"/>
              <a:gd name="connsiteX220" fmla="*/ 4846 w 10003"/>
              <a:gd name="connsiteY220" fmla="*/ 2562 h 10000"/>
              <a:gd name="connsiteX221" fmla="*/ 4795 w 10003"/>
              <a:gd name="connsiteY221" fmla="*/ 2397 h 10000"/>
              <a:gd name="connsiteX222" fmla="*/ 4795 w 10003"/>
              <a:gd name="connsiteY222" fmla="*/ 1240 h 10000"/>
              <a:gd name="connsiteX223" fmla="*/ 4117 w 10003"/>
              <a:gd name="connsiteY223" fmla="*/ 744 h 10000"/>
              <a:gd name="connsiteX224" fmla="*/ 4951 w 10003"/>
              <a:gd name="connsiteY224" fmla="*/ 744 h 10000"/>
              <a:gd name="connsiteX225" fmla="*/ 5784 w 10003"/>
              <a:gd name="connsiteY225" fmla="*/ 744 h 10000"/>
              <a:gd name="connsiteX226" fmla="*/ 5784 w 10003"/>
              <a:gd name="connsiteY226" fmla="*/ 702 h 10000"/>
              <a:gd name="connsiteX227" fmla="*/ 5784 w 10003"/>
              <a:gd name="connsiteY227" fmla="*/ 661 h 10000"/>
              <a:gd name="connsiteX228" fmla="*/ 5784 w 10003"/>
              <a:gd name="connsiteY228" fmla="*/ 620 h 10000"/>
              <a:gd name="connsiteX229" fmla="*/ 5784 w 10003"/>
              <a:gd name="connsiteY229" fmla="*/ 579 h 10000"/>
              <a:gd name="connsiteX230" fmla="*/ 5836 w 10003"/>
              <a:gd name="connsiteY230" fmla="*/ 537 h 10000"/>
              <a:gd name="connsiteX231" fmla="*/ 5836 w 10003"/>
              <a:gd name="connsiteY231" fmla="*/ 496 h 10000"/>
              <a:gd name="connsiteX232" fmla="*/ 5836 w 10003"/>
              <a:gd name="connsiteY232" fmla="*/ 455 h 10000"/>
              <a:gd name="connsiteX233" fmla="*/ 5836 w 10003"/>
              <a:gd name="connsiteY233" fmla="*/ 413 h 10000"/>
              <a:gd name="connsiteX234" fmla="*/ 5836 w 10003"/>
              <a:gd name="connsiteY234" fmla="*/ 372 h 10000"/>
              <a:gd name="connsiteX235" fmla="*/ 5836 w 10003"/>
              <a:gd name="connsiteY235" fmla="*/ 331 h 10000"/>
              <a:gd name="connsiteX236" fmla="*/ 5784 w 10003"/>
              <a:gd name="connsiteY236" fmla="*/ 331 h 10000"/>
              <a:gd name="connsiteX237" fmla="*/ 5784 w 10003"/>
              <a:gd name="connsiteY237" fmla="*/ 289 h 10000"/>
              <a:gd name="connsiteX238" fmla="*/ 5784 w 10003"/>
              <a:gd name="connsiteY238" fmla="*/ 248 h 10000"/>
              <a:gd name="connsiteX239" fmla="*/ 5784 w 10003"/>
              <a:gd name="connsiteY239" fmla="*/ 207 h 10000"/>
              <a:gd name="connsiteX240" fmla="*/ 5784 w 10003"/>
              <a:gd name="connsiteY240" fmla="*/ 165 h 10000"/>
              <a:gd name="connsiteX241" fmla="*/ 5784 w 10003"/>
              <a:gd name="connsiteY241" fmla="*/ 124 h 10000"/>
              <a:gd name="connsiteX242" fmla="*/ 5784 w 10003"/>
              <a:gd name="connsiteY242" fmla="*/ 83 h 10000"/>
              <a:gd name="connsiteX243" fmla="*/ 5784 w 10003"/>
              <a:gd name="connsiteY243" fmla="*/ 41 h 10000"/>
              <a:gd name="connsiteX244" fmla="*/ 5784 w 10003"/>
              <a:gd name="connsiteY24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106 w 10003"/>
              <a:gd name="connsiteY180" fmla="*/ 7134 h 10000"/>
              <a:gd name="connsiteX181" fmla="*/ 6546 w 10003"/>
              <a:gd name="connsiteY181" fmla="*/ 6849 h 10000"/>
              <a:gd name="connsiteX182" fmla="*/ 5777 w 10003"/>
              <a:gd name="connsiteY182" fmla="*/ 6814 h 10000"/>
              <a:gd name="connsiteX183" fmla="*/ 5313 w 10003"/>
              <a:gd name="connsiteY183" fmla="*/ 6708 h 10000"/>
              <a:gd name="connsiteX184" fmla="*/ 5073 w 10003"/>
              <a:gd name="connsiteY184" fmla="*/ 6602 h 10000"/>
              <a:gd name="connsiteX185" fmla="*/ 4913 w 10003"/>
              <a:gd name="connsiteY185" fmla="*/ 6690 h 10000"/>
              <a:gd name="connsiteX186" fmla="*/ 4417 w 10003"/>
              <a:gd name="connsiteY186" fmla="*/ 6530 h 10000"/>
              <a:gd name="connsiteX187" fmla="*/ 3585 w 10003"/>
              <a:gd name="connsiteY187" fmla="*/ 6247 h 10000"/>
              <a:gd name="connsiteX188" fmla="*/ 3105 w 10003"/>
              <a:gd name="connsiteY188" fmla="*/ 6193 h 10000"/>
              <a:gd name="connsiteX189" fmla="*/ 3201 w 10003"/>
              <a:gd name="connsiteY189" fmla="*/ 5998 h 10000"/>
              <a:gd name="connsiteX190" fmla="*/ 3345 w 10003"/>
              <a:gd name="connsiteY190" fmla="*/ 5945 h 10000"/>
              <a:gd name="connsiteX191" fmla="*/ 3729 w 10003"/>
              <a:gd name="connsiteY191" fmla="*/ 5662 h 10000"/>
              <a:gd name="connsiteX192" fmla="*/ 3969 w 10003"/>
              <a:gd name="connsiteY192" fmla="*/ 5396 h 10000"/>
              <a:gd name="connsiteX193" fmla="*/ 4225 w 10003"/>
              <a:gd name="connsiteY193" fmla="*/ 5112 h 10000"/>
              <a:gd name="connsiteX194" fmla="*/ 4369 w 10003"/>
              <a:gd name="connsiteY194" fmla="*/ 4846 h 10000"/>
              <a:gd name="connsiteX195" fmla="*/ 4353 w 10003"/>
              <a:gd name="connsiteY195" fmla="*/ 4545 h 10000"/>
              <a:gd name="connsiteX196" fmla="*/ 4337 w 10003"/>
              <a:gd name="connsiteY196" fmla="*/ 4278 h 10000"/>
              <a:gd name="connsiteX197" fmla="*/ 4177 w 10003"/>
              <a:gd name="connsiteY197" fmla="*/ 4119 h 10000"/>
              <a:gd name="connsiteX198" fmla="*/ 4017 w 10003"/>
              <a:gd name="connsiteY198" fmla="*/ 4137 h 10000"/>
              <a:gd name="connsiteX199" fmla="*/ 3857 w 10003"/>
              <a:gd name="connsiteY199" fmla="*/ 4421 h 10000"/>
              <a:gd name="connsiteX200" fmla="*/ 3809 w 10003"/>
              <a:gd name="connsiteY200" fmla="*/ 4934 h 10000"/>
              <a:gd name="connsiteX201" fmla="*/ 3537 w 10003"/>
              <a:gd name="connsiteY201" fmla="*/ 5272 h 10000"/>
              <a:gd name="connsiteX202" fmla="*/ 2993 w 10003"/>
              <a:gd name="connsiteY202" fmla="*/ 5573 h 10000"/>
              <a:gd name="connsiteX203" fmla="*/ 2416 w 10003"/>
              <a:gd name="connsiteY203" fmla="*/ 5803 h 10000"/>
              <a:gd name="connsiteX204" fmla="*/ 1952 w 10003"/>
              <a:gd name="connsiteY204" fmla="*/ 6122 h 10000"/>
              <a:gd name="connsiteX205" fmla="*/ 0 w 10003"/>
              <a:gd name="connsiteY205" fmla="*/ 6051 h 10000"/>
              <a:gd name="connsiteX206" fmla="*/ 3 w 10003"/>
              <a:gd name="connsiteY206" fmla="*/ 5826 h 10000"/>
              <a:gd name="connsiteX207" fmla="*/ 159 w 10003"/>
              <a:gd name="connsiteY207" fmla="*/ 5909 h 10000"/>
              <a:gd name="connsiteX208" fmla="*/ 368 w 10003"/>
              <a:gd name="connsiteY208" fmla="*/ 5826 h 10000"/>
              <a:gd name="connsiteX209" fmla="*/ 1462 w 10003"/>
              <a:gd name="connsiteY209" fmla="*/ 5826 h 10000"/>
              <a:gd name="connsiteX210" fmla="*/ 1617 w 10003"/>
              <a:gd name="connsiteY210" fmla="*/ 5785 h 10000"/>
              <a:gd name="connsiteX211" fmla="*/ 1670 w 10003"/>
              <a:gd name="connsiteY211" fmla="*/ 5785 h 10000"/>
              <a:gd name="connsiteX212" fmla="*/ 2190 w 10003"/>
              <a:gd name="connsiteY212" fmla="*/ 5248 h 10000"/>
              <a:gd name="connsiteX213" fmla="*/ 2295 w 10003"/>
              <a:gd name="connsiteY213" fmla="*/ 5165 h 10000"/>
              <a:gd name="connsiteX214" fmla="*/ 2763 w 10003"/>
              <a:gd name="connsiteY214" fmla="*/ 4752 h 10000"/>
              <a:gd name="connsiteX215" fmla="*/ 3024 w 10003"/>
              <a:gd name="connsiteY215" fmla="*/ 4504 h 10000"/>
              <a:gd name="connsiteX216" fmla="*/ 3180 w 10003"/>
              <a:gd name="connsiteY216" fmla="*/ 4380 h 10000"/>
              <a:gd name="connsiteX217" fmla="*/ 3597 w 10003"/>
              <a:gd name="connsiteY217" fmla="*/ 3760 h 10000"/>
              <a:gd name="connsiteX218" fmla="*/ 4117 w 10003"/>
              <a:gd name="connsiteY218" fmla="*/ 3512 h 10000"/>
              <a:gd name="connsiteX219" fmla="*/ 5003 w 10003"/>
              <a:gd name="connsiteY219" fmla="*/ 2810 h 10000"/>
              <a:gd name="connsiteX220" fmla="*/ 4846 w 10003"/>
              <a:gd name="connsiteY220" fmla="*/ 2562 h 10000"/>
              <a:gd name="connsiteX221" fmla="*/ 4795 w 10003"/>
              <a:gd name="connsiteY221" fmla="*/ 2397 h 10000"/>
              <a:gd name="connsiteX222" fmla="*/ 4795 w 10003"/>
              <a:gd name="connsiteY222" fmla="*/ 1240 h 10000"/>
              <a:gd name="connsiteX223" fmla="*/ 4117 w 10003"/>
              <a:gd name="connsiteY223" fmla="*/ 744 h 10000"/>
              <a:gd name="connsiteX224" fmla="*/ 4951 w 10003"/>
              <a:gd name="connsiteY224" fmla="*/ 744 h 10000"/>
              <a:gd name="connsiteX225" fmla="*/ 5784 w 10003"/>
              <a:gd name="connsiteY225" fmla="*/ 744 h 10000"/>
              <a:gd name="connsiteX226" fmla="*/ 5784 w 10003"/>
              <a:gd name="connsiteY226" fmla="*/ 702 h 10000"/>
              <a:gd name="connsiteX227" fmla="*/ 5784 w 10003"/>
              <a:gd name="connsiteY227" fmla="*/ 661 h 10000"/>
              <a:gd name="connsiteX228" fmla="*/ 5784 w 10003"/>
              <a:gd name="connsiteY228" fmla="*/ 620 h 10000"/>
              <a:gd name="connsiteX229" fmla="*/ 5784 w 10003"/>
              <a:gd name="connsiteY229" fmla="*/ 579 h 10000"/>
              <a:gd name="connsiteX230" fmla="*/ 5836 w 10003"/>
              <a:gd name="connsiteY230" fmla="*/ 537 h 10000"/>
              <a:gd name="connsiteX231" fmla="*/ 5836 w 10003"/>
              <a:gd name="connsiteY231" fmla="*/ 496 h 10000"/>
              <a:gd name="connsiteX232" fmla="*/ 5836 w 10003"/>
              <a:gd name="connsiteY232" fmla="*/ 455 h 10000"/>
              <a:gd name="connsiteX233" fmla="*/ 5836 w 10003"/>
              <a:gd name="connsiteY233" fmla="*/ 413 h 10000"/>
              <a:gd name="connsiteX234" fmla="*/ 5836 w 10003"/>
              <a:gd name="connsiteY234" fmla="*/ 372 h 10000"/>
              <a:gd name="connsiteX235" fmla="*/ 5836 w 10003"/>
              <a:gd name="connsiteY235" fmla="*/ 331 h 10000"/>
              <a:gd name="connsiteX236" fmla="*/ 5784 w 10003"/>
              <a:gd name="connsiteY236" fmla="*/ 331 h 10000"/>
              <a:gd name="connsiteX237" fmla="*/ 5784 w 10003"/>
              <a:gd name="connsiteY237" fmla="*/ 289 h 10000"/>
              <a:gd name="connsiteX238" fmla="*/ 5784 w 10003"/>
              <a:gd name="connsiteY238" fmla="*/ 248 h 10000"/>
              <a:gd name="connsiteX239" fmla="*/ 5784 w 10003"/>
              <a:gd name="connsiteY239" fmla="*/ 207 h 10000"/>
              <a:gd name="connsiteX240" fmla="*/ 5784 w 10003"/>
              <a:gd name="connsiteY240" fmla="*/ 165 h 10000"/>
              <a:gd name="connsiteX241" fmla="*/ 5784 w 10003"/>
              <a:gd name="connsiteY241" fmla="*/ 124 h 10000"/>
              <a:gd name="connsiteX242" fmla="*/ 5784 w 10003"/>
              <a:gd name="connsiteY242" fmla="*/ 83 h 10000"/>
              <a:gd name="connsiteX243" fmla="*/ 5784 w 10003"/>
              <a:gd name="connsiteY243" fmla="*/ 41 h 10000"/>
              <a:gd name="connsiteX244" fmla="*/ 5784 w 10003"/>
              <a:gd name="connsiteY24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106 w 10003"/>
              <a:gd name="connsiteY180" fmla="*/ 7134 h 10000"/>
              <a:gd name="connsiteX181" fmla="*/ 6546 w 10003"/>
              <a:gd name="connsiteY181" fmla="*/ 6849 h 10000"/>
              <a:gd name="connsiteX182" fmla="*/ 5777 w 10003"/>
              <a:gd name="connsiteY182" fmla="*/ 6814 h 10000"/>
              <a:gd name="connsiteX183" fmla="*/ 5313 w 10003"/>
              <a:gd name="connsiteY183" fmla="*/ 6708 h 10000"/>
              <a:gd name="connsiteX184" fmla="*/ 5073 w 10003"/>
              <a:gd name="connsiteY184" fmla="*/ 6602 h 10000"/>
              <a:gd name="connsiteX185" fmla="*/ 4913 w 10003"/>
              <a:gd name="connsiteY185" fmla="*/ 6690 h 10000"/>
              <a:gd name="connsiteX186" fmla="*/ 4417 w 10003"/>
              <a:gd name="connsiteY186" fmla="*/ 6530 h 10000"/>
              <a:gd name="connsiteX187" fmla="*/ 3585 w 10003"/>
              <a:gd name="connsiteY187" fmla="*/ 6247 h 10000"/>
              <a:gd name="connsiteX188" fmla="*/ 3105 w 10003"/>
              <a:gd name="connsiteY188" fmla="*/ 6193 h 10000"/>
              <a:gd name="connsiteX189" fmla="*/ 3201 w 10003"/>
              <a:gd name="connsiteY189" fmla="*/ 5998 h 10000"/>
              <a:gd name="connsiteX190" fmla="*/ 3345 w 10003"/>
              <a:gd name="connsiteY190" fmla="*/ 5945 h 10000"/>
              <a:gd name="connsiteX191" fmla="*/ 3729 w 10003"/>
              <a:gd name="connsiteY191" fmla="*/ 5662 h 10000"/>
              <a:gd name="connsiteX192" fmla="*/ 3969 w 10003"/>
              <a:gd name="connsiteY192" fmla="*/ 5396 h 10000"/>
              <a:gd name="connsiteX193" fmla="*/ 4225 w 10003"/>
              <a:gd name="connsiteY193" fmla="*/ 5112 h 10000"/>
              <a:gd name="connsiteX194" fmla="*/ 4369 w 10003"/>
              <a:gd name="connsiteY194" fmla="*/ 4846 h 10000"/>
              <a:gd name="connsiteX195" fmla="*/ 4353 w 10003"/>
              <a:gd name="connsiteY195" fmla="*/ 4545 h 10000"/>
              <a:gd name="connsiteX196" fmla="*/ 4337 w 10003"/>
              <a:gd name="connsiteY196" fmla="*/ 4278 h 10000"/>
              <a:gd name="connsiteX197" fmla="*/ 4177 w 10003"/>
              <a:gd name="connsiteY197" fmla="*/ 4119 h 10000"/>
              <a:gd name="connsiteX198" fmla="*/ 4017 w 10003"/>
              <a:gd name="connsiteY198" fmla="*/ 4137 h 10000"/>
              <a:gd name="connsiteX199" fmla="*/ 3857 w 10003"/>
              <a:gd name="connsiteY199" fmla="*/ 4421 h 10000"/>
              <a:gd name="connsiteX200" fmla="*/ 3809 w 10003"/>
              <a:gd name="connsiteY200" fmla="*/ 4934 h 10000"/>
              <a:gd name="connsiteX201" fmla="*/ 3537 w 10003"/>
              <a:gd name="connsiteY201" fmla="*/ 5272 h 10000"/>
              <a:gd name="connsiteX202" fmla="*/ 2993 w 10003"/>
              <a:gd name="connsiteY202" fmla="*/ 5573 h 10000"/>
              <a:gd name="connsiteX203" fmla="*/ 2416 w 10003"/>
              <a:gd name="connsiteY203" fmla="*/ 5803 h 10000"/>
              <a:gd name="connsiteX204" fmla="*/ 1952 w 10003"/>
              <a:gd name="connsiteY204" fmla="*/ 6122 h 10000"/>
              <a:gd name="connsiteX205" fmla="*/ 0 w 10003"/>
              <a:gd name="connsiteY205" fmla="*/ 6051 h 10000"/>
              <a:gd name="connsiteX206" fmla="*/ 3 w 10003"/>
              <a:gd name="connsiteY206" fmla="*/ 5826 h 10000"/>
              <a:gd name="connsiteX207" fmla="*/ 159 w 10003"/>
              <a:gd name="connsiteY207" fmla="*/ 5909 h 10000"/>
              <a:gd name="connsiteX208" fmla="*/ 368 w 10003"/>
              <a:gd name="connsiteY208" fmla="*/ 5826 h 10000"/>
              <a:gd name="connsiteX209" fmla="*/ 1462 w 10003"/>
              <a:gd name="connsiteY209" fmla="*/ 5826 h 10000"/>
              <a:gd name="connsiteX210" fmla="*/ 1617 w 10003"/>
              <a:gd name="connsiteY210" fmla="*/ 5785 h 10000"/>
              <a:gd name="connsiteX211" fmla="*/ 1670 w 10003"/>
              <a:gd name="connsiteY211" fmla="*/ 5785 h 10000"/>
              <a:gd name="connsiteX212" fmla="*/ 2190 w 10003"/>
              <a:gd name="connsiteY212" fmla="*/ 5248 h 10000"/>
              <a:gd name="connsiteX213" fmla="*/ 2295 w 10003"/>
              <a:gd name="connsiteY213" fmla="*/ 5165 h 10000"/>
              <a:gd name="connsiteX214" fmla="*/ 2763 w 10003"/>
              <a:gd name="connsiteY214" fmla="*/ 4752 h 10000"/>
              <a:gd name="connsiteX215" fmla="*/ 3024 w 10003"/>
              <a:gd name="connsiteY215" fmla="*/ 4504 h 10000"/>
              <a:gd name="connsiteX216" fmla="*/ 3180 w 10003"/>
              <a:gd name="connsiteY216" fmla="*/ 4380 h 10000"/>
              <a:gd name="connsiteX217" fmla="*/ 3597 w 10003"/>
              <a:gd name="connsiteY217" fmla="*/ 3760 h 10000"/>
              <a:gd name="connsiteX218" fmla="*/ 4117 w 10003"/>
              <a:gd name="connsiteY218" fmla="*/ 3512 h 10000"/>
              <a:gd name="connsiteX219" fmla="*/ 5003 w 10003"/>
              <a:gd name="connsiteY219" fmla="*/ 2810 h 10000"/>
              <a:gd name="connsiteX220" fmla="*/ 4846 w 10003"/>
              <a:gd name="connsiteY220" fmla="*/ 2562 h 10000"/>
              <a:gd name="connsiteX221" fmla="*/ 4795 w 10003"/>
              <a:gd name="connsiteY221" fmla="*/ 2397 h 10000"/>
              <a:gd name="connsiteX222" fmla="*/ 4795 w 10003"/>
              <a:gd name="connsiteY222" fmla="*/ 1240 h 10000"/>
              <a:gd name="connsiteX223" fmla="*/ 4117 w 10003"/>
              <a:gd name="connsiteY223" fmla="*/ 744 h 10000"/>
              <a:gd name="connsiteX224" fmla="*/ 4951 w 10003"/>
              <a:gd name="connsiteY224" fmla="*/ 744 h 10000"/>
              <a:gd name="connsiteX225" fmla="*/ 5784 w 10003"/>
              <a:gd name="connsiteY225" fmla="*/ 744 h 10000"/>
              <a:gd name="connsiteX226" fmla="*/ 5784 w 10003"/>
              <a:gd name="connsiteY226" fmla="*/ 702 h 10000"/>
              <a:gd name="connsiteX227" fmla="*/ 5784 w 10003"/>
              <a:gd name="connsiteY227" fmla="*/ 661 h 10000"/>
              <a:gd name="connsiteX228" fmla="*/ 5784 w 10003"/>
              <a:gd name="connsiteY228" fmla="*/ 620 h 10000"/>
              <a:gd name="connsiteX229" fmla="*/ 5784 w 10003"/>
              <a:gd name="connsiteY229" fmla="*/ 579 h 10000"/>
              <a:gd name="connsiteX230" fmla="*/ 5836 w 10003"/>
              <a:gd name="connsiteY230" fmla="*/ 537 h 10000"/>
              <a:gd name="connsiteX231" fmla="*/ 5836 w 10003"/>
              <a:gd name="connsiteY231" fmla="*/ 496 h 10000"/>
              <a:gd name="connsiteX232" fmla="*/ 5836 w 10003"/>
              <a:gd name="connsiteY232" fmla="*/ 455 h 10000"/>
              <a:gd name="connsiteX233" fmla="*/ 5836 w 10003"/>
              <a:gd name="connsiteY233" fmla="*/ 413 h 10000"/>
              <a:gd name="connsiteX234" fmla="*/ 5836 w 10003"/>
              <a:gd name="connsiteY234" fmla="*/ 372 h 10000"/>
              <a:gd name="connsiteX235" fmla="*/ 5836 w 10003"/>
              <a:gd name="connsiteY235" fmla="*/ 331 h 10000"/>
              <a:gd name="connsiteX236" fmla="*/ 5784 w 10003"/>
              <a:gd name="connsiteY236" fmla="*/ 331 h 10000"/>
              <a:gd name="connsiteX237" fmla="*/ 5784 w 10003"/>
              <a:gd name="connsiteY237" fmla="*/ 289 h 10000"/>
              <a:gd name="connsiteX238" fmla="*/ 5784 w 10003"/>
              <a:gd name="connsiteY238" fmla="*/ 248 h 10000"/>
              <a:gd name="connsiteX239" fmla="*/ 5784 w 10003"/>
              <a:gd name="connsiteY239" fmla="*/ 207 h 10000"/>
              <a:gd name="connsiteX240" fmla="*/ 5784 w 10003"/>
              <a:gd name="connsiteY240" fmla="*/ 165 h 10000"/>
              <a:gd name="connsiteX241" fmla="*/ 5784 w 10003"/>
              <a:gd name="connsiteY241" fmla="*/ 124 h 10000"/>
              <a:gd name="connsiteX242" fmla="*/ 5784 w 10003"/>
              <a:gd name="connsiteY242" fmla="*/ 83 h 10000"/>
              <a:gd name="connsiteX243" fmla="*/ 5784 w 10003"/>
              <a:gd name="connsiteY243" fmla="*/ 41 h 10000"/>
              <a:gd name="connsiteX244" fmla="*/ 5784 w 10003"/>
              <a:gd name="connsiteY24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138 w 10003"/>
              <a:gd name="connsiteY180" fmla="*/ 6957 h 10000"/>
              <a:gd name="connsiteX181" fmla="*/ 6546 w 10003"/>
              <a:gd name="connsiteY181" fmla="*/ 6849 h 10000"/>
              <a:gd name="connsiteX182" fmla="*/ 5777 w 10003"/>
              <a:gd name="connsiteY182" fmla="*/ 6814 h 10000"/>
              <a:gd name="connsiteX183" fmla="*/ 5313 w 10003"/>
              <a:gd name="connsiteY183" fmla="*/ 6708 h 10000"/>
              <a:gd name="connsiteX184" fmla="*/ 5073 w 10003"/>
              <a:gd name="connsiteY184" fmla="*/ 6602 h 10000"/>
              <a:gd name="connsiteX185" fmla="*/ 4913 w 10003"/>
              <a:gd name="connsiteY185" fmla="*/ 6690 h 10000"/>
              <a:gd name="connsiteX186" fmla="*/ 4417 w 10003"/>
              <a:gd name="connsiteY186" fmla="*/ 6530 h 10000"/>
              <a:gd name="connsiteX187" fmla="*/ 3585 w 10003"/>
              <a:gd name="connsiteY187" fmla="*/ 6247 h 10000"/>
              <a:gd name="connsiteX188" fmla="*/ 3105 w 10003"/>
              <a:gd name="connsiteY188" fmla="*/ 6193 h 10000"/>
              <a:gd name="connsiteX189" fmla="*/ 3201 w 10003"/>
              <a:gd name="connsiteY189" fmla="*/ 5998 h 10000"/>
              <a:gd name="connsiteX190" fmla="*/ 3345 w 10003"/>
              <a:gd name="connsiteY190" fmla="*/ 5945 h 10000"/>
              <a:gd name="connsiteX191" fmla="*/ 3729 w 10003"/>
              <a:gd name="connsiteY191" fmla="*/ 5662 h 10000"/>
              <a:gd name="connsiteX192" fmla="*/ 3969 w 10003"/>
              <a:gd name="connsiteY192" fmla="*/ 5396 h 10000"/>
              <a:gd name="connsiteX193" fmla="*/ 4225 w 10003"/>
              <a:gd name="connsiteY193" fmla="*/ 5112 h 10000"/>
              <a:gd name="connsiteX194" fmla="*/ 4369 w 10003"/>
              <a:gd name="connsiteY194" fmla="*/ 4846 h 10000"/>
              <a:gd name="connsiteX195" fmla="*/ 4353 w 10003"/>
              <a:gd name="connsiteY195" fmla="*/ 4545 h 10000"/>
              <a:gd name="connsiteX196" fmla="*/ 4337 w 10003"/>
              <a:gd name="connsiteY196" fmla="*/ 4278 h 10000"/>
              <a:gd name="connsiteX197" fmla="*/ 4177 w 10003"/>
              <a:gd name="connsiteY197" fmla="*/ 4119 h 10000"/>
              <a:gd name="connsiteX198" fmla="*/ 4017 w 10003"/>
              <a:gd name="connsiteY198" fmla="*/ 4137 h 10000"/>
              <a:gd name="connsiteX199" fmla="*/ 3857 w 10003"/>
              <a:gd name="connsiteY199" fmla="*/ 4421 h 10000"/>
              <a:gd name="connsiteX200" fmla="*/ 3809 w 10003"/>
              <a:gd name="connsiteY200" fmla="*/ 4934 h 10000"/>
              <a:gd name="connsiteX201" fmla="*/ 3537 w 10003"/>
              <a:gd name="connsiteY201" fmla="*/ 5272 h 10000"/>
              <a:gd name="connsiteX202" fmla="*/ 2993 w 10003"/>
              <a:gd name="connsiteY202" fmla="*/ 5573 h 10000"/>
              <a:gd name="connsiteX203" fmla="*/ 2416 w 10003"/>
              <a:gd name="connsiteY203" fmla="*/ 5803 h 10000"/>
              <a:gd name="connsiteX204" fmla="*/ 1952 w 10003"/>
              <a:gd name="connsiteY204" fmla="*/ 6122 h 10000"/>
              <a:gd name="connsiteX205" fmla="*/ 0 w 10003"/>
              <a:gd name="connsiteY205" fmla="*/ 6051 h 10000"/>
              <a:gd name="connsiteX206" fmla="*/ 3 w 10003"/>
              <a:gd name="connsiteY206" fmla="*/ 5826 h 10000"/>
              <a:gd name="connsiteX207" fmla="*/ 159 w 10003"/>
              <a:gd name="connsiteY207" fmla="*/ 5909 h 10000"/>
              <a:gd name="connsiteX208" fmla="*/ 368 w 10003"/>
              <a:gd name="connsiteY208" fmla="*/ 5826 h 10000"/>
              <a:gd name="connsiteX209" fmla="*/ 1462 w 10003"/>
              <a:gd name="connsiteY209" fmla="*/ 5826 h 10000"/>
              <a:gd name="connsiteX210" fmla="*/ 1617 w 10003"/>
              <a:gd name="connsiteY210" fmla="*/ 5785 h 10000"/>
              <a:gd name="connsiteX211" fmla="*/ 1670 w 10003"/>
              <a:gd name="connsiteY211" fmla="*/ 5785 h 10000"/>
              <a:gd name="connsiteX212" fmla="*/ 2190 w 10003"/>
              <a:gd name="connsiteY212" fmla="*/ 5248 h 10000"/>
              <a:gd name="connsiteX213" fmla="*/ 2295 w 10003"/>
              <a:gd name="connsiteY213" fmla="*/ 5165 h 10000"/>
              <a:gd name="connsiteX214" fmla="*/ 2763 w 10003"/>
              <a:gd name="connsiteY214" fmla="*/ 4752 h 10000"/>
              <a:gd name="connsiteX215" fmla="*/ 3024 w 10003"/>
              <a:gd name="connsiteY215" fmla="*/ 4504 h 10000"/>
              <a:gd name="connsiteX216" fmla="*/ 3180 w 10003"/>
              <a:gd name="connsiteY216" fmla="*/ 4380 h 10000"/>
              <a:gd name="connsiteX217" fmla="*/ 3597 w 10003"/>
              <a:gd name="connsiteY217" fmla="*/ 3760 h 10000"/>
              <a:gd name="connsiteX218" fmla="*/ 4117 w 10003"/>
              <a:gd name="connsiteY218" fmla="*/ 3512 h 10000"/>
              <a:gd name="connsiteX219" fmla="*/ 5003 w 10003"/>
              <a:gd name="connsiteY219" fmla="*/ 2810 h 10000"/>
              <a:gd name="connsiteX220" fmla="*/ 4846 w 10003"/>
              <a:gd name="connsiteY220" fmla="*/ 2562 h 10000"/>
              <a:gd name="connsiteX221" fmla="*/ 4795 w 10003"/>
              <a:gd name="connsiteY221" fmla="*/ 2397 h 10000"/>
              <a:gd name="connsiteX222" fmla="*/ 4795 w 10003"/>
              <a:gd name="connsiteY222" fmla="*/ 1240 h 10000"/>
              <a:gd name="connsiteX223" fmla="*/ 4117 w 10003"/>
              <a:gd name="connsiteY223" fmla="*/ 744 h 10000"/>
              <a:gd name="connsiteX224" fmla="*/ 4951 w 10003"/>
              <a:gd name="connsiteY224" fmla="*/ 744 h 10000"/>
              <a:gd name="connsiteX225" fmla="*/ 5784 w 10003"/>
              <a:gd name="connsiteY225" fmla="*/ 744 h 10000"/>
              <a:gd name="connsiteX226" fmla="*/ 5784 w 10003"/>
              <a:gd name="connsiteY226" fmla="*/ 702 h 10000"/>
              <a:gd name="connsiteX227" fmla="*/ 5784 w 10003"/>
              <a:gd name="connsiteY227" fmla="*/ 661 h 10000"/>
              <a:gd name="connsiteX228" fmla="*/ 5784 w 10003"/>
              <a:gd name="connsiteY228" fmla="*/ 620 h 10000"/>
              <a:gd name="connsiteX229" fmla="*/ 5784 w 10003"/>
              <a:gd name="connsiteY229" fmla="*/ 579 h 10000"/>
              <a:gd name="connsiteX230" fmla="*/ 5836 w 10003"/>
              <a:gd name="connsiteY230" fmla="*/ 537 h 10000"/>
              <a:gd name="connsiteX231" fmla="*/ 5836 w 10003"/>
              <a:gd name="connsiteY231" fmla="*/ 496 h 10000"/>
              <a:gd name="connsiteX232" fmla="*/ 5836 w 10003"/>
              <a:gd name="connsiteY232" fmla="*/ 455 h 10000"/>
              <a:gd name="connsiteX233" fmla="*/ 5836 w 10003"/>
              <a:gd name="connsiteY233" fmla="*/ 413 h 10000"/>
              <a:gd name="connsiteX234" fmla="*/ 5836 w 10003"/>
              <a:gd name="connsiteY234" fmla="*/ 372 h 10000"/>
              <a:gd name="connsiteX235" fmla="*/ 5836 w 10003"/>
              <a:gd name="connsiteY235" fmla="*/ 331 h 10000"/>
              <a:gd name="connsiteX236" fmla="*/ 5784 w 10003"/>
              <a:gd name="connsiteY236" fmla="*/ 331 h 10000"/>
              <a:gd name="connsiteX237" fmla="*/ 5784 w 10003"/>
              <a:gd name="connsiteY237" fmla="*/ 289 h 10000"/>
              <a:gd name="connsiteX238" fmla="*/ 5784 w 10003"/>
              <a:gd name="connsiteY238" fmla="*/ 248 h 10000"/>
              <a:gd name="connsiteX239" fmla="*/ 5784 w 10003"/>
              <a:gd name="connsiteY239" fmla="*/ 207 h 10000"/>
              <a:gd name="connsiteX240" fmla="*/ 5784 w 10003"/>
              <a:gd name="connsiteY240" fmla="*/ 165 h 10000"/>
              <a:gd name="connsiteX241" fmla="*/ 5784 w 10003"/>
              <a:gd name="connsiteY241" fmla="*/ 124 h 10000"/>
              <a:gd name="connsiteX242" fmla="*/ 5784 w 10003"/>
              <a:gd name="connsiteY242" fmla="*/ 83 h 10000"/>
              <a:gd name="connsiteX243" fmla="*/ 5784 w 10003"/>
              <a:gd name="connsiteY243" fmla="*/ 41 h 10000"/>
              <a:gd name="connsiteX244" fmla="*/ 5784 w 10003"/>
              <a:gd name="connsiteY244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042 w 10003"/>
              <a:gd name="connsiteY180" fmla="*/ 7630 h 10000"/>
              <a:gd name="connsiteX181" fmla="*/ 7138 w 10003"/>
              <a:gd name="connsiteY181" fmla="*/ 6957 h 10000"/>
              <a:gd name="connsiteX182" fmla="*/ 6546 w 10003"/>
              <a:gd name="connsiteY182" fmla="*/ 6849 h 10000"/>
              <a:gd name="connsiteX183" fmla="*/ 5777 w 10003"/>
              <a:gd name="connsiteY183" fmla="*/ 6814 h 10000"/>
              <a:gd name="connsiteX184" fmla="*/ 5313 w 10003"/>
              <a:gd name="connsiteY184" fmla="*/ 6708 h 10000"/>
              <a:gd name="connsiteX185" fmla="*/ 5073 w 10003"/>
              <a:gd name="connsiteY185" fmla="*/ 6602 h 10000"/>
              <a:gd name="connsiteX186" fmla="*/ 4913 w 10003"/>
              <a:gd name="connsiteY186" fmla="*/ 6690 h 10000"/>
              <a:gd name="connsiteX187" fmla="*/ 4417 w 10003"/>
              <a:gd name="connsiteY187" fmla="*/ 6530 h 10000"/>
              <a:gd name="connsiteX188" fmla="*/ 3585 w 10003"/>
              <a:gd name="connsiteY188" fmla="*/ 6247 h 10000"/>
              <a:gd name="connsiteX189" fmla="*/ 3105 w 10003"/>
              <a:gd name="connsiteY189" fmla="*/ 6193 h 10000"/>
              <a:gd name="connsiteX190" fmla="*/ 3201 w 10003"/>
              <a:gd name="connsiteY190" fmla="*/ 5998 h 10000"/>
              <a:gd name="connsiteX191" fmla="*/ 3345 w 10003"/>
              <a:gd name="connsiteY191" fmla="*/ 5945 h 10000"/>
              <a:gd name="connsiteX192" fmla="*/ 3729 w 10003"/>
              <a:gd name="connsiteY192" fmla="*/ 5662 h 10000"/>
              <a:gd name="connsiteX193" fmla="*/ 3969 w 10003"/>
              <a:gd name="connsiteY193" fmla="*/ 5396 h 10000"/>
              <a:gd name="connsiteX194" fmla="*/ 4225 w 10003"/>
              <a:gd name="connsiteY194" fmla="*/ 5112 h 10000"/>
              <a:gd name="connsiteX195" fmla="*/ 4369 w 10003"/>
              <a:gd name="connsiteY195" fmla="*/ 4846 h 10000"/>
              <a:gd name="connsiteX196" fmla="*/ 4353 w 10003"/>
              <a:gd name="connsiteY196" fmla="*/ 4545 h 10000"/>
              <a:gd name="connsiteX197" fmla="*/ 4337 w 10003"/>
              <a:gd name="connsiteY197" fmla="*/ 4278 h 10000"/>
              <a:gd name="connsiteX198" fmla="*/ 4177 w 10003"/>
              <a:gd name="connsiteY198" fmla="*/ 4119 h 10000"/>
              <a:gd name="connsiteX199" fmla="*/ 4017 w 10003"/>
              <a:gd name="connsiteY199" fmla="*/ 4137 h 10000"/>
              <a:gd name="connsiteX200" fmla="*/ 3857 w 10003"/>
              <a:gd name="connsiteY200" fmla="*/ 4421 h 10000"/>
              <a:gd name="connsiteX201" fmla="*/ 3809 w 10003"/>
              <a:gd name="connsiteY201" fmla="*/ 4934 h 10000"/>
              <a:gd name="connsiteX202" fmla="*/ 3537 w 10003"/>
              <a:gd name="connsiteY202" fmla="*/ 5272 h 10000"/>
              <a:gd name="connsiteX203" fmla="*/ 2993 w 10003"/>
              <a:gd name="connsiteY203" fmla="*/ 5573 h 10000"/>
              <a:gd name="connsiteX204" fmla="*/ 2416 w 10003"/>
              <a:gd name="connsiteY204" fmla="*/ 5803 h 10000"/>
              <a:gd name="connsiteX205" fmla="*/ 1952 w 10003"/>
              <a:gd name="connsiteY205" fmla="*/ 6122 h 10000"/>
              <a:gd name="connsiteX206" fmla="*/ 0 w 10003"/>
              <a:gd name="connsiteY206" fmla="*/ 6051 h 10000"/>
              <a:gd name="connsiteX207" fmla="*/ 3 w 10003"/>
              <a:gd name="connsiteY207" fmla="*/ 5826 h 10000"/>
              <a:gd name="connsiteX208" fmla="*/ 159 w 10003"/>
              <a:gd name="connsiteY208" fmla="*/ 5909 h 10000"/>
              <a:gd name="connsiteX209" fmla="*/ 368 w 10003"/>
              <a:gd name="connsiteY209" fmla="*/ 5826 h 10000"/>
              <a:gd name="connsiteX210" fmla="*/ 1462 w 10003"/>
              <a:gd name="connsiteY210" fmla="*/ 5826 h 10000"/>
              <a:gd name="connsiteX211" fmla="*/ 1617 w 10003"/>
              <a:gd name="connsiteY211" fmla="*/ 5785 h 10000"/>
              <a:gd name="connsiteX212" fmla="*/ 1670 w 10003"/>
              <a:gd name="connsiteY212" fmla="*/ 5785 h 10000"/>
              <a:gd name="connsiteX213" fmla="*/ 2190 w 10003"/>
              <a:gd name="connsiteY213" fmla="*/ 5248 h 10000"/>
              <a:gd name="connsiteX214" fmla="*/ 2295 w 10003"/>
              <a:gd name="connsiteY214" fmla="*/ 5165 h 10000"/>
              <a:gd name="connsiteX215" fmla="*/ 2763 w 10003"/>
              <a:gd name="connsiteY215" fmla="*/ 4752 h 10000"/>
              <a:gd name="connsiteX216" fmla="*/ 3024 w 10003"/>
              <a:gd name="connsiteY216" fmla="*/ 4504 h 10000"/>
              <a:gd name="connsiteX217" fmla="*/ 3180 w 10003"/>
              <a:gd name="connsiteY217" fmla="*/ 4380 h 10000"/>
              <a:gd name="connsiteX218" fmla="*/ 3597 w 10003"/>
              <a:gd name="connsiteY218" fmla="*/ 3760 h 10000"/>
              <a:gd name="connsiteX219" fmla="*/ 4117 w 10003"/>
              <a:gd name="connsiteY219" fmla="*/ 3512 h 10000"/>
              <a:gd name="connsiteX220" fmla="*/ 5003 w 10003"/>
              <a:gd name="connsiteY220" fmla="*/ 2810 h 10000"/>
              <a:gd name="connsiteX221" fmla="*/ 4846 w 10003"/>
              <a:gd name="connsiteY221" fmla="*/ 2562 h 10000"/>
              <a:gd name="connsiteX222" fmla="*/ 4795 w 10003"/>
              <a:gd name="connsiteY222" fmla="*/ 2397 h 10000"/>
              <a:gd name="connsiteX223" fmla="*/ 4795 w 10003"/>
              <a:gd name="connsiteY223" fmla="*/ 1240 h 10000"/>
              <a:gd name="connsiteX224" fmla="*/ 4117 w 10003"/>
              <a:gd name="connsiteY224" fmla="*/ 744 h 10000"/>
              <a:gd name="connsiteX225" fmla="*/ 4951 w 10003"/>
              <a:gd name="connsiteY225" fmla="*/ 744 h 10000"/>
              <a:gd name="connsiteX226" fmla="*/ 5784 w 10003"/>
              <a:gd name="connsiteY226" fmla="*/ 744 h 10000"/>
              <a:gd name="connsiteX227" fmla="*/ 5784 w 10003"/>
              <a:gd name="connsiteY227" fmla="*/ 702 h 10000"/>
              <a:gd name="connsiteX228" fmla="*/ 5784 w 10003"/>
              <a:gd name="connsiteY228" fmla="*/ 661 h 10000"/>
              <a:gd name="connsiteX229" fmla="*/ 5784 w 10003"/>
              <a:gd name="connsiteY229" fmla="*/ 620 h 10000"/>
              <a:gd name="connsiteX230" fmla="*/ 5784 w 10003"/>
              <a:gd name="connsiteY230" fmla="*/ 579 h 10000"/>
              <a:gd name="connsiteX231" fmla="*/ 5836 w 10003"/>
              <a:gd name="connsiteY231" fmla="*/ 537 h 10000"/>
              <a:gd name="connsiteX232" fmla="*/ 5836 w 10003"/>
              <a:gd name="connsiteY232" fmla="*/ 496 h 10000"/>
              <a:gd name="connsiteX233" fmla="*/ 5836 w 10003"/>
              <a:gd name="connsiteY233" fmla="*/ 455 h 10000"/>
              <a:gd name="connsiteX234" fmla="*/ 5836 w 10003"/>
              <a:gd name="connsiteY234" fmla="*/ 413 h 10000"/>
              <a:gd name="connsiteX235" fmla="*/ 5836 w 10003"/>
              <a:gd name="connsiteY235" fmla="*/ 372 h 10000"/>
              <a:gd name="connsiteX236" fmla="*/ 5836 w 10003"/>
              <a:gd name="connsiteY236" fmla="*/ 331 h 10000"/>
              <a:gd name="connsiteX237" fmla="*/ 5784 w 10003"/>
              <a:gd name="connsiteY237" fmla="*/ 331 h 10000"/>
              <a:gd name="connsiteX238" fmla="*/ 5784 w 10003"/>
              <a:gd name="connsiteY238" fmla="*/ 289 h 10000"/>
              <a:gd name="connsiteX239" fmla="*/ 5784 w 10003"/>
              <a:gd name="connsiteY239" fmla="*/ 248 h 10000"/>
              <a:gd name="connsiteX240" fmla="*/ 5784 w 10003"/>
              <a:gd name="connsiteY240" fmla="*/ 207 h 10000"/>
              <a:gd name="connsiteX241" fmla="*/ 5784 w 10003"/>
              <a:gd name="connsiteY241" fmla="*/ 165 h 10000"/>
              <a:gd name="connsiteX242" fmla="*/ 5784 w 10003"/>
              <a:gd name="connsiteY242" fmla="*/ 124 h 10000"/>
              <a:gd name="connsiteX243" fmla="*/ 5784 w 10003"/>
              <a:gd name="connsiteY243" fmla="*/ 83 h 10000"/>
              <a:gd name="connsiteX244" fmla="*/ 5784 w 10003"/>
              <a:gd name="connsiteY244" fmla="*/ 41 h 10000"/>
              <a:gd name="connsiteX245" fmla="*/ 5784 w 10003"/>
              <a:gd name="connsiteY24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346 w 10003"/>
              <a:gd name="connsiteY180" fmla="*/ 7293 h 10000"/>
              <a:gd name="connsiteX181" fmla="*/ 7138 w 10003"/>
              <a:gd name="connsiteY181" fmla="*/ 6957 h 10000"/>
              <a:gd name="connsiteX182" fmla="*/ 6546 w 10003"/>
              <a:gd name="connsiteY182" fmla="*/ 6849 h 10000"/>
              <a:gd name="connsiteX183" fmla="*/ 5777 w 10003"/>
              <a:gd name="connsiteY183" fmla="*/ 6814 h 10000"/>
              <a:gd name="connsiteX184" fmla="*/ 5313 w 10003"/>
              <a:gd name="connsiteY184" fmla="*/ 6708 h 10000"/>
              <a:gd name="connsiteX185" fmla="*/ 5073 w 10003"/>
              <a:gd name="connsiteY185" fmla="*/ 6602 h 10000"/>
              <a:gd name="connsiteX186" fmla="*/ 4913 w 10003"/>
              <a:gd name="connsiteY186" fmla="*/ 6690 h 10000"/>
              <a:gd name="connsiteX187" fmla="*/ 4417 w 10003"/>
              <a:gd name="connsiteY187" fmla="*/ 6530 h 10000"/>
              <a:gd name="connsiteX188" fmla="*/ 3585 w 10003"/>
              <a:gd name="connsiteY188" fmla="*/ 6247 h 10000"/>
              <a:gd name="connsiteX189" fmla="*/ 3105 w 10003"/>
              <a:gd name="connsiteY189" fmla="*/ 6193 h 10000"/>
              <a:gd name="connsiteX190" fmla="*/ 3201 w 10003"/>
              <a:gd name="connsiteY190" fmla="*/ 5998 h 10000"/>
              <a:gd name="connsiteX191" fmla="*/ 3345 w 10003"/>
              <a:gd name="connsiteY191" fmla="*/ 5945 h 10000"/>
              <a:gd name="connsiteX192" fmla="*/ 3729 w 10003"/>
              <a:gd name="connsiteY192" fmla="*/ 5662 h 10000"/>
              <a:gd name="connsiteX193" fmla="*/ 3969 w 10003"/>
              <a:gd name="connsiteY193" fmla="*/ 5396 h 10000"/>
              <a:gd name="connsiteX194" fmla="*/ 4225 w 10003"/>
              <a:gd name="connsiteY194" fmla="*/ 5112 h 10000"/>
              <a:gd name="connsiteX195" fmla="*/ 4369 w 10003"/>
              <a:gd name="connsiteY195" fmla="*/ 4846 h 10000"/>
              <a:gd name="connsiteX196" fmla="*/ 4353 w 10003"/>
              <a:gd name="connsiteY196" fmla="*/ 4545 h 10000"/>
              <a:gd name="connsiteX197" fmla="*/ 4337 w 10003"/>
              <a:gd name="connsiteY197" fmla="*/ 4278 h 10000"/>
              <a:gd name="connsiteX198" fmla="*/ 4177 w 10003"/>
              <a:gd name="connsiteY198" fmla="*/ 4119 h 10000"/>
              <a:gd name="connsiteX199" fmla="*/ 4017 w 10003"/>
              <a:gd name="connsiteY199" fmla="*/ 4137 h 10000"/>
              <a:gd name="connsiteX200" fmla="*/ 3857 w 10003"/>
              <a:gd name="connsiteY200" fmla="*/ 4421 h 10000"/>
              <a:gd name="connsiteX201" fmla="*/ 3809 w 10003"/>
              <a:gd name="connsiteY201" fmla="*/ 4934 h 10000"/>
              <a:gd name="connsiteX202" fmla="*/ 3537 w 10003"/>
              <a:gd name="connsiteY202" fmla="*/ 5272 h 10000"/>
              <a:gd name="connsiteX203" fmla="*/ 2993 w 10003"/>
              <a:gd name="connsiteY203" fmla="*/ 5573 h 10000"/>
              <a:gd name="connsiteX204" fmla="*/ 2416 w 10003"/>
              <a:gd name="connsiteY204" fmla="*/ 5803 h 10000"/>
              <a:gd name="connsiteX205" fmla="*/ 1952 w 10003"/>
              <a:gd name="connsiteY205" fmla="*/ 6122 h 10000"/>
              <a:gd name="connsiteX206" fmla="*/ 0 w 10003"/>
              <a:gd name="connsiteY206" fmla="*/ 6051 h 10000"/>
              <a:gd name="connsiteX207" fmla="*/ 3 w 10003"/>
              <a:gd name="connsiteY207" fmla="*/ 5826 h 10000"/>
              <a:gd name="connsiteX208" fmla="*/ 159 w 10003"/>
              <a:gd name="connsiteY208" fmla="*/ 5909 h 10000"/>
              <a:gd name="connsiteX209" fmla="*/ 368 w 10003"/>
              <a:gd name="connsiteY209" fmla="*/ 5826 h 10000"/>
              <a:gd name="connsiteX210" fmla="*/ 1462 w 10003"/>
              <a:gd name="connsiteY210" fmla="*/ 5826 h 10000"/>
              <a:gd name="connsiteX211" fmla="*/ 1617 w 10003"/>
              <a:gd name="connsiteY211" fmla="*/ 5785 h 10000"/>
              <a:gd name="connsiteX212" fmla="*/ 1670 w 10003"/>
              <a:gd name="connsiteY212" fmla="*/ 5785 h 10000"/>
              <a:gd name="connsiteX213" fmla="*/ 2190 w 10003"/>
              <a:gd name="connsiteY213" fmla="*/ 5248 h 10000"/>
              <a:gd name="connsiteX214" fmla="*/ 2295 w 10003"/>
              <a:gd name="connsiteY214" fmla="*/ 5165 h 10000"/>
              <a:gd name="connsiteX215" fmla="*/ 2763 w 10003"/>
              <a:gd name="connsiteY215" fmla="*/ 4752 h 10000"/>
              <a:gd name="connsiteX216" fmla="*/ 3024 w 10003"/>
              <a:gd name="connsiteY216" fmla="*/ 4504 h 10000"/>
              <a:gd name="connsiteX217" fmla="*/ 3180 w 10003"/>
              <a:gd name="connsiteY217" fmla="*/ 4380 h 10000"/>
              <a:gd name="connsiteX218" fmla="*/ 3597 w 10003"/>
              <a:gd name="connsiteY218" fmla="*/ 3760 h 10000"/>
              <a:gd name="connsiteX219" fmla="*/ 4117 w 10003"/>
              <a:gd name="connsiteY219" fmla="*/ 3512 h 10000"/>
              <a:gd name="connsiteX220" fmla="*/ 5003 w 10003"/>
              <a:gd name="connsiteY220" fmla="*/ 2810 h 10000"/>
              <a:gd name="connsiteX221" fmla="*/ 4846 w 10003"/>
              <a:gd name="connsiteY221" fmla="*/ 2562 h 10000"/>
              <a:gd name="connsiteX222" fmla="*/ 4795 w 10003"/>
              <a:gd name="connsiteY222" fmla="*/ 2397 h 10000"/>
              <a:gd name="connsiteX223" fmla="*/ 4795 w 10003"/>
              <a:gd name="connsiteY223" fmla="*/ 1240 h 10000"/>
              <a:gd name="connsiteX224" fmla="*/ 4117 w 10003"/>
              <a:gd name="connsiteY224" fmla="*/ 744 h 10000"/>
              <a:gd name="connsiteX225" fmla="*/ 4951 w 10003"/>
              <a:gd name="connsiteY225" fmla="*/ 744 h 10000"/>
              <a:gd name="connsiteX226" fmla="*/ 5784 w 10003"/>
              <a:gd name="connsiteY226" fmla="*/ 744 h 10000"/>
              <a:gd name="connsiteX227" fmla="*/ 5784 w 10003"/>
              <a:gd name="connsiteY227" fmla="*/ 702 h 10000"/>
              <a:gd name="connsiteX228" fmla="*/ 5784 w 10003"/>
              <a:gd name="connsiteY228" fmla="*/ 661 h 10000"/>
              <a:gd name="connsiteX229" fmla="*/ 5784 w 10003"/>
              <a:gd name="connsiteY229" fmla="*/ 620 h 10000"/>
              <a:gd name="connsiteX230" fmla="*/ 5784 w 10003"/>
              <a:gd name="connsiteY230" fmla="*/ 579 h 10000"/>
              <a:gd name="connsiteX231" fmla="*/ 5836 w 10003"/>
              <a:gd name="connsiteY231" fmla="*/ 537 h 10000"/>
              <a:gd name="connsiteX232" fmla="*/ 5836 w 10003"/>
              <a:gd name="connsiteY232" fmla="*/ 496 h 10000"/>
              <a:gd name="connsiteX233" fmla="*/ 5836 w 10003"/>
              <a:gd name="connsiteY233" fmla="*/ 455 h 10000"/>
              <a:gd name="connsiteX234" fmla="*/ 5836 w 10003"/>
              <a:gd name="connsiteY234" fmla="*/ 413 h 10000"/>
              <a:gd name="connsiteX235" fmla="*/ 5836 w 10003"/>
              <a:gd name="connsiteY235" fmla="*/ 372 h 10000"/>
              <a:gd name="connsiteX236" fmla="*/ 5836 w 10003"/>
              <a:gd name="connsiteY236" fmla="*/ 331 h 10000"/>
              <a:gd name="connsiteX237" fmla="*/ 5784 w 10003"/>
              <a:gd name="connsiteY237" fmla="*/ 331 h 10000"/>
              <a:gd name="connsiteX238" fmla="*/ 5784 w 10003"/>
              <a:gd name="connsiteY238" fmla="*/ 289 h 10000"/>
              <a:gd name="connsiteX239" fmla="*/ 5784 w 10003"/>
              <a:gd name="connsiteY239" fmla="*/ 248 h 10000"/>
              <a:gd name="connsiteX240" fmla="*/ 5784 w 10003"/>
              <a:gd name="connsiteY240" fmla="*/ 207 h 10000"/>
              <a:gd name="connsiteX241" fmla="*/ 5784 w 10003"/>
              <a:gd name="connsiteY241" fmla="*/ 165 h 10000"/>
              <a:gd name="connsiteX242" fmla="*/ 5784 w 10003"/>
              <a:gd name="connsiteY242" fmla="*/ 124 h 10000"/>
              <a:gd name="connsiteX243" fmla="*/ 5784 w 10003"/>
              <a:gd name="connsiteY243" fmla="*/ 83 h 10000"/>
              <a:gd name="connsiteX244" fmla="*/ 5784 w 10003"/>
              <a:gd name="connsiteY244" fmla="*/ 41 h 10000"/>
              <a:gd name="connsiteX245" fmla="*/ 5784 w 10003"/>
              <a:gd name="connsiteY24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6530 w 10003"/>
              <a:gd name="connsiteY179" fmla="*/ 9917 h 10000"/>
              <a:gd name="connsiteX180" fmla="*/ 7346 w 10003"/>
              <a:gd name="connsiteY180" fmla="*/ 7293 h 10000"/>
              <a:gd name="connsiteX181" fmla="*/ 7138 w 10003"/>
              <a:gd name="connsiteY181" fmla="*/ 6957 h 10000"/>
              <a:gd name="connsiteX182" fmla="*/ 6546 w 10003"/>
              <a:gd name="connsiteY182" fmla="*/ 6849 h 10000"/>
              <a:gd name="connsiteX183" fmla="*/ 5777 w 10003"/>
              <a:gd name="connsiteY183" fmla="*/ 6814 h 10000"/>
              <a:gd name="connsiteX184" fmla="*/ 5313 w 10003"/>
              <a:gd name="connsiteY184" fmla="*/ 6708 h 10000"/>
              <a:gd name="connsiteX185" fmla="*/ 5073 w 10003"/>
              <a:gd name="connsiteY185" fmla="*/ 6602 h 10000"/>
              <a:gd name="connsiteX186" fmla="*/ 4913 w 10003"/>
              <a:gd name="connsiteY186" fmla="*/ 6690 h 10000"/>
              <a:gd name="connsiteX187" fmla="*/ 4417 w 10003"/>
              <a:gd name="connsiteY187" fmla="*/ 6530 h 10000"/>
              <a:gd name="connsiteX188" fmla="*/ 3585 w 10003"/>
              <a:gd name="connsiteY188" fmla="*/ 6247 h 10000"/>
              <a:gd name="connsiteX189" fmla="*/ 3105 w 10003"/>
              <a:gd name="connsiteY189" fmla="*/ 6193 h 10000"/>
              <a:gd name="connsiteX190" fmla="*/ 3201 w 10003"/>
              <a:gd name="connsiteY190" fmla="*/ 5998 h 10000"/>
              <a:gd name="connsiteX191" fmla="*/ 3345 w 10003"/>
              <a:gd name="connsiteY191" fmla="*/ 5945 h 10000"/>
              <a:gd name="connsiteX192" fmla="*/ 3729 w 10003"/>
              <a:gd name="connsiteY192" fmla="*/ 5662 h 10000"/>
              <a:gd name="connsiteX193" fmla="*/ 3969 w 10003"/>
              <a:gd name="connsiteY193" fmla="*/ 5396 h 10000"/>
              <a:gd name="connsiteX194" fmla="*/ 4225 w 10003"/>
              <a:gd name="connsiteY194" fmla="*/ 5112 h 10000"/>
              <a:gd name="connsiteX195" fmla="*/ 4369 w 10003"/>
              <a:gd name="connsiteY195" fmla="*/ 4846 h 10000"/>
              <a:gd name="connsiteX196" fmla="*/ 4353 w 10003"/>
              <a:gd name="connsiteY196" fmla="*/ 4545 h 10000"/>
              <a:gd name="connsiteX197" fmla="*/ 4337 w 10003"/>
              <a:gd name="connsiteY197" fmla="*/ 4278 h 10000"/>
              <a:gd name="connsiteX198" fmla="*/ 4177 w 10003"/>
              <a:gd name="connsiteY198" fmla="*/ 4119 h 10000"/>
              <a:gd name="connsiteX199" fmla="*/ 4017 w 10003"/>
              <a:gd name="connsiteY199" fmla="*/ 4137 h 10000"/>
              <a:gd name="connsiteX200" fmla="*/ 3857 w 10003"/>
              <a:gd name="connsiteY200" fmla="*/ 4421 h 10000"/>
              <a:gd name="connsiteX201" fmla="*/ 3809 w 10003"/>
              <a:gd name="connsiteY201" fmla="*/ 4934 h 10000"/>
              <a:gd name="connsiteX202" fmla="*/ 3537 w 10003"/>
              <a:gd name="connsiteY202" fmla="*/ 5272 h 10000"/>
              <a:gd name="connsiteX203" fmla="*/ 2993 w 10003"/>
              <a:gd name="connsiteY203" fmla="*/ 5573 h 10000"/>
              <a:gd name="connsiteX204" fmla="*/ 2416 w 10003"/>
              <a:gd name="connsiteY204" fmla="*/ 5803 h 10000"/>
              <a:gd name="connsiteX205" fmla="*/ 1952 w 10003"/>
              <a:gd name="connsiteY205" fmla="*/ 6122 h 10000"/>
              <a:gd name="connsiteX206" fmla="*/ 0 w 10003"/>
              <a:gd name="connsiteY206" fmla="*/ 6051 h 10000"/>
              <a:gd name="connsiteX207" fmla="*/ 3 w 10003"/>
              <a:gd name="connsiteY207" fmla="*/ 5826 h 10000"/>
              <a:gd name="connsiteX208" fmla="*/ 159 w 10003"/>
              <a:gd name="connsiteY208" fmla="*/ 5909 h 10000"/>
              <a:gd name="connsiteX209" fmla="*/ 368 w 10003"/>
              <a:gd name="connsiteY209" fmla="*/ 5826 h 10000"/>
              <a:gd name="connsiteX210" fmla="*/ 1462 w 10003"/>
              <a:gd name="connsiteY210" fmla="*/ 5826 h 10000"/>
              <a:gd name="connsiteX211" fmla="*/ 1617 w 10003"/>
              <a:gd name="connsiteY211" fmla="*/ 5785 h 10000"/>
              <a:gd name="connsiteX212" fmla="*/ 1670 w 10003"/>
              <a:gd name="connsiteY212" fmla="*/ 5785 h 10000"/>
              <a:gd name="connsiteX213" fmla="*/ 2190 w 10003"/>
              <a:gd name="connsiteY213" fmla="*/ 5248 h 10000"/>
              <a:gd name="connsiteX214" fmla="*/ 2295 w 10003"/>
              <a:gd name="connsiteY214" fmla="*/ 5165 h 10000"/>
              <a:gd name="connsiteX215" fmla="*/ 2763 w 10003"/>
              <a:gd name="connsiteY215" fmla="*/ 4752 h 10000"/>
              <a:gd name="connsiteX216" fmla="*/ 3024 w 10003"/>
              <a:gd name="connsiteY216" fmla="*/ 4504 h 10000"/>
              <a:gd name="connsiteX217" fmla="*/ 3180 w 10003"/>
              <a:gd name="connsiteY217" fmla="*/ 4380 h 10000"/>
              <a:gd name="connsiteX218" fmla="*/ 3597 w 10003"/>
              <a:gd name="connsiteY218" fmla="*/ 3760 h 10000"/>
              <a:gd name="connsiteX219" fmla="*/ 4117 w 10003"/>
              <a:gd name="connsiteY219" fmla="*/ 3512 h 10000"/>
              <a:gd name="connsiteX220" fmla="*/ 5003 w 10003"/>
              <a:gd name="connsiteY220" fmla="*/ 2810 h 10000"/>
              <a:gd name="connsiteX221" fmla="*/ 4846 w 10003"/>
              <a:gd name="connsiteY221" fmla="*/ 2562 h 10000"/>
              <a:gd name="connsiteX222" fmla="*/ 4795 w 10003"/>
              <a:gd name="connsiteY222" fmla="*/ 2397 h 10000"/>
              <a:gd name="connsiteX223" fmla="*/ 4795 w 10003"/>
              <a:gd name="connsiteY223" fmla="*/ 1240 h 10000"/>
              <a:gd name="connsiteX224" fmla="*/ 4117 w 10003"/>
              <a:gd name="connsiteY224" fmla="*/ 744 h 10000"/>
              <a:gd name="connsiteX225" fmla="*/ 4951 w 10003"/>
              <a:gd name="connsiteY225" fmla="*/ 744 h 10000"/>
              <a:gd name="connsiteX226" fmla="*/ 5784 w 10003"/>
              <a:gd name="connsiteY226" fmla="*/ 744 h 10000"/>
              <a:gd name="connsiteX227" fmla="*/ 5784 w 10003"/>
              <a:gd name="connsiteY227" fmla="*/ 702 h 10000"/>
              <a:gd name="connsiteX228" fmla="*/ 5784 w 10003"/>
              <a:gd name="connsiteY228" fmla="*/ 661 h 10000"/>
              <a:gd name="connsiteX229" fmla="*/ 5784 w 10003"/>
              <a:gd name="connsiteY229" fmla="*/ 620 h 10000"/>
              <a:gd name="connsiteX230" fmla="*/ 5784 w 10003"/>
              <a:gd name="connsiteY230" fmla="*/ 579 h 10000"/>
              <a:gd name="connsiteX231" fmla="*/ 5836 w 10003"/>
              <a:gd name="connsiteY231" fmla="*/ 537 h 10000"/>
              <a:gd name="connsiteX232" fmla="*/ 5836 w 10003"/>
              <a:gd name="connsiteY232" fmla="*/ 496 h 10000"/>
              <a:gd name="connsiteX233" fmla="*/ 5836 w 10003"/>
              <a:gd name="connsiteY233" fmla="*/ 455 h 10000"/>
              <a:gd name="connsiteX234" fmla="*/ 5836 w 10003"/>
              <a:gd name="connsiteY234" fmla="*/ 413 h 10000"/>
              <a:gd name="connsiteX235" fmla="*/ 5836 w 10003"/>
              <a:gd name="connsiteY235" fmla="*/ 372 h 10000"/>
              <a:gd name="connsiteX236" fmla="*/ 5836 w 10003"/>
              <a:gd name="connsiteY236" fmla="*/ 331 h 10000"/>
              <a:gd name="connsiteX237" fmla="*/ 5784 w 10003"/>
              <a:gd name="connsiteY237" fmla="*/ 331 h 10000"/>
              <a:gd name="connsiteX238" fmla="*/ 5784 w 10003"/>
              <a:gd name="connsiteY238" fmla="*/ 289 h 10000"/>
              <a:gd name="connsiteX239" fmla="*/ 5784 w 10003"/>
              <a:gd name="connsiteY239" fmla="*/ 248 h 10000"/>
              <a:gd name="connsiteX240" fmla="*/ 5784 w 10003"/>
              <a:gd name="connsiteY240" fmla="*/ 207 h 10000"/>
              <a:gd name="connsiteX241" fmla="*/ 5784 w 10003"/>
              <a:gd name="connsiteY241" fmla="*/ 165 h 10000"/>
              <a:gd name="connsiteX242" fmla="*/ 5784 w 10003"/>
              <a:gd name="connsiteY242" fmla="*/ 124 h 10000"/>
              <a:gd name="connsiteX243" fmla="*/ 5784 w 10003"/>
              <a:gd name="connsiteY243" fmla="*/ 83 h 10000"/>
              <a:gd name="connsiteX244" fmla="*/ 5784 w 10003"/>
              <a:gd name="connsiteY244" fmla="*/ 41 h 10000"/>
              <a:gd name="connsiteX245" fmla="*/ 5784 w 10003"/>
              <a:gd name="connsiteY245" fmla="*/ 0 h 10000"/>
              <a:gd name="connsiteX0" fmla="*/ 5784 w 10003"/>
              <a:gd name="connsiteY0" fmla="*/ 0 h 10000"/>
              <a:gd name="connsiteX1" fmla="*/ 7347 w 10003"/>
              <a:gd name="connsiteY1" fmla="*/ 41 h 10000"/>
              <a:gd name="connsiteX2" fmla="*/ 7503 w 10003"/>
              <a:gd name="connsiteY2" fmla="*/ 41 h 10000"/>
              <a:gd name="connsiteX3" fmla="*/ 7347 w 10003"/>
              <a:gd name="connsiteY3" fmla="*/ 165 h 10000"/>
              <a:gd name="connsiteX4" fmla="*/ 7295 w 10003"/>
              <a:gd name="connsiteY4" fmla="*/ 537 h 10000"/>
              <a:gd name="connsiteX5" fmla="*/ 7190 w 10003"/>
              <a:gd name="connsiteY5" fmla="*/ 1116 h 10000"/>
              <a:gd name="connsiteX6" fmla="*/ 7138 w 10003"/>
              <a:gd name="connsiteY6" fmla="*/ 1157 h 10000"/>
              <a:gd name="connsiteX7" fmla="*/ 6982 w 10003"/>
              <a:gd name="connsiteY7" fmla="*/ 1488 h 10000"/>
              <a:gd name="connsiteX8" fmla="*/ 7398 w 10003"/>
              <a:gd name="connsiteY8" fmla="*/ 3017 h 10000"/>
              <a:gd name="connsiteX9" fmla="*/ 7503 w 10003"/>
              <a:gd name="connsiteY9" fmla="*/ 3306 h 10000"/>
              <a:gd name="connsiteX10" fmla="*/ 7347 w 10003"/>
              <a:gd name="connsiteY10" fmla="*/ 3554 h 10000"/>
              <a:gd name="connsiteX11" fmla="*/ 8024 w 10003"/>
              <a:gd name="connsiteY11" fmla="*/ 3719 h 10000"/>
              <a:gd name="connsiteX12" fmla="*/ 8492 w 10003"/>
              <a:gd name="connsiteY12" fmla="*/ 4174 h 10000"/>
              <a:gd name="connsiteX13" fmla="*/ 8597 w 10003"/>
              <a:gd name="connsiteY13" fmla="*/ 4256 h 10000"/>
              <a:gd name="connsiteX14" fmla="*/ 8909 w 10003"/>
              <a:gd name="connsiteY14" fmla="*/ 4463 h 10000"/>
              <a:gd name="connsiteX15" fmla="*/ 9117 w 10003"/>
              <a:gd name="connsiteY15" fmla="*/ 4711 h 10000"/>
              <a:gd name="connsiteX16" fmla="*/ 9222 w 10003"/>
              <a:gd name="connsiteY16" fmla="*/ 4835 h 10000"/>
              <a:gd name="connsiteX17" fmla="*/ 9430 w 10003"/>
              <a:gd name="connsiteY17" fmla="*/ 4835 h 10000"/>
              <a:gd name="connsiteX18" fmla="*/ 9430 w 10003"/>
              <a:gd name="connsiteY18" fmla="*/ 4876 h 10000"/>
              <a:gd name="connsiteX19" fmla="*/ 9482 w 10003"/>
              <a:gd name="connsiteY19" fmla="*/ 4959 h 10000"/>
              <a:gd name="connsiteX20" fmla="*/ 9482 w 10003"/>
              <a:gd name="connsiteY20" fmla="*/ 5000 h 10000"/>
              <a:gd name="connsiteX21" fmla="*/ 9535 w 10003"/>
              <a:gd name="connsiteY21" fmla="*/ 5165 h 10000"/>
              <a:gd name="connsiteX22" fmla="*/ 9535 w 10003"/>
              <a:gd name="connsiteY22" fmla="*/ 5207 h 10000"/>
              <a:gd name="connsiteX23" fmla="*/ 9535 w 10003"/>
              <a:gd name="connsiteY23" fmla="*/ 5331 h 10000"/>
              <a:gd name="connsiteX24" fmla="*/ 9535 w 10003"/>
              <a:gd name="connsiteY24" fmla="*/ 5413 h 10000"/>
              <a:gd name="connsiteX25" fmla="*/ 9482 w 10003"/>
              <a:gd name="connsiteY25" fmla="*/ 5496 h 10000"/>
              <a:gd name="connsiteX26" fmla="*/ 9430 w 10003"/>
              <a:gd name="connsiteY26" fmla="*/ 5744 h 10000"/>
              <a:gd name="connsiteX27" fmla="*/ 9378 w 10003"/>
              <a:gd name="connsiteY27" fmla="*/ 5785 h 10000"/>
              <a:gd name="connsiteX28" fmla="*/ 9325 w 10003"/>
              <a:gd name="connsiteY28" fmla="*/ 5826 h 10000"/>
              <a:gd name="connsiteX29" fmla="*/ 9274 w 10003"/>
              <a:gd name="connsiteY29" fmla="*/ 5992 h 10000"/>
              <a:gd name="connsiteX30" fmla="*/ 9222 w 10003"/>
              <a:gd name="connsiteY30" fmla="*/ 6074 h 10000"/>
              <a:gd name="connsiteX31" fmla="*/ 9222 w 10003"/>
              <a:gd name="connsiteY31" fmla="*/ 6157 h 10000"/>
              <a:gd name="connsiteX32" fmla="*/ 9222 w 10003"/>
              <a:gd name="connsiteY32" fmla="*/ 6198 h 10000"/>
              <a:gd name="connsiteX33" fmla="*/ 9222 w 10003"/>
              <a:gd name="connsiteY33" fmla="*/ 6322 h 10000"/>
              <a:gd name="connsiteX34" fmla="*/ 9274 w 10003"/>
              <a:gd name="connsiteY34" fmla="*/ 6446 h 10000"/>
              <a:gd name="connsiteX35" fmla="*/ 9898 w 10003"/>
              <a:gd name="connsiteY35" fmla="*/ 6446 h 10000"/>
              <a:gd name="connsiteX36" fmla="*/ 9898 w 10003"/>
              <a:gd name="connsiteY36" fmla="*/ 6529 h 10000"/>
              <a:gd name="connsiteX37" fmla="*/ 9951 w 10003"/>
              <a:gd name="connsiteY37" fmla="*/ 6818 h 10000"/>
              <a:gd name="connsiteX38" fmla="*/ 9951 w 10003"/>
              <a:gd name="connsiteY38" fmla="*/ 6860 h 10000"/>
              <a:gd name="connsiteX39" fmla="*/ 9951 w 10003"/>
              <a:gd name="connsiteY39" fmla="*/ 6983 h 10000"/>
              <a:gd name="connsiteX40" fmla="*/ 9951 w 10003"/>
              <a:gd name="connsiteY40" fmla="*/ 7025 h 10000"/>
              <a:gd name="connsiteX41" fmla="*/ 9951 w 10003"/>
              <a:gd name="connsiteY41" fmla="*/ 7107 h 10000"/>
              <a:gd name="connsiteX42" fmla="*/ 9951 w 10003"/>
              <a:gd name="connsiteY42" fmla="*/ 7149 h 10000"/>
              <a:gd name="connsiteX43" fmla="*/ 9951 w 10003"/>
              <a:gd name="connsiteY43" fmla="*/ 7190 h 10000"/>
              <a:gd name="connsiteX44" fmla="*/ 9951 w 10003"/>
              <a:gd name="connsiteY44" fmla="*/ 7231 h 10000"/>
              <a:gd name="connsiteX45" fmla="*/ 10003 w 10003"/>
              <a:gd name="connsiteY45" fmla="*/ 7314 h 10000"/>
              <a:gd name="connsiteX46" fmla="*/ 10003 w 10003"/>
              <a:gd name="connsiteY46" fmla="*/ 7438 h 10000"/>
              <a:gd name="connsiteX47" fmla="*/ 10003 w 10003"/>
              <a:gd name="connsiteY47" fmla="*/ 7479 h 10000"/>
              <a:gd name="connsiteX48" fmla="*/ 10003 w 10003"/>
              <a:gd name="connsiteY48" fmla="*/ 7521 h 10000"/>
              <a:gd name="connsiteX49" fmla="*/ 10003 w 10003"/>
              <a:gd name="connsiteY49" fmla="*/ 7562 h 10000"/>
              <a:gd name="connsiteX50" fmla="*/ 10003 w 10003"/>
              <a:gd name="connsiteY50" fmla="*/ 7645 h 10000"/>
              <a:gd name="connsiteX51" fmla="*/ 10003 w 10003"/>
              <a:gd name="connsiteY51" fmla="*/ 7686 h 10000"/>
              <a:gd name="connsiteX52" fmla="*/ 10003 w 10003"/>
              <a:gd name="connsiteY52" fmla="*/ 7727 h 10000"/>
              <a:gd name="connsiteX53" fmla="*/ 10003 w 10003"/>
              <a:gd name="connsiteY53" fmla="*/ 7810 h 10000"/>
              <a:gd name="connsiteX54" fmla="*/ 10003 w 10003"/>
              <a:gd name="connsiteY54" fmla="*/ 8017 h 10000"/>
              <a:gd name="connsiteX55" fmla="*/ 10003 w 10003"/>
              <a:gd name="connsiteY55" fmla="*/ 8058 h 10000"/>
              <a:gd name="connsiteX56" fmla="*/ 10003 w 10003"/>
              <a:gd name="connsiteY56" fmla="*/ 8140 h 10000"/>
              <a:gd name="connsiteX57" fmla="*/ 10003 w 10003"/>
              <a:gd name="connsiteY57" fmla="*/ 8182 h 10000"/>
              <a:gd name="connsiteX58" fmla="*/ 10003 w 10003"/>
              <a:gd name="connsiteY58" fmla="*/ 8223 h 10000"/>
              <a:gd name="connsiteX59" fmla="*/ 10003 w 10003"/>
              <a:gd name="connsiteY59" fmla="*/ 8264 h 10000"/>
              <a:gd name="connsiteX60" fmla="*/ 10003 w 10003"/>
              <a:gd name="connsiteY60" fmla="*/ 8306 h 10000"/>
              <a:gd name="connsiteX61" fmla="*/ 10003 w 10003"/>
              <a:gd name="connsiteY61" fmla="*/ 8388 h 10000"/>
              <a:gd name="connsiteX62" fmla="*/ 10003 w 10003"/>
              <a:gd name="connsiteY62" fmla="*/ 8471 h 10000"/>
              <a:gd name="connsiteX63" fmla="*/ 10003 w 10003"/>
              <a:gd name="connsiteY63" fmla="*/ 8512 h 10000"/>
              <a:gd name="connsiteX64" fmla="*/ 10003 w 10003"/>
              <a:gd name="connsiteY64" fmla="*/ 8554 h 10000"/>
              <a:gd name="connsiteX65" fmla="*/ 9951 w 10003"/>
              <a:gd name="connsiteY65" fmla="*/ 8554 h 10000"/>
              <a:gd name="connsiteX66" fmla="*/ 9951 w 10003"/>
              <a:gd name="connsiteY66" fmla="*/ 8595 h 10000"/>
              <a:gd name="connsiteX67" fmla="*/ 9898 w 10003"/>
              <a:gd name="connsiteY67" fmla="*/ 8636 h 10000"/>
              <a:gd name="connsiteX68" fmla="*/ 9847 w 10003"/>
              <a:gd name="connsiteY68" fmla="*/ 8636 h 10000"/>
              <a:gd name="connsiteX69" fmla="*/ 9847 w 10003"/>
              <a:gd name="connsiteY69" fmla="*/ 8678 h 10000"/>
              <a:gd name="connsiteX70" fmla="*/ 9795 w 10003"/>
              <a:gd name="connsiteY70" fmla="*/ 8678 h 10000"/>
              <a:gd name="connsiteX71" fmla="*/ 9743 w 10003"/>
              <a:gd name="connsiteY71" fmla="*/ 8719 h 10000"/>
              <a:gd name="connsiteX72" fmla="*/ 9690 w 10003"/>
              <a:gd name="connsiteY72" fmla="*/ 8760 h 10000"/>
              <a:gd name="connsiteX73" fmla="*/ 9638 w 10003"/>
              <a:gd name="connsiteY73" fmla="*/ 8760 h 10000"/>
              <a:gd name="connsiteX74" fmla="*/ 9638 w 10003"/>
              <a:gd name="connsiteY74" fmla="*/ 8802 h 10000"/>
              <a:gd name="connsiteX75" fmla="*/ 9586 w 10003"/>
              <a:gd name="connsiteY75" fmla="*/ 8802 h 10000"/>
              <a:gd name="connsiteX76" fmla="*/ 9535 w 10003"/>
              <a:gd name="connsiteY76" fmla="*/ 8802 h 10000"/>
              <a:gd name="connsiteX77" fmla="*/ 9482 w 10003"/>
              <a:gd name="connsiteY77" fmla="*/ 8802 h 10000"/>
              <a:gd name="connsiteX78" fmla="*/ 9430 w 10003"/>
              <a:gd name="connsiteY78" fmla="*/ 8802 h 10000"/>
              <a:gd name="connsiteX79" fmla="*/ 9378 w 10003"/>
              <a:gd name="connsiteY79" fmla="*/ 8802 h 10000"/>
              <a:gd name="connsiteX80" fmla="*/ 9325 w 10003"/>
              <a:gd name="connsiteY80" fmla="*/ 8802 h 10000"/>
              <a:gd name="connsiteX81" fmla="*/ 9274 w 10003"/>
              <a:gd name="connsiteY81" fmla="*/ 8802 h 10000"/>
              <a:gd name="connsiteX82" fmla="*/ 9274 w 10003"/>
              <a:gd name="connsiteY82" fmla="*/ 8843 h 10000"/>
              <a:gd name="connsiteX83" fmla="*/ 9222 w 10003"/>
              <a:gd name="connsiteY83" fmla="*/ 8884 h 10000"/>
              <a:gd name="connsiteX84" fmla="*/ 9170 w 10003"/>
              <a:gd name="connsiteY84" fmla="*/ 8926 h 10000"/>
              <a:gd name="connsiteX85" fmla="*/ 9222 w 10003"/>
              <a:gd name="connsiteY85" fmla="*/ 8926 h 10000"/>
              <a:gd name="connsiteX86" fmla="*/ 9170 w 10003"/>
              <a:gd name="connsiteY86" fmla="*/ 8926 h 10000"/>
              <a:gd name="connsiteX87" fmla="*/ 9117 w 10003"/>
              <a:gd name="connsiteY87" fmla="*/ 8926 h 10000"/>
              <a:gd name="connsiteX88" fmla="*/ 9065 w 10003"/>
              <a:gd name="connsiteY88" fmla="*/ 8967 h 10000"/>
              <a:gd name="connsiteX89" fmla="*/ 9014 w 10003"/>
              <a:gd name="connsiteY89" fmla="*/ 9008 h 10000"/>
              <a:gd name="connsiteX90" fmla="*/ 8962 w 10003"/>
              <a:gd name="connsiteY90" fmla="*/ 9008 h 10000"/>
              <a:gd name="connsiteX91" fmla="*/ 8962 w 10003"/>
              <a:gd name="connsiteY91" fmla="*/ 9050 h 10000"/>
              <a:gd name="connsiteX92" fmla="*/ 8909 w 10003"/>
              <a:gd name="connsiteY92" fmla="*/ 9050 h 10000"/>
              <a:gd name="connsiteX93" fmla="*/ 8909 w 10003"/>
              <a:gd name="connsiteY93" fmla="*/ 9091 h 10000"/>
              <a:gd name="connsiteX94" fmla="*/ 8857 w 10003"/>
              <a:gd name="connsiteY94" fmla="*/ 9091 h 10000"/>
              <a:gd name="connsiteX95" fmla="*/ 8805 w 10003"/>
              <a:gd name="connsiteY95" fmla="*/ 9091 h 10000"/>
              <a:gd name="connsiteX96" fmla="*/ 8752 w 10003"/>
              <a:gd name="connsiteY96" fmla="*/ 9091 h 10000"/>
              <a:gd name="connsiteX97" fmla="*/ 8701 w 10003"/>
              <a:gd name="connsiteY97" fmla="*/ 9091 h 10000"/>
              <a:gd name="connsiteX98" fmla="*/ 8649 w 10003"/>
              <a:gd name="connsiteY98" fmla="*/ 9091 h 10000"/>
              <a:gd name="connsiteX99" fmla="*/ 8649 w 10003"/>
              <a:gd name="connsiteY99" fmla="*/ 9050 h 10000"/>
              <a:gd name="connsiteX100" fmla="*/ 8649 w 10003"/>
              <a:gd name="connsiteY100" fmla="*/ 9008 h 10000"/>
              <a:gd name="connsiteX101" fmla="*/ 8597 w 10003"/>
              <a:gd name="connsiteY101" fmla="*/ 8967 h 10000"/>
              <a:gd name="connsiteX102" fmla="*/ 8597 w 10003"/>
              <a:gd name="connsiteY102" fmla="*/ 8926 h 10000"/>
              <a:gd name="connsiteX103" fmla="*/ 8597 w 10003"/>
              <a:gd name="connsiteY103" fmla="*/ 8884 h 10000"/>
              <a:gd name="connsiteX104" fmla="*/ 8544 w 10003"/>
              <a:gd name="connsiteY104" fmla="*/ 8884 h 10000"/>
              <a:gd name="connsiteX105" fmla="*/ 8492 w 10003"/>
              <a:gd name="connsiteY105" fmla="*/ 8884 h 10000"/>
              <a:gd name="connsiteX106" fmla="*/ 8492 w 10003"/>
              <a:gd name="connsiteY106" fmla="*/ 8843 h 10000"/>
              <a:gd name="connsiteX107" fmla="*/ 8441 w 10003"/>
              <a:gd name="connsiteY107" fmla="*/ 8843 h 10000"/>
              <a:gd name="connsiteX108" fmla="*/ 8389 w 10003"/>
              <a:gd name="connsiteY108" fmla="*/ 8884 h 10000"/>
              <a:gd name="connsiteX109" fmla="*/ 8389 w 10003"/>
              <a:gd name="connsiteY109" fmla="*/ 8926 h 10000"/>
              <a:gd name="connsiteX110" fmla="*/ 8284 w 10003"/>
              <a:gd name="connsiteY110" fmla="*/ 8884 h 10000"/>
              <a:gd name="connsiteX111" fmla="*/ 8284 w 10003"/>
              <a:gd name="connsiteY111" fmla="*/ 8843 h 10000"/>
              <a:gd name="connsiteX112" fmla="*/ 8232 w 10003"/>
              <a:gd name="connsiteY112" fmla="*/ 8843 h 10000"/>
              <a:gd name="connsiteX113" fmla="*/ 8181 w 10003"/>
              <a:gd name="connsiteY113" fmla="*/ 8843 h 10000"/>
              <a:gd name="connsiteX114" fmla="*/ 8128 w 10003"/>
              <a:gd name="connsiteY114" fmla="*/ 8843 h 10000"/>
              <a:gd name="connsiteX115" fmla="*/ 8076 w 10003"/>
              <a:gd name="connsiteY115" fmla="*/ 8843 h 10000"/>
              <a:gd name="connsiteX116" fmla="*/ 8024 w 10003"/>
              <a:gd name="connsiteY116" fmla="*/ 8843 h 10000"/>
              <a:gd name="connsiteX117" fmla="*/ 8024 w 10003"/>
              <a:gd name="connsiteY117" fmla="*/ 8884 h 10000"/>
              <a:gd name="connsiteX118" fmla="*/ 7971 w 10003"/>
              <a:gd name="connsiteY118" fmla="*/ 8884 h 10000"/>
              <a:gd name="connsiteX119" fmla="*/ 7919 w 10003"/>
              <a:gd name="connsiteY119" fmla="*/ 8926 h 10000"/>
              <a:gd name="connsiteX120" fmla="*/ 7868 w 10003"/>
              <a:gd name="connsiteY120" fmla="*/ 8926 h 10000"/>
              <a:gd name="connsiteX121" fmla="*/ 7868 w 10003"/>
              <a:gd name="connsiteY121" fmla="*/ 8884 h 10000"/>
              <a:gd name="connsiteX122" fmla="*/ 7868 w 10003"/>
              <a:gd name="connsiteY122" fmla="*/ 8926 h 10000"/>
              <a:gd name="connsiteX123" fmla="*/ 7816 w 10003"/>
              <a:gd name="connsiteY123" fmla="*/ 8926 h 10000"/>
              <a:gd name="connsiteX124" fmla="*/ 7763 w 10003"/>
              <a:gd name="connsiteY124" fmla="*/ 8967 h 10000"/>
              <a:gd name="connsiteX125" fmla="*/ 7711 w 10003"/>
              <a:gd name="connsiteY125" fmla="*/ 8926 h 10000"/>
              <a:gd name="connsiteX126" fmla="*/ 7659 w 10003"/>
              <a:gd name="connsiteY126" fmla="*/ 8926 h 10000"/>
              <a:gd name="connsiteX127" fmla="*/ 7608 w 10003"/>
              <a:gd name="connsiteY127" fmla="*/ 8926 h 10000"/>
              <a:gd name="connsiteX128" fmla="*/ 7555 w 10003"/>
              <a:gd name="connsiteY128" fmla="*/ 8884 h 10000"/>
              <a:gd name="connsiteX129" fmla="*/ 7503 w 10003"/>
              <a:gd name="connsiteY129" fmla="*/ 8884 h 10000"/>
              <a:gd name="connsiteX130" fmla="*/ 7503 w 10003"/>
              <a:gd name="connsiteY130" fmla="*/ 8926 h 10000"/>
              <a:gd name="connsiteX131" fmla="*/ 7451 w 10003"/>
              <a:gd name="connsiteY131" fmla="*/ 8926 h 10000"/>
              <a:gd name="connsiteX132" fmla="*/ 7398 w 10003"/>
              <a:gd name="connsiteY132" fmla="*/ 8884 h 10000"/>
              <a:gd name="connsiteX133" fmla="*/ 7347 w 10003"/>
              <a:gd name="connsiteY133" fmla="*/ 8884 h 10000"/>
              <a:gd name="connsiteX134" fmla="*/ 7295 w 10003"/>
              <a:gd name="connsiteY134" fmla="*/ 8967 h 10000"/>
              <a:gd name="connsiteX135" fmla="*/ 7243 w 10003"/>
              <a:gd name="connsiteY135" fmla="*/ 8967 h 10000"/>
              <a:gd name="connsiteX136" fmla="*/ 7243 w 10003"/>
              <a:gd name="connsiteY136" fmla="*/ 8926 h 10000"/>
              <a:gd name="connsiteX137" fmla="*/ 7243 w 10003"/>
              <a:gd name="connsiteY137" fmla="*/ 8967 h 10000"/>
              <a:gd name="connsiteX138" fmla="*/ 7243 w 10003"/>
              <a:gd name="connsiteY138" fmla="*/ 9008 h 10000"/>
              <a:gd name="connsiteX139" fmla="*/ 7190 w 10003"/>
              <a:gd name="connsiteY139" fmla="*/ 9008 h 10000"/>
              <a:gd name="connsiteX140" fmla="*/ 7138 w 10003"/>
              <a:gd name="connsiteY140" fmla="*/ 9008 h 10000"/>
              <a:gd name="connsiteX141" fmla="*/ 7190 w 10003"/>
              <a:gd name="connsiteY141" fmla="*/ 9050 h 10000"/>
              <a:gd name="connsiteX142" fmla="*/ 7138 w 10003"/>
              <a:gd name="connsiteY142" fmla="*/ 9091 h 10000"/>
              <a:gd name="connsiteX143" fmla="*/ 7190 w 10003"/>
              <a:gd name="connsiteY143" fmla="*/ 9132 h 10000"/>
              <a:gd name="connsiteX144" fmla="*/ 7243 w 10003"/>
              <a:gd name="connsiteY144" fmla="*/ 9132 h 10000"/>
              <a:gd name="connsiteX145" fmla="*/ 7243 w 10003"/>
              <a:gd name="connsiteY145" fmla="*/ 9174 h 10000"/>
              <a:gd name="connsiteX146" fmla="*/ 7190 w 10003"/>
              <a:gd name="connsiteY146" fmla="*/ 9174 h 10000"/>
              <a:gd name="connsiteX147" fmla="*/ 7138 w 10003"/>
              <a:gd name="connsiteY147" fmla="*/ 9174 h 10000"/>
              <a:gd name="connsiteX148" fmla="*/ 7190 w 10003"/>
              <a:gd name="connsiteY148" fmla="*/ 9215 h 10000"/>
              <a:gd name="connsiteX149" fmla="*/ 7190 w 10003"/>
              <a:gd name="connsiteY149" fmla="*/ 9256 h 10000"/>
              <a:gd name="connsiteX150" fmla="*/ 7138 w 10003"/>
              <a:gd name="connsiteY150" fmla="*/ 9256 h 10000"/>
              <a:gd name="connsiteX151" fmla="*/ 7138 w 10003"/>
              <a:gd name="connsiteY151" fmla="*/ 9298 h 10000"/>
              <a:gd name="connsiteX152" fmla="*/ 7086 w 10003"/>
              <a:gd name="connsiteY152" fmla="*/ 9339 h 10000"/>
              <a:gd name="connsiteX153" fmla="*/ 7138 w 10003"/>
              <a:gd name="connsiteY153" fmla="*/ 9380 h 10000"/>
              <a:gd name="connsiteX154" fmla="*/ 7190 w 10003"/>
              <a:gd name="connsiteY154" fmla="*/ 9380 h 10000"/>
              <a:gd name="connsiteX155" fmla="*/ 7190 w 10003"/>
              <a:gd name="connsiteY155" fmla="*/ 9421 h 10000"/>
              <a:gd name="connsiteX156" fmla="*/ 7190 w 10003"/>
              <a:gd name="connsiteY156" fmla="*/ 9463 h 10000"/>
              <a:gd name="connsiteX157" fmla="*/ 7138 w 10003"/>
              <a:gd name="connsiteY157" fmla="*/ 9463 h 10000"/>
              <a:gd name="connsiteX158" fmla="*/ 7086 w 10003"/>
              <a:gd name="connsiteY158" fmla="*/ 9504 h 10000"/>
              <a:gd name="connsiteX159" fmla="*/ 7138 w 10003"/>
              <a:gd name="connsiteY159" fmla="*/ 9545 h 10000"/>
              <a:gd name="connsiteX160" fmla="*/ 7138 w 10003"/>
              <a:gd name="connsiteY160" fmla="*/ 9587 h 10000"/>
              <a:gd name="connsiteX161" fmla="*/ 7138 w 10003"/>
              <a:gd name="connsiteY161" fmla="*/ 9628 h 10000"/>
              <a:gd name="connsiteX162" fmla="*/ 7138 w 10003"/>
              <a:gd name="connsiteY162" fmla="*/ 9669 h 10000"/>
              <a:gd name="connsiteX163" fmla="*/ 7086 w 10003"/>
              <a:gd name="connsiteY163" fmla="*/ 9669 h 10000"/>
              <a:gd name="connsiteX164" fmla="*/ 7086 w 10003"/>
              <a:gd name="connsiteY164" fmla="*/ 9711 h 10000"/>
              <a:gd name="connsiteX165" fmla="*/ 7035 w 10003"/>
              <a:gd name="connsiteY165" fmla="*/ 9711 h 10000"/>
              <a:gd name="connsiteX166" fmla="*/ 6930 w 10003"/>
              <a:gd name="connsiteY166" fmla="*/ 9711 h 10000"/>
              <a:gd name="connsiteX167" fmla="*/ 6930 w 10003"/>
              <a:gd name="connsiteY167" fmla="*/ 9752 h 10000"/>
              <a:gd name="connsiteX168" fmla="*/ 6930 w 10003"/>
              <a:gd name="connsiteY168" fmla="*/ 9793 h 10000"/>
              <a:gd name="connsiteX169" fmla="*/ 6930 w 10003"/>
              <a:gd name="connsiteY169" fmla="*/ 9835 h 10000"/>
              <a:gd name="connsiteX170" fmla="*/ 6930 w 10003"/>
              <a:gd name="connsiteY170" fmla="*/ 9793 h 10000"/>
              <a:gd name="connsiteX171" fmla="*/ 6878 w 10003"/>
              <a:gd name="connsiteY171" fmla="*/ 9793 h 10000"/>
              <a:gd name="connsiteX172" fmla="*/ 6825 w 10003"/>
              <a:gd name="connsiteY172" fmla="*/ 9793 h 10000"/>
              <a:gd name="connsiteX173" fmla="*/ 6825 w 10003"/>
              <a:gd name="connsiteY173" fmla="*/ 9835 h 10000"/>
              <a:gd name="connsiteX174" fmla="*/ 6825 w 10003"/>
              <a:gd name="connsiteY174" fmla="*/ 9876 h 10000"/>
              <a:gd name="connsiteX175" fmla="*/ 6825 w 10003"/>
              <a:gd name="connsiteY175" fmla="*/ 9917 h 10000"/>
              <a:gd name="connsiteX176" fmla="*/ 6722 w 10003"/>
              <a:gd name="connsiteY176" fmla="*/ 9917 h 10000"/>
              <a:gd name="connsiteX177" fmla="*/ 6722 w 10003"/>
              <a:gd name="connsiteY177" fmla="*/ 9959 h 10000"/>
              <a:gd name="connsiteX178" fmla="*/ 6670 w 10003"/>
              <a:gd name="connsiteY178" fmla="*/ 10000 h 10000"/>
              <a:gd name="connsiteX179" fmla="*/ 7346 w 10003"/>
              <a:gd name="connsiteY179" fmla="*/ 7293 h 10000"/>
              <a:gd name="connsiteX180" fmla="*/ 7138 w 10003"/>
              <a:gd name="connsiteY180" fmla="*/ 6957 h 10000"/>
              <a:gd name="connsiteX181" fmla="*/ 6546 w 10003"/>
              <a:gd name="connsiteY181" fmla="*/ 6849 h 10000"/>
              <a:gd name="connsiteX182" fmla="*/ 5777 w 10003"/>
              <a:gd name="connsiteY182" fmla="*/ 6814 h 10000"/>
              <a:gd name="connsiteX183" fmla="*/ 5313 w 10003"/>
              <a:gd name="connsiteY183" fmla="*/ 6708 h 10000"/>
              <a:gd name="connsiteX184" fmla="*/ 5073 w 10003"/>
              <a:gd name="connsiteY184" fmla="*/ 6602 h 10000"/>
              <a:gd name="connsiteX185" fmla="*/ 4913 w 10003"/>
              <a:gd name="connsiteY185" fmla="*/ 6690 h 10000"/>
              <a:gd name="connsiteX186" fmla="*/ 4417 w 10003"/>
              <a:gd name="connsiteY186" fmla="*/ 6530 h 10000"/>
              <a:gd name="connsiteX187" fmla="*/ 3585 w 10003"/>
              <a:gd name="connsiteY187" fmla="*/ 6247 h 10000"/>
              <a:gd name="connsiteX188" fmla="*/ 3105 w 10003"/>
              <a:gd name="connsiteY188" fmla="*/ 6193 h 10000"/>
              <a:gd name="connsiteX189" fmla="*/ 3201 w 10003"/>
              <a:gd name="connsiteY189" fmla="*/ 5998 h 10000"/>
              <a:gd name="connsiteX190" fmla="*/ 3345 w 10003"/>
              <a:gd name="connsiteY190" fmla="*/ 5945 h 10000"/>
              <a:gd name="connsiteX191" fmla="*/ 3729 w 10003"/>
              <a:gd name="connsiteY191" fmla="*/ 5662 h 10000"/>
              <a:gd name="connsiteX192" fmla="*/ 3969 w 10003"/>
              <a:gd name="connsiteY192" fmla="*/ 5396 h 10000"/>
              <a:gd name="connsiteX193" fmla="*/ 4225 w 10003"/>
              <a:gd name="connsiteY193" fmla="*/ 5112 h 10000"/>
              <a:gd name="connsiteX194" fmla="*/ 4369 w 10003"/>
              <a:gd name="connsiteY194" fmla="*/ 4846 h 10000"/>
              <a:gd name="connsiteX195" fmla="*/ 4353 w 10003"/>
              <a:gd name="connsiteY195" fmla="*/ 4545 h 10000"/>
              <a:gd name="connsiteX196" fmla="*/ 4337 w 10003"/>
              <a:gd name="connsiteY196" fmla="*/ 4278 h 10000"/>
              <a:gd name="connsiteX197" fmla="*/ 4177 w 10003"/>
              <a:gd name="connsiteY197" fmla="*/ 4119 h 10000"/>
              <a:gd name="connsiteX198" fmla="*/ 4017 w 10003"/>
              <a:gd name="connsiteY198" fmla="*/ 4137 h 10000"/>
              <a:gd name="connsiteX199" fmla="*/ 3857 w 10003"/>
              <a:gd name="connsiteY199" fmla="*/ 4421 h 10000"/>
              <a:gd name="connsiteX200" fmla="*/ 3809 w 10003"/>
              <a:gd name="connsiteY200" fmla="*/ 4934 h 10000"/>
              <a:gd name="connsiteX201" fmla="*/ 3537 w 10003"/>
              <a:gd name="connsiteY201" fmla="*/ 5272 h 10000"/>
              <a:gd name="connsiteX202" fmla="*/ 2993 w 10003"/>
              <a:gd name="connsiteY202" fmla="*/ 5573 h 10000"/>
              <a:gd name="connsiteX203" fmla="*/ 2416 w 10003"/>
              <a:gd name="connsiteY203" fmla="*/ 5803 h 10000"/>
              <a:gd name="connsiteX204" fmla="*/ 1952 w 10003"/>
              <a:gd name="connsiteY204" fmla="*/ 6122 h 10000"/>
              <a:gd name="connsiteX205" fmla="*/ 0 w 10003"/>
              <a:gd name="connsiteY205" fmla="*/ 6051 h 10000"/>
              <a:gd name="connsiteX206" fmla="*/ 3 w 10003"/>
              <a:gd name="connsiteY206" fmla="*/ 5826 h 10000"/>
              <a:gd name="connsiteX207" fmla="*/ 159 w 10003"/>
              <a:gd name="connsiteY207" fmla="*/ 5909 h 10000"/>
              <a:gd name="connsiteX208" fmla="*/ 368 w 10003"/>
              <a:gd name="connsiteY208" fmla="*/ 5826 h 10000"/>
              <a:gd name="connsiteX209" fmla="*/ 1462 w 10003"/>
              <a:gd name="connsiteY209" fmla="*/ 5826 h 10000"/>
              <a:gd name="connsiteX210" fmla="*/ 1617 w 10003"/>
              <a:gd name="connsiteY210" fmla="*/ 5785 h 10000"/>
              <a:gd name="connsiteX211" fmla="*/ 1670 w 10003"/>
              <a:gd name="connsiteY211" fmla="*/ 5785 h 10000"/>
              <a:gd name="connsiteX212" fmla="*/ 2190 w 10003"/>
              <a:gd name="connsiteY212" fmla="*/ 5248 h 10000"/>
              <a:gd name="connsiteX213" fmla="*/ 2295 w 10003"/>
              <a:gd name="connsiteY213" fmla="*/ 5165 h 10000"/>
              <a:gd name="connsiteX214" fmla="*/ 2763 w 10003"/>
              <a:gd name="connsiteY214" fmla="*/ 4752 h 10000"/>
              <a:gd name="connsiteX215" fmla="*/ 3024 w 10003"/>
              <a:gd name="connsiteY215" fmla="*/ 4504 h 10000"/>
              <a:gd name="connsiteX216" fmla="*/ 3180 w 10003"/>
              <a:gd name="connsiteY216" fmla="*/ 4380 h 10000"/>
              <a:gd name="connsiteX217" fmla="*/ 3597 w 10003"/>
              <a:gd name="connsiteY217" fmla="*/ 3760 h 10000"/>
              <a:gd name="connsiteX218" fmla="*/ 4117 w 10003"/>
              <a:gd name="connsiteY218" fmla="*/ 3512 h 10000"/>
              <a:gd name="connsiteX219" fmla="*/ 5003 w 10003"/>
              <a:gd name="connsiteY219" fmla="*/ 2810 h 10000"/>
              <a:gd name="connsiteX220" fmla="*/ 4846 w 10003"/>
              <a:gd name="connsiteY220" fmla="*/ 2562 h 10000"/>
              <a:gd name="connsiteX221" fmla="*/ 4795 w 10003"/>
              <a:gd name="connsiteY221" fmla="*/ 2397 h 10000"/>
              <a:gd name="connsiteX222" fmla="*/ 4795 w 10003"/>
              <a:gd name="connsiteY222" fmla="*/ 1240 h 10000"/>
              <a:gd name="connsiteX223" fmla="*/ 4117 w 10003"/>
              <a:gd name="connsiteY223" fmla="*/ 744 h 10000"/>
              <a:gd name="connsiteX224" fmla="*/ 4951 w 10003"/>
              <a:gd name="connsiteY224" fmla="*/ 744 h 10000"/>
              <a:gd name="connsiteX225" fmla="*/ 5784 w 10003"/>
              <a:gd name="connsiteY225" fmla="*/ 744 h 10000"/>
              <a:gd name="connsiteX226" fmla="*/ 5784 w 10003"/>
              <a:gd name="connsiteY226" fmla="*/ 702 h 10000"/>
              <a:gd name="connsiteX227" fmla="*/ 5784 w 10003"/>
              <a:gd name="connsiteY227" fmla="*/ 661 h 10000"/>
              <a:gd name="connsiteX228" fmla="*/ 5784 w 10003"/>
              <a:gd name="connsiteY228" fmla="*/ 620 h 10000"/>
              <a:gd name="connsiteX229" fmla="*/ 5784 w 10003"/>
              <a:gd name="connsiteY229" fmla="*/ 579 h 10000"/>
              <a:gd name="connsiteX230" fmla="*/ 5836 w 10003"/>
              <a:gd name="connsiteY230" fmla="*/ 537 h 10000"/>
              <a:gd name="connsiteX231" fmla="*/ 5836 w 10003"/>
              <a:gd name="connsiteY231" fmla="*/ 496 h 10000"/>
              <a:gd name="connsiteX232" fmla="*/ 5836 w 10003"/>
              <a:gd name="connsiteY232" fmla="*/ 455 h 10000"/>
              <a:gd name="connsiteX233" fmla="*/ 5836 w 10003"/>
              <a:gd name="connsiteY233" fmla="*/ 413 h 10000"/>
              <a:gd name="connsiteX234" fmla="*/ 5836 w 10003"/>
              <a:gd name="connsiteY234" fmla="*/ 372 h 10000"/>
              <a:gd name="connsiteX235" fmla="*/ 5836 w 10003"/>
              <a:gd name="connsiteY235" fmla="*/ 331 h 10000"/>
              <a:gd name="connsiteX236" fmla="*/ 5784 w 10003"/>
              <a:gd name="connsiteY236" fmla="*/ 331 h 10000"/>
              <a:gd name="connsiteX237" fmla="*/ 5784 w 10003"/>
              <a:gd name="connsiteY237" fmla="*/ 289 h 10000"/>
              <a:gd name="connsiteX238" fmla="*/ 5784 w 10003"/>
              <a:gd name="connsiteY238" fmla="*/ 248 h 10000"/>
              <a:gd name="connsiteX239" fmla="*/ 5784 w 10003"/>
              <a:gd name="connsiteY239" fmla="*/ 207 h 10000"/>
              <a:gd name="connsiteX240" fmla="*/ 5784 w 10003"/>
              <a:gd name="connsiteY240" fmla="*/ 165 h 10000"/>
              <a:gd name="connsiteX241" fmla="*/ 5784 w 10003"/>
              <a:gd name="connsiteY241" fmla="*/ 124 h 10000"/>
              <a:gd name="connsiteX242" fmla="*/ 5784 w 10003"/>
              <a:gd name="connsiteY242" fmla="*/ 83 h 10000"/>
              <a:gd name="connsiteX243" fmla="*/ 5784 w 10003"/>
              <a:gd name="connsiteY243" fmla="*/ 41 h 10000"/>
              <a:gd name="connsiteX244" fmla="*/ 5784 w 10003"/>
              <a:gd name="connsiteY244" fmla="*/ 0 h 10000"/>
              <a:gd name="connsiteX0" fmla="*/ 5784 w 10003"/>
              <a:gd name="connsiteY0" fmla="*/ 0 h 9959"/>
              <a:gd name="connsiteX1" fmla="*/ 7347 w 10003"/>
              <a:gd name="connsiteY1" fmla="*/ 41 h 9959"/>
              <a:gd name="connsiteX2" fmla="*/ 7503 w 10003"/>
              <a:gd name="connsiteY2" fmla="*/ 41 h 9959"/>
              <a:gd name="connsiteX3" fmla="*/ 7347 w 10003"/>
              <a:gd name="connsiteY3" fmla="*/ 165 h 9959"/>
              <a:gd name="connsiteX4" fmla="*/ 7295 w 10003"/>
              <a:gd name="connsiteY4" fmla="*/ 537 h 9959"/>
              <a:gd name="connsiteX5" fmla="*/ 7190 w 10003"/>
              <a:gd name="connsiteY5" fmla="*/ 1116 h 9959"/>
              <a:gd name="connsiteX6" fmla="*/ 7138 w 10003"/>
              <a:gd name="connsiteY6" fmla="*/ 1157 h 9959"/>
              <a:gd name="connsiteX7" fmla="*/ 6982 w 10003"/>
              <a:gd name="connsiteY7" fmla="*/ 1488 h 9959"/>
              <a:gd name="connsiteX8" fmla="*/ 7398 w 10003"/>
              <a:gd name="connsiteY8" fmla="*/ 3017 h 9959"/>
              <a:gd name="connsiteX9" fmla="*/ 7503 w 10003"/>
              <a:gd name="connsiteY9" fmla="*/ 3306 h 9959"/>
              <a:gd name="connsiteX10" fmla="*/ 7347 w 10003"/>
              <a:gd name="connsiteY10" fmla="*/ 3554 h 9959"/>
              <a:gd name="connsiteX11" fmla="*/ 8024 w 10003"/>
              <a:gd name="connsiteY11" fmla="*/ 3719 h 9959"/>
              <a:gd name="connsiteX12" fmla="*/ 8492 w 10003"/>
              <a:gd name="connsiteY12" fmla="*/ 4174 h 9959"/>
              <a:gd name="connsiteX13" fmla="*/ 8597 w 10003"/>
              <a:gd name="connsiteY13" fmla="*/ 4256 h 9959"/>
              <a:gd name="connsiteX14" fmla="*/ 8909 w 10003"/>
              <a:gd name="connsiteY14" fmla="*/ 4463 h 9959"/>
              <a:gd name="connsiteX15" fmla="*/ 9117 w 10003"/>
              <a:gd name="connsiteY15" fmla="*/ 4711 h 9959"/>
              <a:gd name="connsiteX16" fmla="*/ 9222 w 10003"/>
              <a:gd name="connsiteY16" fmla="*/ 4835 h 9959"/>
              <a:gd name="connsiteX17" fmla="*/ 9430 w 10003"/>
              <a:gd name="connsiteY17" fmla="*/ 4835 h 9959"/>
              <a:gd name="connsiteX18" fmla="*/ 9430 w 10003"/>
              <a:gd name="connsiteY18" fmla="*/ 4876 h 9959"/>
              <a:gd name="connsiteX19" fmla="*/ 9482 w 10003"/>
              <a:gd name="connsiteY19" fmla="*/ 4959 h 9959"/>
              <a:gd name="connsiteX20" fmla="*/ 9482 w 10003"/>
              <a:gd name="connsiteY20" fmla="*/ 5000 h 9959"/>
              <a:gd name="connsiteX21" fmla="*/ 9535 w 10003"/>
              <a:gd name="connsiteY21" fmla="*/ 5165 h 9959"/>
              <a:gd name="connsiteX22" fmla="*/ 9535 w 10003"/>
              <a:gd name="connsiteY22" fmla="*/ 5207 h 9959"/>
              <a:gd name="connsiteX23" fmla="*/ 9535 w 10003"/>
              <a:gd name="connsiteY23" fmla="*/ 5331 h 9959"/>
              <a:gd name="connsiteX24" fmla="*/ 9535 w 10003"/>
              <a:gd name="connsiteY24" fmla="*/ 5413 h 9959"/>
              <a:gd name="connsiteX25" fmla="*/ 9482 w 10003"/>
              <a:gd name="connsiteY25" fmla="*/ 5496 h 9959"/>
              <a:gd name="connsiteX26" fmla="*/ 9430 w 10003"/>
              <a:gd name="connsiteY26" fmla="*/ 5744 h 9959"/>
              <a:gd name="connsiteX27" fmla="*/ 9378 w 10003"/>
              <a:gd name="connsiteY27" fmla="*/ 5785 h 9959"/>
              <a:gd name="connsiteX28" fmla="*/ 9325 w 10003"/>
              <a:gd name="connsiteY28" fmla="*/ 5826 h 9959"/>
              <a:gd name="connsiteX29" fmla="*/ 9274 w 10003"/>
              <a:gd name="connsiteY29" fmla="*/ 5992 h 9959"/>
              <a:gd name="connsiteX30" fmla="*/ 9222 w 10003"/>
              <a:gd name="connsiteY30" fmla="*/ 6074 h 9959"/>
              <a:gd name="connsiteX31" fmla="*/ 9222 w 10003"/>
              <a:gd name="connsiteY31" fmla="*/ 6157 h 9959"/>
              <a:gd name="connsiteX32" fmla="*/ 9222 w 10003"/>
              <a:gd name="connsiteY32" fmla="*/ 6198 h 9959"/>
              <a:gd name="connsiteX33" fmla="*/ 9222 w 10003"/>
              <a:gd name="connsiteY33" fmla="*/ 6322 h 9959"/>
              <a:gd name="connsiteX34" fmla="*/ 9274 w 10003"/>
              <a:gd name="connsiteY34" fmla="*/ 6446 h 9959"/>
              <a:gd name="connsiteX35" fmla="*/ 9898 w 10003"/>
              <a:gd name="connsiteY35" fmla="*/ 6446 h 9959"/>
              <a:gd name="connsiteX36" fmla="*/ 9898 w 10003"/>
              <a:gd name="connsiteY36" fmla="*/ 6529 h 9959"/>
              <a:gd name="connsiteX37" fmla="*/ 9951 w 10003"/>
              <a:gd name="connsiteY37" fmla="*/ 6818 h 9959"/>
              <a:gd name="connsiteX38" fmla="*/ 9951 w 10003"/>
              <a:gd name="connsiteY38" fmla="*/ 6860 h 9959"/>
              <a:gd name="connsiteX39" fmla="*/ 9951 w 10003"/>
              <a:gd name="connsiteY39" fmla="*/ 6983 h 9959"/>
              <a:gd name="connsiteX40" fmla="*/ 9951 w 10003"/>
              <a:gd name="connsiteY40" fmla="*/ 7025 h 9959"/>
              <a:gd name="connsiteX41" fmla="*/ 9951 w 10003"/>
              <a:gd name="connsiteY41" fmla="*/ 7107 h 9959"/>
              <a:gd name="connsiteX42" fmla="*/ 9951 w 10003"/>
              <a:gd name="connsiteY42" fmla="*/ 7149 h 9959"/>
              <a:gd name="connsiteX43" fmla="*/ 9951 w 10003"/>
              <a:gd name="connsiteY43" fmla="*/ 7190 h 9959"/>
              <a:gd name="connsiteX44" fmla="*/ 9951 w 10003"/>
              <a:gd name="connsiteY44" fmla="*/ 7231 h 9959"/>
              <a:gd name="connsiteX45" fmla="*/ 10003 w 10003"/>
              <a:gd name="connsiteY45" fmla="*/ 7314 h 9959"/>
              <a:gd name="connsiteX46" fmla="*/ 10003 w 10003"/>
              <a:gd name="connsiteY46" fmla="*/ 7438 h 9959"/>
              <a:gd name="connsiteX47" fmla="*/ 10003 w 10003"/>
              <a:gd name="connsiteY47" fmla="*/ 7479 h 9959"/>
              <a:gd name="connsiteX48" fmla="*/ 10003 w 10003"/>
              <a:gd name="connsiteY48" fmla="*/ 7521 h 9959"/>
              <a:gd name="connsiteX49" fmla="*/ 10003 w 10003"/>
              <a:gd name="connsiteY49" fmla="*/ 7562 h 9959"/>
              <a:gd name="connsiteX50" fmla="*/ 10003 w 10003"/>
              <a:gd name="connsiteY50" fmla="*/ 7645 h 9959"/>
              <a:gd name="connsiteX51" fmla="*/ 10003 w 10003"/>
              <a:gd name="connsiteY51" fmla="*/ 7686 h 9959"/>
              <a:gd name="connsiteX52" fmla="*/ 10003 w 10003"/>
              <a:gd name="connsiteY52" fmla="*/ 7727 h 9959"/>
              <a:gd name="connsiteX53" fmla="*/ 10003 w 10003"/>
              <a:gd name="connsiteY53" fmla="*/ 7810 h 9959"/>
              <a:gd name="connsiteX54" fmla="*/ 10003 w 10003"/>
              <a:gd name="connsiteY54" fmla="*/ 8017 h 9959"/>
              <a:gd name="connsiteX55" fmla="*/ 10003 w 10003"/>
              <a:gd name="connsiteY55" fmla="*/ 8058 h 9959"/>
              <a:gd name="connsiteX56" fmla="*/ 10003 w 10003"/>
              <a:gd name="connsiteY56" fmla="*/ 8140 h 9959"/>
              <a:gd name="connsiteX57" fmla="*/ 10003 w 10003"/>
              <a:gd name="connsiteY57" fmla="*/ 8182 h 9959"/>
              <a:gd name="connsiteX58" fmla="*/ 10003 w 10003"/>
              <a:gd name="connsiteY58" fmla="*/ 8223 h 9959"/>
              <a:gd name="connsiteX59" fmla="*/ 10003 w 10003"/>
              <a:gd name="connsiteY59" fmla="*/ 8264 h 9959"/>
              <a:gd name="connsiteX60" fmla="*/ 10003 w 10003"/>
              <a:gd name="connsiteY60" fmla="*/ 8306 h 9959"/>
              <a:gd name="connsiteX61" fmla="*/ 10003 w 10003"/>
              <a:gd name="connsiteY61" fmla="*/ 8388 h 9959"/>
              <a:gd name="connsiteX62" fmla="*/ 10003 w 10003"/>
              <a:gd name="connsiteY62" fmla="*/ 8471 h 9959"/>
              <a:gd name="connsiteX63" fmla="*/ 10003 w 10003"/>
              <a:gd name="connsiteY63" fmla="*/ 8512 h 9959"/>
              <a:gd name="connsiteX64" fmla="*/ 10003 w 10003"/>
              <a:gd name="connsiteY64" fmla="*/ 8554 h 9959"/>
              <a:gd name="connsiteX65" fmla="*/ 9951 w 10003"/>
              <a:gd name="connsiteY65" fmla="*/ 8554 h 9959"/>
              <a:gd name="connsiteX66" fmla="*/ 9951 w 10003"/>
              <a:gd name="connsiteY66" fmla="*/ 8595 h 9959"/>
              <a:gd name="connsiteX67" fmla="*/ 9898 w 10003"/>
              <a:gd name="connsiteY67" fmla="*/ 8636 h 9959"/>
              <a:gd name="connsiteX68" fmla="*/ 9847 w 10003"/>
              <a:gd name="connsiteY68" fmla="*/ 8636 h 9959"/>
              <a:gd name="connsiteX69" fmla="*/ 9847 w 10003"/>
              <a:gd name="connsiteY69" fmla="*/ 8678 h 9959"/>
              <a:gd name="connsiteX70" fmla="*/ 9795 w 10003"/>
              <a:gd name="connsiteY70" fmla="*/ 8678 h 9959"/>
              <a:gd name="connsiteX71" fmla="*/ 9743 w 10003"/>
              <a:gd name="connsiteY71" fmla="*/ 8719 h 9959"/>
              <a:gd name="connsiteX72" fmla="*/ 9690 w 10003"/>
              <a:gd name="connsiteY72" fmla="*/ 8760 h 9959"/>
              <a:gd name="connsiteX73" fmla="*/ 9638 w 10003"/>
              <a:gd name="connsiteY73" fmla="*/ 8760 h 9959"/>
              <a:gd name="connsiteX74" fmla="*/ 9638 w 10003"/>
              <a:gd name="connsiteY74" fmla="*/ 8802 h 9959"/>
              <a:gd name="connsiteX75" fmla="*/ 9586 w 10003"/>
              <a:gd name="connsiteY75" fmla="*/ 8802 h 9959"/>
              <a:gd name="connsiteX76" fmla="*/ 9535 w 10003"/>
              <a:gd name="connsiteY76" fmla="*/ 8802 h 9959"/>
              <a:gd name="connsiteX77" fmla="*/ 9482 w 10003"/>
              <a:gd name="connsiteY77" fmla="*/ 8802 h 9959"/>
              <a:gd name="connsiteX78" fmla="*/ 9430 w 10003"/>
              <a:gd name="connsiteY78" fmla="*/ 8802 h 9959"/>
              <a:gd name="connsiteX79" fmla="*/ 9378 w 10003"/>
              <a:gd name="connsiteY79" fmla="*/ 8802 h 9959"/>
              <a:gd name="connsiteX80" fmla="*/ 9325 w 10003"/>
              <a:gd name="connsiteY80" fmla="*/ 8802 h 9959"/>
              <a:gd name="connsiteX81" fmla="*/ 9274 w 10003"/>
              <a:gd name="connsiteY81" fmla="*/ 8802 h 9959"/>
              <a:gd name="connsiteX82" fmla="*/ 9274 w 10003"/>
              <a:gd name="connsiteY82" fmla="*/ 8843 h 9959"/>
              <a:gd name="connsiteX83" fmla="*/ 9222 w 10003"/>
              <a:gd name="connsiteY83" fmla="*/ 8884 h 9959"/>
              <a:gd name="connsiteX84" fmla="*/ 9170 w 10003"/>
              <a:gd name="connsiteY84" fmla="*/ 8926 h 9959"/>
              <a:gd name="connsiteX85" fmla="*/ 9222 w 10003"/>
              <a:gd name="connsiteY85" fmla="*/ 8926 h 9959"/>
              <a:gd name="connsiteX86" fmla="*/ 9170 w 10003"/>
              <a:gd name="connsiteY86" fmla="*/ 8926 h 9959"/>
              <a:gd name="connsiteX87" fmla="*/ 9117 w 10003"/>
              <a:gd name="connsiteY87" fmla="*/ 8926 h 9959"/>
              <a:gd name="connsiteX88" fmla="*/ 9065 w 10003"/>
              <a:gd name="connsiteY88" fmla="*/ 8967 h 9959"/>
              <a:gd name="connsiteX89" fmla="*/ 9014 w 10003"/>
              <a:gd name="connsiteY89" fmla="*/ 9008 h 9959"/>
              <a:gd name="connsiteX90" fmla="*/ 8962 w 10003"/>
              <a:gd name="connsiteY90" fmla="*/ 9008 h 9959"/>
              <a:gd name="connsiteX91" fmla="*/ 8962 w 10003"/>
              <a:gd name="connsiteY91" fmla="*/ 9050 h 9959"/>
              <a:gd name="connsiteX92" fmla="*/ 8909 w 10003"/>
              <a:gd name="connsiteY92" fmla="*/ 9050 h 9959"/>
              <a:gd name="connsiteX93" fmla="*/ 8909 w 10003"/>
              <a:gd name="connsiteY93" fmla="*/ 9091 h 9959"/>
              <a:gd name="connsiteX94" fmla="*/ 8857 w 10003"/>
              <a:gd name="connsiteY94" fmla="*/ 9091 h 9959"/>
              <a:gd name="connsiteX95" fmla="*/ 8805 w 10003"/>
              <a:gd name="connsiteY95" fmla="*/ 9091 h 9959"/>
              <a:gd name="connsiteX96" fmla="*/ 8752 w 10003"/>
              <a:gd name="connsiteY96" fmla="*/ 9091 h 9959"/>
              <a:gd name="connsiteX97" fmla="*/ 8701 w 10003"/>
              <a:gd name="connsiteY97" fmla="*/ 9091 h 9959"/>
              <a:gd name="connsiteX98" fmla="*/ 8649 w 10003"/>
              <a:gd name="connsiteY98" fmla="*/ 9091 h 9959"/>
              <a:gd name="connsiteX99" fmla="*/ 8649 w 10003"/>
              <a:gd name="connsiteY99" fmla="*/ 9050 h 9959"/>
              <a:gd name="connsiteX100" fmla="*/ 8649 w 10003"/>
              <a:gd name="connsiteY100" fmla="*/ 9008 h 9959"/>
              <a:gd name="connsiteX101" fmla="*/ 8597 w 10003"/>
              <a:gd name="connsiteY101" fmla="*/ 8967 h 9959"/>
              <a:gd name="connsiteX102" fmla="*/ 8597 w 10003"/>
              <a:gd name="connsiteY102" fmla="*/ 8926 h 9959"/>
              <a:gd name="connsiteX103" fmla="*/ 8597 w 10003"/>
              <a:gd name="connsiteY103" fmla="*/ 8884 h 9959"/>
              <a:gd name="connsiteX104" fmla="*/ 8544 w 10003"/>
              <a:gd name="connsiteY104" fmla="*/ 8884 h 9959"/>
              <a:gd name="connsiteX105" fmla="*/ 8492 w 10003"/>
              <a:gd name="connsiteY105" fmla="*/ 8884 h 9959"/>
              <a:gd name="connsiteX106" fmla="*/ 8492 w 10003"/>
              <a:gd name="connsiteY106" fmla="*/ 8843 h 9959"/>
              <a:gd name="connsiteX107" fmla="*/ 8441 w 10003"/>
              <a:gd name="connsiteY107" fmla="*/ 8843 h 9959"/>
              <a:gd name="connsiteX108" fmla="*/ 8389 w 10003"/>
              <a:gd name="connsiteY108" fmla="*/ 8884 h 9959"/>
              <a:gd name="connsiteX109" fmla="*/ 8389 w 10003"/>
              <a:gd name="connsiteY109" fmla="*/ 8926 h 9959"/>
              <a:gd name="connsiteX110" fmla="*/ 8284 w 10003"/>
              <a:gd name="connsiteY110" fmla="*/ 8884 h 9959"/>
              <a:gd name="connsiteX111" fmla="*/ 8284 w 10003"/>
              <a:gd name="connsiteY111" fmla="*/ 8843 h 9959"/>
              <a:gd name="connsiteX112" fmla="*/ 8232 w 10003"/>
              <a:gd name="connsiteY112" fmla="*/ 8843 h 9959"/>
              <a:gd name="connsiteX113" fmla="*/ 8181 w 10003"/>
              <a:gd name="connsiteY113" fmla="*/ 8843 h 9959"/>
              <a:gd name="connsiteX114" fmla="*/ 8128 w 10003"/>
              <a:gd name="connsiteY114" fmla="*/ 8843 h 9959"/>
              <a:gd name="connsiteX115" fmla="*/ 8076 w 10003"/>
              <a:gd name="connsiteY115" fmla="*/ 8843 h 9959"/>
              <a:gd name="connsiteX116" fmla="*/ 8024 w 10003"/>
              <a:gd name="connsiteY116" fmla="*/ 8843 h 9959"/>
              <a:gd name="connsiteX117" fmla="*/ 8024 w 10003"/>
              <a:gd name="connsiteY117" fmla="*/ 8884 h 9959"/>
              <a:gd name="connsiteX118" fmla="*/ 7971 w 10003"/>
              <a:gd name="connsiteY118" fmla="*/ 8884 h 9959"/>
              <a:gd name="connsiteX119" fmla="*/ 7919 w 10003"/>
              <a:gd name="connsiteY119" fmla="*/ 8926 h 9959"/>
              <a:gd name="connsiteX120" fmla="*/ 7868 w 10003"/>
              <a:gd name="connsiteY120" fmla="*/ 8926 h 9959"/>
              <a:gd name="connsiteX121" fmla="*/ 7868 w 10003"/>
              <a:gd name="connsiteY121" fmla="*/ 8884 h 9959"/>
              <a:gd name="connsiteX122" fmla="*/ 7868 w 10003"/>
              <a:gd name="connsiteY122" fmla="*/ 8926 h 9959"/>
              <a:gd name="connsiteX123" fmla="*/ 7816 w 10003"/>
              <a:gd name="connsiteY123" fmla="*/ 8926 h 9959"/>
              <a:gd name="connsiteX124" fmla="*/ 7763 w 10003"/>
              <a:gd name="connsiteY124" fmla="*/ 8967 h 9959"/>
              <a:gd name="connsiteX125" fmla="*/ 7711 w 10003"/>
              <a:gd name="connsiteY125" fmla="*/ 8926 h 9959"/>
              <a:gd name="connsiteX126" fmla="*/ 7659 w 10003"/>
              <a:gd name="connsiteY126" fmla="*/ 8926 h 9959"/>
              <a:gd name="connsiteX127" fmla="*/ 7608 w 10003"/>
              <a:gd name="connsiteY127" fmla="*/ 8926 h 9959"/>
              <a:gd name="connsiteX128" fmla="*/ 7555 w 10003"/>
              <a:gd name="connsiteY128" fmla="*/ 8884 h 9959"/>
              <a:gd name="connsiteX129" fmla="*/ 7503 w 10003"/>
              <a:gd name="connsiteY129" fmla="*/ 8884 h 9959"/>
              <a:gd name="connsiteX130" fmla="*/ 7503 w 10003"/>
              <a:gd name="connsiteY130" fmla="*/ 8926 h 9959"/>
              <a:gd name="connsiteX131" fmla="*/ 7451 w 10003"/>
              <a:gd name="connsiteY131" fmla="*/ 8926 h 9959"/>
              <a:gd name="connsiteX132" fmla="*/ 7398 w 10003"/>
              <a:gd name="connsiteY132" fmla="*/ 8884 h 9959"/>
              <a:gd name="connsiteX133" fmla="*/ 7347 w 10003"/>
              <a:gd name="connsiteY133" fmla="*/ 8884 h 9959"/>
              <a:gd name="connsiteX134" fmla="*/ 7295 w 10003"/>
              <a:gd name="connsiteY134" fmla="*/ 8967 h 9959"/>
              <a:gd name="connsiteX135" fmla="*/ 7243 w 10003"/>
              <a:gd name="connsiteY135" fmla="*/ 8967 h 9959"/>
              <a:gd name="connsiteX136" fmla="*/ 7243 w 10003"/>
              <a:gd name="connsiteY136" fmla="*/ 8926 h 9959"/>
              <a:gd name="connsiteX137" fmla="*/ 7243 w 10003"/>
              <a:gd name="connsiteY137" fmla="*/ 8967 h 9959"/>
              <a:gd name="connsiteX138" fmla="*/ 7243 w 10003"/>
              <a:gd name="connsiteY138" fmla="*/ 9008 h 9959"/>
              <a:gd name="connsiteX139" fmla="*/ 7190 w 10003"/>
              <a:gd name="connsiteY139" fmla="*/ 9008 h 9959"/>
              <a:gd name="connsiteX140" fmla="*/ 7138 w 10003"/>
              <a:gd name="connsiteY140" fmla="*/ 9008 h 9959"/>
              <a:gd name="connsiteX141" fmla="*/ 7190 w 10003"/>
              <a:gd name="connsiteY141" fmla="*/ 9050 h 9959"/>
              <a:gd name="connsiteX142" fmla="*/ 7138 w 10003"/>
              <a:gd name="connsiteY142" fmla="*/ 9091 h 9959"/>
              <a:gd name="connsiteX143" fmla="*/ 7190 w 10003"/>
              <a:gd name="connsiteY143" fmla="*/ 9132 h 9959"/>
              <a:gd name="connsiteX144" fmla="*/ 7243 w 10003"/>
              <a:gd name="connsiteY144" fmla="*/ 9132 h 9959"/>
              <a:gd name="connsiteX145" fmla="*/ 7243 w 10003"/>
              <a:gd name="connsiteY145" fmla="*/ 9174 h 9959"/>
              <a:gd name="connsiteX146" fmla="*/ 7190 w 10003"/>
              <a:gd name="connsiteY146" fmla="*/ 9174 h 9959"/>
              <a:gd name="connsiteX147" fmla="*/ 7138 w 10003"/>
              <a:gd name="connsiteY147" fmla="*/ 9174 h 9959"/>
              <a:gd name="connsiteX148" fmla="*/ 7190 w 10003"/>
              <a:gd name="connsiteY148" fmla="*/ 9215 h 9959"/>
              <a:gd name="connsiteX149" fmla="*/ 7190 w 10003"/>
              <a:gd name="connsiteY149" fmla="*/ 9256 h 9959"/>
              <a:gd name="connsiteX150" fmla="*/ 7138 w 10003"/>
              <a:gd name="connsiteY150" fmla="*/ 9256 h 9959"/>
              <a:gd name="connsiteX151" fmla="*/ 7138 w 10003"/>
              <a:gd name="connsiteY151" fmla="*/ 9298 h 9959"/>
              <a:gd name="connsiteX152" fmla="*/ 7086 w 10003"/>
              <a:gd name="connsiteY152" fmla="*/ 9339 h 9959"/>
              <a:gd name="connsiteX153" fmla="*/ 7138 w 10003"/>
              <a:gd name="connsiteY153" fmla="*/ 9380 h 9959"/>
              <a:gd name="connsiteX154" fmla="*/ 7190 w 10003"/>
              <a:gd name="connsiteY154" fmla="*/ 9380 h 9959"/>
              <a:gd name="connsiteX155" fmla="*/ 7190 w 10003"/>
              <a:gd name="connsiteY155" fmla="*/ 9421 h 9959"/>
              <a:gd name="connsiteX156" fmla="*/ 7190 w 10003"/>
              <a:gd name="connsiteY156" fmla="*/ 9463 h 9959"/>
              <a:gd name="connsiteX157" fmla="*/ 7138 w 10003"/>
              <a:gd name="connsiteY157" fmla="*/ 9463 h 9959"/>
              <a:gd name="connsiteX158" fmla="*/ 7086 w 10003"/>
              <a:gd name="connsiteY158" fmla="*/ 9504 h 9959"/>
              <a:gd name="connsiteX159" fmla="*/ 7138 w 10003"/>
              <a:gd name="connsiteY159" fmla="*/ 9545 h 9959"/>
              <a:gd name="connsiteX160" fmla="*/ 7138 w 10003"/>
              <a:gd name="connsiteY160" fmla="*/ 9587 h 9959"/>
              <a:gd name="connsiteX161" fmla="*/ 7138 w 10003"/>
              <a:gd name="connsiteY161" fmla="*/ 9628 h 9959"/>
              <a:gd name="connsiteX162" fmla="*/ 7138 w 10003"/>
              <a:gd name="connsiteY162" fmla="*/ 9669 h 9959"/>
              <a:gd name="connsiteX163" fmla="*/ 7086 w 10003"/>
              <a:gd name="connsiteY163" fmla="*/ 9669 h 9959"/>
              <a:gd name="connsiteX164" fmla="*/ 7086 w 10003"/>
              <a:gd name="connsiteY164" fmla="*/ 9711 h 9959"/>
              <a:gd name="connsiteX165" fmla="*/ 7035 w 10003"/>
              <a:gd name="connsiteY165" fmla="*/ 9711 h 9959"/>
              <a:gd name="connsiteX166" fmla="*/ 6930 w 10003"/>
              <a:gd name="connsiteY166" fmla="*/ 9711 h 9959"/>
              <a:gd name="connsiteX167" fmla="*/ 6930 w 10003"/>
              <a:gd name="connsiteY167" fmla="*/ 9752 h 9959"/>
              <a:gd name="connsiteX168" fmla="*/ 6930 w 10003"/>
              <a:gd name="connsiteY168" fmla="*/ 9793 h 9959"/>
              <a:gd name="connsiteX169" fmla="*/ 6930 w 10003"/>
              <a:gd name="connsiteY169" fmla="*/ 9835 h 9959"/>
              <a:gd name="connsiteX170" fmla="*/ 6930 w 10003"/>
              <a:gd name="connsiteY170" fmla="*/ 9793 h 9959"/>
              <a:gd name="connsiteX171" fmla="*/ 6878 w 10003"/>
              <a:gd name="connsiteY171" fmla="*/ 9793 h 9959"/>
              <a:gd name="connsiteX172" fmla="*/ 6825 w 10003"/>
              <a:gd name="connsiteY172" fmla="*/ 9793 h 9959"/>
              <a:gd name="connsiteX173" fmla="*/ 6825 w 10003"/>
              <a:gd name="connsiteY173" fmla="*/ 9835 h 9959"/>
              <a:gd name="connsiteX174" fmla="*/ 6825 w 10003"/>
              <a:gd name="connsiteY174" fmla="*/ 9876 h 9959"/>
              <a:gd name="connsiteX175" fmla="*/ 6825 w 10003"/>
              <a:gd name="connsiteY175" fmla="*/ 9917 h 9959"/>
              <a:gd name="connsiteX176" fmla="*/ 6722 w 10003"/>
              <a:gd name="connsiteY176" fmla="*/ 9917 h 9959"/>
              <a:gd name="connsiteX177" fmla="*/ 6722 w 10003"/>
              <a:gd name="connsiteY177" fmla="*/ 9959 h 9959"/>
              <a:gd name="connsiteX178" fmla="*/ 7346 w 10003"/>
              <a:gd name="connsiteY178" fmla="*/ 7293 h 9959"/>
              <a:gd name="connsiteX179" fmla="*/ 7138 w 10003"/>
              <a:gd name="connsiteY179" fmla="*/ 6957 h 9959"/>
              <a:gd name="connsiteX180" fmla="*/ 6546 w 10003"/>
              <a:gd name="connsiteY180" fmla="*/ 6849 h 9959"/>
              <a:gd name="connsiteX181" fmla="*/ 5777 w 10003"/>
              <a:gd name="connsiteY181" fmla="*/ 6814 h 9959"/>
              <a:gd name="connsiteX182" fmla="*/ 5313 w 10003"/>
              <a:gd name="connsiteY182" fmla="*/ 6708 h 9959"/>
              <a:gd name="connsiteX183" fmla="*/ 5073 w 10003"/>
              <a:gd name="connsiteY183" fmla="*/ 6602 h 9959"/>
              <a:gd name="connsiteX184" fmla="*/ 4913 w 10003"/>
              <a:gd name="connsiteY184" fmla="*/ 6690 h 9959"/>
              <a:gd name="connsiteX185" fmla="*/ 4417 w 10003"/>
              <a:gd name="connsiteY185" fmla="*/ 6530 h 9959"/>
              <a:gd name="connsiteX186" fmla="*/ 3585 w 10003"/>
              <a:gd name="connsiteY186" fmla="*/ 6247 h 9959"/>
              <a:gd name="connsiteX187" fmla="*/ 3105 w 10003"/>
              <a:gd name="connsiteY187" fmla="*/ 6193 h 9959"/>
              <a:gd name="connsiteX188" fmla="*/ 3201 w 10003"/>
              <a:gd name="connsiteY188" fmla="*/ 5998 h 9959"/>
              <a:gd name="connsiteX189" fmla="*/ 3345 w 10003"/>
              <a:gd name="connsiteY189" fmla="*/ 5945 h 9959"/>
              <a:gd name="connsiteX190" fmla="*/ 3729 w 10003"/>
              <a:gd name="connsiteY190" fmla="*/ 5662 h 9959"/>
              <a:gd name="connsiteX191" fmla="*/ 3969 w 10003"/>
              <a:gd name="connsiteY191" fmla="*/ 5396 h 9959"/>
              <a:gd name="connsiteX192" fmla="*/ 4225 w 10003"/>
              <a:gd name="connsiteY192" fmla="*/ 5112 h 9959"/>
              <a:gd name="connsiteX193" fmla="*/ 4369 w 10003"/>
              <a:gd name="connsiteY193" fmla="*/ 4846 h 9959"/>
              <a:gd name="connsiteX194" fmla="*/ 4353 w 10003"/>
              <a:gd name="connsiteY194" fmla="*/ 4545 h 9959"/>
              <a:gd name="connsiteX195" fmla="*/ 4337 w 10003"/>
              <a:gd name="connsiteY195" fmla="*/ 4278 h 9959"/>
              <a:gd name="connsiteX196" fmla="*/ 4177 w 10003"/>
              <a:gd name="connsiteY196" fmla="*/ 4119 h 9959"/>
              <a:gd name="connsiteX197" fmla="*/ 4017 w 10003"/>
              <a:gd name="connsiteY197" fmla="*/ 4137 h 9959"/>
              <a:gd name="connsiteX198" fmla="*/ 3857 w 10003"/>
              <a:gd name="connsiteY198" fmla="*/ 4421 h 9959"/>
              <a:gd name="connsiteX199" fmla="*/ 3809 w 10003"/>
              <a:gd name="connsiteY199" fmla="*/ 4934 h 9959"/>
              <a:gd name="connsiteX200" fmla="*/ 3537 w 10003"/>
              <a:gd name="connsiteY200" fmla="*/ 5272 h 9959"/>
              <a:gd name="connsiteX201" fmla="*/ 2993 w 10003"/>
              <a:gd name="connsiteY201" fmla="*/ 5573 h 9959"/>
              <a:gd name="connsiteX202" fmla="*/ 2416 w 10003"/>
              <a:gd name="connsiteY202" fmla="*/ 5803 h 9959"/>
              <a:gd name="connsiteX203" fmla="*/ 1952 w 10003"/>
              <a:gd name="connsiteY203" fmla="*/ 6122 h 9959"/>
              <a:gd name="connsiteX204" fmla="*/ 0 w 10003"/>
              <a:gd name="connsiteY204" fmla="*/ 6051 h 9959"/>
              <a:gd name="connsiteX205" fmla="*/ 3 w 10003"/>
              <a:gd name="connsiteY205" fmla="*/ 5826 h 9959"/>
              <a:gd name="connsiteX206" fmla="*/ 159 w 10003"/>
              <a:gd name="connsiteY206" fmla="*/ 5909 h 9959"/>
              <a:gd name="connsiteX207" fmla="*/ 368 w 10003"/>
              <a:gd name="connsiteY207" fmla="*/ 5826 h 9959"/>
              <a:gd name="connsiteX208" fmla="*/ 1462 w 10003"/>
              <a:gd name="connsiteY208" fmla="*/ 5826 h 9959"/>
              <a:gd name="connsiteX209" fmla="*/ 1617 w 10003"/>
              <a:gd name="connsiteY209" fmla="*/ 5785 h 9959"/>
              <a:gd name="connsiteX210" fmla="*/ 1670 w 10003"/>
              <a:gd name="connsiteY210" fmla="*/ 5785 h 9959"/>
              <a:gd name="connsiteX211" fmla="*/ 2190 w 10003"/>
              <a:gd name="connsiteY211" fmla="*/ 5248 h 9959"/>
              <a:gd name="connsiteX212" fmla="*/ 2295 w 10003"/>
              <a:gd name="connsiteY212" fmla="*/ 5165 h 9959"/>
              <a:gd name="connsiteX213" fmla="*/ 2763 w 10003"/>
              <a:gd name="connsiteY213" fmla="*/ 4752 h 9959"/>
              <a:gd name="connsiteX214" fmla="*/ 3024 w 10003"/>
              <a:gd name="connsiteY214" fmla="*/ 4504 h 9959"/>
              <a:gd name="connsiteX215" fmla="*/ 3180 w 10003"/>
              <a:gd name="connsiteY215" fmla="*/ 4380 h 9959"/>
              <a:gd name="connsiteX216" fmla="*/ 3597 w 10003"/>
              <a:gd name="connsiteY216" fmla="*/ 3760 h 9959"/>
              <a:gd name="connsiteX217" fmla="*/ 4117 w 10003"/>
              <a:gd name="connsiteY217" fmla="*/ 3512 h 9959"/>
              <a:gd name="connsiteX218" fmla="*/ 5003 w 10003"/>
              <a:gd name="connsiteY218" fmla="*/ 2810 h 9959"/>
              <a:gd name="connsiteX219" fmla="*/ 4846 w 10003"/>
              <a:gd name="connsiteY219" fmla="*/ 2562 h 9959"/>
              <a:gd name="connsiteX220" fmla="*/ 4795 w 10003"/>
              <a:gd name="connsiteY220" fmla="*/ 2397 h 9959"/>
              <a:gd name="connsiteX221" fmla="*/ 4795 w 10003"/>
              <a:gd name="connsiteY221" fmla="*/ 1240 h 9959"/>
              <a:gd name="connsiteX222" fmla="*/ 4117 w 10003"/>
              <a:gd name="connsiteY222" fmla="*/ 744 h 9959"/>
              <a:gd name="connsiteX223" fmla="*/ 4951 w 10003"/>
              <a:gd name="connsiteY223" fmla="*/ 744 h 9959"/>
              <a:gd name="connsiteX224" fmla="*/ 5784 w 10003"/>
              <a:gd name="connsiteY224" fmla="*/ 744 h 9959"/>
              <a:gd name="connsiteX225" fmla="*/ 5784 w 10003"/>
              <a:gd name="connsiteY225" fmla="*/ 702 h 9959"/>
              <a:gd name="connsiteX226" fmla="*/ 5784 w 10003"/>
              <a:gd name="connsiteY226" fmla="*/ 661 h 9959"/>
              <a:gd name="connsiteX227" fmla="*/ 5784 w 10003"/>
              <a:gd name="connsiteY227" fmla="*/ 620 h 9959"/>
              <a:gd name="connsiteX228" fmla="*/ 5784 w 10003"/>
              <a:gd name="connsiteY228" fmla="*/ 579 h 9959"/>
              <a:gd name="connsiteX229" fmla="*/ 5836 w 10003"/>
              <a:gd name="connsiteY229" fmla="*/ 537 h 9959"/>
              <a:gd name="connsiteX230" fmla="*/ 5836 w 10003"/>
              <a:gd name="connsiteY230" fmla="*/ 496 h 9959"/>
              <a:gd name="connsiteX231" fmla="*/ 5836 w 10003"/>
              <a:gd name="connsiteY231" fmla="*/ 455 h 9959"/>
              <a:gd name="connsiteX232" fmla="*/ 5836 w 10003"/>
              <a:gd name="connsiteY232" fmla="*/ 413 h 9959"/>
              <a:gd name="connsiteX233" fmla="*/ 5836 w 10003"/>
              <a:gd name="connsiteY233" fmla="*/ 372 h 9959"/>
              <a:gd name="connsiteX234" fmla="*/ 5836 w 10003"/>
              <a:gd name="connsiteY234" fmla="*/ 331 h 9959"/>
              <a:gd name="connsiteX235" fmla="*/ 5784 w 10003"/>
              <a:gd name="connsiteY235" fmla="*/ 331 h 9959"/>
              <a:gd name="connsiteX236" fmla="*/ 5784 w 10003"/>
              <a:gd name="connsiteY236" fmla="*/ 289 h 9959"/>
              <a:gd name="connsiteX237" fmla="*/ 5784 w 10003"/>
              <a:gd name="connsiteY237" fmla="*/ 248 h 9959"/>
              <a:gd name="connsiteX238" fmla="*/ 5784 w 10003"/>
              <a:gd name="connsiteY238" fmla="*/ 207 h 9959"/>
              <a:gd name="connsiteX239" fmla="*/ 5784 w 10003"/>
              <a:gd name="connsiteY239" fmla="*/ 165 h 9959"/>
              <a:gd name="connsiteX240" fmla="*/ 5784 w 10003"/>
              <a:gd name="connsiteY240" fmla="*/ 124 h 9959"/>
              <a:gd name="connsiteX241" fmla="*/ 5784 w 10003"/>
              <a:gd name="connsiteY241" fmla="*/ 83 h 9959"/>
              <a:gd name="connsiteX242" fmla="*/ 5784 w 10003"/>
              <a:gd name="connsiteY242" fmla="*/ 41 h 9959"/>
              <a:gd name="connsiteX243" fmla="*/ 5784 w 10003"/>
              <a:gd name="connsiteY243" fmla="*/ 0 h 9959"/>
              <a:gd name="connsiteX0" fmla="*/ 5782 w 10000"/>
              <a:gd name="connsiteY0" fmla="*/ 0 h 9958"/>
              <a:gd name="connsiteX1" fmla="*/ 7345 w 10000"/>
              <a:gd name="connsiteY1" fmla="*/ 41 h 9958"/>
              <a:gd name="connsiteX2" fmla="*/ 7501 w 10000"/>
              <a:gd name="connsiteY2" fmla="*/ 41 h 9958"/>
              <a:gd name="connsiteX3" fmla="*/ 7345 w 10000"/>
              <a:gd name="connsiteY3" fmla="*/ 166 h 9958"/>
              <a:gd name="connsiteX4" fmla="*/ 7293 w 10000"/>
              <a:gd name="connsiteY4" fmla="*/ 539 h 9958"/>
              <a:gd name="connsiteX5" fmla="*/ 7188 w 10000"/>
              <a:gd name="connsiteY5" fmla="*/ 1121 h 9958"/>
              <a:gd name="connsiteX6" fmla="*/ 7136 w 10000"/>
              <a:gd name="connsiteY6" fmla="*/ 1162 h 9958"/>
              <a:gd name="connsiteX7" fmla="*/ 6980 w 10000"/>
              <a:gd name="connsiteY7" fmla="*/ 1494 h 9958"/>
              <a:gd name="connsiteX8" fmla="*/ 7396 w 10000"/>
              <a:gd name="connsiteY8" fmla="*/ 3029 h 9958"/>
              <a:gd name="connsiteX9" fmla="*/ 7501 w 10000"/>
              <a:gd name="connsiteY9" fmla="*/ 3320 h 9958"/>
              <a:gd name="connsiteX10" fmla="*/ 7345 w 10000"/>
              <a:gd name="connsiteY10" fmla="*/ 3569 h 9958"/>
              <a:gd name="connsiteX11" fmla="*/ 8022 w 10000"/>
              <a:gd name="connsiteY11" fmla="*/ 3734 h 9958"/>
              <a:gd name="connsiteX12" fmla="*/ 8489 w 10000"/>
              <a:gd name="connsiteY12" fmla="*/ 4191 h 9958"/>
              <a:gd name="connsiteX13" fmla="*/ 8594 w 10000"/>
              <a:gd name="connsiteY13" fmla="*/ 4274 h 9958"/>
              <a:gd name="connsiteX14" fmla="*/ 8906 w 10000"/>
              <a:gd name="connsiteY14" fmla="*/ 4481 h 9958"/>
              <a:gd name="connsiteX15" fmla="*/ 9114 w 10000"/>
              <a:gd name="connsiteY15" fmla="*/ 4730 h 9958"/>
              <a:gd name="connsiteX16" fmla="*/ 9219 w 10000"/>
              <a:gd name="connsiteY16" fmla="*/ 4855 h 9958"/>
              <a:gd name="connsiteX17" fmla="*/ 9427 w 10000"/>
              <a:gd name="connsiteY17" fmla="*/ 4855 h 9958"/>
              <a:gd name="connsiteX18" fmla="*/ 9427 w 10000"/>
              <a:gd name="connsiteY18" fmla="*/ 4896 h 9958"/>
              <a:gd name="connsiteX19" fmla="*/ 9479 w 10000"/>
              <a:gd name="connsiteY19" fmla="*/ 4979 h 9958"/>
              <a:gd name="connsiteX20" fmla="*/ 9479 w 10000"/>
              <a:gd name="connsiteY20" fmla="*/ 5021 h 9958"/>
              <a:gd name="connsiteX21" fmla="*/ 9532 w 10000"/>
              <a:gd name="connsiteY21" fmla="*/ 5186 h 9958"/>
              <a:gd name="connsiteX22" fmla="*/ 9532 w 10000"/>
              <a:gd name="connsiteY22" fmla="*/ 5228 h 9958"/>
              <a:gd name="connsiteX23" fmla="*/ 9532 w 10000"/>
              <a:gd name="connsiteY23" fmla="*/ 5353 h 9958"/>
              <a:gd name="connsiteX24" fmla="*/ 9532 w 10000"/>
              <a:gd name="connsiteY24" fmla="*/ 5435 h 9958"/>
              <a:gd name="connsiteX25" fmla="*/ 9479 w 10000"/>
              <a:gd name="connsiteY25" fmla="*/ 5519 h 9958"/>
              <a:gd name="connsiteX26" fmla="*/ 9427 w 10000"/>
              <a:gd name="connsiteY26" fmla="*/ 5768 h 9958"/>
              <a:gd name="connsiteX27" fmla="*/ 9375 w 10000"/>
              <a:gd name="connsiteY27" fmla="*/ 5809 h 9958"/>
              <a:gd name="connsiteX28" fmla="*/ 9322 w 10000"/>
              <a:gd name="connsiteY28" fmla="*/ 5850 h 9958"/>
              <a:gd name="connsiteX29" fmla="*/ 9271 w 10000"/>
              <a:gd name="connsiteY29" fmla="*/ 6017 h 9958"/>
              <a:gd name="connsiteX30" fmla="*/ 9219 w 10000"/>
              <a:gd name="connsiteY30" fmla="*/ 6099 h 9958"/>
              <a:gd name="connsiteX31" fmla="*/ 9219 w 10000"/>
              <a:gd name="connsiteY31" fmla="*/ 6182 h 9958"/>
              <a:gd name="connsiteX32" fmla="*/ 9219 w 10000"/>
              <a:gd name="connsiteY32" fmla="*/ 6224 h 9958"/>
              <a:gd name="connsiteX33" fmla="*/ 9219 w 10000"/>
              <a:gd name="connsiteY33" fmla="*/ 6348 h 9958"/>
              <a:gd name="connsiteX34" fmla="*/ 9271 w 10000"/>
              <a:gd name="connsiteY34" fmla="*/ 6473 h 9958"/>
              <a:gd name="connsiteX35" fmla="*/ 9895 w 10000"/>
              <a:gd name="connsiteY35" fmla="*/ 6473 h 9958"/>
              <a:gd name="connsiteX36" fmla="*/ 9895 w 10000"/>
              <a:gd name="connsiteY36" fmla="*/ 6556 h 9958"/>
              <a:gd name="connsiteX37" fmla="*/ 9948 w 10000"/>
              <a:gd name="connsiteY37" fmla="*/ 6846 h 9958"/>
              <a:gd name="connsiteX38" fmla="*/ 9948 w 10000"/>
              <a:gd name="connsiteY38" fmla="*/ 6888 h 9958"/>
              <a:gd name="connsiteX39" fmla="*/ 9948 w 10000"/>
              <a:gd name="connsiteY39" fmla="*/ 7012 h 9958"/>
              <a:gd name="connsiteX40" fmla="*/ 9948 w 10000"/>
              <a:gd name="connsiteY40" fmla="*/ 7054 h 9958"/>
              <a:gd name="connsiteX41" fmla="*/ 9948 w 10000"/>
              <a:gd name="connsiteY41" fmla="*/ 7136 h 9958"/>
              <a:gd name="connsiteX42" fmla="*/ 9948 w 10000"/>
              <a:gd name="connsiteY42" fmla="*/ 7178 h 9958"/>
              <a:gd name="connsiteX43" fmla="*/ 9948 w 10000"/>
              <a:gd name="connsiteY43" fmla="*/ 7220 h 9958"/>
              <a:gd name="connsiteX44" fmla="*/ 9948 w 10000"/>
              <a:gd name="connsiteY44" fmla="*/ 7261 h 9958"/>
              <a:gd name="connsiteX45" fmla="*/ 10000 w 10000"/>
              <a:gd name="connsiteY45" fmla="*/ 7344 h 9958"/>
              <a:gd name="connsiteX46" fmla="*/ 10000 w 10000"/>
              <a:gd name="connsiteY46" fmla="*/ 7469 h 9958"/>
              <a:gd name="connsiteX47" fmla="*/ 10000 w 10000"/>
              <a:gd name="connsiteY47" fmla="*/ 7510 h 9958"/>
              <a:gd name="connsiteX48" fmla="*/ 10000 w 10000"/>
              <a:gd name="connsiteY48" fmla="*/ 7552 h 9958"/>
              <a:gd name="connsiteX49" fmla="*/ 10000 w 10000"/>
              <a:gd name="connsiteY49" fmla="*/ 7593 h 9958"/>
              <a:gd name="connsiteX50" fmla="*/ 10000 w 10000"/>
              <a:gd name="connsiteY50" fmla="*/ 7676 h 9958"/>
              <a:gd name="connsiteX51" fmla="*/ 10000 w 10000"/>
              <a:gd name="connsiteY51" fmla="*/ 7718 h 9958"/>
              <a:gd name="connsiteX52" fmla="*/ 10000 w 10000"/>
              <a:gd name="connsiteY52" fmla="*/ 7759 h 9958"/>
              <a:gd name="connsiteX53" fmla="*/ 10000 w 10000"/>
              <a:gd name="connsiteY53" fmla="*/ 7842 h 9958"/>
              <a:gd name="connsiteX54" fmla="*/ 10000 w 10000"/>
              <a:gd name="connsiteY54" fmla="*/ 8050 h 9958"/>
              <a:gd name="connsiteX55" fmla="*/ 10000 w 10000"/>
              <a:gd name="connsiteY55" fmla="*/ 8091 h 9958"/>
              <a:gd name="connsiteX56" fmla="*/ 10000 w 10000"/>
              <a:gd name="connsiteY56" fmla="*/ 8174 h 9958"/>
              <a:gd name="connsiteX57" fmla="*/ 10000 w 10000"/>
              <a:gd name="connsiteY57" fmla="*/ 8216 h 9958"/>
              <a:gd name="connsiteX58" fmla="*/ 10000 w 10000"/>
              <a:gd name="connsiteY58" fmla="*/ 8257 h 9958"/>
              <a:gd name="connsiteX59" fmla="*/ 10000 w 10000"/>
              <a:gd name="connsiteY59" fmla="*/ 8298 h 9958"/>
              <a:gd name="connsiteX60" fmla="*/ 10000 w 10000"/>
              <a:gd name="connsiteY60" fmla="*/ 8340 h 9958"/>
              <a:gd name="connsiteX61" fmla="*/ 10000 w 10000"/>
              <a:gd name="connsiteY61" fmla="*/ 8423 h 9958"/>
              <a:gd name="connsiteX62" fmla="*/ 10000 w 10000"/>
              <a:gd name="connsiteY62" fmla="*/ 8506 h 9958"/>
              <a:gd name="connsiteX63" fmla="*/ 10000 w 10000"/>
              <a:gd name="connsiteY63" fmla="*/ 8547 h 9958"/>
              <a:gd name="connsiteX64" fmla="*/ 10000 w 10000"/>
              <a:gd name="connsiteY64" fmla="*/ 8589 h 9958"/>
              <a:gd name="connsiteX65" fmla="*/ 9948 w 10000"/>
              <a:gd name="connsiteY65" fmla="*/ 8589 h 9958"/>
              <a:gd name="connsiteX66" fmla="*/ 9948 w 10000"/>
              <a:gd name="connsiteY66" fmla="*/ 8630 h 9958"/>
              <a:gd name="connsiteX67" fmla="*/ 9895 w 10000"/>
              <a:gd name="connsiteY67" fmla="*/ 8672 h 9958"/>
              <a:gd name="connsiteX68" fmla="*/ 9844 w 10000"/>
              <a:gd name="connsiteY68" fmla="*/ 8672 h 9958"/>
              <a:gd name="connsiteX69" fmla="*/ 9844 w 10000"/>
              <a:gd name="connsiteY69" fmla="*/ 8714 h 9958"/>
              <a:gd name="connsiteX70" fmla="*/ 9792 w 10000"/>
              <a:gd name="connsiteY70" fmla="*/ 8714 h 9958"/>
              <a:gd name="connsiteX71" fmla="*/ 9740 w 10000"/>
              <a:gd name="connsiteY71" fmla="*/ 8755 h 9958"/>
              <a:gd name="connsiteX72" fmla="*/ 9687 w 10000"/>
              <a:gd name="connsiteY72" fmla="*/ 8796 h 9958"/>
              <a:gd name="connsiteX73" fmla="*/ 9635 w 10000"/>
              <a:gd name="connsiteY73" fmla="*/ 8796 h 9958"/>
              <a:gd name="connsiteX74" fmla="*/ 9635 w 10000"/>
              <a:gd name="connsiteY74" fmla="*/ 8838 h 9958"/>
              <a:gd name="connsiteX75" fmla="*/ 9583 w 10000"/>
              <a:gd name="connsiteY75" fmla="*/ 8838 h 9958"/>
              <a:gd name="connsiteX76" fmla="*/ 9532 w 10000"/>
              <a:gd name="connsiteY76" fmla="*/ 8838 h 9958"/>
              <a:gd name="connsiteX77" fmla="*/ 9479 w 10000"/>
              <a:gd name="connsiteY77" fmla="*/ 8838 h 9958"/>
              <a:gd name="connsiteX78" fmla="*/ 9427 w 10000"/>
              <a:gd name="connsiteY78" fmla="*/ 8838 h 9958"/>
              <a:gd name="connsiteX79" fmla="*/ 9375 w 10000"/>
              <a:gd name="connsiteY79" fmla="*/ 8838 h 9958"/>
              <a:gd name="connsiteX80" fmla="*/ 9322 w 10000"/>
              <a:gd name="connsiteY80" fmla="*/ 8838 h 9958"/>
              <a:gd name="connsiteX81" fmla="*/ 9271 w 10000"/>
              <a:gd name="connsiteY81" fmla="*/ 8838 h 9958"/>
              <a:gd name="connsiteX82" fmla="*/ 9271 w 10000"/>
              <a:gd name="connsiteY82" fmla="*/ 8879 h 9958"/>
              <a:gd name="connsiteX83" fmla="*/ 9219 w 10000"/>
              <a:gd name="connsiteY83" fmla="*/ 8921 h 9958"/>
              <a:gd name="connsiteX84" fmla="*/ 9167 w 10000"/>
              <a:gd name="connsiteY84" fmla="*/ 8963 h 9958"/>
              <a:gd name="connsiteX85" fmla="*/ 9219 w 10000"/>
              <a:gd name="connsiteY85" fmla="*/ 8963 h 9958"/>
              <a:gd name="connsiteX86" fmla="*/ 9167 w 10000"/>
              <a:gd name="connsiteY86" fmla="*/ 8963 h 9958"/>
              <a:gd name="connsiteX87" fmla="*/ 9114 w 10000"/>
              <a:gd name="connsiteY87" fmla="*/ 8963 h 9958"/>
              <a:gd name="connsiteX88" fmla="*/ 9062 w 10000"/>
              <a:gd name="connsiteY88" fmla="*/ 9004 h 9958"/>
              <a:gd name="connsiteX89" fmla="*/ 9011 w 10000"/>
              <a:gd name="connsiteY89" fmla="*/ 9045 h 9958"/>
              <a:gd name="connsiteX90" fmla="*/ 8959 w 10000"/>
              <a:gd name="connsiteY90" fmla="*/ 9045 h 9958"/>
              <a:gd name="connsiteX91" fmla="*/ 8959 w 10000"/>
              <a:gd name="connsiteY91" fmla="*/ 9087 h 9958"/>
              <a:gd name="connsiteX92" fmla="*/ 8906 w 10000"/>
              <a:gd name="connsiteY92" fmla="*/ 9087 h 9958"/>
              <a:gd name="connsiteX93" fmla="*/ 8906 w 10000"/>
              <a:gd name="connsiteY93" fmla="*/ 9128 h 9958"/>
              <a:gd name="connsiteX94" fmla="*/ 8854 w 10000"/>
              <a:gd name="connsiteY94" fmla="*/ 9128 h 9958"/>
              <a:gd name="connsiteX95" fmla="*/ 8802 w 10000"/>
              <a:gd name="connsiteY95" fmla="*/ 9128 h 9958"/>
              <a:gd name="connsiteX96" fmla="*/ 8749 w 10000"/>
              <a:gd name="connsiteY96" fmla="*/ 9128 h 9958"/>
              <a:gd name="connsiteX97" fmla="*/ 8698 w 10000"/>
              <a:gd name="connsiteY97" fmla="*/ 9128 h 9958"/>
              <a:gd name="connsiteX98" fmla="*/ 8646 w 10000"/>
              <a:gd name="connsiteY98" fmla="*/ 9128 h 9958"/>
              <a:gd name="connsiteX99" fmla="*/ 8646 w 10000"/>
              <a:gd name="connsiteY99" fmla="*/ 9087 h 9958"/>
              <a:gd name="connsiteX100" fmla="*/ 8646 w 10000"/>
              <a:gd name="connsiteY100" fmla="*/ 9045 h 9958"/>
              <a:gd name="connsiteX101" fmla="*/ 8594 w 10000"/>
              <a:gd name="connsiteY101" fmla="*/ 9004 h 9958"/>
              <a:gd name="connsiteX102" fmla="*/ 8594 w 10000"/>
              <a:gd name="connsiteY102" fmla="*/ 8963 h 9958"/>
              <a:gd name="connsiteX103" fmla="*/ 8594 w 10000"/>
              <a:gd name="connsiteY103" fmla="*/ 8921 h 9958"/>
              <a:gd name="connsiteX104" fmla="*/ 8541 w 10000"/>
              <a:gd name="connsiteY104" fmla="*/ 8921 h 9958"/>
              <a:gd name="connsiteX105" fmla="*/ 8489 w 10000"/>
              <a:gd name="connsiteY105" fmla="*/ 8921 h 9958"/>
              <a:gd name="connsiteX106" fmla="*/ 8489 w 10000"/>
              <a:gd name="connsiteY106" fmla="*/ 8879 h 9958"/>
              <a:gd name="connsiteX107" fmla="*/ 8438 w 10000"/>
              <a:gd name="connsiteY107" fmla="*/ 8879 h 9958"/>
              <a:gd name="connsiteX108" fmla="*/ 8386 w 10000"/>
              <a:gd name="connsiteY108" fmla="*/ 8921 h 9958"/>
              <a:gd name="connsiteX109" fmla="*/ 8386 w 10000"/>
              <a:gd name="connsiteY109" fmla="*/ 8963 h 9958"/>
              <a:gd name="connsiteX110" fmla="*/ 8282 w 10000"/>
              <a:gd name="connsiteY110" fmla="*/ 8921 h 9958"/>
              <a:gd name="connsiteX111" fmla="*/ 8282 w 10000"/>
              <a:gd name="connsiteY111" fmla="*/ 8879 h 9958"/>
              <a:gd name="connsiteX112" fmla="*/ 8230 w 10000"/>
              <a:gd name="connsiteY112" fmla="*/ 8879 h 9958"/>
              <a:gd name="connsiteX113" fmla="*/ 8179 w 10000"/>
              <a:gd name="connsiteY113" fmla="*/ 8879 h 9958"/>
              <a:gd name="connsiteX114" fmla="*/ 8126 w 10000"/>
              <a:gd name="connsiteY114" fmla="*/ 8879 h 9958"/>
              <a:gd name="connsiteX115" fmla="*/ 8074 w 10000"/>
              <a:gd name="connsiteY115" fmla="*/ 8879 h 9958"/>
              <a:gd name="connsiteX116" fmla="*/ 8022 w 10000"/>
              <a:gd name="connsiteY116" fmla="*/ 8879 h 9958"/>
              <a:gd name="connsiteX117" fmla="*/ 8022 w 10000"/>
              <a:gd name="connsiteY117" fmla="*/ 8921 h 9958"/>
              <a:gd name="connsiteX118" fmla="*/ 7969 w 10000"/>
              <a:gd name="connsiteY118" fmla="*/ 8921 h 9958"/>
              <a:gd name="connsiteX119" fmla="*/ 7917 w 10000"/>
              <a:gd name="connsiteY119" fmla="*/ 8963 h 9958"/>
              <a:gd name="connsiteX120" fmla="*/ 7866 w 10000"/>
              <a:gd name="connsiteY120" fmla="*/ 8963 h 9958"/>
              <a:gd name="connsiteX121" fmla="*/ 7866 w 10000"/>
              <a:gd name="connsiteY121" fmla="*/ 8921 h 9958"/>
              <a:gd name="connsiteX122" fmla="*/ 7866 w 10000"/>
              <a:gd name="connsiteY122" fmla="*/ 8963 h 9958"/>
              <a:gd name="connsiteX123" fmla="*/ 7814 w 10000"/>
              <a:gd name="connsiteY123" fmla="*/ 8963 h 9958"/>
              <a:gd name="connsiteX124" fmla="*/ 7761 w 10000"/>
              <a:gd name="connsiteY124" fmla="*/ 9004 h 9958"/>
              <a:gd name="connsiteX125" fmla="*/ 7709 w 10000"/>
              <a:gd name="connsiteY125" fmla="*/ 8963 h 9958"/>
              <a:gd name="connsiteX126" fmla="*/ 7657 w 10000"/>
              <a:gd name="connsiteY126" fmla="*/ 8963 h 9958"/>
              <a:gd name="connsiteX127" fmla="*/ 7606 w 10000"/>
              <a:gd name="connsiteY127" fmla="*/ 8963 h 9958"/>
              <a:gd name="connsiteX128" fmla="*/ 7553 w 10000"/>
              <a:gd name="connsiteY128" fmla="*/ 8921 h 9958"/>
              <a:gd name="connsiteX129" fmla="*/ 7501 w 10000"/>
              <a:gd name="connsiteY129" fmla="*/ 8921 h 9958"/>
              <a:gd name="connsiteX130" fmla="*/ 7501 w 10000"/>
              <a:gd name="connsiteY130" fmla="*/ 8963 h 9958"/>
              <a:gd name="connsiteX131" fmla="*/ 7449 w 10000"/>
              <a:gd name="connsiteY131" fmla="*/ 8963 h 9958"/>
              <a:gd name="connsiteX132" fmla="*/ 7396 w 10000"/>
              <a:gd name="connsiteY132" fmla="*/ 8921 h 9958"/>
              <a:gd name="connsiteX133" fmla="*/ 7345 w 10000"/>
              <a:gd name="connsiteY133" fmla="*/ 8921 h 9958"/>
              <a:gd name="connsiteX134" fmla="*/ 7293 w 10000"/>
              <a:gd name="connsiteY134" fmla="*/ 9004 h 9958"/>
              <a:gd name="connsiteX135" fmla="*/ 7241 w 10000"/>
              <a:gd name="connsiteY135" fmla="*/ 9004 h 9958"/>
              <a:gd name="connsiteX136" fmla="*/ 7241 w 10000"/>
              <a:gd name="connsiteY136" fmla="*/ 8963 h 9958"/>
              <a:gd name="connsiteX137" fmla="*/ 7241 w 10000"/>
              <a:gd name="connsiteY137" fmla="*/ 9004 h 9958"/>
              <a:gd name="connsiteX138" fmla="*/ 7241 w 10000"/>
              <a:gd name="connsiteY138" fmla="*/ 9045 h 9958"/>
              <a:gd name="connsiteX139" fmla="*/ 7188 w 10000"/>
              <a:gd name="connsiteY139" fmla="*/ 9045 h 9958"/>
              <a:gd name="connsiteX140" fmla="*/ 7136 w 10000"/>
              <a:gd name="connsiteY140" fmla="*/ 9045 h 9958"/>
              <a:gd name="connsiteX141" fmla="*/ 7188 w 10000"/>
              <a:gd name="connsiteY141" fmla="*/ 9087 h 9958"/>
              <a:gd name="connsiteX142" fmla="*/ 7136 w 10000"/>
              <a:gd name="connsiteY142" fmla="*/ 9128 h 9958"/>
              <a:gd name="connsiteX143" fmla="*/ 7188 w 10000"/>
              <a:gd name="connsiteY143" fmla="*/ 9170 h 9958"/>
              <a:gd name="connsiteX144" fmla="*/ 7241 w 10000"/>
              <a:gd name="connsiteY144" fmla="*/ 9170 h 9958"/>
              <a:gd name="connsiteX145" fmla="*/ 7241 w 10000"/>
              <a:gd name="connsiteY145" fmla="*/ 9212 h 9958"/>
              <a:gd name="connsiteX146" fmla="*/ 7188 w 10000"/>
              <a:gd name="connsiteY146" fmla="*/ 9212 h 9958"/>
              <a:gd name="connsiteX147" fmla="*/ 7136 w 10000"/>
              <a:gd name="connsiteY147" fmla="*/ 9212 h 9958"/>
              <a:gd name="connsiteX148" fmla="*/ 7188 w 10000"/>
              <a:gd name="connsiteY148" fmla="*/ 9253 h 9958"/>
              <a:gd name="connsiteX149" fmla="*/ 7188 w 10000"/>
              <a:gd name="connsiteY149" fmla="*/ 9294 h 9958"/>
              <a:gd name="connsiteX150" fmla="*/ 7136 w 10000"/>
              <a:gd name="connsiteY150" fmla="*/ 9294 h 9958"/>
              <a:gd name="connsiteX151" fmla="*/ 7136 w 10000"/>
              <a:gd name="connsiteY151" fmla="*/ 9336 h 9958"/>
              <a:gd name="connsiteX152" fmla="*/ 7084 w 10000"/>
              <a:gd name="connsiteY152" fmla="*/ 9377 h 9958"/>
              <a:gd name="connsiteX153" fmla="*/ 7136 w 10000"/>
              <a:gd name="connsiteY153" fmla="*/ 9419 h 9958"/>
              <a:gd name="connsiteX154" fmla="*/ 7188 w 10000"/>
              <a:gd name="connsiteY154" fmla="*/ 9419 h 9958"/>
              <a:gd name="connsiteX155" fmla="*/ 7188 w 10000"/>
              <a:gd name="connsiteY155" fmla="*/ 9460 h 9958"/>
              <a:gd name="connsiteX156" fmla="*/ 7188 w 10000"/>
              <a:gd name="connsiteY156" fmla="*/ 9502 h 9958"/>
              <a:gd name="connsiteX157" fmla="*/ 7136 w 10000"/>
              <a:gd name="connsiteY157" fmla="*/ 9502 h 9958"/>
              <a:gd name="connsiteX158" fmla="*/ 7084 w 10000"/>
              <a:gd name="connsiteY158" fmla="*/ 9543 h 9958"/>
              <a:gd name="connsiteX159" fmla="*/ 7136 w 10000"/>
              <a:gd name="connsiteY159" fmla="*/ 9584 h 9958"/>
              <a:gd name="connsiteX160" fmla="*/ 7136 w 10000"/>
              <a:gd name="connsiteY160" fmla="*/ 9626 h 9958"/>
              <a:gd name="connsiteX161" fmla="*/ 7136 w 10000"/>
              <a:gd name="connsiteY161" fmla="*/ 9668 h 9958"/>
              <a:gd name="connsiteX162" fmla="*/ 7136 w 10000"/>
              <a:gd name="connsiteY162" fmla="*/ 9709 h 9958"/>
              <a:gd name="connsiteX163" fmla="*/ 7084 w 10000"/>
              <a:gd name="connsiteY163" fmla="*/ 9709 h 9958"/>
              <a:gd name="connsiteX164" fmla="*/ 7084 w 10000"/>
              <a:gd name="connsiteY164" fmla="*/ 9751 h 9958"/>
              <a:gd name="connsiteX165" fmla="*/ 7033 w 10000"/>
              <a:gd name="connsiteY165" fmla="*/ 9751 h 9958"/>
              <a:gd name="connsiteX166" fmla="*/ 6928 w 10000"/>
              <a:gd name="connsiteY166" fmla="*/ 9751 h 9958"/>
              <a:gd name="connsiteX167" fmla="*/ 6928 w 10000"/>
              <a:gd name="connsiteY167" fmla="*/ 9792 h 9958"/>
              <a:gd name="connsiteX168" fmla="*/ 6928 w 10000"/>
              <a:gd name="connsiteY168" fmla="*/ 9833 h 9958"/>
              <a:gd name="connsiteX169" fmla="*/ 6928 w 10000"/>
              <a:gd name="connsiteY169" fmla="*/ 9875 h 9958"/>
              <a:gd name="connsiteX170" fmla="*/ 6928 w 10000"/>
              <a:gd name="connsiteY170" fmla="*/ 9833 h 9958"/>
              <a:gd name="connsiteX171" fmla="*/ 6876 w 10000"/>
              <a:gd name="connsiteY171" fmla="*/ 9833 h 9958"/>
              <a:gd name="connsiteX172" fmla="*/ 6823 w 10000"/>
              <a:gd name="connsiteY172" fmla="*/ 9833 h 9958"/>
              <a:gd name="connsiteX173" fmla="*/ 6823 w 10000"/>
              <a:gd name="connsiteY173" fmla="*/ 9875 h 9958"/>
              <a:gd name="connsiteX174" fmla="*/ 6823 w 10000"/>
              <a:gd name="connsiteY174" fmla="*/ 9917 h 9958"/>
              <a:gd name="connsiteX175" fmla="*/ 6823 w 10000"/>
              <a:gd name="connsiteY175" fmla="*/ 9958 h 9958"/>
              <a:gd name="connsiteX176" fmla="*/ 6720 w 10000"/>
              <a:gd name="connsiteY176" fmla="*/ 9958 h 9958"/>
              <a:gd name="connsiteX177" fmla="*/ 7344 w 10000"/>
              <a:gd name="connsiteY177" fmla="*/ 7323 h 9958"/>
              <a:gd name="connsiteX178" fmla="*/ 7136 w 10000"/>
              <a:gd name="connsiteY178" fmla="*/ 6986 h 9958"/>
              <a:gd name="connsiteX179" fmla="*/ 6544 w 10000"/>
              <a:gd name="connsiteY179" fmla="*/ 6877 h 9958"/>
              <a:gd name="connsiteX180" fmla="*/ 5775 w 10000"/>
              <a:gd name="connsiteY180" fmla="*/ 6842 h 9958"/>
              <a:gd name="connsiteX181" fmla="*/ 5311 w 10000"/>
              <a:gd name="connsiteY181" fmla="*/ 6736 h 9958"/>
              <a:gd name="connsiteX182" fmla="*/ 5071 w 10000"/>
              <a:gd name="connsiteY182" fmla="*/ 6629 h 9958"/>
              <a:gd name="connsiteX183" fmla="*/ 4912 w 10000"/>
              <a:gd name="connsiteY183" fmla="*/ 6718 h 9958"/>
              <a:gd name="connsiteX184" fmla="*/ 4416 w 10000"/>
              <a:gd name="connsiteY184" fmla="*/ 6557 h 9958"/>
              <a:gd name="connsiteX185" fmla="*/ 3584 w 10000"/>
              <a:gd name="connsiteY185" fmla="*/ 6273 h 9958"/>
              <a:gd name="connsiteX186" fmla="*/ 3104 w 10000"/>
              <a:gd name="connsiteY186" fmla="*/ 6218 h 9958"/>
              <a:gd name="connsiteX187" fmla="*/ 3200 w 10000"/>
              <a:gd name="connsiteY187" fmla="*/ 6023 h 9958"/>
              <a:gd name="connsiteX188" fmla="*/ 3344 w 10000"/>
              <a:gd name="connsiteY188" fmla="*/ 5969 h 9958"/>
              <a:gd name="connsiteX189" fmla="*/ 3728 w 10000"/>
              <a:gd name="connsiteY189" fmla="*/ 5685 h 9958"/>
              <a:gd name="connsiteX190" fmla="*/ 3968 w 10000"/>
              <a:gd name="connsiteY190" fmla="*/ 5418 h 9958"/>
              <a:gd name="connsiteX191" fmla="*/ 4224 w 10000"/>
              <a:gd name="connsiteY191" fmla="*/ 5133 h 9958"/>
              <a:gd name="connsiteX192" fmla="*/ 4368 w 10000"/>
              <a:gd name="connsiteY192" fmla="*/ 4866 h 9958"/>
              <a:gd name="connsiteX193" fmla="*/ 4352 w 10000"/>
              <a:gd name="connsiteY193" fmla="*/ 4564 h 9958"/>
              <a:gd name="connsiteX194" fmla="*/ 4336 w 10000"/>
              <a:gd name="connsiteY194" fmla="*/ 4296 h 9958"/>
              <a:gd name="connsiteX195" fmla="*/ 4176 w 10000"/>
              <a:gd name="connsiteY195" fmla="*/ 4136 h 9958"/>
              <a:gd name="connsiteX196" fmla="*/ 4016 w 10000"/>
              <a:gd name="connsiteY196" fmla="*/ 4154 h 9958"/>
              <a:gd name="connsiteX197" fmla="*/ 3856 w 10000"/>
              <a:gd name="connsiteY197" fmla="*/ 4439 h 9958"/>
              <a:gd name="connsiteX198" fmla="*/ 3808 w 10000"/>
              <a:gd name="connsiteY198" fmla="*/ 4954 h 9958"/>
              <a:gd name="connsiteX199" fmla="*/ 3536 w 10000"/>
              <a:gd name="connsiteY199" fmla="*/ 5294 h 9958"/>
              <a:gd name="connsiteX200" fmla="*/ 2992 w 10000"/>
              <a:gd name="connsiteY200" fmla="*/ 5596 h 9958"/>
              <a:gd name="connsiteX201" fmla="*/ 2415 w 10000"/>
              <a:gd name="connsiteY201" fmla="*/ 5827 h 9958"/>
              <a:gd name="connsiteX202" fmla="*/ 1951 w 10000"/>
              <a:gd name="connsiteY202" fmla="*/ 6147 h 9958"/>
              <a:gd name="connsiteX203" fmla="*/ 0 w 10000"/>
              <a:gd name="connsiteY203" fmla="*/ 6076 h 9958"/>
              <a:gd name="connsiteX204" fmla="*/ 3 w 10000"/>
              <a:gd name="connsiteY204" fmla="*/ 5850 h 9958"/>
              <a:gd name="connsiteX205" fmla="*/ 159 w 10000"/>
              <a:gd name="connsiteY205" fmla="*/ 5933 h 9958"/>
              <a:gd name="connsiteX206" fmla="*/ 368 w 10000"/>
              <a:gd name="connsiteY206" fmla="*/ 5850 h 9958"/>
              <a:gd name="connsiteX207" fmla="*/ 1462 w 10000"/>
              <a:gd name="connsiteY207" fmla="*/ 5850 h 9958"/>
              <a:gd name="connsiteX208" fmla="*/ 1617 w 10000"/>
              <a:gd name="connsiteY208" fmla="*/ 5809 h 9958"/>
              <a:gd name="connsiteX209" fmla="*/ 1669 w 10000"/>
              <a:gd name="connsiteY209" fmla="*/ 5809 h 9958"/>
              <a:gd name="connsiteX210" fmla="*/ 2189 w 10000"/>
              <a:gd name="connsiteY210" fmla="*/ 5270 h 9958"/>
              <a:gd name="connsiteX211" fmla="*/ 2294 w 10000"/>
              <a:gd name="connsiteY211" fmla="*/ 5186 h 9958"/>
              <a:gd name="connsiteX212" fmla="*/ 2762 w 10000"/>
              <a:gd name="connsiteY212" fmla="*/ 4772 h 9958"/>
              <a:gd name="connsiteX213" fmla="*/ 3023 w 10000"/>
              <a:gd name="connsiteY213" fmla="*/ 4523 h 9958"/>
              <a:gd name="connsiteX214" fmla="*/ 3179 w 10000"/>
              <a:gd name="connsiteY214" fmla="*/ 4398 h 9958"/>
              <a:gd name="connsiteX215" fmla="*/ 3596 w 10000"/>
              <a:gd name="connsiteY215" fmla="*/ 3775 h 9958"/>
              <a:gd name="connsiteX216" fmla="*/ 4116 w 10000"/>
              <a:gd name="connsiteY216" fmla="*/ 3526 h 9958"/>
              <a:gd name="connsiteX217" fmla="*/ 5001 w 10000"/>
              <a:gd name="connsiteY217" fmla="*/ 2822 h 9958"/>
              <a:gd name="connsiteX218" fmla="*/ 4845 w 10000"/>
              <a:gd name="connsiteY218" fmla="*/ 2573 h 9958"/>
              <a:gd name="connsiteX219" fmla="*/ 4794 w 10000"/>
              <a:gd name="connsiteY219" fmla="*/ 2407 h 9958"/>
              <a:gd name="connsiteX220" fmla="*/ 4794 w 10000"/>
              <a:gd name="connsiteY220" fmla="*/ 1245 h 9958"/>
              <a:gd name="connsiteX221" fmla="*/ 4116 w 10000"/>
              <a:gd name="connsiteY221" fmla="*/ 747 h 9958"/>
              <a:gd name="connsiteX222" fmla="*/ 4950 w 10000"/>
              <a:gd name="connsiteY222" fmla="*/ 747 h 9958"/>
              <a:gd name="connsiteX223" fmla="*/ 5782 w 10000"/>
              <a:gd name="connsiteY223" fmla="*/ 747 h 9958"/>
              <a:gd name="connsiteX224" fmla="*/ 5782 w 10000"/>
              <a:gd name="connsiteY224" fmla="*/ 705 h 9958"/>
              <a:gd name="connsiteX225" fmla="*/ 5782 w 10000"/>
              <a:gd name="connsiteY225" fmla="*/ 664 h 9958"/>
              <a:gd name="connsiteX226" fmla="*/ 5782 w 10000"/>
              <a:gd name="connsiteY226" fmla="*/ 623 h 9958"/>
              <a:gd name="connsiteX227" fmla="*/ 5782 w 10000"/>
              <a:gd name="connsiteY227" fmla="*/ 581 h 9958"/>
              <a:gd name="connsiteX228" fmla="*/ 5834 w 10000"/>
              <a:gd name="connsiteY228" fmla="*/ 539 h 9958"/>
              <a:gd name="connsiteX229" fmla="*/ 5834 w 10000"/>
              <a:gd name="connsiteY229" fmla="*/ 498 h 9958"/>
              <a:gd name="connsiteX230" fmla="*/ 5834 w 10000"/>
              <a:gd name="connsiteY230" fmla="*/ 457 h 9958"/>
              <a:gd name="connsiteX231" fmla="*/ 5834 w 10000"/>
              <a:gd name="connsiteY231" fmla="*/ 415 h 9958"/>
              <a:gd name="connsiteX232" fmla="*/ 5834 w 10000"/>
              <a:gd name="connsiteY232" fmla="*/ 374 h 9958"/>
              <a:gd name="connsiteX233" fmla="*/ 5834 w 10000"/>
              <a:gd name="connsiteY233" fmla="*/ 332 h 9958"/>
              <a:gd name="connsiteX234" fmla="*/ 5782 w 10000"/>
              <a:gd name="connsiteY234" fmla="*/ 332 h 9958"/>
              <a:gd name="connsiteX235" fmla="*/ 5782 w 10000"/>
              <a:gd name="connsiteY235" fmla="*/ 290 h 9958"/>
              <a:gd name="connsiteX236" fmla="*/ 5782 w 10000"/>
              <a:gd name="connsiteY236" fmla="*/ 249 h 9958"/>
              <a:gd name="connsiteX237" fmla="*/ 5782 w 10000"/>
              <a:gd name="connsiteY237" fmla="*/ 208 h 9958"/>
              <a:gd name="connsiteX238" fmla="*/ 5782 w 10000"/>
              <a:gd name="connsiteY238" fmla="*/ 166 h 9958"/>
              <a:gd name="connsiteX239" fmla="*/ 5782 w 10000"/>
              <a:gd name="connsiteY239" fmla="*/ 125 h 9958"/>
              <a:gd name="connsiteX240" fmla="*/ 5782 w 10000"/>
              <a:gd name="connsiteY240" fmla="*/ 83 h 9958"/>
              <a:gd name="connsiteX241" fmla="*/ 5782 w 10000"/>
              <a:gd name="connsiteY241" fmla="*/ 41 h 9958"/>
              <a:gd name="connsiteX242" fmla="*/ 5782 w 10000"/>
              <a:gd name="connsiteY242" fmla="*/ 0 h 9958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67 h 10000"/>
              <a:gd name="connsiteX4" fmla="*/ 7293 w 10000"/>
              <a:gd name="connsiteY4" fmla="*/ 541 h 10000"/>
              <a:gd name="connsiteX5" fmla="*/ 7188 w 10000"/>
              <a:gd name="connsiteY5" fmla="*/ 1126 h 10000"/>
              <a:gd name="connsiteX6" fmla="*/ 7136 w 10000"/>
              <a:gd name="connsiteY6" fmla="*/ 1167 h 10000"/>
              <a:gd name="connsiteX7" fmla="*/ 6980 w 10000"/>
              <a:gd name="connsiteY7" fmla="*/ 1500 h 10000"/>
              <a:gd name="connsiteX8" fmla="*/ 7396 w 10000"/>
              <a:gd name="connsiteY8" fmla="*/ 3042 h 10000"/>
              <a:gd name="connsiteX9" fmla="*/ 7501 w 10000"/>
              <a:gd name="connsiteY9" fmla="*/ 3334 h 10000"/>
              <a:gd name="connsiteX10" fmla="*/ 7345 w 10000"/>
              <a:gd name="connsiteY10" fmla="*/ 3584 h 10000"/>
              <a:gd name="connsiteX11" fmla="*/ 8022 w 10000"/>
              <a:gd name="connsiteY11" fmla="*/ 3750 h 10000"/>
              <a:gd name="connsiteX12" fmla="*/ 8489 w 10000"/>
              <a:gd name="connsiteY12" fmla="*/ 4209 h 10000"/>
              <a:gd name="connsiteX13" fmla="*/ 8594 w 10000"/>
              <a:gd name="connsiteY13" fmla="*/ 4292 h 10000"/>
              <a:gd name="connsiteX14" fmla="*/ 8906 w 10000"/>
              <a:gd name="connsiteY14" fmla="*/ 4500 h 10000"/>
              <a:gd name="connsiteX15" fmla="*/ 9114 w 10000"/>
              <a:gd name="connsiteY15" fmla="*/ 4750 h 10000"/>
              <a:gd name="connsiteX16" fmla="*/ 9219 w 10000"/>
              <a:gd name="connsiteY16" fmla="*/ 4875 h 10000"/>
              <a:gd name="connsiteX17" fmla="*/ 9427 w 10000"/>
              <a:gd name="connsiteY17" fmla="*/ 4875 h 10000"/>
              <a:gd name="connsiteX18" fmla="*/ 9427 w 10000"/>
              <a:gd name="connsiteY18" fmla="*/ 4917 h 10000"/>
              <a:gd name="connsiteX19" fmla="*/ 9479 w 10000"/>
              <a:gd name="connsiteY19" fmla="*/ 5000 h 10000"/>
              <a:gd name="connsiteX20" fmla="*/ 9479 w 10000"/>
              <a:gd name="connsiteY20" fmla="*/ 5042 h 10000"/>
              <a:gd name="connsiteX21" fmla="*/ 9532 w 10000"/>
              <a:gd name="connsiteY21" fmla="*/ 5208 h 10000"/>
              <a:gd name="connsiteX22" fmla="*/ 9532 w 10000"/>
              <a:gd name="connsiteY22" fmla="*/ 5250 h 10000"/>
              <a:gd name="connsiteX23" fmla="*/ 9532 w 10000"/>
              <a:gd name="connsiteY23" fmla="*/ 5376 h 10000"/>
              <a:gd name="connsiteX24" fmla="*/ 9532 w 10000"/>
              <a:gd name="connsiteY24" fmla="*/ 5458 h 10000"/>
              <a:gd name="connsiteX25" fmla="*/ 9479 w 10000"/>
              <a:gd name="connsiteY25" fmla="*/ 5542 h 10000"/>
              <a:gd name="connsiteX26" fmla="*/ 9427 w 10000"/>
              <a:gd name="connsiteY26" fmla="*/ 5792 h 10000"/>
              <a:gd name="connsiteX27" fmla="*/ 9375 w 10000"/>
              <a:gd name="connsiteY27" fmla="*/ 5834 h 10000"/>
              <a:gd name="connsiteX28" fmla="*/ 9322 w 10000"/>
              <a:gd name="connsiteY28" fmla="*/ 5875 h 10000"/>
              <a:gd name="connsiteX29" fmla="*/ 9271 w 10000"/>
              <a:gd name="connsiteY29" fmla="*/ 6042 h 10000"/>
              <a:gd name="connsiteX30" fmla="*/ 9219 w 10000"/>
              <a:gd name="connsiteY30" fmla="*/ 6125 h 10000"/>
              <a:gd name="connsiteX31" fmla="*/ 9219 w 10000"/>
              <a:gd name="connsiteY31" fmla="*/ 6208 h 10000"/>
              <a:gd name="connsiteX32" fmla="*/ 9219 w 10000"/>
              <a:gd name="connsiteY32" fmla="*/ 6250 h 10000"/>
              <a:gd name="connsiteX33" fmla="*/ 9219 w 10000"/>
              <a:gd name="connsiteY33" fmla="*/ 6375 h 10000"/>
              <a:gd name="connsiteX34" fmla="*/ 9271 w 10000"/>
              <a:gd name="connsiteY34" fmla="*/ 6500 h 10000"/>
              <a:gd name="connsiteX35" fmla="*/ 9895 w 10000"/>
              <a:gd name="connsiteY35" fmla="*/ 6500 h 10000"/>
              <a:gd name="connsiteX36" fmla="*/ 9895 w 10000"/>
              <a:gd name="connsiteY36" fmla="*/ 6584 h 10000"/>
              <a:gd name="connsiteX37" fmla="*/ 9948 w 10000"/>
              <a:gd name="connsiteY37" fmla="*/ 6875 h 10000"/>
              <a:gd name="connsiteX38" fmla="*/ 9948 w 10000"/>
              <a:gd name="connsiteY38" fmla="*/ 6917 h 10000"/>
              <a:gd name="connsiteX39" fmla="*/ 9948 w 10000"/>
              <a:gd name="connsiteY39" fmla="*/ 7042 h 10000"/>
              <a:gd name="connsiteX40" fmla="*/ 9948 w 10000"/>
              <a:gd name="connsiteY40" fmla="*/ 7084 h 10000"/>
              <a:gd name="connsiteX41" fmla="*/ 9948 w 10000"/>
              <a:gd name="connsiteY41" fmla="*/ 7166 h 10000"/>
              <a:gd name="connsiteX42" fmla="*/ 9948 w 10000"/>
              <a:gd name="connsiteY42" fmla="*/ 7208 h 10000"/>
              <a:gd name="connsiteX43" fmla="*/ 9948 w 10000"/>
              <a:gd name="connsiteY43" fmla="*/ 7250 h 10000"/>
              <a:gd name="connsiteX44" fmla="*/ 9948 w 10000"/>
              <a:gd name="connsiteY44" fmla="*/ 7292 h 10000"/>
              <a:gd name="connsiteX45" fmla="*/ 10000 w 10000"/>
              <a:gd name="connsiteY45" fmla="*/ 7375 h 10000"/>
              <a:gd name="connsiteX46" fmla="*/ 10000 w 10000"/>
              <a:gd name="connsiteY46" fmla="*/ 7501 h 10000"/>
              <a:gd name="connsiteX47" fmla="*/ 10000 w 10000"/>
              <a:gd name="connsiteY47" fmla="*/ 7542 h 10000"/>
              <a:gd name="connsiteX48" fmla="*/ 10000 w 10000"/>
              <a:gd name="connsiteY48" fmla="*/ 7584 h 10000"/>
              <a:gd name="connsiteX49" fmla="*/ 10000 w 10000"/>
              <a:gd name="connsiteY49" fmla="*/ 7625 h 10000"/>
              <a:gd name="connsiteX50" fmla="*/ 10000 w 10000"/>
              <a:gd name="connsiteY50" fmla="*/ 7708 h 10000"/>
              <a:gd name="connsiteX51" fmla="*/ 10000 w 10000"/>
              <a:gd name="connsiteY51" fmla="*/ 7751 h 10000"/>
              <a:gd name="connsiteX52" fmla="*/ 10000 w 10000"/>
              <a:gd name="connsiteY52" fmla="*/ 7792 h 10000"/>
              <a:gd name="connsiteX53" fmla="*/ 10000 w 10000"/>
              <a:gd name="connsiteY53" fmla="*/ 7875 h 10000"/>
              <a:gd name="connsiteX54" fmla="*/ 10000 w 10000"/>
              <a:gd name="connsiteY54" fmla="*/ 8084 h 10000"/>
              <a:gd name="connsiteX55" fmla="*/ 10000 w 10000"/>
              <a:gd name="connsiteY55" fmla="*/ 8125 h 10000"/>
              <a:gd name="connsiteX56" fmla="*/ 10000 w 10000"/>
              <a:gd name="connsiteY56" fmla="*/ 8208 h 10000"/>
              <a:gd name="connsiteX57" fmla="*/ 10000 w 10000"/>
              <a:gd name="connsiteY57" fmla="*/ 8251 h 10000"/>
              <a:gd name="connsiteX58" fmla="*/ 10000 w 10000"/>
              <a:gd name="connsiteY58" fmla="*/ 8292 h 10000"/>
              <a:gd name="connsiteX59" fmla="*/ 10000 w 10000"/>
              <a:gd name="connsiteY59" fmla="*/ 8333 h 10000"/>
              <a:gd name="connsiteX60" fmla="*/ 10000 w 10000"/>
              <a:gd name="connsiteY60" fmla="*/ 8375 h 10000"/>
              <a:gd name="connsiteX61" fmla="*/ 10000 w 10000"/>
              <a:gd name="connsiteY61" fmla="*/ 8459 h 10000"/>
              <a:gd name="connsiteX62" fmla="*/ 10000 w 10000"/>
              <a:gd name="connsiteY62" fmla="*/ 8542 h 10000"/>
              <a:gd name="connsiteX63" fmla="*/ 10000 w 10000"/>
              <a:gd name="connsiteY63" fmla="*/ 8583 h 10000"/>
              <a:gd name="connsiteX64" fmla="*/ 10000 w 10000"/>
              <a:gd name="connsiteY64" fmla="*/ 8625 h 10000"/>
              <a:gd name="connsiteX65" fmla="*/ 9948 w 10000"/>
              <a:gd name="connsiteY65" fmla="*/ 8625 h 10000"/>
              <a:gd name="connsiteX66" fmla="*/ 9948 w 10000"/>
              <a:gd name="connsiteY66" fmla="*/ 8666 h 10000"/>
              <a:gd name="connsiteX67" fmla="*/ 9895 w 10000"/>
              <a:gd name="connsiteY67" fmla="*/ 8709 h 10000"/>
              <a:gd name="connsiteX68" fmla="*/ 9844 w 10000"/>
              <a:gd name="connsiteY68" fmla="*/ 8709 h 10000"/>
              <a:gd name="connsiteX69" fmla="*/ 9844 w 10000"/>
              <a:gd name="connsiteY69" fmla="*/ 8751 h 10000"/>
              <a:gd name="connsiteX70" fmla="*/ 9792 w 10000"/>
              <a:gd name="connsiteY70" fmla="*/ 8751 h 10000"/>
              <a:gd name="connsiteX71" fmla="*/ 9740 w 10000"/>
              <a:gd name="connsiteY71" fmla="*/ 8792 h 10000"/>
              <a:gd name="connsiteX72" fmla="*/ 9687 w 10000"/>
              <a:gd name="connsiteY72" fmla="*/ 8833 h 10000"/>
              <a:gd name="connsiteX73" fmla="*/ 9635 w 10000"/>
              <a:gd name="connsiteY73" fmla="*/ 8833 h 10000"/>
              <a:gd name="connsiteX74" fmla="*/ 9635 w 10000"/>
              <a:gd name="connsiteY74" fmla="*/ 8875 h 10000"/>
              <a:gd name="connsiteX75" fmla="*/ 9583 w 10000"/>
              <a:gd name="connsiteY75" fmla="*/ 8875 h 10000"/>
              <a:gd name="connsiteX76" fmla="*/ 9532 w 10000"/>
              <a:gd name="connsiteY76" fmla="*/ 8875 h 10000"/>
              <a:gd name="connsiteX77" fmla="*/ 9479 w 10000"/>
              <a:gd name="connsiteY77" fmla="*/ 8875 h 10000"/>
              <a:gd name="connsiteX78" fmla="*/ 9427 w 10000"/>
              <a:gd name="connsiteY78" fmla="*/ 8875 h 10000"/>
              <a:gd name="connsiteX79" fmla="*/ 9375 w 10000"/>
              <a:gd name="connsiteY79" fmla="*/ 8875 h 10000"/>
              <a:gd name="connsiteX80" fmla="*/ 9322 w 10000"/>
              <a:gd name="connsiteY80" fmla="*/ 8875 h 10000"/>
              <a:gd name="connsiteX81" fmla="*/ 9271 w 10000"/>
              <a:gd name="connsiteY81" fmla="*/ 8875 h 10000"/>
              <a:gd name="connsiteX82" fmla="*/ 9271 w 10000"/>
              <a:gd name="connsiteY82" fmla="*/ 8916 h 10000"/>
              <a:gd name="connsiteX83" fmla="*/ 9219 w 10000"/>
              <a:gd name="connsiteY83" fmla="*/ 8959 h 10000"/>
              <a:gd name="connsiteX84" fmla="*/ 9167 w 10000"/>
              <a:gd name="connsiteY84" fmla="*/ 9001 h 10000"/>
              <a:gd name="connsiteX85" fmla="*/ 9219 w 10000"/>
              <a:gd name="connsiteY85" fmla="*/ 9001 h 10000"/>
              <a:gd name="connsiteX86" fmla="*/ 9167 w 10000"/>
              <a:gd name="connsiteY86" fmla="*/ 9001 h 10000"/>
              <a:gd name="connsiteX87" fmla="*/ 9114 w 10000"/>
              <a:gd name="connsiteY87" fmla="*/ 9001 h 10000"/>
              <a:gd name="connsiteX88" fmla="*/ 9062 w 10000"/>
              <a:gd name="connsiteY88" fmla="*/ 9042 h 10000"/>
              <a:gd name="connsiteX89" fmla="*/ 9011 w 10000"/>
              <a:gd name="connsiteY89" fmla="*/ 9083 h 10000"/>
              <a:gd name="connsiteX90" fmla="*/ 8959 w 10000"/>
              <a:gd name="connsiteY90" fmla="*/ 9083 h 10000"/>
              <a:gd name="connsiteX91" fmla="*/ 8959 w 10000"/>
              <a:gd name="connsiteY91" fmla="*/ 9125 h 10000"/>
              <a:gd name="connsiteX92" fmla="*/ 8906 w 10000"/>
              <a:gd name="connsiteY92" fmla="*/ 9125 h 10000"/>
              <a:gd name="connsiteX93" fmla="*/ 8906 w 10000"/>
              <a:gd name="connsiteY93" fmla="*/ 9166 h 10000"/>
              <a:gd name="connsiteX94" fmla="*/ 8854 w 10000"/>
              <a:gd name="connsiteY94" fmla="*/ 9166 h 10000"/>
              <a:gd name="connsiteX95" fmla="*/ 8802 w 10000"/>
              <a:gd name="connsiteY95" fmla="*/ 9166 h 10000"/>
              <a:gd name="connsiteX96" fmla="*/ 8749 w 10000"/>
              <a:gd name="connsiteY96" fmla="*/ 9166 h 10000"/>
              <a:gd name="connsiteX97" fmla="*/ 8698 w 10000"/>
              <a:gd name="connsiteY97" fmla="*/ 9166 h 10000"/>
              <a:gd name="connsiteX98" fmla="*/ 8646 w 10000"/>
              <a:gd name="connsiteY98" fmla="*/ 9166 h 10000"/>
              <a:gd name="connsiteX99" fmla="*/ 8646 w 10000"/>
              <a:gd name="connsiteY99" fmla="*/ 9125 h 10000"/>
              <a:gd name="connsiteX100" fmla="*/ 8646 w 10000"/>
              <a:gd name="connsiteY100" fmla="*/ 9083 h 10000"/>
              <a:gd name="connsiteX101" fmla="*/ 8594 w 10000"/>
              <a:gd name="connsiteY101" fmla="*/ 9042 h 10000"/>
              <a:gd name="connsiteX102" fmla="*/ 8594 w 10000"/>
              <a:gd name="connsiteY102" fmla="*/ 9001 h 10000"/>
              <a:gd name="connsiteX103" fmla="*/ 8594 w 10000"/>
              <a:gd name="connsiteY103" fmla="*/ 8959 h 10000"/>
              <a:gd name="connsiteX104" fmla="*/ 8541 w 10000"/>
              <a:gd name="connsiteY104" fmla="*/ 8959 h 10000"/>
              <a:gd name="connsiteX105" fmla="*/ 8489 w 10000"/>
              <a:gd name="connsiteY105" fmla="*/ 8959 h 10000"/>
              <a:gd name="connsiteX106" fmla="*/ 8489 w 10000"/>
              <a:gd name="connsiteY106" fmla="*/ 8916 h 10000"/>
              <a:gd name="connsiteX107" fmla="*/ 8438 w 10000"/>
              <a:gd name="connsiteY107" fmla="*/ 8916 h 10000"/>
              <a:gd name="connsiteX108" fmla="*/ 8386 w 10000"/>
              <a:gd name="connsiteY108" fmla="*/ 8959 h 10000"/>
              <a:gd name="connsiteX109" fmla="*/ 8386 w 10000"/>
              <a:gd name="connsiteY109" fmla="*/ 9001 h 10000"/>
              <a:gd name="connsiteX110" fmla="*/ 8282 w 10000"/>
              <a:gd name="connsiteY110" fmla="*/ 8959 h 10000"/>
              <a:gd name="connsiteX111" fmla="*/ 8282 w 10000"/>
              <a:gd name="connsiteY111" fmla="*/ 8916 h 10000"/>
              <a:gd name="connsiteX112" fmla="*/ 8230 w 10000"/>
              <a:gd name="connsiteY112" fmla="*/ 8916 h 10000"/>
              <a:gd name="connsiteX113" fmla="*/ 8179 w 10000"/>
              <a:gd name="connsiteY113" fmla="*/ 8916 h 10000"/>
              <a:gd name="connsiteX114" fmla="*/ 8126 w 10000"/>
              <a:gd name="connsiteY114" fmla="*/ 8916 h 10000"/>
              <a:gd name="connsiteX115" fmla="*/ 8074 w 10000"/>
              <a:gd name="connsiteY115" fmla="*/ 8916 h 10000"/>
              <a:gd name="connsiteX116" fmla="*/ 8022 w 10000"/>
              <a:gd name="connsiteY116" fmla="*/ 8916 h 10000"/>
              <a:gd name="connsiteX117" fmla="*/ 8022 w 10000"/>
              <a:gd name="connsiteY117" fmla="*/ 8959 h 10000"/>
              <a:gd name="connsiteX118" fmla="*/ 7969 w 10000"/>
              <a:gd name="connsiteY118" fmla="*/ 8959 h 10000"/>
              <a:gd name="connsiteX119" fmla="*/ 7917 w 10000"/>
              <a:gd name="connsiteY119" fmla="*/ 9001 h 10000"/>
              <a:gd name="connsiteX120" fmla="*/ 7866 w 10000"/>
              <a:gd name="connsiteY120" fmla="*/ 9001 h 10000"/>
              <a:gd name="connsiteX121" fmla="*/ 7866 w 10000"/>
              <a:gd name="connsiteY121" fmla="*/ 8959 h 10000"/>
              <a:gd name="connsiteX122" fmla="*/ 7866 w 10000"/>
              <a:gd name="connsiteY122" fmla="*/ 9001 h 10000"/>
              <a:gd name="connsiteX123" fmla="*/ 7814 w 10000"/>
              <a:gd name="connsiteY123" fmla="*/ 9001 h 10000"/>
              <a:gd name="connsiteX124" fmla="*/ 7761 w 10000"/>
              <a:gd name="connsiteY124" fmla="*/ 9042 h 10000"/>
              <a:gd name="connsiteX125" fmla="*/ 7709 w 10000"/>
              <a:gd name="connsiteY125" fmla="*/ 9001 h 10000"/>
              <a:gd name="connsiteX126" fmla="*/ 7657 w 10000"/>
              <a:gd name="connsiteY126" fmla="*/ 9001 h 10000"/>
              <a:gd name="connsiteX127" fmla="*/ 7606 w 10000"/>
              <a:gd name="connsiteY127" fmla="*/ 9001 h 10000"/>
              <a:gd name="connsiteX128" fmla="*/ 7553 w 10000"/>
              <a:gd name="connsiteY128" fmla="*/ 8959 h 10000"/>
              <a:gd name="connsiteX129" fmla="*/ 7501 w 10000"/>
              <a:gd name="connsiteY129" fmla="*/ 8959 h 10000"/>
              <a:gd name="connsiteX130" fmla="*/ 7501 w 10000"/>
              <a:gd name="connsiteY130" fmla="*/ 9001 h 10000"/>
              <a:gd name="connsiteX131" fmla="*/ 7449 w 10000"/>
              <a:gd name="connsiteY131" fmla="*/ 9001 h 10000"/>
              <a:gd name="connsiteX132" fmla="*/ 7396 w 10000"/>
              <a:gd name="connsiteY132" fmla="*/ 8959 h 10000"/>
              <a:gd name="connsiteX133" fmla="*/ 7345 w 10000"/>
              <a:gd name="connsiteY133" fmla="*/ 8959 h 10000"/>
              <a:gd name="connsiteX134" fmla="*/ 7293 w 10000"/>
              <a:gd name="connsiteY134" fmla="*/ 9042 h 10000"/>
              <a:gd name="connsiteX135" fmla="*/ 7241 w 10000"/>
              <a:gd name="connsiteY135" fmla="*/ 9042 h 10000"/>
              <a:gd name="connsiteX136" fmla="*/ 7241 w 10000"/>
              <a:gd name="connsiteY136" fmla="*/ 9001 h 10000"/>
              <a:gd name="connsiteX137" fmla="*/ 7241 w 10000"/>
              <a:gd name="connsiteY137" fmla="*/ 9042 h 10000"/>
              <a:gd name="connsiteX138" fmla="*/ 7241 w 10000"/>
              <a:gd name="connsiteY138" fmla="*/ 9083 h 10000"/>
              <a:gd name="connsiteX139" fmla="*/ 7188 w 10000"/>
              <a:gd name="connsiteY139" fmla="*/ 9083 h 10000"/>
              <a:gd name="connsiteX140" fmla="*/ 7136 w 10000"/>
              <a:gd name="connsiteY140" fmla="*/ 9083 h 10000"/>
              <a:gd name="connsiteX141" fmla="*/ 7188 w 10000"/>
              <a:gd name="connsiteY141" fmla="*/ 9125 h 10000"/>
              <a:gd name="connsiteX142" fmla="*/ 7136 w 10000"/>
              <a:gd name="connsiteY142" fmla="*/ 9166 h 10000"/>
              <a:gd name="connsiteX143" fmla="*/ 7188 w 10000"/>
              <a:gd name="connsiteY143" fmla="*/ 9209 h 10000"/>
              <a:gd name="connsiteX144" fmla="*/ 7241 w 10000"/>
              <a:gd name="connsiteY144" fmla="*/ 9209 h 10000"/>
              <a:gd name="connsiteX145" fmla="*/ 7241 w 10000"/>
              <a:gd name="connsiteY145" fmla="*/ 9251 h 10000"/>
              <a:gd name="connsiteX146" fmla="*/ 7188 w 10000"/>
              <a:gd name="connsiteY146" fmla="*/ 9251 h 10000"/>
              <a:gd name="connsiteX147" fmla="*/ 7136 w 10000"/>
              <a:gd name="connsiteY147" fmla="*/ 9251 h 10000"/>
              <a:gd name="connsiteX148" fmla="*/ 7188 w 10000"/>
              <a:gd name="connsiteY148" fmla="*/ 9292 h 10000"/>
              <a:gd name="connsiteX149" fmla="*/ 7188 w 10000"/>
              <a:gd name="connsiteY149" fmla="*/ 9333 h 10000"/>
              <a:gd name="connsiteX150" fmla="*/ 7136 w 10000"/>
              <a:gd name="connsiteY150" fmla="*/ 9333 h 10000"/>
              <a:gd name="connsiteX151" fmla="*/ 7136 w 10000"/>
              <a:gd name="connsiteY151" fmla="*/ 9375 h 10000"/>
              <a:gd name="connsiteX152" fmla="*/ 7084 w 10000"/>
              <a:gd name="connsiteY152" fmla="*/ 9417 h 10000"/>
              <a:gd name="connsiteX153" fmla="*/ 7136 w 10000"/>
              <a:gd name="connsiteY153" fmla="*/ 9459 h 10000"/>
              <a:gd name="connsiteX154" fmla="*/ 7188 w 10000"/>
              <a:gd name="connsiteY154" fmla="*/ 9459 h 10000"/>
              <a:gd name="connsiteX155" fmla="*/ 7188 w 10000"/>
              <a:gd name="connsiteY155" fmla="*/ 9500 h 10000"/>
              <a:gd name="connsiteX156" fmla="*/ 7188 w 10000"/>
              <a:gd name="connsiteY156" fmla="*/ 9542 h 10000"/>
              <a:gd name="connsiteX157" fmla="*/ 7136 w 10000"/>
              <a:gd name="connsiteY157" fmla="*/ 9542 h 10000"/>
              <a:gd name="connsiteX158" fmla="*/ 7084 w 10000"/>
              <a:gd name="connsiteY158" fmla="*/ 9583 h 10000"/>
              <a:gd name="connsiteX159" fmla="*/ 7136 w 10000"/>
              <a:gd name="connsiteY159" fmla="*/ 9624 h 10000"/>
              <a:gd name="connsiteX160" fmla="*/ 7136 w 10000"/>
              <a:gd name="connsiteY160" fmla="*/ 9667 h 10000"/>
              <a:gd name="connsiteX161" fmla="*/ 7136 w 10000"/>
              <a:gd name="connsiteY161" fmla="*/ 9709 h 10000"/>
              <a:gd name="connsiteX162" fmla="*/ 7136 w 10000"/>
              <a:gd name="connsiteY162" fmla="*/ 9750 h 10000"/>
              <a:gd name="connsiteX163" fmla="*/ 7084 w 10000"/>
              <a:gd name="connsiteY163" fmla="*/ 9750 h 10000"/>
              <a:gd name="connsiteX164" fmla="*/ 7084 w 10000"/>
              <a:gd name="connsiteY164" fmla="*/ 9792 h 10000"/>
              <a:gd name="connsiteX165" fmla="*/ 7033 w 10000"/>
              <a:gd name="connsiteY165" fmla="*/ 9792 h 10000"/>
              <a:gd name="connsiteX166" fmla="*/ 6928 w 10000"/>
              <a:gd name="connsiteY166" fmla="*/ 9792 h 10000"/>
              <a:gd name="connsiteX167" fmla="*/ 6928 w 10000"/>
              <a:gd name="connsiteY167" fmla="*/ 9833 h 10000"/>
              <a:gd name="connsiteX168" fmla="*/ 6928 w 10000"/>
              <a:gd name="connsiteY168" fmla="*/ 9874 h 10000"/>
              <a:gd name="connsiteX169" fmla="*/ 6928 w 10000"/>
              <a:gd name="connsiteY169" fmla="*/ 9917 h 10000"/>
              <a:gd name="connsiteX170" fmla="*/ 6928 w 10000"/>
              <a:gd name="connsiteY170" fmla="*/ 9874 h 10000"/>
              <a:gd name="connsiteX171" fmla="*/ 6876 w 10000"/>
              <a:gd name="connsiteY171" fmla="*/ 9874 h 10000"/>
              <a:gd name="connsiteX172" fmla="*/ 6823 w 10000"/>
              <a:gd name="connsiteY172" fmla="*/ 9874 h 10000"/>
              <a:gd name="connsiteX173" fmla="*/ 6823 w 10000"/>
              <a:gd name="connsiteY173" fmla="*/ 9917 h 10000"/>
              <a:gd name="connsiteX174" fmla="*/ 6823 w 10000"/>
              <a:gd name="connsiteY174" fmla="*/ 9959 h 10000"/>
              <a:gd name="connsiteX175" fmla="*/ 6720 w 10000"/>
              <a:gd name="connsiteY175" fmla="*/ 10000 h 10000"/>
              <a:gd name="connsiteX176" fmla="*/ 7344 w 10000"/>
              <a:gd name="connsiteY176" fmla="*/ 7354 h 10000"/>
              <a:gd name="connsiteX177" fmla="*/ 7136 w 10000"/>
              <a:gd name="connsiteY177" fmla="*/ 7015 h 10000"/>
              <a:gd name="connsiteX178" fmla="*/ 6544 w 10000"/>
              <a:gd name="connsiteY178" fmla="*/ 6906 h 10000"/>
              <a:gd name="connsiteX179" fmla="*/ 5775 w 10000"/>
              <a:gd name="connsiteY179" fmla="*/ 6871 h 10000"/>
              <a:gd name="connsiteX180" fmla="*/ 5311 w 10000"/>
              <a:gd name="connsiteY180" fmla="*/ 6764 h 10000"/>
              <a:gd name="connsiteX181" fmla="*/ 5071 w 10000"/>
              <a:gd name="connsiteY181" fmla="*/ 6657 h 10000"/>
              <a:gd name="connsiteX182" fmla="*/ 4912 w 10000"/>
              <a:gd name="connsiteY182" fmla="*/ 6746 h 10000"/>
              <a:gd name="connsiteX183" fmla="*/ 4416 w 10000"/>
              <a:gd name="connsiteY183" fmla="*/ 6585 h 10000"/>
              <a:gd name="connsiteX184" fmla="*/ 3584 w 10000"/>
              <a:gd name="connsiteY184" fmla="*/ 6299 h 10000"/>
              <a:gd name="connsiteX185" fmla="*/ 3104 w 10000"/>
              <a:gd name="connsiteY185" fmla="*/ 6244 h 10000"/>
              <a:gd name="connsiteX186" fmla="*/ 3200 w 10000"/>
              <a:gd name="connsiteY186" fmla="*/ 6048 h 10000"/>
              <a:gd name="connsiteX187" fmla="*/ 3344 w 10000"/>
              <a:gd name="connsiteY187" fmla="*/ 5994 h 10000"/>
              <a:gd name="connsiteX188" fmla="*/ 3728 w 10000"/>
              <a:gd name="connsiteY188" fmla="*/ 5709 h 10000"/>
              <a:gd name="connsiteX189" fmla="*/ 3968 w 10000"/>
              <a:gd name="connsiteY189" fmla="*/ 5441 h 10000"/>
              <a:gd name="connsiteX190" fmla="*/ 4224 w 10000"/>
              <a:gd name="connsiteY190" fmla="*/ 5155 h 10000"/>
              <a:gd name="connsiteX191" fmla="*/ 4368 w 10000"/>
              <a:gd name="connsiteY191" fmla="*/ 4887 h 10000"/>
              <a:gd name="connsiteX192" fmla="*/ 4352 w 10000"/>
              <a:gd name="connsiteY192" fmla="*/ 4583 h 10000"/>
              <a:gd name="connsiteX193" fmla="*/ 4336 w 10000"/>
              <a:gd name="connsiteY193" fmla="*/ 4314 h 10000"/>
              <a:gd name="connsiteX194" fmla="*/ 4176 w 10000"/>
              <a:gd name="connsiteY194" fmla="*/ 4153 h 10000"/>
              <a:gd name="connsiteX195" fmla="*/ 4016 w 10000"/>
              <a:gd name="connsiteY195" fmla="*/ 4172 h 10000"/>
              <a:gd name="connsiteX196" fmla="*/ 3856 w 10000"/>
              <a:gd name="connsiteY196" fmla="*/ 4458 h 10000"/>
              <a:gd name="connsiteX197" fmla="*/ 3808 w 10000"/>
              <a:gd name="connsiteY197" fmla="*/ 4975 h 10000"/>
              <a:gd name="connsiteX198" fmla="*/ 3536 w 10000"/>
              <a:gd name="connsiteY198" fmla="*/ 5316 h 10000"/>
              <a:gd name="connsiteX199" fmla="*/ 2992 w 10000"/>
              <a:gd name="connsiteY199" fmla="*/ 5620 h 10000"/>
              <a:gd name="connsiteX200" fmla="*/ 2415 w 10000"/>
              <a:gd name="connsiteY200" fmla="*/ 5852 h 10000"/>
              <a:gd name="connsiteX201" fmla="*/ 1951 w 10000"/>
              <a:gd name="connsiteY201" fmla="*/ 6173 h 10000"/>
              <a:gd name="connsiteX202" fmla="*/ 0 w 10000"/>
              <a:gd name="connsiteY202" fmla="*/ 6102 h 10000"/>
              <a:gd name="connsiteX203" fmla="*/ 3 w 10000"/>
              <a:gd name="connsiteY203" fmla="*/ 5875 h 10000"/>
              <a:gd name="connsiteX204" fmla="*/ 159 w 10000"/>
              <a:gd name="connsiteY204" fmla="*/ 5958 h 10000"/>
              <a:gd name="connsiteX205" fmla="*/ 368 w 10000"/>
              <a:gd name="connsiteY205" fmla="*/ 5875 h 10000"/>
              <a:gd name="connsiteX206" fmla="*/ 1462 w 10000"/>
              <a:gd name="connsiteY206" fmla="*/ 5875 h 10000"/>
              <a:gd name="connsiteX207" fmla="*/ 1617 w 10000"/>
              <a:gd name="connsiteY207" fmla="*/ 5834 h 10000"/>
              <a:gd name="connsiteX208" fmla="*/ 1669 w 10000"/>
              <a:gd name="connsiteY208" fmla="*/ 5834 h 10000"/>
              <a:gd name="connsiteX209" fmla="*/ 2189 w 10000"/>
              <a:gd name="connsiteY209" fmla="*/ 5292 h 10000"/>
              <a:gd name="connsiteX210" fmla="*/ 2294 w 10000"/>
              <a:gd name="connsiteY210" fmla="*/ 5208 h 10000"/>
              <a:gd name="connsiteX211" fmla="*/ 2762 w 10000"/>
              <a:gd name="connsiteY211" fmla="*/ 4792 h 10000"/>
              <a:gd name="connsiteX212" fmla="*/ 3023 w 10000"/>
              <a:gd name="connsiteY212" fmla="*/ 4542 h 10000"/>
              <a:gd name="connsiteX213" fmla="*/ 3179 w 10000"/>
              <a:gd name="connsiteY213" fmla="*/ 4417 h 10000"/>
              <a:gd name="connsiteX214" fmla="*/ 3596 w 10000"/>
              <a:gd name="connsiteY214" fmla="*/ 3791 h 10000"/>
              <a:gd name="connsiteX215" fmla="*/ 4116 w 10000"/>
              <a:gd name="connsiteY215" fmla="*/ 3541 h 10000"/>
              <a:gd name="connsiteX216" fmla="*/ 5001 w 10000"/>
              <a:gd name="connsiteY216" fmla="*/ 2834 h 10000"/>
              <a:gd name="connsiteX217" fmla="*/ 4845 w 10000"/>
              <a:gd name="connsiteY217" fmla="*/ 2584 h 10000"/>
              <a:gd name="connsiteX218" fmla="*/ 4794 w 10000"/>
              <a:gd name="connsiteY218" fmla="*/ 2417 h 10000"/>
              <a:gd name="connsiteX219" fmla="*/ 4794 w 10000"/>
              <a:gd name="connsiteY219" fmla="*/ 1250 h 10000"/>
              <a:gd name="connsiteX220" fmla="*/ 4116 w 10000"/>
              <a:gd name="connsiteY220" fmla="*/ 750 h 10000"/>
              <a:gd name="connsiteX221" fmla="*/ 4950 w 10000"/>
              <a:gd name="connsiteY221" fmla="*/ 750 h 10000"/>
              <a:gd name="connsiteX222" fmla="*/ 5782 w 10000"/>
              <a:gd name="connsiteY222" fmla="*/ 750 h 10000"/>
              <a:gd name="connsiteX223" fmla="*/ 5782 w 10000"/>
              <a:gd name="connsiteY223" fmla="*/ 708 h 10000"/>
              <a:gd name="connsiteX224" fmla="*/ 5782 w 10000"/>
              <a:gd name="connsiteY224" fmla="*/ 667 h 10000"/>
              <a:gd name="connsiteX225" fmla="*/ 5782 w 10000"/>
              <a:gd name="connsiteY225" fmla="*/ 626 h 10000"/>
              <a:gd name="connsiteX226" fmla="*/ 5782 w 10000"/>
              <a:gd name="connsiteY226" fmla="*/ 583 h 10000"/>
              <a:gd name="connsiteX227" fmla="*/ 5834 w 10000"/>
              <a:gd name="connsiteY227" fmla="*/ 541 h 10000"/>
              <a:gd name="connsiteX228" fmla="*/ 5834 w 10000"/>
              <a:gd name="connsiteY228" fmla="*/ 500 h 10000"/>
              <a:gd name="connsiteX229" fmla="*/ 5834 w 10000"/>
              <a:gd name="connsiteY229" fmla="*/ 459 h 10000"/>
              <a:gd name="connsiteX230" fmla="*/ 5834 w 10000"/>
              <a:gd name="connsiteY230" fmla="*/ 417 h 10000"/>
              <a:gd name="connsiteX231" fmla="*/ 5834 w 10000"/>
              <a:gd name="connsiteY231" fmla="*/ 376 h 10000"/>
              <a:gd name="connsiteX232" fmla="*/ 5834 w 10000"/>
              <a:gd name="connsiteY232" fmla="*/ 333 h 10000"/>
              <a:gd name="connsiteX233" fmla="*/ 5782 w 10000"/>
              <a:gd name="connsiteY233" fmla="*/ 333 h 10000"/>
              <a:gd name="connsiteX234" fmla="*/ 5782 w 10000"/>
              <a:gd name="connsiteY234" fmla="*/ 291 h 10000"/>
              <a:gd name="connsiteX235" fmla="*/ 5782 w 10000"/>
              <a:gd name="connsiteY235" fmla="*/ 250 h 10000"/>
              <a:gd name="connsiteX236" fmla="*/ 5782 w 10000"/>
              <a:gd name="connsiteY236" fmla="*/ 209 h 10000"/>
              <a:gd name="connsiteX237" fmla="*/ 5782 w 10000"/>
              <a:gd name="connsiteY237" fmla="*/ 167 h 10000"/>
              <a:gd name="connsiteX238" fmla="*/ 5782 w 10000"/>
              <a:gd name="connsiteY238" fmla="*/ 126 h 10000"/>
              <a:gd name="connsiteX239" fmla="*/ 5782 w 10000"/>
              <a:gd name="connsiteY239" fmla="*/ 83 h 10000"/>
              <a:gd name="connsiteX240" fmla="*/ 5782 w 10000"/>
              <a:gd name="connsiteY240" fmla="*/ 41 h 10000"/>
              <a:gd name="connsiteX241" fmla="*/ 5782 w 10000"/>
              <a:gd name="connsiteY241" fmla="*/ 0 h 10000"/>
              <a:gd name="connsiteX0" fmla="*/ 5782 w 10000"/>
              <a:gd name="connsiteY0" fmla="*/ 0 h 9959"/>
              <a:gd name="connsiteX1" fmla="*/ 7345 w 10000"/>
              <a:gd name="connsiteY1" fmla="*/ 41 h 9959"/>
              <a:gd name="connsiteX2" fmla="*/ 7501 w 10000"/>
              <a:gd name="connsiteY2" fmla="*/ 41 h 9959"/>
              <a:gd name="connsiteX3" fmla="*/ 7345 w 10000"/>
              <a:gd name="connsiteY3" fmla="*/ 167 h 9959"/>
              <a:gd name="connsiteX4" fmla="*/ 7293 w 10000"/>
              <a:gd name="connsiteY4" fmla="*/ 541 h 9959"/>
              <a:gd name="connsiteX5" fmla="*/ 7188 w 10000"/>
              <a:gd name="connsiteY5" fmla="*/ 1126 h 9959"/>
              <a:gd name="connsiteX6" fmla="*/ 7136 w 10000"/>
              <a:gd name="connsiteY6" fmla="*/ 1167 h 9959"/>
              <a:gd name="connsiteX7" fmla="*/ 6980 w 10000"/>
              <a:gd name="connsiteY7" fmla="*/ 1500 h 9959"/>
              <a:gd name="connsiteX8" fmla="*/ 7396 w 10000"/>
              <a:gd name="connsiteY8" fmla="*/ 3042 h 9959"/>
              <a:gd name="connsiteX9" fmla="*/ 7501 w 10000"/>
              <a:gd name="connsiteY9" fmla="*/ 3334 h 9959"/>
              <a:gd name="connsiteX10" fmla="*/ 7345 w 10000"/>
              <a:gd name="connsiteY10" fmla="*/ 3584 h 9959"/>
              <a:gd name="connsiteX11" fmla="*/ 8022 w 10000"/>
              <a:gd name="connsiteY11" fmla="*/ 3750 h 9959"/>
              <a:gd name="connsiteX12" fmla="*/ 8489 w 10000"/>
              <a:gd name="connsiteY12" fmla="*/ 4209 h 9959"/>
              <a:gd name="connsiteX13" fmla="*/ 8594 w 10000"/>
              <a:gd name="connsiteY13" fmla="*/ 4292 h 9959"/>
              <a:gd name="connsiteX14" fmla="*/ 8906 w 10000"/>
              <a:gd name="connsiteY14" fmla="*/ 4500 h 9959"/>
              <a:gd name="connsiteX15" fmla="*/ 9114 w 10000"/>
              <a:gd name="connsiteY15" fmla="*/ 4750 h 9959"/>
              <a:gd name="connsiteX16" fmla="*/ 9219 w 10000"/>
              <a:gd name="connsiteY16" fmla="*/ 4875 h 9959"/>
              <a:gd name="connsiteX17" fmla="*/ 9427 w 10000"/>
              <a:gd name="connsiteY17" fmla="*/ 4875 h 9959"/>
              <a:gd name="connsiteX18" fmla="*/ 9427 w 10000"/>
              <a:gd name="connsiteY18" fmla="*/ 4917 h 9959"/>
              <a:gd name="connsiteX19" fmla="*/ 9479 w 10000"/>
              <a:gd name="connsiteY19" fmla="*/ 5000 h 9959"/>
              <a:gd name="connsiteX20" fmla="*/ 9479 w 10000"/>
              <a:gd name="connsiteY20" fmla="*/ 5042 h 9959"/>
              <a:gd name="connsiteX21" fmla="*/ 9532 w 10000"/>
              <a:gd name="connsiteY21" fmla="*/ 5208 h 9959"/>
              <a:gd name="connsiteX22" fmla="*/ 9532 w 10000"/>
              <a:gd name="connsiteY22" fmla="*/ 5250 h 9959"/>
              <a:gd name="connsiteX23" fmla="*/ 9532 w 10000"/>
              <a:gd name="connsiteY23" fmla="*/ 5376 h 9959"/>
              <a:gd name="connsiteX24" fmla="*/ 9532 w 10000"/>
              <a:gd name="connsiteY24" fmla="*/ 5458 h 9959"/>
              <a:gd name="connsiteX25" fmla="*/ 9479 w 10000"/>
              <a:gd name="connsiteY25" fmla="*/ 5542 h 9959"/>
              <a:gd name="connsiteX26" fmla="*/ 9427 w 10000"/>
              <a:gd name="connsiteY26" fmla="*/ 5792 h 9959"/>
              <a:gd name="connsiteX27" fmla="*/ 9375 w 10000"/>
              <a:gd name="connsiteY27" fmla="*/ 5834 h 9959"/>
              <a:gd name="connsiteX28" fmla="*/ 9322 w 10000"/>
              <a:gd name="connsiteY28" fmla="*/ 5875 h 9959"/>
              <a:gd name="connsiteX29" fmla="*/ 9271 w 10000"/>
              <a:gd name="connsiteY29" fmla="*/ 6042 h 9959"/>
              <a:gd name="connsiteX30" fmla="*/ 9219 w 10000"/>
              <a:gd name="connsiteY30" fmla="*/ 6125 h 9959"/>
              <a:gd name="connsiteX31" fmla="*/ 9219 w 10000"/>
              <a:gd name="connsiteY31" fmla="*/ 6208 h 9959"/>
              <a:gd name="connsiteX32" fmla="*/ 9219 w 10000"/>
              <a:gd name="connsiteY32" fmla="*/ 6250 h 9959"/>
              <a:gd name="connsiteX33" fmla="*/ 9219 w 10000"/>
              <a:gd name="connsiteY33" fmla="*/ 6375 h 9959"/>
              <a:gd name="connsiteX34" fmla="*/ 9271 w 10000"/>
              <a:gd name="connsiteY34" fmla="*/ 6500 h 9959"/>
              <a:gd name="connsiteX35" fmla="*/ 9895 w 10000"/>
              <a:gd name="connsiteY35" fmla="*/ 6500 h 9959"/>
              <a:gd name="connsiteX36" fmla="*/ 9895 w 10000"/>
              <a:gd name="connsiteY36" fmla="*/ 6584 h 9959"/>
              <a:gd name="connsiteX37" fmla="*/ 9948 w 10000"/>
              <a:gd name="connsiteY37" fmla="*/ 6875 h 9959"/>
              <a:gd name="connsiteX38" fmla="*/ 9948 w 10000"/>
              <a:gd name="connsiteY38" fmla="*/ 6917 h 9959"/>
              <a:gd name="connsiteX39" fmla="*/ 9948 w 10000"/>
              <a:gd name="connsiteY39" fmla="*/ 7042 h 9959"/>
              <a:gd name="connsiteX40" fmla="*/ 9948 w 10000"/>
              <a:gd name="connsiteY40" fmla="*/ 7084 h 9959"/>
              <a:gd name="connsiteX41" fmla="*/ 9948 w 10000"/>
              <a:gd name="connsiteY41" fmla="*/ 7166 h 9959"/>
              <a:gd name="connsiteX42" fmla="*/ 9948 w 10000"/>
              <a:gd name="connsiteY42" fmla="*/ 7208 h 9959"/>
              <a:gd name="connsiteX43" fmla="*/ 9948 w 10000"/>
              <a:gd name="connsiteY43" fmla="*/ 7250 h 9959"/>
              <a:gd name="connsiteX44" fmla="*/ 9948 w 10000"/>
              <a:gd name="connsiteY44" fmla="*/ 7292 h 9959"/>
              <a:gd name="connsiteX45" fmla="*/ 10000 w 10000"/>
              <a:gd name="connsiteY45" fmla="*/ 7375 h 9959"/>
              <a:gd name="connsiteX46" fmla="*/ 10000 w 10000"/>
              <a:gd name="connsiteY46" fmla="*/ 7501 h 9959"/>
              <a:gd name="connsiteX47" fmla="*/ 10000 w 10000"/>
              <a:gd name="connsiteY47" fmla="*/ 7542 h 9959"/>
              <a:gd name="connsiteX48" fmla="*/ 10000 w 10000"/>
              <a:gd name="connsiteY48" fmla="*/ 7584 h 9959"/>
              <a:gd name="connsiteX49" fmla="*/ 10000 w 10000"/>
              <a:gd name="connsiteY49" fmla="*/ 7625 h 9959"/>
              <a:gd name="connsiteX50" fmla="*/ 10000 w 10000"/>
              <a:gd name="connsiteY50" fmla="*/ 7708 h 9959"/>
              <a:gd name="connsiteX51" fmla="*/ 10000 w 10000"/>
              <a:gd name="connsiteY51" fmla="*/ 7751 h 9959"/>
              <a:gd name="connsiteX52" fmla="*/ 10000 w 10000"/>
              <a:gd name="connsiteY52" fmla="*/ 7792 h 9959"/>
              <a:gd name="connsiteX53" fmla="*/ 10000 w 10000"/>
              <a:gd name="connsiteY53" fmla="*/ 7875 h 9959"/>
              <a:gd name="connsiteX54" fmla="*/ 10000 w 10000"/>
              <a:gd name="connsiteY54" fmla="*/ 8084 h 9959"/>
              <a:gd name="connsiteX55" fmla="*/ 10000 w 10000"/>
              <a:gd name="connsiteY55" fmla="*/ 8125 h 9959"/>
              <a:gd name="connsiteX56" fmla="*/ 10000 w 10000"/>
              <a:gd name="connsiteY56" fmla="*/ 8208 h 9959"/>
              <a:gd name="connsiteX57" fmla="*/ 10000 w 10000"/>
              <a:gd name="connsiteY57" fmla="*/ 8251 h 9959"/>
              <a:gd name="connsiteX58" fmla="*/ 10000 w 10000"/>
              <a:gd name="connsiteY58" fmla="*/ 8292 h 9959"/>
              <a:gd name="connsiteX59" fmla="*/ 10000 w 10000"/>
              <a:gd name="connsiteY59" fmla="*/ 8333 h 9959"/>
              <a:gd name="connsiteX60" fmla="*/ 10000 w 10000"/>
              <a:gd name="connsiteY60" fmla="*/ 8375 h 9959"/>
              <a:gd name="connsiteX61" fmla="*/ 10000 w 10000"/>
              <a:gd name="connsiteY61" fmla="*/ 8459 h 9959"/>
              <a:gd name="connsiteX62" fmla="*/ 10000 w 10000"/>
              <a:gd name="connsiteY62" fmla="*/ 8542 h 9959"/>
              <a:gd name="connsiteX63" fmla="*/ 10000 w 10000"/>
              <a:gd name="connsiteY63" fmla="*/ 8583 h 9959"/>
              <a:gd name="connsiteX64" fmla="*/ 10000 w 10000"/>
              <a:gd name="connsiteY64" fmla="*/ 8625 h 9959"/>
              <a:gd name="connsiteX65" fmla="*/ 9948 w 10000"/>
              <a:gd name="connsiteY65" fmla="*/ 8625 h 9959"/>
              <a:gd name="connsiteX66" fmla="*/ 9948 w 10000"/>
              <a:gd name="connsiteY66" fmla="*/ 8666 h 9959"/>
              <a:gd name="connsiteX67" fmla="*/ 9895 w 10000"/>
              <a:gd name="connsiteY67" fmla="*/ 8709 h 9959"/>
              <a:gd name="connsiteX68" fmla="*/ 9844 w 10000"/>
              <a:gd name="connsiteY68" fmla="*/ 8709 h 9959"/>
              <a:gd name="connsiteX69" fmla="*/ 9844 w 10000"/>
              <a:gd name="connsiteY69" fmla="*/ 8751 h 9959"/>
              <a:gd name="connsiteX70" fmla="*/ 9792 w 10000"/>
              <a:gd name="connsiteY70" fmla="*/ 8751 h 9959"/>
              <a:gd name="connsiteX71" fmla="*/ 9740 w 10000"/>
              <a:gd name="connsiteY71" fmla="*/ 8792 h 9959"/>
              <a:gd name="connsiteX72" fmla="*/ 9687 w 10000"/>
              <a:gd name="connsiteY72" fmla="*/ 8833 h 9959"/>
              <a:gd name="connsiteX73" fmla="*/ 9635 w 10000"/>
              <a:gd name="connsiteY73" fmla="*/ 8833 h 9959"/>
              <a:gd name="connsiteX74" fmla="*/ 9635 w 10000"/>
              <a:gd name="connsiteY74" fmla="*/ 8875 h 9959"/>
              <a:gd name="connsiteX75" fmla="*/ 9583 w 10000"/>
              <a:gd name="connsiteY75" fmla="*/ 8875 h 9959"/>
              <a:gd name="connsiteX76" fmla="*/ 9532 w 10000"/>
              <a:gd name="connsiteY76" fmla="*/ 8875 h 9959"/>
              <a:gd name="connsiteX77" fmla="*/ 9479 w 10000"/>
              <a:gd name="connsiteY77" fmla="*/ 8875 h 9959"/>
              <a:gd name="connsiteX78" fmla="*/ 9427 w 10000"/>
              <a:gd name="connsiteY78" fmla="*/ 8875 h 9959"/>
              <a:gd name="connsiteX79" fmla="*/ 9375 w 10000"/>
              <a:gd name="connsiteY79" fmla="*/ 8875 h 9959"/>
              <a:gd name="connsiteX80" fmla="*/ 9322 w 10000"/>
              <a:gd name="connsiteY80" fmla="*/ 8875 h 9959"/>
              <a:gd name="connsiteX81" fmla="*/ 9271 w 10000"/>
              <a:gd name="connsiteY81" fmla="*/ 8875 h 9959"/>
              <a:gd name="connsiteX82" fmla="*/ 9271 w 10000"/>
              <a:gd name="connsiteY82" fmla="*/ 8916 h 9959"/>
              <a:gd name="connsiteX83" fmla="*/ 9219 w 10000"/>
              <a:gd name="connsiteY83" fmla="*/ 8959 h 9959"/>
              <a:gd name="connsiteX84" fmla="*/ 9167 w 10000"/>
              <a:gd name="connsiteY84" fmla="*/ 9001 h 9959"/>
              <a:gd name="connsiteX85" fmla="*/ 9219 w 10000"/>
              <a:gd name="connsiteY85" fmla="*/ 9001 h 9959"/>
              <a:gd name="connsiteX86" fmla="*/ 9167 w 10000"/>
              <a:gd name="connsiteY86" fmla="*/ 9001 h 9959"/>
              <a:gd name="connsiteX87" fmla="*/ 9114 w 10000"/>
              <a:gd name="connsiteY87" fmla="*/ 9001 h 9959"/>
              <a:gd name="connsiteX88" fmla="*/ 9062 w 10000"/>
              <a:gd name="connsiteY88" fmla="*/ 9042 h 9959"/>
              <a:gd name="connsiteX89" fmla="*/ 9011 w 10000"/>
              <a:gd name="connsiteY89" fmla="*/ 9083 h 9959"/>
              <a:gd name="connsiteX90" fmla="*/ 8959 w 10000"/>
              <a:gd name="connsiteY90" fmla="*/ 9083 h 9959"/>
              <a:gd name="connsiteX91" fmla="*/ 8959 w 10000"/>
              <a:gd name="connsiteY91" fmla="*/ 9125 h 9959"/>
              <a:gd name="connsiteX92" fmla="*/ 8906 w 10000"/>
              <a:gd name="connsiteY92" fmla="*/ 9125 h 9959"/>
              <a:gd name="connsiteX93" fmla="*/ 8906 w 10000"/>
              <a:gd name="connsiteY93" fmla="*/ 9166 h 9959"/>
              <a:gd name="connsiteX94" fmla="*/ 8854 w 10000"/>
              <a:gd name="connsiteY94" fmla="*/ 9166 h 9959"/>
              <a:gd name="connsiteX95" fmla="*/ 8802 w 10000"/>
              <a:gd name="connsiteY95" fmla="*/ 9166 h 9959"/>
              <a:gd name="connsiteX96" fmla="*/ 8749 w 10000"/>
              <a:gd name="connsiteY96" fmla="*/ 9166 h 9959"/>
              <a:gd name="connsiteX97" fmla="*/ 8698 w 10000"/>
              <a:gd name="connsiteY97" fmla="*/ 9166 h 9959"/>
              <a:gd name="connsiteX98" fmla="*/ 8646 w 10000"/>
              <a:gd name="connsiteY98" fmla="*/ 9166 h 9959"/>
              <a:gd name="connsiteX99" fmla="*/ 8646 w 10000"/>
              <a:gd name="connsiteY99" fmla="*/ 9125 h 9959"/>
              <a:gd name="connsiteX100" fmla="*/ 8646 w 10000"/>
              <a:gd name="connsiteY100" fmla="*/ 9083 h 9959"/>
              <a:gd name="connsiteX101" fmla="*/ 8594 w 10000"/>
              <a:gd name="connsiteY101" fmla="*/ 9042 h 9959"/>
              <a:gd name="connsiteX102" fmla="*/ 8594 w 10000"/>
              <a:gd name="connsiteY102" fmla="*/ 9001 h 9959"/>
              <a:gd name="connsiteX103" fmla="*/ 8594 w 10000"/>
              <a:gd name="connsiteY103" fmla="*/ 8959 h 9959"/>
              <a:gd name="connsiteX104" fmla="*/ 8541 w 10000"/>
              <a:gd name="connsiteY104" fmla="*/ 8959 h 9959"/>
              <a:gd name="connsiteX105" fmla="*/ 8489 w 10000"/>
              <a:gd name="connsiteY105" fmla="*/ 8959 h 9959"/>
              <a:gd name="connsiteX106" fmla="*/ 8489 w 10000"/>
              <a:gd name="connsiteY106" fmla="*/ 8916 h 9959"/>
              <a:gd name="connsiteX107" fmla="*/ 8438 w 10000"/>
              <a:gd name="connsiteY107" fmla="*/ 8916 h 9959"/>
              <a:gd name="connsiteX108" fmla="*/ 8386 w 10000"/>
              <a:gd name="connsiteY108" fmla="*/ 8959 h 9959"/>
              <a:gd name="connsiteX109" fmla="*/ 8386 w 10000"/>
              <a:gd name="connsiteY109" fmla="*/ 9001 h 9959"/>
              <a:gd name="connsiteX110" fmla="*/ 8282 w 10000"/>
              <a:gd name="connsiteY110" fmla="*/ 8959 h 9959"/>
              <a:gd name="connsiteX111" fmla="*/ 8282 w 10000"/>
              <a:gd name="connsiteY111" fmla="*/ 8916 h 9959"/>
              <a:gd name="connsiteX112" fmla="*/ 8230 w 10000"/>
              <a:gd name="connsiteY112" fmla="*/ 8916 h 9959"/>
              <a:gd name="connsiteX113" fmla="*/ 8179 w 10000"/>
              <a:gd name="connsiteY113" fmla="*/ 8916 h 9959"/>
              <a:gd name="connsiteX114" fmla="*/ 8126 w 10000"/>
              <a:gd name="connsiteY114" fmla="*/ 8916 h 9959"/>
              <a:gd name="connsiteX115" fmla="*/ 8074 w 10000"/>
              <a:gd name="connsiteY115" fmla="*/ 8916 h 9959"/>
              <a:gd name="connsiteX116" fmla="*/ 8022 w 10000"/>
              <a:gd name="connsiteY116" fmla="*/ 8916 h 9959"/>
              <a:gd name="connsiteX117" fmla="*/ 8022 w 10000"/>
              <a:gd name="connsiteY117" fmla="*/ 8959 h 9959"/>
              <a:gd name="connsiteX118" fmla="*/ 7969 w 10000"/>
              <a:gd name="connsiteY118" fmla="*/ 8959 h 9959"/>
              <a:gd name="connsiteX119" fmla="*/ 7917 w 10000"/>
              <a:gd name="connsiteY119" fmla="*/ 9001 h 9959"/>
              <a:gd name="connsiteX120" fmla="*/ 7866 w 10000"/>
              <a:gd name="connsiteY120" fmla="*/ 9001 h 9959"/>
              <a:gd name="connsiteX121" fmla="*/ 7866 w 10000"/>
              <a:gd name="connsiteY121" fmla="*/ 8959 h 9959"/>
              <a:gd name="connsiteX122" fmla="*/ 7866 w 10000"/>
              <a:gd name="connsiteY122" fmla="*/ 9001 h 9959"/>
              <a:gd name="connsiteX123" fmla="*/ 7814 w 10000"/>
              <a:gd name="connsiteY123" fmla="*/ 9001 h 9959"/>
              <a:gd name="connsiteX124" fmla="*/ 7761 w 10000"/>
              <a:gd name="connsiteY124" fmla="*/ 9042 h 9959"/>
              <a:gd name="connsiteX125" fmla="*/ 7709 w 10000"/>
              <a:gd name="connsiteY125" fmla="*/ 9001 h 9959"/>
              <a:gd name="connsiteX126" fmla="*/ 7657 w 10000"/>
              <a:gd name="connsiteY126" fmla="*/ 9001 h 9959"/>
              <a:gd name="connsiteX127" fmla="*/ 7606 w 10000"/>
              <a:gd name="connsiteY127" fmla="*/ 9001 h 9959"/>
              <a:gd name="connsiteX128" fmla="*/ 7553 w 10000"/>
              <a:gd name="connsiteY128" fmla="*/ 8959 h 9959"/>
              <a:gd name="connsiteX129" fmla="*/ 7501 w 10000"/>
              <a:gd name="connsiteY129" fmla="*/ 8959 h 9959"/>
              <a:gd name="connsiteX130" fmla="*/ 7501 w 10000"/>
              <a:gd name="connsiteY130" fmla="*/ 9001 h 9959"/>
              <a:gd name="connsiteX131" fmla="*/ 7449 w 10000"/>
              <a:gd name="connsiteY131" fmla="*/ 9001 h 9959"/>
              <a:gd name="connsiteX132" fmla="*/ 7396 w 10000"/>
              <a:gd name="connsiteY132" fmla="*/ 8959 h 9959"/>
              <a:gd name="connsiteX133" fmla="*/ 7345 w 10000"/>
              <a:gd name="connsiteY133" fmla="*/ 8959 h 9959"/>
              <a:gd name="connsiteX134" fmla="*/ 7293 w 10000"/>
              <a:gd name="connsiteY134" fmla="*/ 9042 h 9959"/>
              <a:gd name="connsiteX135" fmla="*/ 7241 w 10000"/>
              <a:gd name="connsiteY135" fmla="*/ 9042 h 9959"/>
              <a:gd name="connsiteX136" fmla="*/ 7241 w 10000"/>
              <a:gd name="connsiteY136" fmla="*/ 9001 h 9959"/>
              <a:gd name="connsiteX137" fmla="*/ 7241 w 10000"/>
              <a:gd name="connsiteY137" fmla="*/ 9042 h 9959"/>
              <a:gd name="connsiteX138" fmla="*/ 7241 w 10000"/>
              <a:gd name="connsiteY138" fmla="*/ 9083 h 9959"/>
              <a:gd name="connsiteX139" fmla="*/ 7188 w 10000"/>
              <a:gd name="connsiteY139" fmla="*/ 9083 h 9959"/>
              <a:gd name="connsiteX140" fmla="*/ 7136 w 10000"/>
              <a:gd name="connsiteY140" fmla="*/ 9083 h 9959"/>
              <a:gd name="connsiteX141" fmla="*/ 7188 w 10000"/>
              <a:gd name="connsiteY141" fmla="*/ 9125 h 9959"/>
              <a:gd name="connsiteX142" fmla="*/ 7136 w 10000"/>
              <a:gd name="connsiteY142" fmla="*/ 9166 h 9959"/>
              <a:gd name="connsiteX143" fmla="*/ 7188 w 10000"/>
              <a:gd name="connsiteY143" fmla="*/ 9209 h 9959"/>
              <a:gd name="connsiteX144" fmla="*/ 7241 w 10000"/>
              <a:gd name="connsiteY144" fmla="*/ 9209 h 9959"/>
              <a:gd name="connsiteX145" fmla="*/ 7241 w 10000"/>
              <a:gd name="connsiteY145" fmla="*/ 9251 h 9959"/>
              <a:gd name="connsiteX146" fmla="*/ 7188 w 10000"/>
              <a:gd name="connsiteY146" fmla="*/ 9251 h 9959"/>
              <a:gd name="connsiteX147" fmla="*/ 7136 w 10000"/>
              <a:gd name="connsiteY147" fmla="*/ 9251 h 9959"/>
              <a:gd name="connsiteX148" fmla="*/ 7188 w 10000"/>
              <a:gd name="connsiteY148" fmla="*/ 9292 h 9959"/>
              <a:gd name="connsiteX149" fmla="*/ 7188 w 10000"/>
              <a:gd name="connsiteY149" fmla="*/ 9333 h 9959"/>
              <a:gd name="connsiteX150" fmla="*/ 7136 w 10000"/>
              <a:gd name="connsiteY150" fmla="*/ 9333 h 9959"/>
              <a:gd name="connsiteX151" fmla="*/ 7136 w 10000"/>
              <a:gd name="connsiteY151" fmla="*/ 9375 h 9959"/>
              <a:gd name="connsiteX152" fmla="*/ 7084 w 10000"/>
              <a:gd name="connsiteY152" fmla="*/ 9417 h 9959"/>
              <a:gd name="connsiteX153" fmla="*/ 7136 w 10000"/>
              <a:gd name="connsiteY153" fmla="*/ 9459 h 9959"/>
              <a:gd name="connsiteX154" fmla="*/ 7188 w 10000"/>
              <a:gd name="connsiteY154" fmla="*/ 9459 h 9959"/>
              <a:gd name="connsiteX155" fmla="*/ 7188 w 10000"/>
              <a:gd name="connsiteY155" fmla="*/ 9500 h 9959"/>
              <a:gd name="connsiteX156" fmla="*/ 7188 w 10000"/>
              <a:gd name="connsiteY156" fmla="*/ 9542 h 9959"/>
              <a:gd name="connsiteX157" fmla="*/ 7136 w 10000"/>
              <a:gd name="connsiteY157" fmla="*/ 9542 h 9959"/>
              <a:gd name="connsiteX158" fmla="*/ 7084 w 10000"/>
              <a:gd name="connsiteY158" fmla="*/ 9583 h 9959"/>
              <a:gd name="connsiteX159" fmla="*/ 7136 w 10000"/>
              <a:gd name="connsiteY159" fmla="*/ 9624 h 9959"/>
              <a:gd name="connsiteX160" fmla="*/ 7136 w 10000"/>
              <a:gd name="connsiteY160" fmla="*/ 9667 h 9959"/>
              <a:gd name="connsiteX161" fmla="*/ 7136 w 10000"/>
              <a:gd name="connsiteY161" fmla="*/ 9709 h 9959"/>
              <a:gd name="connsiteX162" fmla="*/ 7136 w 10000"/>
              <a:gd name="connsiteY162" fmla="*/ 9750 h 9959"/>
              <a:gd name="connsiteX163" fmla="*/ 7084 w 10000"/>
              <a:gd name="connsiteY163" fmla="*/ 9750 h 9959"/>
              <a:gd name="connsiteX164" fmla="*/ 7084 w 10000"/>
              <a:gd name="connsiteY164" fmla="*/ 9792 h 9959"/>
              <a:gd name="connsiteX165" fmla="*/ 7033 w 10000"/>
              <a:gd name="connsiteY165" fmla="*/ 9792 h 9959"/>
              <a:gd name="connsiteX166" fmla="*/ 6928 w 10000"/>
              <a:gd name="connsiteY166" fmla="*/ 9792 h 9959"/>
              <a:gd name="connsiteX167" fmla="*/ 6928 w 10000"/>
              <a:gd name="connsiteY167" fmla="*/ 9833 h 9959"/>
              <a:gd name="connsiteX168" fmla="*/ 6928 w 10000"/>
              <a:gd name="connsiteY168" fmla="*/ 9874 h 9959"/>
              <a:gd name="connsiteX169" fmla="*/ 6928 w 10000"/>
              <a:gd name="connsiteY169" fmla="*/ 9917 h 9959"/>
              <a:gd name="connsiteX170" fmla="*/ 6928 w 10000"/>
              <a:gd name="connsiteY170" fmla="*/ 9874 h 9959"/>
              <a:gd name="connsiteX171" fmla="*/ 6876 w 10000"/>
              <a:gd name="connsiteY171" fmla="*/ 9874 h 9959"/>
              <a:gd name="connsiteX172" fmla="*/ 6823 w 10000"/>
              <a:gd name="connsiteY172" fmla="*/ 9874 h 9959"/>
              <a:gd name="connsiteX173" fmla="*/ 6823 w 10000"/>
              <a:gd name="connsiteY173" fmla="*/ 9917 h 9959"/>
              <a:gd name="connsiteX174" fmla="*/ 6823 w 10000"/>
              <a:gd name="connsiteY174" fmla="*/ 9959 h 9959"/>
              <a:gd name="connsiteX175" fmla="*/ 7344 w 10000"/>
              <a:gd name="connsiteY175" fmla="*/ 7354 h 9959"/>
              <a:gd name="connsiteX176" fmla="*/ 7136 w 10000"/>
              <a:gd name="connsiteY176" fmla="*/ 7015 h 9959"/>
              <a:gd name="connsiteX177" fmla="*/ 6544 w 10000"/>
              <a:gd name="connsiteY177" fmla="*/ 6906 h 9959"/>
              <a:gd name="connsiteX178" fmla="*/ 5775 w 10000"/>
              <a:gd name="connsiteY178" fmla="*/ 6871 h 9959"/>
              <a:gd name="connsiteX179" fmla="*/ 5311 w 10000"/>
              <a:gd name="connsiteY179" fmla="*/ 6764 h 9959"/>
              <a:gd name="connsiteX180" fmla="*/ 5071 w 10000"/>
              <a:gd name="connsiteY180" fmla="*/ 6657 h 9959"/>
              <a:gd name="connsiteX181" fmla="*/ 4912 w 10000"/>
              <a:gd name="connsiteY181" fmla="*/ 6746 h 9959"/>
              <a:gd name="connsiteX182" fmla="*/ 4416 w 10000"/>
              <a:gd name="connsiteY182" fmla="*/ 6585 h 9959"/>
              <a:gd name="connsiteX183" fmla="*/ 3584 w 10000"/>
              <a:gd name="connsiteY183" fmla="*/ 6299 h 9959"/>
              <a:gd name="connsiteX184" fmla="*/ 3104 w 10000"/>
              <a:gd name="connsiteY184" fmla="*/ 6244 h 9959"/>
              <a:gd name="connsiteX185" fmla="*/ 3200 w 10000"/>
              <a:gd name="connsiteY185" fmla="*/ 6048 h 9959"/>
              <a:gd name="connsiteX186" fmla="*/ 3344 w 10000"/>
              <a:gd name="connsiteY186" fmla="*/ 5994 h 9959"/>
              <a:gd name="connsiteX187" fmla="*/ 3728 w 10000"/>
              <a:gd name="connsiteY187" fmla="*/ 5709 h 9959"/>
              <a:gd name="connsiteX188" fmla="*/ 3968 w 10000"/>
              <a:gd name="connsiteY188" fmla="*/ 5441 h 9959"/>
              <a:gd name="connsiteX189" fmla="*/ 4224 w 10000"/>
              <a:gd name="connsiteY189" fmla="*/ 5155 h 9959"/>
              <a:gd name="connsiteX190" fmla="*/ 4368 w 10000"/>
              <a:gd name="connsiteY190" fmla="*/ 4887 h 9959"/>
              <a:gd name="connsiteX191" fmla="*/ 4352 w 10000"/>
              <a:gd name="connsiteY191" fmla="*/ 4583 h 9959"/>
              <a:gd name="connsiteX192" fmla="*/ 4336 w 10000"/>
              <a:gd name="connsiteY192" fmla="*/ 4314 h 9959"/>
              <a:gd name="connsiteX193" fmla="*/ 4176 w 10000"/>
              <a:gd name="connsiteY193" fmla="*/ 4153 h 9959"/>
              <a:gd name="connsiteX194" fmla="*/ 4016 w 10000"/>
              <a:gd name="connsiteY194" fmla="*/ 4172 h 9959"/>
              <a:gd name="connsiteX195" fmla="*/ 3856 w 10000"/>
              <a:gd name="connsiteY195" fmla="*/ 4458 h 9959"/>
              <a:gd name="connsiteX196" fmla="*/ 3808 w 10000"/>
              <a:gd name="connsiteY196" fmla="*/ 4975 h 9959"/>
              <a:gd name="connsiteX197" fmla="*/ 3536 w 10000"/>
              <a:gd name="connsiteY197" fmla="*/ 5316 h 9959"/>
              <a:gd name="connsiteX198" fmla="*/ 2992 w 10000"/>
              <a:gd name="connsiteY198" fmla="*/ 5620 h 9959"/>
              <a:gd name="connsiteX199" fmla="*/ 2415 w 10000"/>
              <a:gd name="connsiteY199" fmla="*/ 5852 h 9959"/>
              <a:gd name="connsiteX200" fmla="*/ 1951 w 10000"/>
              <a:gd name="connsiteY200" fmla="*/ 6173 h 9959"/>
              <a:gd name="connsiteX201" fmla="*/ 0 w 10000"/>
              <a:gd name="connsiteY201" fmla="*/ 6102 h 9959"/>
              <a:gd name="connsiteX202" fmla="*/ 3 w 10000"/>
              <a:gd name="connsiteY202" fmla="*/ 5875 h 9959"/>
              <a:gd name="connsiteX203" fmla="*/ 159 w 10000"/>
              <a:gd name="connsiteY203" fmla="*/ 5958 h 9959"/>
              <a:gd name="connsiteX204" fmla="*/ 368 w 10000"/>
              <a:gd name="connsiteY204" fmla="*/ 5875 h 9959"/>
              <a:gd name="connsiteX205" fmla="*/ 1462 w 10000"/>
              <a:gd name="connsiteY205" fmla="*/ 5875 h 9959"/>
              <a:gd name="connsiteX206" fmla="*/ 1617 w 10000"/>
              <a:gd name="connsiteY206" fmla="*/ 5834 h 9959"/>
              <a:gd name="connsiteX207" fmla="*/ 1669 w 10000"/>
              <a:gd name="connsiteY207" fmla="*/ 5834 h 9959"/>
              <a:gd name="connsiteX208" fmla="*/ 2189 w 10000"/>
              <a:gd name="connsiteY208" fmla="*/ 5292 h 9959"/>
              <a:gd name="connsiteX209" fmla="*/ 2294 w 10000"/>
              <a:gd name="connsiteY209" fmla="*/ 5208 h 9959"/>
              <a:gd name="connsiteX210" fmla="*/ 2762 w 10000"/>
              <a:gd name="connsiteY210" fmla="*/ 4792 h 9959"/>
              <a:gd name="connsiteX211" fmla="*/ 3023 w 10000"/>
              <a:gd name="connsiteY211" fmla="*/ 4542 h 9959"/>
              <a:gd name="connsiteX212" fmla="*/ 3179 w 10000"/>
              <a:gd name="connsiteY212" fmla="*/ 4417 h 9959"/>
              <a:gd name="connsiteX213" fmla="*/ 3596 w 10000"/>
              <a:gd name="connsiteY213" fmla="*/ 3791 h 9959"/>
              <a:gd name="connsiteX214" fmla="*/ 4116 w 10000"/>
              <a:gd name="connsiteY214" fmla="*/ 3541 h 9959"/>
              <a:gd name="connsiteX215" fmla="*/ 5001 w 10000"/>
              <a:gd name="connsiteY215" fmla="*/ 2834 h 9959"/>
              <a:gd name="connsiteX216" fmla="*/ 4845 w 10000"/>
              <a:gd name="connsiteY216" fmla="*/ 2584 h 9959"/>
              <a:gd name="connsiteX217" fmla="*/ 4794 w 10000"/>
              <a:gd name="connsiteY217" fmla="*/ 2417 h 9959"/>
              <a:gd name="connsiteX218" fmla="*/ 4794 w 10000"/>
              <a:gd name="connsiteY218" fmla="*/ 1250 h 9959"/>
              <a:gd name="connsiteX219" fmla="*/ 4116 w 10000"/>
              <a:gd name="connsiteY219" fmla="*/ 750 h 9959"/>
              <a:gd name="connsiteX220" fmla="*/ 4950 w 10000"/>
              <a:gd name="connsiteY220" fmla="*/ 750 h 9959"/>
              <a:gd name="connsiteX221" fmla="*/ 5782 w 10000"/>
              <a:gd name="connsiteY221" fmla="*/ 750 h 9959"/>
              <a:gd name="connsiteX222" fmla="*/ 5782 w 10000"/>
              <a:gd name="connsiteY222" fmla="*/ 708 h 9959"/>
              <a:gd name="connsiteX223" fmla="*/ 5782 w 10000"/>
              <a:gd name="connsiteY223" fmla="*/ 667 h 9959"/>
              <a:gd name="connsiteX224" fmla="*/ 5782 w 10000"/>
              <a:gd name="connsiteY224" fmla="*/ 626 h 9959"/>
              <a:gd name="connsiteX225" fmla="*/ 5782 w 10000"/>
              <a:gd name="connsiteY225" fmla="*/ 583 h 9959"/>
              <a:gd name="connsiteX226" fmla="*/ 5834 w 10000"/>
              <a:gd name="connsiteY226" fmla="*/ 541 h 9959"/>
              <a:gd name="connsiteX227" fmla="*/ 5834 w 10000"/>
              <a:gd name="connsiteY227" fmla="*/ 500 h 9959"/>
              <a:gd name="connsiteX228" fmla="*/ 5834 w 10000"/>
              <a:gd name="connsiteY228" fmla="*/ 459 h 9959"/>
              <a:gd name="connsiteX229" fmla="*/ 5834 w 10000"/>
              <a:gd name="connsiteY229" fmla="*/ 417 h 9959"/>
              <a:gd name="connsiteX230" fmla="*/ 5834 w 10000"/>
              <a:gd name="connsiteY230" fmla="*/ 376 h 9959"/>
              <a:gd name="connsiteX231" fmla="*/ 5834 w 10000"/>
              <a:gd name="connsiteY231" fmla="*/ 333 h 9959"/>
              <a:gd name="connsiteX232" fmla="*/ 5782 w 10000"/>
              <a:gd name="connsiteY232" fmla="*/ 333 h 9959"/>
              <a:gd name="connsiteX233" fmla="*/ 5782 w 10000"/>
              <a:gd name="connsiteY233" fmla="*/ 291 h 9959"/>
              <a:gd name="connsiteX234" fmla="*/ 5782 w 10000"/>
              <a:gd name="connsiteY234" fmla="*/ 250 h 9959"/>
              <a:gd name="connsiteX235" fmla="*/ 5782 w 10000"/>
              <a:gd name="connsiteY235" fmla="*/ 209 h 9959"/>
              <a:gd name="connsiteX236" fmla="*/ 5782 w 10000"/>
              <a:gd name="connsiteY236" fmla="*/ 167 h 9959"/>
              <a:gd name="connsiteX237" fmla="*/ 5782 w 10000"/>
              <a:gd name="connsiteY237" fmla="*/ 126 h 9959"/>
              <a:gd name="connsiteX238" fmla="*/ 5782 w 10000"/>
              <a:gd name="connsiteY238" fmla="*/ 83 h 9959"/>
              <a:gd name="connsiteX239" fmla="*/ 5782 w 10000"/>
              <a:gd name="connsiteY239" fmla="*/ 41 h 9959"/>
              <a:gd name="connsiteX240" fmla="*/ 5782 w 10000"/>
              <a:gd name="connsiteY240" fmla="*/ 0 h 9959"/>
              <a:gd name="connsiteX0" fmla="*/ 5782 w 10000"/>
              <a:gd name="connsiteY0" fmla="*/ 0 h 9958"/>
              <a:gd name="connsiteX1" fmla="*/ 7345 w 10000"/>
              <a:gd name="connsiteY1" fmla="*/ 41 h 9958"/>
              <a:gd name="connsiteX2" fmla="*/ 7501 w 10000"/>
              <a:gd name="connsiteY2" fmla="*/ 41 h 9958"/>
              <a:gd name="connsiteX3" fmla="*/ 7345 w 10000"/>
              <a:gd name="connsiteY3" fmla="*/ 168 h 9958"/>
              <a:gd name="connsiteX4" fmla="*/ 7293 w 10000"/>
              <a:gd name="connsiteY4" fmla="*/ 543 h 9958"/>
              <a:gd name="connsiteX5" fmla="*/ 7188 w 10000"/>
              <a:gd name="connsiteY5" fmla="*/ 1131 h 9958"/>
              <a:gd name="connsiteX6" fmla="*/ 7136 w 10000"/>
              <a:gd name="connsiteY6" fmla="*/ 1172 h 9958"/>
              <a:gd name="connsiteX7" fmla="*/ 6980 w 10000"/>
              <a:gd name="connsiteY7" fmla="*/ 1506 h 9958"/>
              <a:gd name="connsiteX8" fmla="*/ 7396 w 10000"/>
              <a:gd name="connsiteY8" fmla="*/ 3055 h 9958"/>
              <a:gd name="connsiteX9" fmla="*/ 7501 w 10000"/>
              <a:gd name="connsiteY9" fmla="*/ 3348 h 9958"/>
              <a:gd name="connsiteX10" fmla="*/ 7345 w 10000"/>
              <a:gd name="connsiteY10" fmla="*/ 3599 h 9958"/>
              <a:gd name="connsiteX11" fmla="*/ 8022 w 10000"/>
              <a:gd name="connsiteY11" fmla="*/ 3765 h 9958"/>
              <a:gd name="connsiteX12" fmla="*/ 8489 w 10000"/>
              <a:gd name="connsiteY12" fmla="*/ 4226 h 9958"/>
              <a:gd name="connsiteX13" fmla="*/ 8594 w 10000"/>
              <a:gd name="connsiteY13" fmla="*/ 4310 h 9958"/>
              <a:gd name="connsiteX14" fmla="*/ 8906 w 10000"/>
              <a:gd name="connsiteY14" fmla="*/ 4519 h 9958"/>
              <a:gd name="connsiteX15" fmla="*/ 9114 w 10000"/>
              <a:gd name="connsiteY15" fmla="*/ 4770 h 9958"/>
              <a:gd name="connsiteX16" fmla="*/ 9219 w 10000"/>
              <a:gd name="connsiteY16" fmla="*/ 4895 h 9958"/>
              <a:gd name="connsiteX17" fmla="*/ 9427 w 10000"/>
              <a:gd name="connsiteY17" fmla="*/ 4895 h 9958"/>
              <a:gd name="connsiteX18" fmla="*/ 9427 w 10000"/>
              <a:gd name="connsiteY18" fmla="*/ 4937 h 9958"/>
              <a:gd name="connsiteX19" fmla="*/ 9479 w 10000"/>
              <a:gd name="connsiteY19" fmla="*/ 5021 h 9958"/>
              <a:gd name="connsiteX20" fmla="*/ 9479 w 10000"/>
              <a:gd name="connsiteY20" fmla="*/ 5063 h 9958"/>
              <a:gd name="connsiteX21" fmla="*/ 9532 w 10000"/>
              <a:gd name="connsiteY21" fmla="*/ 5229 h 9958"/>
              <a:gd name="connsiteX22" fmla="*/ 9532 w 10000"/>
              <a:gd name="connsiteY22" fmla="*/ 5272 h 9958"/>
              <a:gd name="connsiteX23" fmla="*/ 9532 w 10000"/>
              <a:gd name="connsiteY23" fmla="*/ 5398 h 9958"/>
              <a:gd name="connsiteX24" fmla="*/ 9532 w 10000"/>
              <a:gd name="connsiteY24" fmla="*/ 5480 h 9958"/>
              <a:gd name="connsiteX25" fmla="*/ 9479 w 10000"/>
              <a:gd name="connsiteY25" fmla="*/ 5565 h 9958"/>
              <a:gd name="connsiteX26" fmla="*/ 9427 w 10000"/>
              <a:gd name="connsiteY26" fmla="*/ 5816 h 9958"/>
              <a:gd name="connsiteX27" fmla="*/ 9375 w 10000"/>
              <a:gd name="connsiteY27" fmla="*/ 5858 h 9958"/>
              <a:gd name="connsiteX28" fmla="*/ 9322 w 10000"/>
              <a:gd name="connsiteY28" fmla="*/ 5899 h 9958"/>
              <a:gd name="connsiteX29" fmla="*/ 9271 w 10000"/>
              <a:gd name="connsiteY29" fmla="*/ 6067 h 9958"/>
              <a:gd name="connsiteX30" fmla="*/ 9219 w 10000"/>
              <a:gd name="connsiteY30" fmla="*/ 6150 h 9958"/>
              <a:gd name="connsiteX31" fmla="*/ 9219 w 10000"/>
              <a:gd name="connsiteY31" fmla="*/ 6234 h 9958"/>
              <a:gd name="connsiteX32" fmla="*/ 9219 w 10000"/>
              <a:gd name="connsiteY32" fmla="*/ 6276 h 9958"/>
              <a:gd name="connsiteX33" fmla="*/ 9219 w 10000"/>
              <a:gd name="connsiteY33" fmla="*/ 6401 h 9958"/>
              <a:gd name="connsiteX34" fmla="*/ 9271 w 10000"/>
              <a:gd name="connsiteY34" fmla="*/ 6527 h 9958"/>
              <a:gd name="connsiteX35" fmla="*/ 9895 w 10000"/>
              <a:gd name="connsiteY35" fmla="*/ 6527 h 9958"/>
              <a:gd name="connsiteX36" fmla="*/ 9895 w 10000"/>
              <a:gd name="connsiteY36" fmla="*/ 6611 h 9958"/>
              <a:gd name="connsiteX37" fmla="*/ 9948 w 10000"/>
              <a:gd name="connsiteY37" fmla="*/ 6903 h 9958"/>
              <a:gd name="connsiteX38" fmla="*/ 9948 w 10000"/>
              <a:gd name="connsiteY38" fmla="*/ 6945 h 9958"/>
              <a:gd name="connsiteX39" fmla="*/ 9948 w 10000"/>
              <a:gd name="connsiteY39" fmla="*/ 7071 h 9958"/>
              <a:gd name="connsiteX40" fmla="*/ 9948 w 10000"/>
              <a:gd name="connsiteY40" fmla="*/ 7113 h 9958"/>
              <a:gd name="connsiteX41" fmla="*/ 9948 w 10000"/>
              <a:gd name="connsiteY41" fmla="*/ 7196 h 9958"/>
              <a:gd name="connsiteX42" fmla="*/ 9948 w 10000"/>
              <a:gd name="connsiteY42" fmla="*/ 7238 h 9958"/>
              <a:gd name="connsiteX43" fmla="*/ 9948 w 10000"/>
              <a:gd name="connsiteY43" fmla="*/ 7280 h 9958"/>
              <a:gd name="connsiteX44" fmla="*/ 9948 w 10000"/>
              <a:gd name="connsiteY44" fmla="*/ 7322 h 9958"/>
              <a:gd name="connsiteX45" fmla="*/ 10000 w 10000"/>
              <a:gd name="connsiteY45" fmla="*/ 7405 h 9958"/>
              <a:gd name="connsiteX46" fmla="*/ 10000 w 10000"/>
              <a:gd name="connsiteY46" fmla="*/ 7532 h 9958"/>
              <a:gd name="connsiteX47" fmla="*/ 10000 w 10000"/>
              <a:gd name="connsiteY47" fmla="*/ 7573 h 9958"/>
              <a:gd name="connsiteX48" fmla="*/ 10000 w 10000"/>
              <a:gd name="connsiteY48" fmla="*/ 7615 h 9958"/>
              <a:gd name="connsiteX49" fmla="*/ 10000 w 10000"/>
              <a:gd name="connsiteY49" fmla="*/ 7656 h 9958"/>
              <a:gd name="connsiteX50" fmla="*/ 10000 w 10000"/>
              <a:gd name="connsiteY50" fmla="*/ 7740 h 9958"/>
              <a:gd name="connsiteX51" fmla="*/ 10000 w 10000"/>
              <a:gd name="connsiteY51" fmla="*/ 7783 h 9958"/>
              <a:gd name="connsiteX52" fmla="*/ 10000 w 10000"/>
              <a:gd name="connsiteY52" fmla="*/ 7824 h 9958"/>
              <a:gd name="connsiteX53" fmla="*/ 10000 w 10000"/>
              <a:gd name="connsiteY53" fmla="*/ 7907 h 9958"/>
              <a:gd name="connsiteX54" fmla="*/ 10000 w 10000"/>
              <a:gd name="connsiteY54" fmla="*/ 8117 h 9958"/>
              <a:gd name="connsiteX55" fmla="*/ 10000 w 10000"/>
              <a:gd name="connsiteY55" fmla="*/ 8158 h 9958"/>
              <a:gd name="connsiteX56" fmla="*/ 10000 w 10000"/>
              <a:gd name="connsiteY56" fmla="*/ 8242 h 9958"/>
              <a:gd name="connsiteX57" fmla="*/ 10000 w 10000"/>
              <a:gd name="connsiteY57" fmla="*/ 8285 h 9958"/>
              <a:gd name="connsiteX58" fmla="*/ 10000 w 10000"/>
              <a:gd name="connsiteY58" fmla="*/ 8326 h 9958"/>
              <a:gd name="connsiteX59" fmla="*/ 10000 w 10000"/>
              <a:gd name="connsiteY59" fmla="*/ 8367 h 9958"/>
              <a:gd name="connsiteX60" fmla="*/ 10000 w 10000"/>
              <a:gd name="connsiteY60" fmla="*/ 8409 h 9958"/>
              <a:gd name="connsiteX61" fmla="*/ 10000 w 10000"/>
              <a:gd name="connsiteY61" fmla="*/ 8494 h 9958"/>
              <a:gd name="connsiteX62" fmla="*/ 10000 w 10000"/>
              <a:gd name="connsiteY62" fmla="*/ 8577 h 9958"/>
              <a:gd name="connsiteX63" fmla="*/ 10000 w 10000"/>
              <a:gd name="connsiteY63" fmla="*/ 8618 h 9958"/>
              <a:gd name="connsiteX64" fmla="*/ 10000 w 10000"/>
              <a:gd name="connsiteY64" fmla="*/ 8661 h 9958"/>
              <a:gd name="connsiteX65" fmla="*/ 9948 w 10000"/>
              <a:gd name="connsiteY65" fmla="*/ 8661 h 9958"/>
              <a:gd name="connsiteX66" fmla="*/ 9948 w 10000"/>
              <a:gd name="connsiteY66" fmla="*/ 8702 h 9958"/>
              <a:gd name="connsiteX67" fmla="*/ 9895 w 10000"/>
              <a:gd name="connsiteY67" fmla="*/ 8745 h 9958"/>
              <a:gd name="connsiteX68" fmla="*/ 9844 w 10000"/>
              <a:gd name="connsiteY68" fmla="*/ 8745 h 9958"/>
              <a:gd name="connsiteX69" fmla="*/ 9844 w 10000"/>
              <a:gd name="connsiteY69" fmla="*/ 8787 h 9958"/>
              <a:gd name="connsiteX70" fmla="*/ 9792 w 10000"/>
              <a:gd name="connsiteY70" fmla="*/ 8787 h 9958"/>
              <a:gd name="connsiteX71" fmla="*/ 9740 w 10000"/>
              <a:gd name="connsiteY71" fmla="*/ 8828 h 9958"/>
              <a:gd name="connsiteX72" fmla="*/ 9687 w 10000"/>
              <a:gd name="connsiteY72" fmla="*/ 8869 h 9958"/>
              <a:gd name="connsiteX73" fmla="*/ 9635 w 10000"/>
              <a:gd name="connsiteY73" fmla="*/ 8869 h 9958"/>
              <a:gd name="connsiteX74" fmla="*/ 9635 w 10000"/>
              <a:gd name="connsiteY74" fmla="*/ 8912 h 9958"/>
              <a:gd name="connsiteX75" fmla="*/ 9583 w 10000"/>
              <a:gd name="connsiteY75" fmla="*/ 8912 h 9958"/>
              <a:gd name="connsiteX76" fmla="*/ 9532 w 10000"/>
              <a:gd name="connsiteY76" fmla="*/ 8912 h 9958"/>
              <a:gd name="connsiteX77" fmla="*/ 9479 w 10000"/>
              <a:gd name="connsiteY77" fmla="*/ 8912 h 9958"/>
              <a:gd name="connsiteX78" fmla="*/ 9427 w 10000"/>
              <a:gd name="connsiteY78" fmla="*/ 8912 h 9958"/>
              <a:gd name="connsiteX79" fmla="*/ 9375 w 10000"/>
              <a:gd name="connsiteY79" fmla="*/ 8912 h 9958"/>
              <a:gd name="connsiteX80" fmla="*/ 9322 w 10000"/>
              <a:gd name="connsiteY80" fmla="*/ 8912 h 9958"/>
              <a:gd name="connsiteX81" fmla="*/ 9271 w 10000"/>
              <a:gd name="connsiteY81" fmla="*/ 8912 h 9958"/>
              <a:gd name="connsiteX82" fmla="*/ 9271 w 10000"/>
              <a:gd name="connsiteY82" fmla="*/ 8953 h 9958"/>
              <a:gd name="connsiteX83" fmla="*/ 9219 w 10000"/>
              <a:gd name="connsiteY83" fmla="*/ 8996 h 9958"/>
              <a:gd name="connsiteX84" fmla="*/ 9167 w 10000"/>
              <a:gd name="connsiteY84" fmla="*/ 9038 h 9958"/>
              <a:gd name="connsiteX85" fmla="*/ 9219 w 10000"/>
              <a:gd name="connsiteY85" fmla="*/ 9038 h 9958"/>
              <a:gd name="connsiteX86" fmla="*/ 9167 w 10000"/>
              <a:gd name="connsiteY86" fmla="*/ 9038 h 9958"/>
              <a:gd name="connsiteX87" fmla="*/ 9114 w 10000"/>
              <a:gd name="connsiteY87" fmla="*/ 9038 h 9958"/>
              <a:gd name="connsiteX88" fmla="*/ 9062 w 10000"/>
              <a:gd name="connsiteY88" fmla="*/ 9079 h 9958"/>
              <a:gd name="connsiteX89" fmla="*/ 9011 w 10000"/>
              <a:gd name="connsiteY89" fmla="*/ 9120 h 9958"/>
              <a:gd name="connsiteX90" fmla="*/ 8959 w 10000"/>
              <a:gd name="connsiteY90" fmla="*/ 9120 h 9958"/>
              <a:gd name="connsiteX91" fmla="*/ 8959 w 10000"/>
              <a:gd name="connsiteY91" fmla="*/ 9163 h 9958"/>
              <a:gd name="connsiteX92" fmla="*/ 8906 w 10000"/>
              <a:gd name="connsiteY92" fmla="*/ 9163 h 9958"/>
              <a:gd name="connsiteX93" fmla="*/ 8906 w 10000"/>
              <a:gd name="connsiteY93" fmla="*/ 9204 h 9958"/>
              <a:gd name="connsiteX94" fmla="*/ 8854 w 10000"/>
              <a:gd name="connsiteY94" fmla="*/ 9204 h 9958"/>
              <a:gd name="connsiteX95" fmla="*/ 8802 w 10000"/>
              <a:gd name="connsiteY95" fmla="*/ 9204 h 9958"/>
              <a:gd name="connsiteX96" fmla="*/ 8749 w 10000"/>
              <a:gd name="connsiteY96" fmla="*/ 9204 h 9958"/>
              <a:gd name="connsiteX97" fmla="*/ 8698 w 10000"/>
              <a:gd name="connsiteY97" fmla="*/ 9204 h 9958"/>
              <a:gd name="connsiteX98" fmla="*/ 8646 w 10000"/>
              <a:gd name="connsiteY98" fmla="*/ 9204 h 9958"/>
              <a:gd name="connsiteX99" fmla="*/ 8646 w 10000"/>
              <a:gd name="connsiteY99" fmla="*/ 9163 h 9958"/>
              <a:gd name="connsiteX100" fmla="*/ 8646 w 10000"/>
              <a:gd name="connsiteY100" fmla="*/ 9120 h 9958"/>
              <a:gd name="connsiteX101" fmla="*/ 8594 w 10000"/>
              <a:gd name="connsiteY101" fmla="*/ 9079 h 9958"/>
              <a:gd name="connsiteX102" fmla="*/ 8594 w 10000"/>
              <a:gd name="connsiteY102" fmla="*/ 9038 h 9958"/>
              <a:gd name="connsiteX103" fmla="*/ 8594 w 10000"/>
              <a:gd name="connsiteY103" fmla="*/ 8996 h 9958"/>
              <a:gd name="connsiteX104" fmla="*/ 8541 w 10000"/>
              <a:gd name="connsiteY104" fmla="*/ 8996 h 9958"/>
              <a:gd name="connsiteX105" fmla="*/ 8489 w 10000"/>
              <a:gd name="connsiteY105" fmla="*/ 8996 h 9958"/>
              <a:gd name="connsiteX106" fmla="*/ 8489 w 10000"/>
              <a:gd name="connsiteY106" fmla="*/ 8953 h 9958"/>
              <a:gd name="connsiteX107" fmla="*/ 8438 w 10000"/>
              <a:gd name="connsiteY107" fmla="*/ 8953 h 9958"/>
              <a:gd name="connsiteX108" fmla="*/ 8386 w 10000"/>
              <a:gd name="connsiteY108" fmla="*/ 8996 h 9958"/>
              <a:gd name="connsiteX109" fmla="*/ 8386 w 10000"/>
              <a:gd name="connsiteY109" fmla="*/ 9038 h 9958"/>
              <a:gd name="connsiteX110" fmla="*/ 8282 w 10000"/>
              <a:gd name="connsiteY110" fmla="*/ 8996 h 9958"/>
              <a:gd name="connsiteX111" fmla="*/ 8282 w 10000"/>
              <a:gd name="connsiteY111" fmla="*/ 8953 h 9958"/>
              <a:gd name="connsiteX112" fmla="*/ 8230 w 10000"/>
              <a:gd name="connsiteY112" fmla="*/ 8953 h 9958"/>
              <a:gd name="connsiteX113" fmla="*/ 8179 w 10000"/>
              <a:gd name="connsiteY113" fmla="*/ 8953 h 9958"/>
              <a:gd name="connsiteX114" fmla="*/ 8126 w 10000"/>
              <a:gd name="connsiteY114" fmla="*/ 8953 h 9958"/>
              <a:gd name="connsiteX115" fmla="*/ 8074 w 10000"/>
              <a:gd name="connsiteY115" fmla="*/ 8953 h 9958"/>
              <a:gd name="connsiteX116" fmla="*/ 8022 w 10000"/>
              <a:gd name="connsiteY116" fmla="*/ 8953 h 9958"/>
              <a:gd name="connsiteX117" fmla="*/ 8022 w 10000"/>
              <a:gd name="connsiteY117" fmla="*/ 8996 h 9958"/>
              <a:gd name="connsiteX118" fmla="*/ 7969 w 10000"/>
              <a:gd name="connsiteY118" fmla="*/ 8996 h 9958"/>
              <a:gd name="connsiteX119" fmla="*/ 7917 w 10000"/>
              <a:gd name="connsiteY119" fmla="*/ 9038 h 9958"/>
              <a:gd name="connsiteX120" fmla="*/ 7866 w 10000"/>
              <a:gd name="connsiteY120" fmla="*/ 9038 h 9958"/>
              <a:gd name="connsiteX121" fmla="*/ 7866 w 10000"/>
              <a:gd name="connsiteY121" fmla="*/ 8996 h 9958"/>
              <a:gd name="connsiteX122" fmla="*/ 7866 w 10000"/>
              <a:gd name="connsiteY122" fmla="*/ 9038 h 9958"/>
              <a:gd name="connsiteX123" fmla="*/ 7814 w 10000"/>
              <a:gd name="connsiteY123" fmla="*/ 9038 h 9958"/>
              <a:gd name="connsiteX124" fmla="*/ 7761 w 10000"/>
              <a:gd name="connsiteY124" fmla="*/ 9079 h 9958"/>
              <a:gd name="connsiteX125" fmla="*/ 7709 w 10000"/>
              <a:gd name="connsiteY125" fmla="*/ 9038 h 9958"/>
              <a:gd name="connsiteX126" fmla="*/ 7657 w 10000"/>
              <a:gd name="connsiteY126" fmla="*/ 9038 h 9958"/>
              <a:gd name="connsiteX127" fmla="*/ 7606 w 10000"/>
              <a:gd name="connsiteY127" fmla="*/ 9038 h 9958"/>
              <a:gd name="connsiteX128" fmla="*/ 7553 w 10000"/>
              <a:gd name="connsiteY128" fmla="*/ 8996 h 9958"/>
              <a:gd name="connsiteX129" fmla="*/ 7501 w 10000"/>
              <a:gd name="connsiteY129" fmla="*/ 8996 h 9958"/>
              <a:gd name="connsiteX130" fmla="*/ 7501 w 10000"/>
              <a:gd name="connsiteY130" fmla="*/ 9038 h 9958"/>
              <a:gd name="connsiteX131" fmla="*/ 7449 w 10000"/>
              <a:gd name="connsiteY131" fmla="*/ 9038 h 9958"/>
              <a:gd name="connsiteX132" fmla="*/ 7396 w 10000"/>
              <a:gd name="connsiteY132" fmla="*/ 8996 h 9958"/>
              <a:gd name="connsiteX133" fmla="*/ 7345 w 10000"/>
              <a:gd name="connsiteY133" fmla="*/ 8996 h 9958"/>
              <a:gd name="connsiteX134" fmla="*/ 7293 w 10000"/>
              <a:gd name="connsiteY134" fmla="*/ 9079 h 9958"/>
              <a:gd name="connsiteX135" fmla="*/ 7241 w 10000"/>
              <a:gd name="connsiteY135" fmla="*/ 9079 h 9958"/>
              <a:gd name="connsiteX136" fmla="*/ 7241 w 10000"/>
              <a:gd name="connsiteY136" fmla="*/ 9038 h 9958"/>
              <a:gd name="connsiteX137" fmla="*/ 7241 w 10000"/>
              <a:gd name="connsiteY137" fmla="*/ 9079 h 9958"/>
              <a:gd name="connsiteX138" fmla="*/ 7241 w 10000"/>
              <a:gd name="connsiteY138" fmla="*/ 9120 h 9958"/>
              <a:gd name="connsiteX139" fmla="*/ 7188 w 10000"/>
              <a:gd name="connsiteY139" fmla="*/ 9120 h 9958"/>
              <a:gd name="connsiteX140" fmla="*/ 7136 w 10000"/>
              <a:gd name="connsiteY140" fmla="*/ 9120 h 9958"/>
              <a:gd name="connsiteX141" fmla="*/ 7188 w 10000"/>
              <a:gd name="connsiteY141" fmla="*/ 9163 h 9958"/>
              <a:gd name="connsiteX142" fmla="*/ 7136 w 10000"/>
              <a:gd name="connsiteY142" fmla="*/ 9204 h 9958"/>
              <a:gd name="connsiteX143" fmla="*/ 7188 w 10000"/>
              <a:gd name="connsiteY143" fmla="*/ 9247 h 9958"/>
              <a:gd name="connsiteX144" fmla="*/ 7241 w 10000"/>
              <a:gd name="connsiteY144" fmla="*/ 9247 h 9958"/>
              <a:gd name="connsiteX145" fmla="*/ 7241 w 10000"/>
              <a:gd name="connsiteY145" fmla="*/ 9289 h 9958"/>
              <a:gd name="connsiteX146" fmla="*/ 7188 w 10000"/>
              <a:gd name="connsiteY146" fmla="*/ 9289 h 9958"/>
              <a:gd name="connsiteX147" fmla="*/ 7136 w 10000"/>
              <a:gd name="connsiteY147" fmla="*/ 9289 h 9958"/>
              <a:gd name="connsiteX148" fmla="*/ 7188 w 10000"/>
              <a:gd name="connsiteY148" fmla="*/ 9330 h 9958"/>
              <a:gd name="connsiteX149" fmla="*/ 7188 w 10000"/>
              <a:gd name="connsiteY149" fmla="*/ 9371 h 9958"/>
              <a:gd name="connsiteX150" fmla="*/ 7136 w 10000"/>
              <a:gd name="connsiteY150" fmla="*/ 9371 h 9958"/>
              <a:gd name="connsiteX151" fmla="*/ 7136 w 10000"/>
              <a:gd name="connsiteY151" fmla="*/ 9414 h 9958"/>
              <a:gd name="connsiteX152" fmla="*/ 7084 w 10000"/>
              <a:gd name="connsiteY152" fmla="*/ 9456 h 9958"/>
              <a:gd name="connsiteX153" fmla="*/ 7136 w 10000"/>
              <a:gd name="connsiteY153" fmla="*/ 9498 h 9958"/>
              <a:gd name="connsiteX154" fmla="*/ 7188 w 10000"/>
              <a:gd name="connsiteY154" fmla="*/ 9498 h 9958"/>
              <a:gd name="connsiteX155" fmla="*/ 7188 w 10000"/>
              <a:gd name="connsiteY155" fmla="*/ 9539 h 9958"/>
              <a:gd name="connsiteX156" fmla="*/ 7188 w 10000"/>
              <a:gd name="connsiteY156" fmla="*/ 9581 h 9958"/>
              <a:gd name="connsiteX157" fmla="*/ 7136 w 10000"/>
              <a:gd name="connsiteY157" fmla="*/ 9581 h 9958"/>
              <a:gd name="connsiteX158" fmla="*/ 7084 w 10000"/>
              <a:gd name="connsiteY158" fmla="*/ 9622 h 9958"/>
              <a:gd name="connsiteX159" fmla="*/ 7136 w 10000"/>
              <a:gd name="connsiteY159" fmla="*/ 9664 h 9958"/>
              <a:gd name="connsiteX160" fmla="*/ 7136 w 10000"/>
              <a:gd name="connsiteY160" fmla="*/ 9707 h 9958"/>
              <a:gd name="connsiteX161" fmla="*/ 7136 w 10000"/>
              <a:gd name="connsiteY161" fmla="*/ 9749 h 9958"/>
              <a:gd name="connsiteX162" fmla="*/ 7136 w 10000"/>
              <a:gd name="connsiteY162" fmla="*/ 9790 h 9958"/>
              <a:gd name="connsiteX163" fmla="*/ 7084 w 10000"/>
              <a:gd name="connsiteY163" fmla="*/ 9790 h 9958"/>
              <a:gd name="connsiteX164" fmla="*/ 7084 w 10000"/>
              <a:gd name="connsiteY164" fmla="*/ 9832 h 9958"/>
              <a:gd name="connsiteX165" fmla="*/ 7033 w 10000"/>
              <a:gd name="connsiteY165" fmla="*/ 9832 h 9958"/>
              <a:gd name="connsiteX166" fmla="*/ 6928 w 10000"/>
              <a:gd name="connsiteY166" fmla="*/ 9832 h 9958"/>
              <a:gd name="connsiteX167" fmla="*/ 6928 w 10000"/>
              <a:gd name="connsiteY167" fmla="*/ 9873 h 9958"/>
              <a:gd name="connsiteX168" fmla="*/ 6928 w 10000"/>
              <a:gd name="connsiteY168" fmla="*/ 9915 h 9958"/>
              <a:gd name="connsiteX169" fmla="*/ 6928 w 10000"/>
              <a:gd name="connsiteY169" fmla="*/ 9958 h 9958"/>
              <a:gd name="connsiteX170" fmla="*/ 6928 w 10000"/>
              <a:gd name="connsiteY170" fmla="*/ 9915 h 9958"/>
              <a:gd name="connsiteX171" fmla="*/ 6876 w 10000"/>
              <a:gd name="connsiteY171" fmla="*/ 9915 h 9958"/>
              <a:gd name="connsiteX172" fmla="*/ 6823 w 10000"/>
              <a:gd name="connsiteY172" fmla="*/ 9915 h 9958"/>
              <a:gd name="connsiteX173" fmla="*/ 6823 w 10000"/>
              <a:gd name="connsiteY173" fmla="*/ 9958 h 9958"/>
              <a:gd name="connsiteX174" fmla="*/ 7344 w 10000"/>
              <a:gd name="connsiteY174" fmla="*/ 7384 h 9958"/>
              <a:gd name="connsiteX175" fmla="*/ 7136 w 10000"/>
              <a:gd name="connsiteY175" fmla="*/ 7044 h 9958"/>
              <a:gd name="connsiteX176" fmla="*/ 6544 w 10000"/>
              <a:gd name="connsiteY176" fmla="*/ 6934 h 9958"/>
              <a:gd name="connsiteX177" fmla="*/ 5775 w 10000"/>
              <a:gd name="connsiteY177" fmla="*/ 6899 h 9958"/>
              <a:gd name="connsiteX178" fmla="*/ 5311 w 10000"/>
              <a:gd name="connsiteY178" fmla="*/ 6792 h 9958"/>
              <a:gd name="connsiteX179" fmla="*/ 5071 w 10000"/>
              <a:gd name="connsiteY179" fmla="*/ 6684 h 9958"/>
              <a:gd name="connsiteX180" fmla="*/ 4912 w 10000"/>
              <a:gd name="connsiteY180" fmla="*/ 6774 h 9958"/>
              <a:gd name="connsiteX181" fmla="*/ 4416 w 10000"/>
              <a:gd name="connsiteY181" fmla="*/ 6612 h 9958"/>
              <a:gd name="connsiteX182" fmla="*/ 3584 w 10000"/>
              <a:gd name="connsiteY182" fmla="*/ 6325 h 9958"/>
              <a:gd name="connsiteX183" fmla="*/ 3104 w 10000"/>
              <a:gd name="connsiteY183" fmla="*/ 6270 h 9958"/>
              <a:gd name="connsiteX184" fmla="*/ 3200 w 10000"/>
              <a:gd name="connsiteY184" fmla="*/ 6073 h 9958"/>
              <a:gd name="connsiteX185" fmla="*/ 3344 w 10000"/>
              <a:gd name="connsiteY185" fmla="*/ 6019 h 9958"/>
              <a:gd name="connsiteX186" fmla="*/ 3728 w 10000"/>
              <a:gd name="connsiteY186" fmla="*/ 5733 h 9958"/>
              <a:gd name="connsiteX187" fmla="*/ 3968 w 10000"/>
              <a:gd name="connsiteY187" fmla="*/ 5463 h 9958"/>
              <a:gd name="connsiteX188" fmla="*/ 4224 w 10000"/>
              <a:gd name="connsiteY188" fmla="*/ 5176 h 9958"/>
              <a:gd name="connsiteX189" fmla="*/ 4368 w 10000"/>
              <a:gd name="connsiteY189" fmla="*/ 4907 h 9958"/>
              <a:gd name="connsiteX190" fmla="*/ 4352 w 10000"/>
              <a:gd name="connsiteY190" fmla="*/ 4602 h 9958"/>
              <a:gd name="connsiteX191" fmla="*/ 4336 w 10000"/>
              <a:gd name="connsiteY191" fmla="*/ 4332 h 9958"/>
              <a:gd name="connsiteX192" fmla="*/ 4176 w 10000"/>
              <a:gd name="connsiteY192" fmla="*/ 4170 h 9958"/>
              <a:gd name="connsiteX193" fmla="*/ 4016 w 10000"/>
              <a:gd name="connsiteY193" fmla="*/ 4189 h 9958"/>
              <a:gd name="connsiteX194" fmla="*/ 3856 w 10000"/>
              <a:gd name="connsiteY194" fmla="*/ 4476 h 9958"/>
              <a:gd name="connsiteX195" fmla="*/ 3808 w 10000"/>
              <a:gd name="connsiteY195" fmla="*/ 4995 h 9958"/>
              <a:gd name="connsiteX196" fmla="*/ 3536 w 10000"/>
              <a:gd name="connsiteY196" fmla="*/ 5338 h 9958"/>
              <a:gd name="connsiteX197" fmla="*/ 2992 w 10000"/>
              <a:gd name="connsiteY197" fmla="*/ 5643 h 9958"/>
              <a:gd name="connsiteX198" fmla="*/ 2415 w 10000"/>
              <a:gd name="connsiteY198" fmla="*/ 5876 h 9958"/>
              <a:gd name="connsiteX199" fmla="*/ 1951 w 10000"/>
              <a:gd name="connsiteY199" fmla="*/ 6198 h 9958"/>
              <a:gd name="connsiteX200" fmla="*/ 0 w 10000"/>
              <a:gd name="connsiteY200" fmla="*/ 6127 h 9958"/>
              <a:gd name="connsiteX201" fmla="*/ 3 w 10000"/>
              <a:gd name="connsiteY201" fmla="*/ 5899 h 9958"/>
              <a:gd name="connsiteX202" fmla="*/ 159 w 10000"/>
              <a:gd name="connsiteY202" fmla="*/ 5983 h 9958"/>
              <a:gd name="connsiteX203" fmla="*/ 368 w 10000"/>
              <a:gd name="connsiteY203" fmla="*/ 5899 h 9958"/>
              <a:gd name="connsiteX204" fmla="*/ 1462 w 10000"/>
              <a:gd name="connsiteY204" fmla="*/ 5899 h 9958"/>
              <a:gd name="connsiteX205" fmla="*/ 1617 w 10000"/>
              <a:gd name="connsiteY205" fmla="*/ 5858 h 9958"/>
              <a:gd name="connsiteX206" fmla="*/ 1669 w 10000"/>
              <a:gd name="connsiteY206" fmla="*/ 5858 h 9958"/>
              <a:gd name="connsiteX207" fmla="*/ 2189 w 10000"/>
              <a:gd name="connsiteY207" fmla="*/ 5314 h 9958"/>
              <a:gd name="connsiteX208" fmla="*/ 2294 w 10000"/>
              <a:gd name="connsiteY208" fmla="*/ 5229 h 9958"/>
              <a:gd name="connsiteX209" fmla="*/ 2762 w 10000"/>
              <a:gd name="connsiteY209" fmla="*/ 4812 h 9958"/>
              <a:gd name="connsiteX210" fmla="*/ 3023 w 10000"/>
              <a:gd name="connsiteY210" fmla="*/ 4561 h 9958"/>
              <a:gd name="connsiteX211" fmla="*/ 3179 w 10000"/>
              <a:gd name="connsiteY211" fmla="*/ 4435 h 9958"/>
              <a:gd name="connsiteX212" fmla="*/ 3596 w 10000"/>
              <a:gd name="connsiteY212" fmla="*/ 3807 h 9958"/>
              <a:gd name="connsiteX213" fmla="*/ 4116 w 10000"/>
              <a:gd name="connsiteY213" fmla="*/ 3556 h 9958"/>
              <a:gd name="connsiteX214" fmla="*/ 5001 w 10000"/>
              <a:gd name="connsiteY214" fmla="*/ 2846 h 9958"/>
              <a:gd name="connsiteX215" fmla="*/ 4845 w 10000"/>
              <a:gd name="connsiteY215" fmla="*/ 2595 h 9958"/>
              <a:gd name="connsiteX216" fmla="*/ 4794 w 10000"/>
              <a:gd name="connsiteY216" fmla="*/ 2427 h 9958"/>
              <a:gd name="connsiteX217" fmla="*/ 4794 w 10000"/>
              <a:gd name="connsiteY217" fmla="*/ 1255 h 9958"/>
              <a:gd name="connsiteX218" fmla="*/ 4116 w 10000"/>
              <a:gd name="connsiteY218" fmla="*/ 753 h 9958"/>
              <a:gd name="connsiteX219" fmla="*/ 4950 w 10000"/>
              <a:gd name="connsiteY219" fmla="*/ 753 h 9958"/>
              <a:gd name="connsiteX220" fmla="*/ 5782 w 10000"/>
              <a:gd name="connsiteY220" fmla="*/ 753 h 9958"/>
              <a:gd name="connsiteX221" fmla="*/ 5782 w 10000"/>
              <a:gd name="connsiteY221" fmla="*/ 711 h 9958"/>
              <a:gd name="connsiteX222" fmla="*/ 5782 w 10000"/>
              <a:gd name="connsiteY222" fmla="*/ 670 h 9958"/>
              <a:gd name="connsiteX223" fmla="*/ 5782 w 10000"/>
              <a:gd name="connsiteY223" fmla="*/ 629 h 9958"/>
              <a:gd name="connsiteX224" fmla="*/ 5782 w 10000"/>
              <a:gd name="connsiteY224" fmla="*/ 585 h 9958"/>
              <a:gd name="connsiteX225" fmla="*/ 5834 w 10000"/>
              <a:gd name="connsiteY225" fmla="*/ 543 h 9958"/>
              <a:gd name="connsiteX226" fmla="*/ 5834 w 10000"/>
              <a:gd name="connsiteY226" fmla="*/ 502 h 9958"/>
              <a:gd name="connsiteX227" fmla="*/ 5834 w 10000"/>
              <a:gd name="connsiteY227" fmla="*/ 461 h 9958"/>
              <a:gd name="connsiteX228" fmla="*/ 5834 w 10000"/>
              <a:gd name="connsiteY228" fmla="*/ 419 h 9958"/>
              <a:gd name="connsiteX229" fmla="*/ 5834 w 10000"/>
              <a:gd name="connsiteY229" fmla="*/ 378 h 9958"/>
              <a:gd name="connsiteX230" fmla="*/ 5834 w 10000"/>
              <a:gd name="connsiteY230" fmla="*/ 334 h 9958"/>
              <a:gd name="connsiteX231" fmla="*/ 5782 w 10000"/>
              <a:gd name="connsiteY231" fmla="*/ 334 h 9958"/>
              <a:gd name="connsiteX232" fmla="*/ 5782 w 10000"/>
              <a:gd name="connsiteY232" fmla="*/ 292 h 9958"/>
              <a:gd name="connsiteX233" fmla="*/ 5782 w 10000"/>
              <a:gd name="connsiteY233" fmla="*/ 251 h 9958"/>
              <a:gd name="connsiteX234" fmla="*/ 5782 w 10000"/>
              <a:gd name="connsiteY234" fmla="*/ 210 h 9958"/>
              <a:gd name="connsiteX235" fmla="*/ 5782 w 10000"/>
              <a:gd name="connsiteY235" fmla="*/ 168 h 9958"/>
              <a:gd name="connsiteX236" fmla="*/ 5782 w 10000"/>
              <a:gd name="connsiteY236" fmla="*/ 127 h 9958"/>
              <a:gd name="connsiteX237" fmla="*/ 5782 w 10000"/>
              <a:gd name="connsiteY237" fmla="*/ 83 h 9958"/>
              <a:gd name="connsiteX238" fmla="*/ 5782 w 10000"/>
              <a:gd name="connsiteY238" fmla="*/ 41 h 9958"/>
              <a:gd name="connsiteX239" fmla="*/ 5782 w 10000"/>
              <a:gd name="connsiteY239" fmla="*/ 0 h 9958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69 h 10000"/>
              <a:gd name="connsiteX4" fmla="*/ 7293 w 10000"/>
              <a:gd name="connsiteY4" fmla="*/ 545 h 10000"/>
              <a:gd name="connsiteX5" fmla="*/ 7188 w 10000"/>
              <a:gd name="connsiteY5" fmla="*/ 1136 h 10000"/>
              <a:gd name="connsiteX6" fmla="*/ 7136 w 10000"/>
              <a:gd name="connsiteY6" fmla="*/ 1177 h 10000"/>
              <a:gd name="connsiteX7" fmla="*/ 6980 w 10000"/>
              <a:gd name="connsiteY7" fmla="*/ 1512 h 10000"/>
              <a:gd name="connsiteX8" fmla="*/ 7396 w 10000"/>
              <a:gd name="connsiteY8" fmla="*/ 3068 h 10000"/>
              <a:gd name="connsiteX9" fmla="*/ 7501 w 10000"/>
              <a:gd name="connsiteY9" fmla="*/ 3362 h 10000"/>
              <a:gd name="connsiteX10" fmla="*/ 7345 w 10000"/>
              <a:gd name="connsiteY10" fmla="*/ 3614 h 10000"/>
              <a:gd name="connsiteX11" fmla="*/ 8022 w 10000"/>
              <a:gd name="connsiteY11" fmla="*/ 3781 h 10000"/>
              <a:gd name="connsiteX12" fmla="*/ 8489 w 10000"/>
              <a:gd name="connsiteY12" fmla="*/ 4244 h 10000"/>
              <a:gd name="connsiteX13" fmla="*/ 8594 w 10000"/>
              <a:gd name="connsiteY13" fmla="*/ 4328 h 10000"/>
              <a:gd name="connsiteX14" fmla="*/ 8906 w 10000"/>
              <a:gd name="connsiteY14" fmla="*/ 4538 h 10000"/>
              <a:gd name="connsiteX15" fmla="*/ 9114 w 10000"/>
              <a:gd name="connsiteY15" fmla="*/ 4790 h 10000"/>
              <a:gd name="connsiteX16" fmla="*/ 9219 w 10000"/>
              <a:gd name="connsiteY16" fmla="*/ 4916 h 10000"/>
              <a:gd name="connsiteX17" fmla="*/ 9427 w 10000"/>
              <a:gd name="connsiteY17" fmla="*/ 4916 h 10000"/>
              <a:gd name="connsiteX18" fmla="*/ 9427 w 10000"/>
              <a:gd name="connsiteY18" fmla="*/ 4958 h 10000"/>
              <a:gd name="connsiteX19" fmla="*/ 9479 w 10000"/>
              <a:gd name="connsiteY19" fmla="*/ 5042 h 10000"/>
              <a:gd name="connsiteX20" fmla="*/ 9479 w 10000"/>
              <a:gd name="connsiteY20" fmla="*/ 5084 h 10000"/>
              <a:gd name="connsiteX21" fmla="*/ 9532 w 10000"/>
              <a:gd name="connsiteY21" fmla="*/ 5251 h 10000"/>
              <a:gd name="connsiteX22" fmla="*/ 9532 w 10000"/>
              <a:gd name="connsiteY22" fmla="*/ 5294 h 10000"/>
              <a:gd name="connsiteX23" fmla="*/ 9532 w 10000"/>
              <a:gd name="connsiteY23" fmla="*/ 5421 h 10000"/>
              <a:gd name="connsiteX24" fmla="*/ 9532 w 10000"/>
              <a:gd name="connsiteY24" fmla="*/ 5503 h 10000"/>
              <a:gd name="connsiteX25" fmla="*/ 9479 w 10000"/>
              <a:gd name="connsiteY25" fmla="*/ 5588 h 10000"/>
              <a:gd name="connsiteX26" fmla="*/ 9427 w 10000"/>
              <a:gd name="connsiteY26" fmla="*/ 5841 h 10000"/>
              <a:gd name="connsiteX27" fmla="*/ 9375 w 10000"/>
              <a:gd name="connsiteY27" fmla="*/ 5883 h 10000"/>
              <a:gd name="connsiteX28" fmla="*/ 9322 w 10000"/>
              <a:gd name="connsiteY28" fmla="*/ 5924 h 10000"/>
              <a:gd name="connsiteX29" fmla="*/ 9271 w 10000"/>
              <a:gd name="connsiteY29" fmla="*/ 6093 h 10000"/>
              <a:gd name="connsiteX30" fmla="*/ 9219 w 10000"/>
              <a:gd name="connsiteY30" fmla="*/ 6176 h 10000"/>
              <a:gd name="connsiteX31" fmla="*/ 9219 w 10000"/>
              <a:gd name="connsiteY31" fmla="*/ 6260 h 10000"/>
              <a:gd name="connsiteX32" fmla="*/ 9219 w 10000"/>
              <a:gd name="connsiteY32" fmla="*/ 6302 h 10000"/>
              <a:gd name="connsiteX33" fmla="*/ 9219 w 10000"/>
              <a:gd name="connsiteY33" fmla="*/ 6428 h 10000"/>
              <a:gd name="connsiteX34" fmla="*/ 9271 w 10000"/>
              <a:gd name="connsiteY34" fmla="*/ 6555 h 10000"/>
              <a:gd name="connsiteX35" fmla="*/ 9895 w 10000"/>
              <a:gd name="connsiteY35" fmla="*/ 6555 h 10000"/>
              <a:gd name="connsiteX36" fmla="*/ 9895 w 10000"/>
              <a:gd name="connsiteY36" fmla="*/ 6639 h 10000"/>
              <a:gd name="connsiteX37" fmla="*/ 9948 w 10000"/>
              <a:gd name="connsiteY37" fmla="*/ 6932 h 10000"/>
              <a:gd name="connsiteX38" fmla="*/ 9948 w 10000"/>
              <a:gd name="connsiteY38" fmla="*/ 6974 h 10000"/>
              <a:gd name="connsiteX39" fmla="*/ 9948 w 10000"/>
              <a:gd name="connsiteY39" fmla="*/ 7101 h 10000"/>
              <a:gd name="connsiteX40" fmla="*/ 9948 w 10000"/>
              <a:gd name="connsiteY40" fmla="*/ 7143 h 10000"/>
              <a:gd name="connsiteX41" fmla="*/ 9948 w 10000"/>
              <a:gd name="connsiteY41" fmla="*/ 7226 h 10000"/>
              <a:gd name="connsiteX42" fmla="*/ 9948 w 10000"/>
              <a:gd name="connsiteY42" fmla="*/ 7269 h 10000"/>
              <a:gd name="connsiteX43" fmla="*/ 9948 w 10000"/>
              <a:gd name="connsiteY43" fmla="*/ 7311 h 10000"/>
              <a:gd name="connsiteX44" fmla="*/ 9948 w 10000"/>
              <a:gd name="connsiteY44" fmla="*/ 7353 h 10000"/>
              <a:gd name="connsiteX45" fmla="*/ 10000 w 10000"/>
              <a:gd name="connsiteY45" fmla="*/ 7436 h 10000"/>
              <a:gd name="connsiteX46" fmla="*/ 10000 w 10000"/>
              <a:gd name="connsiteY46" fmla="*/ 7564 h 10000"/>
              <a:gd name="connsiteX47" fmla="*/ 10000 w 10000"/>
              <a:gd name="connsiteY47" fmla="*/ 7605 h 10000"/>
              <a:gd name="connsiteX48" fmla="*/ 10000 w 10000"/>
              <a:gd name="connsiteY48" fmla="*/ 7647 h 10000"/>
              <a:gd name="connsiteX49" fmla="*/ 10000 w 10000"/>
              <a:gd name="connsiteY49" fmla="*/ 7688 h 10000"/>
              <a:gd name="connsiteX50" fmla="*/ 10000 w 10000"/>
              <a:gd name="connsiteY50" fmla="*/ 7773 h 10000"/>
              <a:gd name="connsiteX51" fmla="*/ 10000 w 10000"/>
              <a:gd name="connsiteY51" fmla="*/ 7816 h 10000"/>
              <a:gd name="connsiteX52" fmla="*/ 10000 w 10000"/>
              <a:gd name="connsiteY52" fmla="*/ 7857 h 10000"/>
              <a:gd name="connsiteX53" fmla="*/ 10000 w 10000"/>
              <a:gd name="connsiteY53" fmla="*/ 7940 h 10000"/>
              <a:gd name="connsiteX54" fmla="*/ 10000 w 10000"/>
              <a:gd name="connsiteY54" fmla="*/ 8151 h 10000"/>
              <a:gd name="connsiteX55" fmla="*/ 10000 w 10000"/>
              <a:gd name="connsiteY55" fmla="*/ 8192 h 10000"/>
              <a:gd name="connsiteX56" fmla="*/ 10000 w 10000"/>
              <a:gd name="connsiteY56" fmla="*/ 8277 h 10000"/>
              <a:gd name="connsiteX57" fmla="*/ 10000 w 10000"/>
              <a:gd name="connsiteY57" fmla="*/ 8320 h 10000"/>
              <a:gd name="connsiteX58" fmla="*/ 10000 w 10000"/>
              <a:gd name="connsiteY58" fmla="*/ 8361 h 10000"/>
              <a:gd name="connsiteX59" fmla="*/ 10000 w 10000"/>
              <a:gd name="connsiteY59" fmla="*/ 8402 h 10000"/>
              <a:gd name="connsiteX60" fmla="*/ 10000 w 10000"/>
              <a:gd name="connsiteY60" fmla="*/ 8444 h 10000"/>
              <a:gd name="connsiteX61" fmla="*/ 10000 w 10000"/>
              <a:gd name="connsiteY61" fmla="*/ 8530 h 10000"/>
              <a:gd name="connsiteX62" fmla="*/ 10000 w 10000"/>
              <a:gd name="connsiteY62" fmla="*/ 8613 h 10000"/>
              <a:gd name="connsiteX63" fmla="*/ 10000 w 10000"/>
              <a:gd name="connsiteY63" fmla="*/ 8654 h 10000"/>
              <a:gd name="connsiteX64" fmla="*/ 10000 w 10000"/>
              <a:gd name="connsiteY64" fmla="*/ 8698 h 10000"/>
              <a:gd name="connsiteX65" fmla="*/ 9948 w 10000"/>
              <a:gd name="connsiteY65" fmla="*/ 8698 h 10000"/>
              <a:gd name="connsiteX66" fmla="*/ 9948 w 10000"/>
              <a:gd name="connsiteY66" fmla="*/ 8739 h 10000"/>
              <a:gd name="connsiteX67" fmla="*/ 9895 w 10000"/>
              <a:gd name="connsiteY67" fmla="*/ 8782 h 10000"/>
              <a:gd name="connsiteX68" fmla="*/ 9844 w 10000"/>
              <a:gd name="connsiteY68" fmla="*/ 8782 h 10000"/>
              <a:gd name="connsiteX69" fmla="*/ 9844 w 10000"/>
              <a:gd name="connsiteY69" fmla="*/ 8824 h 10000"/>
              <a:gd name="connsiteX70" fmla="*/ 9792 w 10000"/>
              <a:gd name="connsiteY70" fmla="*/ 8824 h 10000"/>
              <a:gd name="connsiteX71" fmla="*/ 9740 w 10000"/>
              <a:gd name="connsiteY71" fmla="*/ 8865 h 10000"/>
              <a:gd name="connsiteX72" fmla="*/ 9687 w 10000"/>
              <a:gd name="connsiteY72" fmla="*/ 8906 h 10000"/>
              <a:gd name="connsiteX73" fmla="*/ 9635 w 10000"/>
              <a:gd name="connsiteY73" fmla="*/ 8906 h 10000"/>
              <a:gd name="connsiteX74" fmla="*/ 9635 w 10000"/>
              <a:gd name="connsiteY74" fmla="*/ 8950 h 10000"/>
              <a:gd name="connsiteX75" fmla="*/ 9583 w 10000"/>
              <a:gd name="connsiteY75" fmla="*/ 8950 h 10000"/>
              <a:gd name="connsiteX76" fmla="*/ 9532 w 10000"/>
              <a:gd name="connsiteY76" fmla="*/ 8950 h 10000"/>
              <a:gd name="connsiteX77" fmla="*/ 9479 w 10000"/>
              <a:gd name="connsiteY77" fmla="*/ 8950 h 10000"/>
              <a:gd name="connsiteX78" fmla="*/ 9427 w 10000"/>
              <a:gd name="connsiteY78" fmla="*/ 8950 h 10000"/>
              <a:gd name="connsiteX79" fmla="*/ 9375 w 10000"/>
              <a:gd name="connsiteY79" fmla="*/ 8950 h 10000"/>
              <a:gd name="connsiteX80" fmla="*/ 9322 w 10000"/>
              <a:gd name="connsiteY80" fmla="*/ 8950 h 10000"/>
              <a:gd name="connsiteX81" fmla="*/ 9271 w 10000"/>
              <a:gd name="connsiteY81" fmla="*/ 8950 h 10000"/>
              <a:gd name="connsiteX82" fmla="*/ 9271 w 10000"/>
              <a:gd name="connsiteY82" fmla="*/ 8991 h 10000"/>
              <a:gd name="connsiteX83" fmla="*/ 9219 w 10000"/>
              <a:gd name="connsiteY83" fmla="*/ 9034 h 10000"/>
              <a:gd name="connsiteX84" fmla="*/ 9167 w 10000"/>
              <a:gd name="connsiteY84" fmla="*/ 9076 h 10000"/>
              <a:gd name="connsiteX85" fmla="*/ 9219 w 10000"/>
              <a:gd name="connsiteY85" fmla="*/ 9076 h 10000"/>
              <a:gd name="connsiteX86" fmla="*/ 9167 w 10000"/>
              <a:gd name="connsiteY86" fmla="*/ 9076 h 10000"/>
              <a:gd name="connsiteX87" fmla="*/ 9114 w 10000"/>
              <a:gd name="connsiteY87" fmla="*/ 9076 h 10000"/>
              <a:gd name="connsiteX88" fmla="*/ 9062 w 10000"/>
              <a:gd name="connsiteY88" fmla="*/ 9117 h 10000"/>
              <a:gd name="connsiteX89" fmla="*/ 9011 w 10000"/>
              <a:gd name="connsiteY89" fmla="*/ 9158 h 10000"/>
              <a:gd name="connsiteX90" fmla="*/ 8959 w 10000"/>
              <a:gd name="connsiteY90" fmla="*/ 9158 h 10000"/>
              <a:gd name="connsiteX91" fmla="*/ 8959 w 10000"/>
              <a:gd name="connsiteY91" fmla="*/ 9202 h 10000"/>
              <a:gd name="connsiteX92" fmla="*/ 8906 w 10000"/>
              <a:gd name="connsiteY92" fmla="*/ 9202 h 10000"/>
              <a:gd name="connsiteX93" fmla="*/ 8906 w 10000"/>
              <a:gd name="connsiteY93" fmla="*/ 9243 h 10000"/>
              <a:gd name="connsiteX94" fmla="*/ 8854 w 10000"/>
              <a:gd name="connsiteY94" fmla="*/ 9243 h 10000"/>
              <a:gd name="connsiteX95" fmla="*/ 8802 w 10000"/>
              <a:gd name="connsiteY95" fmla="*/ 9243 h 10000"/>
              <a:gd name="connsiteX96" fmla="*/ 8749 w 10000"/>
              <a:gd name="connsiteY96" fmla="*/ 9243 h 10000"/>
              <a:gd name="connsiteX97" fmla="*/ 8698 w 10000"/>
              <a:gd name="connsiteY97" fmla="*/ 9243 h 10000"/>
              <a:gd name="connsiteX98" fmla="*/ 8646 w 10000"/>
              <a:gd name="connsiteY98" fmla="*/ 9243 h 10000"/>
              <a:gd name="connsiteX99" fmla="*/ 8646 w 10000"/>
              <a:gd name="connsiteY99" fmla="*/ 9202 h 10000"/>
              <a:gd name="connsiteX100" fmla="*/ 8646 w 10000"/>
              <a:gd name="connsiteY100" fmla="*/ 9158 h 10000"/>
              <a:gd name="connsiteX101" fmla="*/ 8594 w 10000"/>
              <a:gd name="connsiteY101" fmla="*/ 9117 h 10000"/>
              <a:gd name="connsiteX102" fmla="*/ 8594 w 10000"/>
              <a:gd name="connsiteY102" fmla="*/ 9076 h 10000"/>
              <a:gd name="connsiteX103" fmla="*/ 8594 w 10000"/>
              <a:gd name="connsiteY103" fmla="*/ 9034 h 10000"/>
              <a:gd name="connsiteX104" fmla="*/ 8541 w 10000"/>
              <a:gd name="connsiteY104" fmla="*/ 9034 h 10000"/>
              <a:gd name="connsiteX105" fmla="*/ 8489 w 10000"/>
              <a:gd name="connsiteY105" fmla="*/ 9034 h 10000"/>
              <a:gd name="connsiteX106" fmla="*/ 8489 w 10000"/>
              <a:gd name="connsiteY106" fmla="*/ 8991 h 10000"/>
              <a:gd name="connsiteX107" fmla="*/ 8438 w 10000"/>
              <a:gd name="connsiteY107" fmla="*/ 8991 h 10000"/>
              <a:gd name="connsiteX108" fmla="*/ 8386 w 10000"/>
              <a:gd name="connsiteY108" fmla="*/ 9034 h 10000"/>
              <a:gd name="connsiteX109" fmla="*/ 8386 w 10000"/>
              <a:gd name="connsiteY109" fmla="*/ 9076 h 10000"/>
              <a:gd name="connsiteX110" fmla="*/ 8282 w 10000"/>
              <a:gd name="connsiteY110" fmla="*/ 9034 h 10000"/>
              <a:gd name="connsiteX111" fmla="*/ 8282 w 10000"/>
              <a:gd name="connsiteY111" fmla="*/ 8991 h 10000"/>
              <a:gd name="connsiteX112" fmla="*/ 8230 w 10000"/>
              <a:gd name="connsiteY112" fmla="*/ 8991 h 10000"/>
              <a:gd name="connsiteX113" fmla="*/ 8179 w 10000"/>
              <a:gd name="connsiteY113" fmla="*/ 8991 h 10000"/>
              <a:gd name="connsiteX114" fmla="*/ 8126 w 10000"/>
              <a:gd name="connsiteY114" fmla="*/ 8991 h 10000"/>
              <a:gd name="connsiteX115" fmla="*/ 8074 w 10000"/>
              <a:gd name="connsiteY115" fmla="*/ 8991 h 10000"/>
              <a:gd name="connsiteX116" fmla="*/ 8022 w 10000"/>
              <a:gd name="connsiteY116" fmla="*/ 8991 h 10000"/>
              <a:gd name="connsiteX117" fmla="*/ 8022 w 10000"/>
              <a:gd name="connsiteY117" fmla="*/ 9034 h 10000"/>
              <a:gd name="connsiteX118" fmla="*/ 7969 w 10000"/>
              <a:gd name="connsiteY118" fmla="*/ 9034 h 10000"/>
              <a:gd name="connsiteX119" fmla="*/ 7917 w 10000"/>
              <a:gd name="connsiteY119" fmla="*/ 9076 h 10000"/>
              <a:gd name="connsiteX120" fmla="*/ 7866 w 10000"/>
              <a:gd name="connsiteY120" fmla="*/ 9076 h 10000"/>
              <a:gd name="connsiteX121" fmla="*/ 7866 w 10000"/>
              <a:gd name="connsiteY121" fmla="*/ 9034 h 10000"/>
              <a:gd name="connsiteX122" fmla="*/ 7866 w 10000"/>
              <a:gd name="connsiteY122" fmla="*/ 9076 h 10000"/>
              <a:gd name="connsiteX123" fmla="*/ 7814 w 10000"/>
              <a:gd name="connsiteY123" fmla="*/ 9076 h 10000"/>
              <a:gd name="connsiteX124" fmla="*/ 7761 w 10000"/>
              <a:gd name="connsiteY124" fmla="*/ 9117 h 10000"/>
              <a:gd name="connsiteX125" fmla="*/ 7709 w 10000"/>
              <a:gd name="connsiteY125" fmla="*/ 9076 h 10000"/>
              <a:gd name="connsiteX126" fmla="*/ 7657 w 10000"/>
              <a:gd name="connsiteY126" fmla="*/ 9076 h 10000"/>
              <a:gd name="connsiteX127" fmla="*/ 7606 w 10000"/>
              <a:gd name="connsiteY127" fmla="*/ 9076 h 10000"/>
              <a:gd name="connsiteX128" fmla="*/ 7553 w 10000"/>
              <a:gd name="connsiteY128" fmla="*/ 9034 h 10000"/>
              <a:gd name="connsiteX129" fmla="*/ 7501 w 10000"/>
              <a:gd name="connsiteY129" fmla="*/ 9034 h 10000"/>
              <a:gd name="connsiteX130" fmla="*/ 7501 w 10000"/>
              <a:gd name="connsiteY130" fmla="*/ 9076 h 10000"/>
              <a:gd name="connsiteX131" fmla="*/ 7449 w 10000"/>
              <a:gd name="connsiteY131" fmla="*/ 9076 h 10000"/>
              <a:gd name="connsiteX132" fmla="*/ 7396 w 10000"/>
              <a:gd name="connsiteY132" fmla="*/ 9034 h 10000"/>
              <a:gd name="connsiteX133" fmla="*/ 7345 w 10000"/>
              <a:gd name="connsiteY133" fmla="*/ 9034 h 10000"/>
              <a:gd name="connsiteX134" fmla="*/ 7293 w 10000"/>
              <a:gd name="connsiteY134" fmla="*/ 9117 h 10000"/>
              <a:gd name="connsiteX135" fmla="*/ 7241 w 10000"/>
              <a:gd name="connsiteY135" fmla="*/ 9117 h 10000"/>
              <a:gd name="connsiteX136" fmla="*/ 7241 w 10000"/>
              <a:gd name="connsiteY136" fmla="*/ 9076 h 10000"/>
              <a:gd name="connsiteX137" fmla="*/ 7241 w 10000"/>
              <a:gd name="connsiteY137" fmla="*/ 9117 h 10000"/>
              <a:gd name="connsiteX138" fmla="*/ 7241 w 10000"/>
              <a:gd name="connsiteY138" fmla="*/ 9158 h 10000"/>
              <a:gd name="connsiteX139" fmla="*/ 7188 w 10000"/>
              <a:gd name="connsiteY139" fmla="*/ 9158 h 10000"/>
              <a:gd name="connsiteX140" fmla="*/ 7136 w 10000"/>
              <a:gd name="connsiteY140" fmla="*/ 9158 h 10000"/>
              <a:gd name="connsiteX141" fmla="*/ 7188 w 10000"/>
              <a:gd name="connsiteY141" fmla="*/ 9202 h 10000"/>
              <a:gd name="connsiteX142" fmla="*/ 7136 w 10000"/>
              <a:gd name="connsiteY142" fmla="*/ 9243 h 10000"/>
              <a:gd name="connsiteX143" fmla="*/ 7188 w 10000"/>
              <a:gd name="connsiteY143" fmla="*/ 9286 h 10000"/>
              <a:gd name="connsiteX144" fmla="*/ 7241 w 10000"/>
              <a:gd name="connsiteY144" fmla="*/ 9286 h 10000"/>
              <a:gd name="connsiteX145" fmla="*/ 7241 w 10000"/>
              <a:gd name="connsiteY145" fmla="*/ 9328 h 10000"/>
              <a:gd name="connsiteX146" fmla="*/ 7188 w 10000"/>
              <a:gd name="connsiteY146" fmla="*/ 9328 h 10000"/>
              <a:gd name="connsiteX147" fmla="*/ 7136 w 10000"/>
              <a:gd name="connsiteY147" fmla="*/ 9328 h 10000"/>
              <a:gd name="connsiteX148" fmla="*/ 7188 w 10000"/>
              <a:gd name="connsiteY148" fmla="*/ 9369 h 10000"/>
              <a:gd name="connsiteX149" fmla="*/ 7188 w 10000"/>
              <a:gd name="connsiteY149" fmla="*/ 9411 h 10000"/>
              <a:gd name="connsiteX150" fmla="*/ 7136 w 10000"/>
              <a:gd name="connsiteY150" fmla="*/ 9411 h 10000"/>
              <a:gd name="connsiteX151" fmla="*/ 7136 w 10000"/>
              <a:gd name="connsiteY151" fmla="*/ 9454 h 10000"/>
              <a:gd name="connsiteX152" fmla="*/ 7084 w 10000"/>
              <a:gd name="connsiteY152" fmla="*/ 9496 h 10000"/>
              <a:gd name="connsiteX153" fmla="*/ 7136 w 10000"/>
              <a:gd name="connsiteY153" fmla="*/ 9538 h 10000"/>
              <a:gd name="connsiteX154" fmla="*/ 7188 w 10000"/>
              <a:gd name="connsiteY154" fmla="*/ 9538 h 10000"/>
              <a:gd name="connsiteX155" fmla="*/ 7188 w 10000"/>
              <a:gd name="connsiteY155" fmla="*/ 9579 h 10000"/>
              <a:gd name="connsiteX156" fmla="*/ 7188 w 10000"/>
              <a:gd name="connsiteY156" fmla="*/ 9621 h 10000"/>
              <a:gd name="connsiteX157" fmla="*/ 7136 w 10000"/>
              <a:gd name="connsiteY157" fmla="*/ 9621 h 10000"/>
              <a:gd name="connsiteX158" fmla="*/ 7084 w 10000"/>
              <a:gd name="connsiteY158" fmla="*/ 9663 h 10000"/>
              <a:gd name="connsiteX159" fmla="*/ 7136 w 10000"/>
              <a:gd name="connsiteY159" fmla="*/ 9705 h 10000"/>
              <a:gd name="connsiteX160" fmla="*/ 7136 w 10000"/>
              <a:gd name="connsiteY160" fmla="*/ 9748 h 10000"/>
              <a:gd name="connsiteX161" fmla="*/ 7136 w 10000"/>
              <a:gd name="connsiteY161" fmla="*/ 9790 h 10000"/>
              <a:gd name="connsiteX162" fmla="*/ 7136 w 10000"/>
              <a:gd name="connsiteY162" fmla="*/ 9831 h 10000"/>
              <a:gd name="connsiteX163" fmla="*/ 7084 w 10000"/>
              <a:gd name="connsiteY163" fmla="*/ 9831 h 10000"/>
              <a:gd name="connsiteX164" fmla="*/ 7084 w 10000"/>
              <a:gd name="connsiteY164" fmla="*/ 9873 h 10000"/>
              <a:gd name="connsiteX165" fmla="*/ 7033 w 10000"/>
              <a:gd name="connsiteY165" fmla="*/ 9873 h 10000"/>
              <a:gd name="connsiteX166" fmla="*/ 6928 w 10000"/>
              <a:gd name="connsiteY166" fmla="*/ 9873 h 10000"/>
              <a:gd name="connsiteX167" fmla="*/ 6928 w 10000"/>
              <a:gd name="connsiteY167" fmla="*/ 9915 h 10000"/>
              <a:gd name="connsiteX168" fmla="*/ 6928 w 10000"/>
              <a:gd name="connsiteY168" fmla="*/ 9957 h 10000"/>
              <a:gd name="connsiteX169" fmla="*/ 6928 w 10000"/>
              <a:gd name="connsiteY169" fmla="*/ 10000 h 10000"/>
              <a:gd name="connsiteX170" fmla="*/ 6928 w 10000"/>
              <a:gd name="connsiteY170" fmla="*/ 9957 h 10000"/>
              <a:gd name="connsiteX171" fmla="*/ 6876 w 10000"/>
              <a:gd name="connsiteY171" fmla="*/ 9957 h 10000"/>
              <a:gd name="connsiteX172" fmla="*/ 6823 w 10000"/>
              <a:gd name="connsiteY172" fmla="*/ 9957 h 10000"/>
              <a:gd name="connsiteX173" fmla="*/ 7344 w 10000"/>
              <a:gd name="connsiteY173" fmla="*/ 7415 h 10000"/>
              <a:gd name="connsiteX174" fmla="*/ 7136 w 10000"/>
              <a:gd name="connsiteY174" fmla="*/ 7074 h 10000"/>
              <a:gd name="connsiteX175" fmla="*/ 6544 w 10000"/>
              <a:gd name="connsiteY175" fmla="*/ 6963 h 10000"/>
              <a:gd name="connsiteX176" fmla="*/ 5775 w 10000"/>
              <a:gd name="connsiteY176" fmla="*/ 6928 h 10000"/>
              <a:gd name="connsiteX177" fmla="*/ 5311 w 10000"/>
              <a:gd name="connsiteY177" fmla="*/ 6821 h 10000"/>
              <a:gd name="connsiteX178" fmla="*/ 5071 w 10000"/>
              <a:gd name="connsiteY178" fmla="*/ 6712 h 10000"/>
              <a:gd name="connsiteX179" fmla="*/ 4912 w 10000"/>
              <a:gd name="connsiteY179" fmla="*/ 6803 h 10000"/>
              <a:gd name="connsiteX180" fmla="*/ 4416 w 10000"/>
              <a:gd name="connsiteY180" fmla="*/ 6640 h 10000"/>
              <a:gd name="connsiteX181" fmla="*/ 3584 w 10000"/>
              <a:gd name="connsiteY181" fmla="*/ 6352 h 10000"/>
              <a:gd name="connsiteX182" fmla="*/ 3104 w 10000"/>
              <a:gd name="connsiteY182" fmla="*/ 6296 h 10000"/>
              <a:gd name="connsiteX183" fmla="*/ 3200 w 10000"/>
              <a:gd name="connsiteY183" fmla="*/ 6099 h 10000"/>
              <a:gd name="connsiteX184" fmla="*/ 3344 w 10000"/>
              <a:gd name="connsiteY184" fmla="*/ 6044 h 10000"/>
              <a:gd name="connsiteX185" fmla="*/ 3728 w 10000"/>
              <a:gd name="connsiteY185" fmla="*/ 5757 h 10000"/>
              <a:gd name="connsiteX186" fmla="*/ 3968 w 10000"/>
              <a:gd name="connsiteY186" fmla="*/ 5486 h 10000"/>
              <a:gd name="connsiteX187" fmla="*/ 4224 w 10000"/>
              <a:gd name="connsiteY187" fmla="*/ 5198 h 10000"/>
              <a:gd name="connsiteX188" fmla="*/ 4368 w 10000"/>
              <a:gd name="connsiteY188" fmla="*/ 4928 h 10000"/>
              <a:gd name="connsiteX189" fmla="*/ 4352 w 10000"/>
              <a:gd name="connsiteY189" fmla="*/ 4621 h 10000"/>
              <a:gd name="connsiteX190" fmla="*/ 4336 w 10000"/>
              <a:gd name="connsiteY190" fmla="*/ 4350 h 10000"/>
              <a:gd name="connsiteX191" fmla="*/ 4176 w 10000"/>
              <a:gd name="connsiteY191" fmla="*/ 4188 h 10000"/>
              <a:gd name="connsiteX192" fmla="*/ 4016 w 10000"/>
              <a:gd name="connsiteY192" fmla="*/ 4207 h 10000"/>
              <a:gd name="connsiteX193" fmla="*/ 3856 w 10000"/>
              <a:gd name="connsiteY193" fmla="*/ 4495 h 10000"/>
              <a:gd name="connsiteX194" fmla="*/ 3808 w 10000"/>
              <a:gd name="connsiteY194" fmla="*/ 5016 h 10000"/>
              <a:gd name="connsiteX195" fmla="*/ 3536 w 10000"/>
              <a:gd name="connsiteY195" fmla="*/ 5361 h 10000"/>
              <a:gd name="connsiteX196" fmla="*/ 2992 w 10000"/>
              <a:gd name="connsiteY196" fmla="*/ 5667 h 10000"/>
              <a:gd name="connsiteX197" fmla="*/ 2415 w 10000"/>
              <a:gd name="connsiteY197" fmla="*/ 5901 h 10000"/>
              <a:gd name="connsiteX198" fmla="*/ 1951 w 10000"/>
              <a:gd name="connsiteY198" fmla="*/ 6224 h 10000"/>
              <a:gd name="connsiteX199" fmla="*/ 0 w 10000"/>
              <a:gd name="connsiteY199" fmla="*/ 6153 h 10000"/>
              <a:gd name="connsiteX200" fmla="*/ 3 w 10000"/>
              <a:gd name="connsiteY200" fmla="*/ 5924 h 10000"/>
              <a:gd name="connsiteX201" fmla="*/ 159 w 10000"/>
              <a:gd name="connsiteY201" fmla="*/ 6008 h 10000"/>
              <a:gd name="connsiteX202" fmla="*/ 368 w 10000"/>
              <a:gd name="connsiteY202" fmla="*/ 5924 h 10000"/>
              <a:gd name="connsiteX203" fmla="*/ 1462 w 10000"/>
              <a:gd name="connsiteY203" fmla="*/ 5924 h 10000"/>
              <a:gd name="connsiteX204" fmla="*/ 1617 w 10000"/>
              <a:gd name="connsiteY204" fmla="*/ 5883 h 10000"/>
              <a:gd name="connsiteX205" fmla="*/ 1669 w 10000"/>
              <a:gd name="connsiteY205" fmla="*/ 5883 h 10000"/>
              <a:gd name="connsiteX206" fmla="*/ 2189 w 10000"/>
              <a:gd name="connsiteY206" fmla="*/ 5336 h 10000"/>
              <a:gd name="connsiteX207" fmla="*/ 2294 w 10000"/>
              <a:gd name="connsiteY207" fmla="*/ 5251 h 10000"/>
              <a:gd name="connsiteX208" fmla="*/ 2762 w 10000"/>
              <a:gd name="connsiteY208" fmla="*/ 4832 h 10000"/>
              <a:gd name="connsiteX209" fmla="*/ 3023 w 10000"/>
              <a:gd name="connsiteY209" fmla="*/ 4580 h 10000"/>
              <a:gd name="connsiteX210" fmla="*/ 3179 w 10000"/>
              <a:gd name="connsiteY210" fmla="*/ 4454 h 10000"/>
              <a:gd name="connsiteX211" fmla="*/ 3596 w 10000"/>
              <a:gd name="connsiteY211" fmla="*/ 3823 h 10000"/>
              <a:gd name="connsiteX212" fmla="*/ 4116 w 10000"/>
              <a:gd name="connsiteY212" fmla="*/ 3571 h 10000"/>
              <a:gd name="connsiteX213" fmla="*/ 5001 w 10000"/>
              <a:gd name="connsiteY213" fmla="*/ 2858 h 10000"/>
              <a:gd name="connsiteX214" fmla="*/ 4845 w 10000"/>
              <a:gd name="connsiteY214" fmla="*/ 2606 h 10000"/>
              <a:gd name="connsiteX215" fmla="*/ 4794 w 10000"/>
              <a:gd name="connsiteY215" fmla="*/ 2437 h 10000"/>
              <a:gd name="connsiteX216" fmla="*/ 4794 w 10000"/>
              <a:gd name="connsiteY216" fmla="*/ 1260 h 10000"/>
              <a:gd name="connsiteX217" fmla="*/ 4116 w 10000"/>
              <a:gd name="connsiteY217" fmla="*/ 756 h 10000"/>
              <a:gd name="connsiteX218" fmla="*/ 4950 w 10000"/>
              <a:gd name="connsiteY218" fmla="*/ 756 h 10000"/>
              <a:gd name="connsiteX219" fmla="*/ 5782 w 10000"/>
              <a:gd name="connsiteY219" fmla="*/ 756 h 10000"/>
              <a:gd name="connsiteX220" fmla="*/ 5782 w 10000"/>
              <a:gd name="connsiteY220" fmla="*/ 714 h 10000"/>
              <a:gd name="connsiteX221" fmla="*/ 5782 w 10000"/>
              <a:gd name="connsiteY221" fmla="*/ 673 h 10000"/>
              <a:gd name="connsiteX222" fmla="*/ 5782 w 10000"/>
              <a:gd name="connsiteY222" fmla="*/ 632 h 10000"/>
              <a:gd name="connsiteX223" fmla="*/ 5782 w 10000"/>
              <a:gd name="connsiteY223" fmla="*/ 587 h 10000"/>
              <a:gd name="connsiteX224" fmla="*/ 5834 w 10000"/>
              <a:gd name="connsiteY224" fmla="*/ 545 h 10000"/>
              <a:gd name="connsiteX225" fmla="*/ 5834 w 10000"/>
              <a:gd name="connsiteY225" fmla="*/ 504 h 10000"/>
              <a:gd name="connsiteX226" fmla="*/ 5834 w 10000"/>
              <a:gd name="connsiteY226" fmla="*/ 463 h 10000"/>
              <a:gd name="connsiteX227" fmla="*/ 5834 w 10000"/>
              <a:gd name="connsiteY227" fmla="*/ 421 h 10000"/>
              <a:gd name="connsiteX228" fmla="*/ 5834 w 10000"/>
              <a:gd name="connsiteY228" fmla="*/ 380 h 10000"/>
              <a:gd name="connsiteX229" fmla="*/ 5834 w 10000"/>
              <a:gd name="connsiteY229" fmla="*/ 335 h 10000"/>
              <a:gd name="connsiteX230" fmla="*/ 5782 w 10000"/>
              <a:gd name="connsiteY230" fmla="*/ 335 h 10000"/>
              <a:gd name="connsiteX231" fmla="*/ 5782 w 10000"/>
              <a:gd name="connsiteY231" fmla="*/ 293 h 10000"/>
              <a:gd name="connsiteX232" fmla="*/ 5782 w 10000"/>
              <a:gd name="connsiteY232" fmla="*/ 252 h 10000"/>
              <a:gd name="connsiteX233" fmla="*/ 5782 w 10000"/>
              <a:gd name="connsiteY233" fmla="*/ 211 h 10000"/>
              <a:gd name="connsiteX234" fmla="*/ 5782 w 10000"/>
              <a:gd name="connsiteY234" fmla="*/ 169 h 10000"/>
              <a:gd name="connsiteX235" fmla="*/ 5782 w 10000"/>
              <a:gd name="connsiteY235" fmla="*/ 128 h 10000"/>
              <a:gd name="connsiteX236" fmla="*/ 5782 w 10000"/>
              <a:gd name="connsiteY236" fmla="*/ 83 h 10000"/>
              <a:gd name="connsiteX237" fmla="*/ 5782 w 10000"/>
              <a:gd name="connsiteY237" fmla="*/ 41 h 10000"/>
              <a:gd name="connsiteX238" fmla="*/ 5782 w 10000"/>
              <a:gd name="connsiteY238" fmla="*/ 0 h 10000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69 h 10000"/>
              <a:gd name="connsiteX4" fmla="*/ 7293 w 10000"/>
              <a:gd name="connsiteY4" fmla="*/ 545 h 10000"/>
              <a:gd name="connsiteX5" fmla="*/ 7188 w 10000"/>
              <a:gd name="connsiteY5" fmla="*/ 1136 h 10000"/>
              <a:gd name="connsiteX6" fmla="*/ 7136 w 10000"/>
              <a:gd name="connsiteY6" fmla="*/ 1177 h 10000"/>
              <a:gd name="connsiteX7" fmla="*/ 6980 w 10000"/>
              <a:gd name="connsiteY7" fmla="*/ 1512 h 10000"/>
              <a:gd name="connsiteX8" fmla="*/ 7396 w 10000"/>
              <a:gd name="connsiteY8" fmla="*/ 3068 h 10000"/>
              <a:gd name="connsiteX9" fmla="*/ 7501 w 10000"/>
              <a:gd name="connsiteY9" fmla="*/ 3362 h 10000"/>
              <a:gd name="connsiteX10" fmla="*/ 7345 w 10000"/>
              <a:gd name="connsiteY10" fmla="*/ 3614 h 10000"/>
              <a:gd name="connsiteX11" fmla="*/ 8022 w 10000"/>
              <a:gd name="connsiteY11" fmla="*/ 3781 h 10000"/>
              <a:gd name="connsiteX12" fmla="*/ 8489 w 10000"/>
              <a:gd name="connsiteY12" fmla="*/ 4244 h 10000"/>
              <a:gd name="connsiteX13" fmla="*/ 8594 w 10000"/>
              <a:gd name="connsiteY13" fmla="*/ 4328 h 10000"/>
              <a:gd name="connsiteX14" fmla="*/ 8906 w 10000"/>
              <a:gd name="connsiteY14" fmla="*/ 4538 h 10000"/>
              <a:gd name="connsiteX15" fmla="*/ 9114 w 10000"/>
              <a:gd name="connsiteY15" fmla="*/ 4790 h 10000"/>
              <a:gd name="connsiteX16" fmla="*/ 9219 w 10000"/>
              <a:gd name="connsiteY16" fmla="*/ 4916 h 10000"/>
              <a:gd name="connsiteX17" fmla="*/ 9427 w 10000"/>
              <a:gd name="connsiteY17" fmla="*/ 4916 h 10000"/>
              <a:gd name="connsiteX18" fmla="*/ 9427 w 10000"/>
              <a:gd name="connsiteY18" fmla="*/ 4958 h 10000"/>
              <a:gd name="connsiteX19" fmla="*/ 9479 w 10000"/>
              <a:gd name="connsiteY19" fmla="*/ 5042 h 10000"/>
              <a:gd name="connsiteX20" fmla="*/ 9479 w 10000"/>
              <a:gd name="connsiteY20" fmla="*/ 5084 h 10000"/>
              <a:gd name="connsiteX21" fmla="*/ 9532 w 10000"/>
              <a:gd name="connsiteY21" fmla="*/ 5251 h 10000"/>
              <a:gd name="connsiteX22" fmla="*/ 9532 w 10000"/>
              <a:gd name="connsiteY22" fmla="*/ 5294 h 10000"/>
              <a:gd name="connsiteX23" fmla="*/ 9532 w 10000"/>
              <a:gd name="connsiteY23" fmla="*/ 5421 h 10000"/>
              <a:gd name="connsiteX24" fmla="*/ 9532 w 10000"/>
              <a:gd name="connsiteY24" fmla="*/ 5503 h 10000"/>
              <a:gd name="connsiteX25" fmla="*/ 9479 w 10000"/>
              <a:gd name="connsiteY25" fmla="*/ 5588 h 10000"/>
              <a:gd name="connsiteX26" fmla="*/ 9427 w 10000"/>
              <a:gd name="connsiteY26" fmla="*/ 5841 h 10000"/>
              <a:gd name="connsiteX27" fmla="*/ 9375 w 10000"/>
              <a:gd name="connsiteY27" fmla="*/ 5883 h 10000"/>
              <a:gd name="connsiteX28" fmla="*/ 9322 w 10000"/>
              <a:gd name="connsiteY28" fmla="*/ 5924 h 10000"/>
              <a:gd name="connsiteX29" fmla="*/ 9271 w 10000"/>
              <a:gd name="connsiteY29" fmla="*/ 6093 h 10000"/>
              <a:gd name="connsiteX30" fmla="*/ 9219 w 10000"/>
              <a:gd name="connsiteY30" fmla="*/ 6176 h 10000"/>
              <a:gd name="connsiteX31" fmla="*/ 9219 w 10000"/>
              <a:gd name="connsiteY31" fmla="*/ 6260 h 10000"/>
              <a:gd name="connsiteX32" fmla="*/ 9219 w 10000"/>
              <a:gd name="connsiteY32" fmla="*/ 6302 h 10000"/>
              <a:gd name="connsiteX33" fmla="*/ 9219 w 10000"/>
              <a:gd name="connsiteY33" fmla="*/ 6428 h 10000"/>
              <a:gd name="connsiteX34" fmla="*/ 9271 w 10000"/>
              <a:gd name="connsiteY34" fmla="*/ 6555 h 10000"/>
              <a:gd name="connsiteX35" fmla="*/ 9895 w 10000"/>
              <a:gd name="connsiteY35" fmla="*/ 6555 h 10000"/>
              <a:gd name="connsiteX36" fmla="*/ 9895 w 10000"/>
              <a:gd name="connsiteY36" fmla="*/ 6639 h 10000"/>
              <a:gd name="connsiteX37" fmla="*/ 9948 w 10000"/>
              <a:gd name="connsiteY37" fmla="*/ 6932 h 10000"/>
              <a:gd name="connsiteX38" fmla="*/ 9948 w 10000"/>
              <a:gd name="connsiteY38" fmla="*/ 6974 h 10000"/>
              <a:gd name="connsiteX39" fmla="*/ 9948 w 10000"/>
              <a:gd name="connsiteY39" fmla="*/ 7101 h 10000"/>
              <a:gd name="connsiteX40" fmla="*/ 9948 w 10000"/>
              <a:gd name="connsiteY40" fmla="*/ 7143 h 10000"/>
              <a:gd name="connsiteX41" fmla="*/ 9948 w 10000"/>
              <a:gd name="connsiteY41" fmla="*/ 7226 h 10000"/>
              <a:gd name="connsiteX42" fmla="*/ 9948 w 10000"/>
              <a:gd name="connsiteY42" fmla="*/ 7269 h 10000"/>
              <a:gd name="connsiteX43" fmla="*/ 9948 w 10000"/>
              <a:gd name="connsiteY43" fmla="*/ 7311 h 10000"/>
              <a:gd name="connsiteX44" fmla="*/ 9948 w 10000"/>
              <a:gd name="connsiteY44" fmla="*/ 7353 h 10000"/>
              <a:gd name="connsiteX45" fmla="*/ 10000 w 10000"/>
              <a:gd name="connsiteY45" fmla="*/ 7436 h 10000"/>
              <a:gd name="connsiteX46" fmla="*/ 10000 w 10000"/>
              <a:gd name="connsiteY46" fmla="*/ 7564 h 10000"/>
              <a:gd name="connsiteX47" fmla="*/ 10000 w 10000"/>
              <a:gd name="connsiteY47" fmla="*/ 7605 h 10000"/>
              <a:gd name="connsiteX48" fmla="*/ 10000 w 10000"/>
              <a:gd name="connsiteY48" fmla="*/ 7647 h 10000"/>
              <a:gd name="connsiteX49" fmla="*/ 10000 w 10000"/>
              <a:gd name="connsiteY49" fmla="*/ 7688 h 10000"/>
              <a:gd name="connsiteX50" fmla="*/ 10000 w 10000"/>
              <a:gd name="connsiteY50" fmla="*/ 7773 h 10000"/>
              <a:gd name="connsiteX51" fmla="*/ 10000 w 10000"/>
              <a:gd name="connsiteY51" fmla="*/ 7816 h 10000"/>
              <a:gd name="connsiteX52" fmla="*/ 10000 w 10000"/>
              <a:gd name="connsiteY52" fmla="*/ 7857 h 10000"/>
              <a:gd name="connsiteX53" fmla="*/ 10000 w 10000"/>
              <a:gd name="connsiteY53" fmla="*/ 7940 h 10000"/>
              <a:gd name="connsiteX54" fmla="*/ 10000 w 10000"/>
              <a:gd name="connsiteY54" fmla="*/ 8151 h 10000"/>
              <a:gd name="connsiteX55" fmla="*/ 10000 w 10000"/>
              <a:gd name="connsiteY55" fmla="*/ 8192 h 10000"/>
              <a:gd name="connsiteX56" fmla="*/ 10000 w 10000"/>
              <a:gd name="connsiteY56" fmla="*/ 8277 h 10000"/>
              <a:gd name="connsiteX57" fmla="*/ 10000 w 10000"/>
              <a:gd name="connsiteY57" fmla="*/ 8320 h 10000"/>
              <a:gd name="connsiteX58" fmla="*/ 10000 w 10000"/>
              <a:gd name="connsiteY58" fmla="*/ 8361 h 10000"/>
              <a:gd name="connsiteX59" fmla="*/ 10000 w 10000"/>
              <a:gd name="connsiteY59" fmla="*/ 8402 h 10000"/>
              <a:gd name="connsiteX60" fmla="*/ 10000 w 10000"/>
              <a:gd name="connsiteY60" fmla="*/ 8444 h 10000"/>
              <a:gd name="connsiteX61" fmla="*/ 10000 w 10000"/>
              <a:gd name="connsiteY61" fmla="*/ 8530 h 10000"/>
              <a:gd name="connsiteX62" fmla="*/ 10000 w 10000"/>
              <a:gd name="connsiteY62" fmla="*/ 8613 h 10000"/>
              <a:gd name="connsiteX63" fmla="*/ 10000 w 10000"/>
              <a:gd name="connsiteY63" fmla="*/ 8654 h 10000"/>
              <a:gd name="connsiteX64" fmla="*/ 10000 w 10000"/>
              <a:gd name="connsiteY64" fmla="*/ 8698 h 10000"/>
              <a:gd name="connsiteX65" fmla="*/ 9948 w 10000"/>
              <a:gd name="connsiteY65" fmla="*/ 8698 h 10000"/>
              <a:gd name="connsiteX66" fmla="*/ 9948 w 10000"/>
              <a:gd name="connsiteY66" fmla="*/ 8739 h 10000"/>
              <a:gd name="connsiteX67" fmla="*/ 9895 w 10000"/>
              <a:gd name="connsiteY67" fmla="*/ 8782 h 10000"/>
              <a:gd name="connsiteX68" fmla="*/ 9844 w 10000"/>
              <a:gd name="connsiteY68" fmla="*/ 8782 h 10000"/>
              <a:gd name="connsiteX69" fmla="*/ 9844 w 10000"/>
              <a:gd name="connsiteY69" fmla="*/ 8824 h 10000"/>
              <a:gd name="connsiteX70" fmla="*/ 9792 w 10000"/>
              <a:gd name="connsiteY70" fmla="*/ 8824 h 10000"/>
              <a:gd name="connsiteX71" fmla="*/ 9740 w 10000"/>
              <a:gd name="connsiteY71" fmla="*/ 8865 h 10000"/>
              <a:gd name="connsiteX72" fmla="*/ 9687 w 10000"/>
              <a:gd name="connsiteY72" fmla="*/ 8906 h 10000"/>
              <a:gd name="connsiteX73" fmla="*/ 9635 w 10000"/>
              <a:gd name="connsiteY73" fmla="*/ 8906 h 10000"/>
              <a:gd name="connsiteX74" fmla="*/ 9635 w 10000"/>
              <a:gd name="connsiteY74" fmla="*/ 8950 h 10000"/>
              <a:gd name="connsiteX75" fmla="*/ 9583 w 10000"/>
              <a:gd name="connsiteY75" fmla="*/ 8950 h 10000"/>
              <a:gd name="connsiteX76" fmla="*/ 9532 w 10000"/>
              <a:gd name="connsiteY76" fmla="*/ 8950 h 10000"/>
              <a:gd name="connsiteX77" fmla="*/ 9479 w 10000"/>
              <a:gd name="connsiteY77" fmla="*/ 8950 h 10000"/>
              <a:gd name="connsiteX78" fmla="*/ 9427 w 10000"/>
              <a:gd name="connsiteY78" fmla="*/ 8950 h 10000"/>
              <a:gd name="connsiteX79" fmla="*/ 9375 w 10000"/>
              <a:gd name="connsiteY79" fmla="*/ 8950 h 10000"/>
              <a:gd name="connsiteX80" fmla="*/ 9322 w 10000"/>
              <a:gd name="connsiteY80" fmla="*/ 8950 h 10000"/>
              <a:gd name="connsiteX81" fmla="*/ 9271 w 10000"/>
              <a:gd name="connsiteY81" fmla="*/ 8950 h 10000"/>
              <a:gd name="connsiteX82" fmla="*/ 9271 w 10000"/>
              <a:gd name="connsiteY82" fmla="*/ 8991 h 10000"/>
              <a:gd name="connsiteX83" fmla="*/ 9219 w 10000"/>
              <a:gd name="connsiteY83" fmla="*/ 9034 h 10000"/>
              <a:gd name="connsiteX84" fmla="*/ 9167 w 10000"/>
              <a:gd name="connsiteY84" fmla="*/ 9076 h 10000"/>
              <a:gd name="connsiteX85" fmla="*/ 9219 w 10000"/>
              <a:gd name="connsiteY85" fmla="*/ 9076 h 10000"/>
              <a:gd name="connsiteX86" fmla="*/ 9167 w 10000"/>
              <a:gd name="connsiteY86" fmla="*/ 9076 h 10000"/>
              <a:gd name="connsiteX87" fmla="*/ 9114 w 10000"/>
              <a:gd name="connsiteY87" fmla="*/ 9076 h 10000"/>
              <a:gd name="connsiteX88" fmla="*/ 9062 w 10000"/>
              <a:gd name="connsiteY88" fmla="*/ 9117 h 10000"/>
              <a:gd name="connsiteX89" fmla="*/ 9011 w 10000"/>
              <a:gd name="connsiteY89" fmla="*/ 9158 h 10000"/>
              <a:gd name="connsiteX90" fmla="*/ 8959 w 10000"/>
              <a:gd name="connsiteY90" fmla="*/ 9158 h 10000"/>
              <a:gd name="connsiteX91" fmla="*/ 8959 w 10000"/>
              <a:gd name="connsiteY91" fmla="*/ 9202 h 10000"/>
              <a:gd name="connsiteX92" fmla="*/ 8906 w 10000"/>
              <a:gd name="connsiteY92" fmla="*/ 9202 h 10000"/>
              <a:gd name="connsiteX93" fmla="*/ 8906 w 10000"/>
              <a:gd name="connsiteY93" fmla="*/ 9243 h 10000"/>
              <a:gd name="connsiteX94" fmla="*/ 8854 w 10000"/>
              <a:gd name="connsiteY94" fmla="*/ 9243 h 10000"/>
              <a:gd name="connsiteX95" fmla="*/ 8802 w 10000"/>
              <a:gd name="connsiteY95" fmla="*/ 9243 h 10000"/>
              <a:gd name="connsiteX96" fmla="*/ 8749 w 10000"/>
              <a:gd name="connsiteY96" fmla="*/ 9243 h 10000"/>
              <a:gd name="connsiteX97" fmla="*/ 8698 w 10000"/>
              <a:gd name="connsiteY97" fmla="*/ 9243 h 10000"/>
              <a:gd name="connsiteX98" fmla="*/ 8646 w 10000"/>
              <a:gd name="connsiteY98" fmla="*/ 9243 h 10000"/>
              <a:gd name="connsiteX99" fmla="*/ 8646 w 10000"/>
              <a:gd name="connsiteY99" fmla="*/ 9202 h 10000"/>
              <a:gd name="connsiteX100" fmla="*/ 8646 w 10000"/>
              <a:gd name="connsiteY100" fmla="*/ 9158 h 10000"/>
              <a:gd name="connsiteX101" fmla="*/ 8594 w 10000"/>
              <a:gd name="connsiteY101" fmla="*/ 9117 h 10000"/>
              <a:gd name="connsiteX102" fmla="*/ 8594 w 10000"/>
              <a:gd name="connsiteY102" fmla="*/ 9076 h 10000"/>
              <a:gd name="connsiteX103" fmla="*/ 8594 w 10000"/>
              <a:gd name="connsiteY103" fmla="*/ 9034 h 10000"/>
              <a:gd name="connsiteX104" fmla="*/ 8541 w 10000"/>
              <a:gd name="connsiteY104" fmla="*/ 9034 h 10000"/>
              <a:gd name="connsiteX105" fmla="*/ 8489 w 10000"/>
              <a:gd name="connsiteY105" fmla="*/ 9034 h 10000"/>
              <a:gd name="connsiteX106" fmla="*/ 8489 w 10000"/>
              <a:gd name="connsiteY106" fmla="*/ 8991 h 10000"/>
              <a:gd name="connsiteX107" fmla="*/ 8438 w 10000"/>
              <a:gd name="connsiteY107" fmla="*/ 8991 h 10000"/>
              <a:gd name="connsiteX108" fmla="*/ 8386 w 10000"/>
              <a:gd name="connsiteY108" fmla="*/ 9034 h 10000"/>
              <a:gd name="connsiteX109" fmla="*/ 8386 w 10000"/>
              <a:gd name="connsiteY109" fmla="*/ 9076 h 10000"/>
              <a:gd name="connsiteX110" fmla="*/ 8282 w 10000"/>
              <a:gd name="connsiteY110" fmla="*/ 9034 h 10000"/>
              <a:gd name="connsiteX111" fmla="*/ 8282 w 10000"/>
              <a:gd name="connsiteY111" fmla="*/ 8991 h 10000"/>
              <a:gd name="connsiteX112" fmla="*/ 8230 w 10000"/>
              <a:gd name="connsiteY112" fmla="*/ 8991 h 10000"/>
              <a:gd name="connsiteX113" fmla="*/ 8179 w 10000"/>
              <a:gd name="connsiteY113" fmla="*/ 8991 h 10000"/>
              <a:gd name="connsiteX114" fmla="*/ 8126 w 10000"/>
              <a:gd name="connsiteY114" fmla="*/ 8991 h 10000"/>
              <a:gd name="connsiteX115" fmla="*/ 8074 w 10000"/>
              <a:gd name="connsiteY115" fmla="*/ 8991 h 10000"/>
              <a:gd name="connsiteX116" fmla="*/ 8022 w 10000"/>
              <a:gd name="connsiteY116" fmla="*/ 8991 h 10000"/>
              <a:gd name="connsiteX117" fmla="*/ 8022 w 10000"/>
              <a:gd name="connsiteY117" fmla="*/ 9034 h 10000"/>
              <a:gd name="connsiteX118" fmla="*/ 7969 w 10000"/>
              <a:gd name="connsiteY118" fmla="*/ 9034 h 10000"/>
              <a:gd name="connsiteX119" fmla="*/ 7917 w 10000"/>
              <a:gd name="connsiteY119" fmla="*/ 9076 h 10000"/>
              <a:gd name="connsiteX120" fmla="*/ 7866 w 10000"/>
              <a:gd name="connsiteY120" fmla="*/ 9076 h 10000"/>
              <a:gd name="connsiteX121" fmla="*/ 7866 w 10000"/>
              <a:gd name="connsiteY121" fmla="*/ 9034 h 10000"/>
              <a:gd name="connsiteX122" fmla="*/ 7866 w 10000"/>
              <a:gd name="connsiteY122" fmla="*/ 9076 h 10000"/>
              <a:gd name="connsiteX123" fmla="*/ 7814 w 10000"/>
              <a:gd name="connsiteY123" fmla="*/ 9076 h 10000"/>
              <a:gd name="connsiteX124" fmla="*/ 7761 w 10000"/>
              <a:gd name="connsiteY124" fmla="*/ 9117 h 10000"/>
              <a:gd name="connsiteX125" fmla="*/ 7709 w 10000"/>
              <a:gd name="connsiteY125" fmla="*/ 9076 h 10000"/>
              <a:gd name="connsiteX126" fmla="*/ 7657 w 10000"/>
              <a:gd name="connsiteY126" fmla="*/ 9076 h 10000"/>
              <a:gd name="connsiteX127" fmla="*/ 7606 w 10000"/>
              <a:gd name="connsiteY127" fmla="*/ 9076 h 10000"/>
              <a:gd name="connsiteX128" fmla="*/ 7553 w 10000"/>
              <a:gd name="connsiteY128" fmla="*/ 9034 h 10000"/>
              <a:gd name="connsiteX129" fmla="*/ 7501 w 10000"/>
              <a:gd name="connsiteY129" fmla="*/ 9034 h 10000"/>
              <a:gd name="connsiteX130" fmla="*/ 7501 w 10000"/>
              <a:gd name="connsiteY130" fmla="*/ 9076 h 10000"/>
              <a:gd name="connsiteX131" fmla="*/ 7449 w 10000"/>
              <a:gd name="connsiteY131" fmla="*/ 9076 h 10000"/>
              <a:gd name="connsiteX132" fmla="*/ 7396 w 10000"/>
              <a:gd name="connsiteY132" fmla="*/ 9034 h 10000"/>
              <a:gd name="connsiteX133" fmla="*/ 7345 w 10000"/>
              <a:gd name="connsiteY133" fmla="*/ 9034 h 10000"/>
              <a:gd name="connsiteX134" fmla="*/ 7293 w 10000"/>
              <a:gd name="connsiteY134" fmla="*/ 9117 h 10000"/>
              <a:gd name="connsiteX135" fmla="*/ 7241 w 10000"/>
              <a:gd name="connsiteY135" fmla="*/ 9117 h 10000"/>
              <a:gd name="connsiteX136" fmla="*/ 7241 w 10000"/>
              <a:gd name="connsiteY136" fmla="*/ 9076 h 10000"/>
              <a:gd name="connsiteX137" fmla="*/ 7241 w 10000"/>
              <a:gd name="connsiteY137" fmla="*/ 9117 h 10000"/>
              <a:gd name="connsiteX138" fmla="*/ 7241 w 10000"/>
              <a:gd name="connsiteY138" fmla="*/ 9158 h 10000"/>
              <a:gd name="connsiteX139" fmla="*/ 7188 w 10000"/>
              <a:gd name="connsiteY139" fmla="*/ 9158 h 10000"/>
              <a:gd name="connsiteX140" fmla="*/ 7136 w 10000"/>
              <a:gd name="connsiteY140" fmla="*/ 9158 h 10000"/>
              <a:gd name="connsiteX141" fmla="*/ 7188 w 10000"/>
              <a:gd name="connsiteY141" fmla="*/ 9202 h 10000"/>
              <a:gd name="connsiteX142" fmla="*/ 7136 w 10000"/>
              <a:gd name="connsiteY142" fmla="*/ 9243 h 10000"/>
              <a:gd name="connsiteX143" fmla="*/ 7188 w 10000"/>
              <a:gd name="connsiteY143" fmla="*/ 9286 h 10000"/>
              <a:gd name="connsiteX144" fmla="*/ 7241 w 10000"/>
              <a:gd name="connsiteY144" fmla="*/ 9286 h 10000"/>
              <a:gd name="connsiteX145" fmla="*/ 7241 w 10000"/>
              <a:gd name="connsiteY145" fmla="*/ 9328 h 10000"/>
              <a:gd name="connsiteX146" fmla="*/ 7188 w 10000"/>
              <a:gd name="connsiteY146" fmla="*/ 9328 h 10000"/>
              <a:gd name="connsiteX147" fmla="*/ 7136 w 10000"/>
              <a:gd name="connsiteY147" fmla="*/ 9328 h 10000"/>
              <a:gd name="connsiteX148" fmla="*/ 7188 w 10000"/>
              <a:gd name="connsiteY148" fmla="*/ 9369 h 10000"/>
              <a:gd name="connsiteX149" fmla="*/ 7188 w 10000"/>
              <a:gd name="connsiteY149" fmla="*/ 9411 h 10000"/>
              <a:gd name="connsiteX150" fmla="*/ 7136 w 10000"/>
              <a:gd name="connsiteY150" fmla="*/ 9411 h 10000"/>
              <a:gd name="connsiteX151" fmla="*/ 7136 w 10000"/>
              <a:gd name="connsiteY151" fmla="*/ 9454 h 10000"/>
              <a:gd name="connsiteX152" fmla="*/ 7084 w 10000"/>
              <a:gd name="connsiteY152" fmla="*/ 9496 h 10000"/>
              <a:gd name="connsiteX153" fmla="*/ 7136 w 10000"/>
              <a:gd name="connsiteY153" fmla="*/ 9538 h 10000"/>
              <a:gd name="connsiteX154" fmla="*/ 7188 w 10000"/>
              <a:gd name="connsiteY154" fmla="*/ 9538 h 10000"/>
              <a:gd name="connsiteX155" fmla="*/ 7188 w 10000"/>
              <a:gd name="connsiteY155" fmla="*/ 9579 h 10000"/>
              <a:gd name="connsiteX156" fmla="*/ 7188 w 10000"/>
              <a:gd name="connsiteY156" fmla="*/ 9621 h 10000"/>
              <a:gd name="connsiteX157" fmla="*/ 7136 w 10000"/>
              <a:gd name="connsiteY157" fmla="*/ 9621 h 10000"/>
              <a:gd name="connsiteX158" fmla="*/ 7084 w 10000"/>
              <a:gd name="connsiteY158" fmla="*/ 9663 h 10000"/>
              <a:gd name="connsiteX159" fmla="*/ 7136 w 10000"/>
              <a:gd name="connsiteY159" fmla="*/ 9705 h 10000"/>
              <a:gd name="connsiteX160" fmla="*/ 7136 w 10000"/>
              <a:gd name="connsiteY160" fmla="*/ 9748 h 10000"/>
              <a:gd name="connsiteX161" fmla="*/ 7136 w 10000"/>
              <a:gd name="connsiteY161" fmla="*/ 9790 h 10000"/>
              <a:gd name="connsiteX162" fmla="*/ 7136 w 10000"/>
              <a:gd name="connsiteY162" fmla="*/ 9831 h 10000"/>
              <a:gd name="connsiteX163" fmla="*/ 7084 w 10000"/>
              <a:gd name="connsiteY163" fmla="*/ 9831 h 10000"/>
              <a:gd name="connsiteX164" fmla="*/ 7084 w 10000"/>
              <a:gd name="connsiteY164" fmla="*/ 9873 h 10000"/>
              <a:gd name="connsiteX165" fmla="*/ 7033 w 10000"/>
              <a:gd name="connsiteY165" fmla="*/ 9873 h 10000"/>
              <a:gd name="connsiteX166" fmla="*/ 6928 w 10000"/>
              <a:gd name="connsiteY166" fmla="*/ 9873 h 10000"/>
              <a:gd name="connsiteX167" fmla="*/ 6928 w 10000"/>
              <a:gd name="connsiteY167" fmla="*/ 9915 h 10000"/>
              <a:gd name="connsiteX168" fmla="*/ 6928 w 10000"/>
              <a:gd name="connsiteY168" fmla="*/ 9957 h 10000"/>
              <a:gd name="connsiteX169" fmla="*/ 6928 w 10000"/>
              <a:gd name="connsiteY169" fmla="*/ 10000 h 10000"/>
              <a:gd name="connsiteX170" fmla="*/ 6928 w 10000"/>
              <a:gd name="connsiteY170" fmla="*/ 9957 h 10000"/>
              <a:gd name="connsiteX171" fmla="*/ 6876 w 10000"/>
              <a:gd name="connsiteY171" fmla="*/ 9957 h 10000"/>
              <a:gd name="connsiteX172" fmla="*/ 7344 w 10000"/>
              <a:gd name="connsiteY172" fmla="*/ 7415 h 10000"/>
              <a:gd name="connsiteX173" fmla="*/ 7136 w 10000"/>
              <a:gd name="connsiteY173" fmla="*/ 7074 h 10000"/>
              <a:gd name="connsiteX174" fmla="*/ 6544 w 10000"/>
              <a:gd name="connsiteY174" fmla="*/ 6963 h 10000"/>
              <a:gd name="connsiteX175" fmla="*/ 5775 w 10000"/>
              <a:gd name="connsiteY175" fmla="*/ 6928 h 10000"/>
              <a:gd name="connsiteX176" fmla="*/ 5311 w 10000"/>
              <a:gd name="connsiteY176" fmla="*/ 6821 h 10000"/>
              <a:gd name="connsiteX177" fmla="*/ 5071 w 10000"/>
              <a:gd name="connsiteY177" fmla="*/ 6712 h 10000"/>
              <a:gd name="connsiteX178" fmla="*/ 4912 w 10000"/>
              <a:gd name="connsiteY178" fmla="*/ 6803 h 10000"/>
              <a:gd name="connsiteX179" fmla="*/ 4416 w 10000"/>
              <a:gd name="connsiteY179" fmla="*/ 6640 h 10000"/>
              <a:gd name="connsiteX180" fmla="*/ 3584 w 10000"/>
              <a:gd name="connsiteY180" fmla="*/ 6352 h 10000"/>
              <a:gd name="connsiteX181" fmla="*/ 3104 w 10000"/>
              <a:gd name="connsiteY181" fmla="*/ 6296 h 10000"/>
              <a:gd name="connsiteX182" fmla="*/ 3200 w 10000"/>
              <a:gd name="connsiteY182" fmla="*/ 6099 h 10000"/>
              <a:gd name="connsiteX183" fmla="*/ 3344 w 10000"/>
              <a:gd name="connsiteY183" fmla="*/ 6044 h 10000"/>
              <a:gd name="connsiteX184" fmla="*/ 3728 w 10000"/>
              <a:gd name="connsiteY184" fmla="*/ 5757 h 10000"/>
              <a:gd name="connsiteX185" fmla="*/ 3968 w 10000"/>
              <a:gd name="connsiteY185" fmla="*/ 5486 h 10000"/>
              <a:gd name="connsiteX186" fmla="*/ 4224 w 10000"/>
              <a:gd name="connsiteY186" fmla="*/ 5198 h 10000"/>
              <a:gd name="connsiteX187" fmla="*/ 4368 w 10000"/>
              <a:gd name="connsiteY187" fmla="*/ 4928 h 10000"/>
              <a:gd name="connsiteX188" fmla="*/ 4352 w 10000"/>
              <a:gd name="connsiteY188" fmla="*/ 4621 h 10000"/>
              <a:gd name="connsiteX189" fmla="*/ 4336 w 10000"/>
              <a:gd name="connsiteY189" fmla="*/ 4350 h 10000"/>
              <a:gd name="connsiteX190" fmla="*/ 4176 w 10000"/>
              <a:gd name="connsiteY190" fmla="*/ 4188 h 10000"/>
              <a:gd name="connsiteX191" fmla="*/ 4016 w 10000"/>
              <a:gd name="connsiteY191" fmla="*/ 4207 h 10000"/>
              <a:gd name="connsiteX192" fmla="*/ 3856 w 10000"/>
              <a:gd name="connsiteY192" fmla="*/ 4495 h 10000"/>
              <a:gd name="connsiteX193" fmla="*/ 3808 w 10000"/>
              <a:gd name="connsiteY193" fmla="*/ 5016 h 10000"/>
              <a:gd name="connsiteX194" fmla="*/ 3536 w 10000"/>
              <a:gd name="connsiteY194" fmla="*/ 5361 h 10000"/>
              <a:gd name="connsiteX195" fmla="*/ 2992 w 10000"/>
              <a:gd name="connsiteY195" fmla="*/ 5667 h 10000"/>
              <a:gd name="connsiteX196" fmla="*/ 2415 w 10000"/>
              <a:gd name="connsiteY196" fmla="*/ 5901 h 10000"/>
              <a:gd name="connsiteX197" fmla="*/ 1951 w 10000"/>
              <a:gd name="connsiteY197" fmla="*/ 6224 h 10000"/>
              <a:gd name="connsiteX198" fmla="*/ 0 w 10000"/>
              <a:gd name="connsiteY198" fmla="*/ 6153 h 10000"/>
              <a:gd name="connsiteX199" fmla="*/ 3 w 10000"/>
              <a:gd name="connsiteY199" fmla="*/ 5924 h 10000"/>
              <a:gd name="connsiteX200" fmla="*/ 159 w 10000"/>
              <a:gd name="connsiteY200" fmla="*/ 6008 h 10000"/>
              <a:gd name="connsiteX201" fmla="*/ 368 w 10000"/>
              <a:gd name="connsiteY201" fmla="*/ 5924 h 10000"/>
              <a:gd name="connsiteX202" fmla="*/ 1462 w 10000"/>
              <a:gd name="connsiteY202" fmla="*/ 5924 h 10000"/>
              <a:gd name="connsiteX203" fmla="*/ 1617 w 10000"/>
              <a:gd name="connsiteY203" fmla="*/ 5883 h 10000"/>
              <a:gd name="connsiteX204" fmla="*/ 1669 w 10000"/>
              <a:gd name="connsiteY204" fmla="*/ 5883 h 10000"/>
              <a:gd name="connsiteX205" fmla="*/ 2189 w 10000"/>
              <a:gd name="connsiteY205" fmla="*/ 5336 h 10000"/>
              <a:gd name="connsiteX206" fmla="*/ 2294 w 10000"/>
              <a:gd name="connsiteY206" fmla="*/ 5251 h 10000"/>
              <a:gd name="connsiteX207" fmla="*/ 2762 w 10000"/>
              <a:gd name="connsiteY207" fmla="*/ 4832 h 10000"/>
              <a:gd name="connsiteX208" fmla="*/ 3023 w 10000"/>
              <a:gd name="connsiteY208" fmla="*/ 4580 h 10000"/>
              <a:gd name="connsiteX209" fmla="*/ 3179 w 10000"/>
              <a:gd name="connsiteY209" fmla="*/ 4454 h 10000"/>
              <a:gd name="connsiteX210" fmla="*/ 3596 w 10000"/>
              <a:gd name="connsiteY210" fmla="*/ 3823 h 10000"/>
              <a:gd name="connsiteX211" fmla="*/ 4116 w 10000"/>
              <a:gd name="connsiteY211" fmla="*/ 3571 h 10000"/>
              <a:gd name="connsiteX212" fmla="*/ 5001 w 10000"/>
              <a:gd name="connsiteY212" fmla="*/ 2858 h 10000"/>
              <a:gd name="connsiteX213" fmla="*/ 4845 w 10000"/>
              <a:gd name="connsiteY213" fmla="*/ 2606 h 10000"/>
              <a:gd name="connsiteX214" fmla="*/ 4794 w 10000"/>
              <a:gd name="connsiteY214" fmla="*/ 2437 h 10000"/>
              <a:gd name="connsiteX215" fmla="*/ 4794 w 10000"/>
              <a:gd name="connsiteY215" fmla="*/ 1260 h 10000"/>
              <a:gd name="connsiteX216" fmla="*/ 4116 w 10000"/>
              <a:gd name="connsiteY216" fmla="*/ 756 h 10000"/>
              <a:gd name="connsiteX217" fmla="*/ 4950 w 10000"/>
              <a:gd name="connsiteY217" fmla="*/ 756 h 10000"/>
              <a:gd name="connsiteX218" fmla="*/ 5782 w 10000"/>
              <a:gd name="connsiteY218" fmla="*/ 756 h 10000"/>
              <a:gd name="connsiteX219" fmla="*/ 5782 w 10000"/>
              <a:gd name="connsiteY219" fmla="*/ 714 h 10000"/>
              <a:gd name="connsiteX220" fmla="*/ 5782 w 10000"/>
              <a:gd name="connsiteY220" fmla="*/ 673 h 10000"/>
              <a:gd name="connsiteX221" fmla="*/ 5782 w 10000"/>
              <a:gd name="connsiteY221" fmla="*/ 632 h 10000"/>
              <a:gd name="connsiteX222" fmla="*/ 5782 w 10000"/>
              <a:gd name="connsiteY222" fmla="*/ 587 h 10000"/>
              <a:gd name="connsiteX223" fmla="*/ 5834 w 10000"/>
              <a:gd name="connsiteY223" fmla="*/ 545 h 10000"/>
              <a:gd name="connsiteX224" fmla="*/ 5834 w 10000"/>
              <a:gd name="connsiteY224" fmla="*/ 504 h 10000"/>
              <a:gd name="connsiteX225" fmla="*/ 5834 w 10000"/>
              <a:gd name="connsiteY225" fmla="*/ 463 h 10000"/>
              <a:gd name="connsiteX226" fmla="*/ 5834 w 10000"/>
              <a:gd name="connsiteY226" fmla="*/ 421 h 10000"/>
              <a:gd name="connsiteX227" fmla="*/ 5834 w 10000"/>
              <a:gd name="connsiteY227" fmla="*/ 380 h 10000"/>
              <a:gd name="connsiteX228" fmla="*/ 5834 w 10000"/>
              <a:gd name="connsiteY228" fmla="*/ 335 h 10000"/>
              <a:gd name="connsiteX229" fmla="*/ 5782 w 10000"/>
              <a:gd name="connsiteY229" fmla="*/ 335 h 10000"/>
              <a:gd name="connsiteX230" fmla="*/ 5782 w 10000"/>
              <a:gd name="connsiteY230" fmla="*/ 293 h 10000"/>
              <a:gd name="connsiteX231" fmla="*/ 5782 w 10000"/>
              <a:gd name="connsiteY231" fmla="*/ 252 h 10000"/>
              <a:gd name="connsiteX232" fmla="*/ 5782 w 10000"/>
              <a:gd name="connsiteY232" fmla="*/ 211 h 10000"/>
              <a:gd name="connsiteX233" fmla="*/ 5782 w 10000"/>
              <a:gd name="connsiteY233" fmla="*/ 169 h 10000"/>
              <a:gd name="connsiteX234" fmla="*/ 5782 w 10000"/>
              <a:gd name="connsiteY234" fmla="*/ 128 h 10000"/>
              <a:gd name="connsiteX235" fmla="*/ 5782 w 10000"/>
              <a:gd name="connsiteY235" fmla="*/ 83 h 10000"/>
              <a:gd name="connsiteX236" fmla="*/ 5782 w 10000"/>
              <a:gd name="connsiteY236" fmla="*/ 41 h 10000"/>
              <a:gd name="connsiteX237" fmla="*/ 5782 w 10000"/>
              <a:gd name="connsiteY237" fmla="*/ 0 h 10000"/>
              <a:gd name="connsiteX0" fmla="*/ 5782 w 10000"/>
              <a:gd name="connsiteY0" fmla="*/ 0 h 9957"/>
              <a:gd name="connsiteX1" fmla="*/ 7345 w 10000"/>
              <a:gd name="connsiteY1" fmla="*/ 41 h 9957"/>
              <a:gd name="connsiteX2" fmla="*/ 7501 w 10000"/>
              <a:gd name="connsiteY2" fmla="*/ 41 h 9957"/>
              <a:gd name="connsiteX3" fmla="*/ 7345 w 10000"/>
              <a:gd name="connsiteY3" fmla="*/ 169 h 9957"/>
              <a:gd name="connsiteX4" fmla="*/ 7293 w 10000"/>
              <a:gd name="connsiteY4" fmla="*/ 545 h 9957"/>
              <a:gd name="connsiteX5" fmla="*/ 7188 w 10000"/>
              <a:gd name="connsiteY5" fmla="*/ 1136 h 9957"/>
              <a:gd name="connsiteX6" fmla="*/ 7136 w 10000"/>
              <a:gd name="connsiteY6" fmla="*/ 1177 h 9957"/>
              <a:gd name="connsiteX7" fmla="*/ 6980 w 10000"/>
              <a:gd name="connsiteY7" fmla="*/ 1512 h 9957"/>
              <a:gd name="connsiteX8" fmla="*/ 7396 w 10000"/>
              <a:gd name="connsiteY8" fmla="*/ 3068 h 9957"/>
              <a:gd name="connsiteX9" fmla="*/ 7501 w 10000"/>
              <a:gd name="connsiteY9" fmla="*/ 3362 h 9957"/>
              <a:gd name="connsiteX10" fmla="*/ 7345 w 10000"/>
              <a:gd name="connsiteY10" fmla="*/ 3614 h 9957"/>
              <a:gd name="connsiteX11" fmla="*/ 8022 w 10000"/>
              <a:gd name="connsiteY11" fmla="*/ 3781 h 9957"/>
              <a:gd name="connsiteX12" fmla="*/ 8489 w 10000"/>
              <a:gd name="connsiteY12" fmla="*/ 4244 h 9957"/>
              <a:gd name="connsiteX13" fmla="*/ 8594 w 10000"/>
              <a:gd name="connsiteY13" fmla="*/ 4328 h 9957"/>
              <a:gd name="connsiteX14" fmla="*/ 8906 w 10000"/>
              <a:gd name="connsiteY14" fmla="*/ 4538 h 9957"/>
              <a:gd name="connsiteX15" fmla="*/ 9114 w 10000"/>
              <a:gd name="connsiteY15" fmla="*/ 4790 h 9957"/>
              <a:gd name="connsiteX16" fmla="*/ 9219 w 10000"/>
              <a:gd name="connsiteY16" fmla="*/ 4916 h 9957"/>
              <a:gd name="connsiteX17" fmla="*/ 9427 w 10000"/>
              <a:gd name="connsiteY17" fmla="*/ 4916 h 9957"/>
              <a:gd name="connsiteX18" fmla="*/ 9427 w 10000"/>
              <a:gd name="connsiteY18" fmla="*/ 4958 h 9957"/>
              <a:gd name="connsiteX19" fmla="*/ 9479 w 10000"/>
              <a:gd name="connsiteY19" fmla="*/ 5042 h 9957"/>
              <a:gd name="connsiteX20" fmla="*/ 9479 w 10000"/>
              <a:gd name="connsiteY20" fmla="*/ 5084 h 9957"/>
              <a:gd name="connsiteX21" fmla="*/ 9532 w 10000"/>
              <a:gd name="connsiteY21" fmla="*/ 5251 h 9957"/>
              <a:gd name="connsiteX22" fmla="*/ 9532 w 10000"/>
              <a:gd name="connsiteY22" fmla="*/ 5294 h 9957"/>
              <a:gd name="connsiteX23" fmla="*/ 9532 w 10000"/>
              <a:gd name="connsiteY23" fmla="*/ 5421 h 9957"/>
              <a:gd name="connsiteX24" fmla="*/ 9532 w 10000"/>
              <a:gd name="connsiteY24" fmla="*/ 5503 h 9957"/>
              <a:gd name="connsiteX25" fmla="*/ 9479 w 10000"/>
              <a:gd name="connsiteY25" fmla="*/ 5588 h 9957"/>
              <a:gd name="connsiteX26" fmla="*/ 9427 w 10000"/>
              <a:gd name="connsiteY26" fmla="*/ 5841 h 9957"/>
              <a:gd name="connsiteX27" fmla="*/ 9375 w 10000"/>
              <a:gd name="connsiteY27" fmla="*/ 5883 h 9957"/>
              <a:gd name="connsiteX28" fmla="*/ 9322 w 10000"/>
              <a:gd name="connsiteY28" fmla="*/ 5924 h 9957"/>
              <a:gd name="connsiteX29" fmla="*/ 9271 w 10000"/>
              <a:gd name="connsiteY29" fmla="*/ 6093 h 9957"/>
              <a:gd name="connsiteX30" fmla="*/ 9219 w 10000"/>
              <a:gd name="connsiteY30" fmla="*/ 6176 h 9957"/>
              <a:gd name="connsiteX31" fmla="*/ 9219 w 10000"/>
              <a:gd name="connsiteY31" fmla="*/ 6260 h 9957"/>
              <a:gd name="connsiteX32" fmla="*/ 9219 w 10000"/>
              <a:gd name="connsiteY32" fmla="*/ 6302 h 9957"/>
              <a:gd name="connsiteX33" fmla="*/ 9219 w 10000"/>
              <a:gd name="connsiteY33" fmla="*/ 6428 h 9957"/>
              <a:gd name="connsiteX34" fmla="*/ 9271 w 10000"/>
              <a:gd name="connsiteY34" fmla="*/ 6555 h 9957"/>
              <a:gd name="connsiteX35" fmla="*/ 9895 w 10000"/>
              <a:gd name="connsiteY35" fmla="*/ 6555 h 9957"/>
              <a:gd name="connsiteX36" fmla="*/ 9895 w 10000"/>
              <a:gd name="connsiteY36" fmla="*/ 6639 h 9957"/>
              <a:gd name="connsiteX37" fmla="*/ 9948 w 10000"/>
              <a:gd name="connsiteY37" fmla="*/ 6932 h 9957"/>
              <a:gd name="connsiteX38" fmla="*/ 9948 w 10000"/>
              <a:gd name="connsiteY38" fmla="*/ 6974 h 9957"/>
              <a:gd name="connsiteX39" fmla="*/ 9948 w 10000"/>
              <a:gd name="connsiteY39" fmla="*/ 7101 h 9957"/>
              <a:gd name="connsiteX40" fmla="*/ 9948 w 10000"/>
              <a:gd name="connsiteY40" fmla="*/ 7143 h 9957"/>
              <a:gd name="connsiteX41" fmla="*/ 9948 w 10000"/>
              <a:gd name="connsiteY41" fmla="*/ 7226 h 9957"/>
              <a:gd name="connsiteX42" fmla="*/ 9948 w 10000"/>
              <a:gd name="connsiteY42" fmla="*/ 7269 h 9957"/>
              <a:gd name="connsiteX43" fmla="*/ 9948 w 10000"/>
              <a:gd name="connsiteY43" fmla="*/ 7311 h 9957"/>
              <a:gd name="connsiteX44" fmla="*/ 9948 w 10000"/>
              <a:gd name="connsiteY44" fmla="*/ 7353 h 9957"/>
              <a:gd name="connsiteX45" fmla="*/ 10000 w 10000"/>
              <a:gd name="connsiteY45" fmla="*/ 7436 h 9957"/>
              <a:gd name="connsiteX46" fmla="*/ 10000 w 10000"/>
              <a:gd name="connsiteY46" fmla="*/ 7564 h 9957"/>
              <a:gd name="connsiteX47" fmla="*/ 10000 w 10000"/>
              <a:gd name="connsiteY47" fmla="*/ 7605 h 9957"/>
              <a:gd name="connsiteX48" fmla="*/ 10000 w 10000"/>
              <a:gd name="connsiteY48" fmla="*/ 7647 h 9957"/>
              <a:gd name="connsiteX49" fmla="*/ 10000 w 10000"/>
              <a:gd name="connsiteY49" fmla="*/ 7688 h 9957"/>
              <a:gd name="connsiteX50" fmla="*/ 10000 w 10000"/>
              <a:gd name="connsiteY50" fmla="*/ 7773 h 9957"/>
              <a:gd name="connsiteX51" fmla="*/ 10000 w 10000"/>
              <a:gd name="connsiteY51" fmla="*/ 7816 h 9957"/>
              <a:gd name="connsiteX52" fmla="*/ 10000 w 10000"/>
              <a:gd name="connsiteY52" fmla="*/ 7857 h 9957"/>
              <a:gd name="connsiteX53" fmla="*/ 10000 w 10000"/>
              <a:gd name="connsiteY53" fmla="*/ 7940 h 9957"/>
              <a:gd name="connsiteX54" fmla="*/ 10000 w 10000"/>
              <a:gd name="connsiteY54" fmla="*/ 8151 h 9957"/>
              <a:gd name="connsiteX55" fmla="*/ 10000 w 10000"/>
              <a:gd name="connsiteY55" fmla="*/ 8192 h 9957"/>
              <a:gd name="connsiteX56" fmla="*/ 10000 w 10000"/>
              <a:gd name="connsiteY56" fmla="*/ 8277 h 9957"/>
              <a:gd name="connsiteX57" fmla="*/ 10000 w 10000"/>
              <a:gd name="connsiteY57" fmla="*/ 8320 h 9957"/>
              <a:gd name="connsiteX58" fmla="*/ 10000 w 10000"/>
              <a:gd name="connsiteY58" fmla="*/ 8361 h 9957"/>
              <a:gd name="connsiteX59" fmla="*/ 10000 w 10000"/>
              <a:gd name="connsiteY59" fmla="*/ 8402 h 9957"/>
              <a:gd name="connsiteX60" fmla="*/ 10000 w 10000"/>
              <a:gd name="connsiteY60" fmla="*/ 8444 h 9957"/>
              <a:gd name="connsiteX61" fmla="*/ 10000 w 10000"/>
              <a:gd name="connsiteY61" fmla="*/ 8530 h 9957"/>
              <a:gd name="connsiteX62" fmla="*/ 10000 w 10000"/>
              <a:gd name="connsiteY62" fmla="*/ 8613 h 9957"/>
              <a:gd name="connsiteX63" fmla="*/ 10000 w 10000"/>
              <a:gd name="connsiteY63" fmla="*/ 8654 h 9957"/>
              <a:gd name="connsiteX64" fmla="*/ 10000 w 10000"/>
              <a:gd name="connsiteY64" fmla="*/ 8698 h 9957"/>
              <a:gd name="connsiteX65" fmla="*/ 9948 w 10000"/>
              <a:gd name="connsiteY65" fmla="*/ 8698 h 9957"/>
              <a:gd name="connsiteX66" fmla="*/ 9948 w 10000"/>
              <a:gd name="connsiteY66" fmla="*/ 8739 h 9957"/>
              <a:gd name="connsiteX67" fmla="*/ 9895 w 10000"/>
              <a:gd name="connsiteY67" fmla="*/ 8782 h 9957"/>
              <a:gd name="connsiteX68" fmla="*/ 9844 w 10000"/>
              <a:gd name="connsiteY68" fmla="*/ 8782 h 9957"/>
              <a:gd name="connsiteX69" fmla="*/ 9844 w 10000"/>
              <a:gd name="connsiteY69" fmla="*/ 8824 h 9957"/>
              <a:gd name="connsiteX70" fmla="*/ 9792 w 10000"/>
              <a:gd name="connsiteY70" fmla="*/ 8824 h 9957"/>
              <a:gd name="connsiteX71" fmla="*/ 9740 w 10000"/>
              <a:gd name="connsiteY71" fmla="*/ 8865 h 9957"/>
              <a:gd name="connsiteX72" fmla="*/ 9687 w 10000"/>
              <a:gd name="connsiteY72" fmla="*/ 8906 h 9957"/>
              <a:gd name="connsiteX73" fmla="*/ 9635 w 10000"/>
              <a:gd name="connsiteY73" fmla="*/ 8906 h 9957"/>
              <a:gd name="connsiteX74" fmla="*/ 9635 w 10000"/>
              <a:gd name="connsiteY74" fmla="*/ 8950 h 9957"/>
              <a:gd name="connsiteX75" fmla="*/ 9583 w 10000"/>
              <a:gd name="connsiteY75" fmla="*/ 8950 h 9957"/>
              <a:gd name="connsiteX76" fmla="*/ 9532 w 10000"/>
              <a:gd name="connsiteY76" fmla="*/ 8950 h 9957"/>
              <a:gd name="connsiteX77" fmla="*/ 9479 w 10000"/>
              <a:gd name="connsiteY77" fmla="*/ 8950 h 9957"/>
              <a:gd name="connsiteX78" fmla="*/ 9427 w 10000"/>
              <a:gd name="connsiteY78" fmla="*/ 8950 h 9957"/>
              <a:gd name="connsiteX79" fmla="*/ 9375 w 10000"/>
              <a:gd name="connsiteY79" fmla="*/ 8950 h 9957"/>
              <a:gd name="connsiteX80" fmla="*/ 9322 w 10000"/>
              <a:gd name="connsiteY80" fmla="*/ 8950 h 9957"/>
              <a:gd name="connsiteX81" fmla="*/ 9271 w 10000"/>
              <a:gd name="connsiteY81" fmla="*/ 8950 h 9957"/>
              <a:gd name="connsiteX82" fmla="*/ 9271 w 10000"/>
              <a:gd name="connsiteY82" fmla="*/ 8991 h 9957"/>
              <a:gd name="connsiteX83" fmla="*/ 9219 w 10000"/>
              <a:gd name="connsiteY83" fmla="*/ 9034 h 9957"/>
              <a:gd name="connsiteX84" fmla="*/ 9167 w 10000"/>
              <a:gd name="connsiteY84" fmla="*/ 9076 h 9957"/>
              <a:gd name="connsiteX85" fmla="*/ 9219 w 10000"/>
              <a:gd name="connsiteY85" fmla="*/ 9076 h 9957"/>
              <a:gd name="connsiteX86" fmla="*/ 9167 w 10000"/>
              <a:gd name="connsiteY86" fmla="*/ 9076 h 9957"/>
              <a:gd name="connsiteX87" fmla="*/ 9114 w 10000"/>
              <a:gd name="connsiteY87" fmla="*/ 9076 h 9957"/>
              <a:gd name="connsiteX88" fmla="*/ 9062 w 10000"/>
              <a:gd name="connsiteY88" fmla="*/ 9117 h 9957"/>
              <a:gd name="connsiteX89" fmla="*/ 9011 w 10000"/>
              <a:gd name="connsiteY89" fmla="*/ 9158 h 9957"/>
              <a:gd name="connsiteX90" fmla="*/ 8959 w 10000"/>
              <a:gd name="connsiteY90" fmla="*/ 9158 h 9957"/>
              <a:gd name="connsiteX91" fmla="*/ 8959 w 10000"/>
              <a:gd name="connsiteY91" fmla="*/ 9202 h 9957"/>
              <a:gd name="connsiteX92" fmla="*/ 8906 w 10000"/>
              <a:gd name="connsiteY92" fmla="*/ 9202 h 9957"/>
              <a:gd name="connsiteX93" fmla="*/ 8906 w 10000"/>
              <a:gd name="connsiteY93" fmla="*/ 9243 h 9957"/>
              <a:gd name="connsiteX94" fmla="*/ 8854 w 10000"/>
              <a:gd name="connsiteY94" fmla="*/ 9243 h 9957"/>
              <a:gd name="connsiteX95" fmla="*/ 8802 w 10000"/>
              <a:gd name="connsiteY95" fmla="*/ 9243 h 9957"/>
              <a:gd name="connsiteX96" fmla="*/ 8749 w 10000"/>
              <a:gd name="connsiteY96" fmla="*/ 9243 h 9957"/>
              <a:gd name="connsiteX97" fmla="*/ 8698 w 10000"/>
              <a:gd name="connsiteY97" fmla="*/ 9243 h 9957"/>
              <a:gd name="connsiteX98" fmla="*/ 8646 w 10000"/>
              <a:gd name="connsiteY98" fmla="*/ 9243 h 9957"/>
              <a:gd name="connsiteX99" fmla="*/ 8646 w 10000"/>
              <a:gd name="connsiteY99" fmla="*/ 9202 h 9957"/>
              <a:gd name="connsiteX100" fmla="*/ 8646 w 10000"/>
              <a:gd name="connsiteY100" fmla="*/ 9158 h 9957"/>
              <a:gd name="connsiteX101" fmla="*/ 8594 w 10000"/>
              <a:gd name="connsiteY101" fmla="*/ 9117 h 9957"/>
              <a:gd name="connsiteX102" fmla="*/ 8594 w 10000"/>
              <a:gd name="connsiteY102" fmla="*/ 9076 h 9957"/>
              <a:gd name="connsiteX103" fmla="*/ 8594 w 10000"/>
              <a:gd name="connsiteY103" fmla="*/ 9034 h 9957"/>
              <a:gd name="connsiteX104" fmla="*/ 8541 w 10000"/>
              <a:gd name="connsiteY104" fmla="*/ 9034 h 9957"/>
              <a:gd name="connsiteX105" fmla="*/ 8489 w 10000"/>
              <a:gd name="connsiteY105" fmla="*/ 9034 h 9957"/>
              <a:gd name="connsiteX106" fmla="*/ 8489 w 10000"/>
              <a:gd name="connsiteY106" fmla="*/ 8991 h 9957"/>
              <a:gd name="connsiteX107" fmla="*/ 8438 w 10000"/>
              <a:gd name="connsiteY107" fmla="*/ 8991 h 9957"/>
              <a:gd name="connsiteX108" fmla="*/ 8386 w 10000"/>
              <a:gd name="connsiteY108" fmla="*/ 9034 h 9957"/>
              <a:gd name="connsiteX109" fmla="*/ 8386 w 10000"/>
              <a:gd name="connsiteY109" fmla="*/ 9076 h 9957"/>
              <a:gd name="connsiteX110" fmla="*/ 8282 w 10000"/>
              <a:gd name="connsiteY110" fmla="*/ 9034 h 9957"/>
              <a:gd name="connsiteX111" fmla="*/ 8282 w 10000"/>
              <a:gd name="connsiteY111" fmla="*/ 8991 h 9957"/>
              <a:gd name="connsiteX112" fmla="*/ 8230 w 10000"/>
              <a:gd name="connsiteY112" fmla="*/ 8991 h 9957"/>
              <a:gd name="connsiteX113" fmla="*/ 8179 w 10000"/>
              <a:gd name="connsiteY113" fmla="*/ 8991 h 9957"/>
              <a:gd name="connsiteX114" fmla="*/ 8126 w 10000"/>
              <a:gd name="connsiteY114" fmla="*/ 8991 h 9957"/>
              <a:gd name="connsiteX115" fmla="*/ 8074 w 10000"/>
              <a:gd name="connsiteY115" fmla="*/ 8991 h 9957"/>
              <a:gd name="connsiteX116" fmla="*/ 8022 w 10000"/>
              <a:gd name="connsiteY116" fmla="*/ 8991 h 9957"/>
              <a:gd name="connsiteX117" fmla="*/ 8022 w 10000"/>
              <a:gd name="connsiteY117" fmla="*/ 9034 h 9957"/>
              <a:gd name="connsiteX118" fmla="*/ 7969 w 10000"/>
              <a:gd name="connsiteY118" fmla="*/ 9034 h 9957"/>
              <a:gd name="connsiteX119" fmla="*/ 7917 w 10000"/>
              <a:gd name="connsiteY119" fmla="*/ 9076 h 9957"/>
              <a:gd name="connsiteX120" fmla="*/ 7866 w 10000"/>
              <a:gd name="connsiteY120" fmla="*/ 9076 h 9957"/>
              <a:gd name="connsiteX121" fmla="*/ 7866 w 10000"/>
              <a:gd name="connsiteY121" fmla="*/ 9034 h 9957"/>
              <a:gd name="connsiteX122" fmla="*/ 7866 w 10000"/>
              <a:gd name="connsiteY122" fmla="*/ 9076 h 9957"/>
              <a:gd name="connsiteX123" fmla="*/ 7814 w 10000"/>
              <a:gd name="connsiteY123" fmla="*/ 9076 h 9957"/>
              <a:gd name="connsiteX124" fmla="*/ 7761 w 10000"/>
              <a:gd name="connsiteY124" fmla="*/ 9117 h 9957"/>
              <a:gd name="connsiteX125" fmla="*/ 7709 w 10000"/>
              <a:gd name="connsiteY125" fmla="*/ 9076 h 9957"/>
              <a:gd name="connsiteX126" fmla="*/ 7657 w 10000"/>
              <a:gd name="connsiteY126" fmla="*/ 9076 h 9957"/>
              <a:gd name="connsiteX127" fmla="*/ 7606 w 10000"/>
              <a:gd name="connsiteY127" fmla="*/ 9076 h 9957"/>
              <a:gd name="connsiteX128" fmla="*/ 7553 w 10000"/>
              <a:gd name="connsiteY128" fmla="*/ 9034 h 9957"/>
              <a:gd name="connsiteX129" fmla="*/ 7501 w 10000"/>
              <a:gd name="connsiteY129" fmla="*/ 9034 h 9957"/>
              <a:gd name="connsiteX130" fmla="*/ 7501 w 10000"/>
              <a:gd name="connsiteY130" fmla="*/ 9076 h 9957"/>
              <a:gd name="connsiteX131" fmla="*/ 7449 w 10000"/>
              <a:gd name="connsiteY131" fmla="*/ 9076 h 9957"/>
              <a:gd name="connsiteX132" fmla="*/ 7396 w 10000"/>
              <a:gd name="connsiteY132" fmla="*/ 9034 h 9957"/>
              <a:gd name="connsiteX133" fmla="*/ 7345 w 10000"/>
              <a:gd name="connsiteY133" fmla="*/ 9034 h 9957"/>
              <a:gd name="connsiteX134" fmla="*/ 7293 w 10000"/>
              <a:gd name="connsiteY134" fmla="*/ 9117 h 9957"/>
              <a:gd name="connsiteX135" fmla="*/ 7241 w 10000"/>
              <a:gd name="connsiteY135" fmla="*/ 9117 h 9957"/>
              <a:gd name="connsiteX136" fmla="*/ 7241 w 10000"/>
              <a:gd name="connsiteY136" fmla="*/ 9076 h 9957"/>
              <a:gd name="connsiteX137" fmla="*/ 7241 w 10000"/>
              <a:gd name="connsiteY137" fmla="*/ 9117 h 9957"/>
              <a:gd name="connsiteX138" fmla="*/ 7241 w 10000"/>
              <a:gd name="connsiteY138" fmla="*/ 9158 h 9957"/>
              <a:gd name="connsiteX139" fmla="*/ 7188 w 10000"/>
              <a:gd name="connsiteY139" fmla="*/ 9158 h 9957"/>
              <a:gd name="connsiteX140" fmla="*/ 7136 w 10000"/>
              <a:gd name="connsiteY140" fmla="*/ 9158 h 9957"/>
              <a:gd name="connsiteX141" fmla="*/ 7188 w 10000"/>
              <a:gd name="connsiteY141" fmla="*/ 9202 h 9957"/>
              <a:gd name="connsiteX142" fmla="*/ 7136 w 10000"/>
              <a:gd name="connsiteY142" fmla="*/ 9243 h 9957"/>
              <a:gd name="connsiteX143" fmla="*/ 7188 w 10000"/>
              <a:gd name="connsiteY143" fmla="*/ 9286 h 9957"/>
              <a:gd name="connsiteX144" fmla="*/ 7241 w 10000"/>
              <a:gd name="connsiteY144" fmla="*/ 9286 h 9957"/>
              <a:gd name="connsiteX145" fmla="*/ 7241 w 10000"/>
              <a:gd name="connsiteY145" fmla="*/ 9328 h 9957"/>
              <a:gd name="connsiteX146" fmla="*/ 7188 w 10000"/>
              <a:gd name="connsiteY146" fmla="*/ 9328 h 9957"/>
              <a:gd name="connsiteX147" fmla="*/ 7136 w 10000"/>
              <a:gd name="connsiteY147" fmla="*/ 9328 h 9957"/>
              <a:gd name="connsiteX148" fmla="*/ 7188 w 10000"/>
              <a:gd name="connsiteY148" fmla="*/ 9369 h 9957"/>
              <a:gd name="connsiteX149" fmla="*/ 7188 w 10000"/>
              <a:gd name="connsiteY149" fmla="*/ 9411 h 9957"/>
              <a:gd name="connsiteX150" fmla="*/ 7136 w 10000"/>
              <a:gd name="connsiteY150" fmla="*/ 9411 h 9957"/>
              <a:gd name="connsiteX151" fmla="*/ 7136 w 10000"/>
              <a:gd name="connsiteY151" fmla="*/ 9454 h 9957"/>
              <a:gd name="connsiteX152" fmla="*/ 7084 w 10000"/>
              <a:gd name="connsiteY152" fmla="*/ 9496 h 9957"/>
              <a:gd name="connsiteX153" fmla="*/ 7136 w 10000"/>
              <a:gd name="connsiteY153" fmla="*/ 9538 h 9957"/>
              <a:gd name="connsiteX154" fmla="*/ 7188 w 10000"/>
              <a:gd name="connsiteY154" fmla="*/ 9538 h 9957"/>
              <a:gd name="connsiteX155" fmla="*/ 7188 w 10000"/>
              <a:gd name="connsiteY155" fmla="*/ 9579 h 9957"/>
              <a:gd name="connsiteX156" fmla="*/ 7188 w 10000"/>
              <a:gd name="connsiteY156" fmla="*/ 9621 h 9957"/>
              <a:gd name="connsiteX157" fmla="*/ 7136 w 10000"/>
              <a:gd name="connsiteY157" fmla="*/ 9621 h 9957"/>
              <a:gd name="connsiteX158" fmla="*/ 7084 w 10000"/>
              <a:gd name="connsiteY158" fmla="*/ 9663 h 9957"/>
              <a:gd name="connsiteX159" fmla="*/ 7136 w 10000"/>
              <a:gd name="connsiteY159" fmla="*/ 9705 h 9957"/>
              <a:gd name="connsiteX160" fmla="*/ 7136 w 10000"/>
              <a:gd name="connsiteY160" fmla="*/ 9748 h 9957"/>
              <a:gd name="connsiteX161" fmla="*/ 7136 w 10000"/>
              <a:gd name="connsiteY161" fmla="*/ 9790 h 9957"/>
              <a:gd name="connsiteX162" fmla="*/ 7136 w 10000"/>
              <a:gd name="connsiteY162" fmla="*/ 9831 h 9957"/>
              <a:gd name="connsiteX163" fmla="*/ 7084 w 10000"/>
              <a:gd name="connsiteY163" fmla="*/ 9831 h 9957"/>
              <a:gd name="connsiteX164" fmla="*/ 7084 w 10000"/>
              <a:gd name="connsiteY164" fmla="*/ 9873 h 9957"/>
              <a:gd name="connsiteX165" fmla="*/ 7033 w 10000"/>
              <a:gd name="connsiteY165" fmla="*/ 9873 h 9957"/>
              <a:gd name="connsiteX166" fmla="*/ 6928 w 10000"/>
              <a:gd name="connsiteY166" fmla="*/ 9873 h 9957"/>
              <a:gd name="connsiteX167" fmla="*/ 6928 w 10000"/>
              <a:gd name="connsiteY167" fmla="*/ 9915 h 9957"/>
              <a:gd name="connsiteX168" fmla="*/ 6928 w 10000"/>
              <a:gd name="connsiteY168" fmla="*/ 9957 h 9957"/>
              <a:gd name="connsiteX169" fmla="*/ 6928 w 10000"/>
              <a:gd name="connsiteY169" fmla="*/ 9957 h 9957"/>
              <a:gd name="connsiteX170" fmla="*/ 6876 w 10000"/>
              <a:gd name="connsiteY170" fmla="*/ 9957 h 9957"/>
              <a:gd name="connsiteX171" fmla="*/ 7344 w 10000"/>
              <a:gd name="connsiteY171" fmla="*/ 7415 h 9957"/>
              <a:gd name="connsiteX172" fmla="*/ 7136 w 10000"/>
              <a:gd name="connsiteY172" fmla="*/ 7074 h 9957"/>
              <a:gd name="connsiteX173" fmla="*/ 6544 w 10000"/>
              <a:gd name="connsiteY173" fmla="*/ 6963 h 9957"/>
              <a:gd name="connsiteX174" fmla="*/ 5775 w 10000"/>
              <a:gd name="connsiteY174" fmla="*/ 6928 h 9957"/>
              <a:gd name="connsiteX175" fmla="*/ 5311 w 10000"/>
              <a:gd name="connsiteY175" fmla="*/ 6821 h 9957"/>
              <a:gd name="connsiteX176" fmla="*/ 5071 w 10000"/>
              <a:gd name="connsiteY176" fmla="*/ 6712 h 9957"/>
              <a:gd name="connsiteX177" fmla="*/ 4912 w 10000"/>
              <a:gd name="connsiteY177" fmla="*/ 6803 h 9957"/>
              <a:gd name="connsiteX178" fmla="*/ 4416 w 10000"/>
              <a:gd name="connsiteY178" fmla="*/ 6640 h 9957"/>
              <a:gd name="connsiteX179" fmla="*/ 3584 w 10000"/>
              <a:gd name="connsiteY179" fmla="*/ 6352 h 9957"/>
              <a:gd name="connsiteX180" fmla="*/ 3104 w 10000"/>
              <a:gd name="connsiteY180" fmla="*/ 6296 h 9957"/>
              <a:gd name="connsiteX181" fmla="*/ 3200 w 10000"/>
              <a:gd name="connsiteY181" fmla="*/ 6099 h 9957"/>
              <a:gd name="connsiteX182" fmla="*/ 3344 w 10000"/>
              <a:gd name="connsiteY182" fmla="*/ 6044 h 9957"/>
              <a:gd name="connsiteX183" fmla="*/ 3728 w 10000"/>
              <a:gd name="connsiteY183" fmla="*/ 5757 h 9957"/>
              <a:gd name="connsiteX184" fmla="*/ 3968 w 10000"/>
              <a:gd name="connsiteY184" fmla="*/ 5486 h 9957"/>
              <a:gd name="connsiteX185" fmla="*/ 4224 w 10000"/>
              <a:gd name="connsiteY185" fmla="*/ 5198 h 9957"/>
              <a:gd name="connsiteX186" fmla="*/ 4368 w 10000"/>
              <a:gd name="connsiteY186" fmla="*/ 4928 h 9957"/>
              <a:gd name="connsiteX187" fmla="*/ 4352 w 10000"/>
              <a:gd name="connsiteY187" fmla="*/ 4621 h 9957"/>
              <a:gd name="connsiteX188" fmla="*/ 4336 w 10000"/>
              <a:gd name="connsiteY188" fmla="*/ 4350 h 9957"/>
              <a:gd name="connsiteX189" fmla="*/ 4176 w 10000"/>
              <a:gd name="connsiteY189" fmla="*/ 4188 h 9957"/>
              <a:gd name="connsiteX190" fmla="*/ 4016 w 10000"/>
              <a:gd name="connsiteY190" fmla="*/ 4207 h 9957"/>
              <a:gd name="connsiteX191" fmla="*/ 3856 w 10000"/>
              <a:gd name="connsiteY191" fmla="*/ 4495 h 9957"/>
              <a:gd name="connsiteX192" fmla="*/ 3808 w 10000"/>
              <a:gd name="connsiteY192" fmla="*/ 5016 h 9957"/>
              <a:gd name="connsiteX193" fmla="*/ 3536 w 10000"/>
              <a:gd name="connsiteY193" fmla="*/ 5361 h 9957"/>
              <a:gd name="connsiteX194" fmla="*/ 2992 w 10000"/>
              <a:gd name="connsiteY194" fmla="*/ 5667 h 9957"/>
              <a:gd name="connsiteX195" fmla="*/ 2415 w 10000"/>
              <a:gd name="connsiteY195" fmla="*/ 5901 h 9957"/>
              <a:gd name="connsiteX196" fmla="*/ 1951 w 10000"/>
              <a:gd name="connsiteY196" fmla="*/ 6224 h 9957"/>
              <a:gd name="connsiteX197" fmla="*/ 0 w 10000"/>
              <a:gd name="connsiteY197" fmla="*/ 6153 h 9957"/>
              <a:gd name="connsiteX198" fmla="*/ 3 w 10000"/>
              <a:gd name="connsiteY198" fmla="*/ 5924 h 9957"/>
              <a:gd name="connsiteX199" fmla="*/ 159 w 10000"/>
              <a:gd name="connsiteY199" fmla="*/ 6008 h 9957"/>
              <a:gd name="connsiteX200" fmla="*/ 368 w 10000"/>
              <a:gd name="connsiteY200" fmla="*/ 5924 h 9957"/>
              <a:gd name="connsiteX201" fmla="*/ 1462 w 10000"/>
              <a:gd name="connsiteY201" fmla="*/ 5924 h 9957"/>
              <a:gd name="connsiteX202" fmla="*/ 1617 w 10000"/>
              <a:gd name="connsiteY202" fmla="*/ 5883 h 9957"/>
              <a:gd name="connsiteX203" fmla="*/ 1669 w 10000"/>
              <a:gd name="connsiteY203" fmla="*/ 5883 h 9957"/>
              <a:gd name="connsiteX204" fmla="*/ 2189 w 10000"/>
              <a:gd name="connsiteY204" fmla="*/ 5336 h 9957"/>
              <a:gd name="connsiteX205" fmla="*/ 2294 w 10000"/>
              <a:gd name="connsiteY205" fmla="*/ 5251 h 9957"/>
              <a:gd name="connsiteX206" fmla="*/ 2762 w 10000"/>
              <a:gd name="connsiteY206" fmla="*/ 4832 h 9957"/>
              <a:gd name="connsiteX207" fmla="*/ 3023 w 10000"/>
              <a:gd name="connsiteY207" fmla="*/ 4580 h 9957"/>
              <a:gd name="connsiteX208" fmla="*/ 3179 w 10000"/>
              <a:gd name="connsiteY208" fmla="*/ 4454 h 9957"/>
              <a:gd name="connsiteX209" fmla="*/ 3596 w 10000"/>
              <a:gd name="connsiteY209" fmla="*/ 3823 h 9957"/>
              <a:gd name="connsiteX210" fmla="*/ 4116 w 10000"/>
              <a:gd name="connsiteY210" fmla="*/ 3571 h 9957"/>
              <a:gd name="connsiteX211" fmla="*/ 5001 w 10000"/>
              <a:gd name="connsiteY211" fmla="*/ 2858 h 9957"/>
              <a:gd name="connsiteX212" fmla="*/ 4845 w 10000"/>
              <a:gd name="connsiteY212" fmla="*/ 2606 h 9957"/>
              <a:gd name="connsiteX213" fmla="*/ 4794 w 10000"/>
              <a:gd name="connsiteY213" fmla="*/ 2437 h 9957"/>
              <a:gd name="connsiteX214" fmla="*/ 4794 w 10000"/>
              <a:gd name="connsiteY214" fmla="*/ 1260 h 9957"/>
              <a:gd name="connsiteX215" fmla="*/ 4116 w 10000"/>
              <a:gd name="connsiteY215" fmla="*/ 756 h 9957"/>
              <a:gd name="connsiteX216" fmla="*/ 4950 w 10000"/>
              <a:gd name="connsiteY216" fmla="*/ 756 h 9957"/>
              <a:gd name="connsiteX217" fmla="*/ 5782 w 10000"/>
              <a:gd name="connsiteY217" fmla="*/ 756 h 9957"/>
              <a:gd name="connsiteX218" fmla="*/ 5782 w 10000"/>
              <a:gd name="connsiteY218" fmla="*/ 714 h 9957"/>
              <a:gd name="connsiteX219" fmla="*/ 5782 w 10000"/>
              <a:gd name="connsiteY219" fmla="*/ 673 h 9957"/>
              <a:gd name="connsiteX220" fmla="*/ 5782 w 10000"/>
              <a:gd name="connsiteY220" fmla="*/ 632 h 9957"/>
              <a:gd name="connsiteX221" fmla="*/ 5782 w 10000"/>
              <a:gd name="connsiteY221" fmla="*/ 587 h 9957"/>
              <a:gd name="connsiteX222" fmla="*/ 5834 w 10000"/>
              <a:gd name="connsiteY222" fmla="*/ 545 h 9957"/>
              <a:gd name="connsiteX223" fmla="*/ 5834 w 10000"/>
              <a:gd name="connsiteY223" fmla="*/ 504 h 9957"/>
              <a:gd name="connsiteX224" fmla="*/ 5834 w 10000"/>
              <a:gd name="connsiteY224" fmla="*/ 463 h 9957"/>
              <a:gd name="connsiteX225" fmla="*/ 5834 w 10000"/>
              <a:gd name="connsiteY225" fmla="*/ 421 h 9957"/>
              <a:gd name="connsiteX226" fmla="*/ 5834 w 10000"/>
              <a:gd name="connsiteY226" fmla="*/ 380 h 9957"/>
              <a:gd name="connsiteX227" fmla="*/ 5834 w 10000"/>
              <a:gd name="connsiteY227" fmla="*/ 335 h 9957"/>
              <a:gd name="connsiteX228" fmla="*/ 5782 w 10000"/>
              <a:gd name="connsiteY228" fmla="*/ 335 h 9957"/>
              <a:gd name="connsiteX229" fmla="*/ 5782 w 10000"/>
              <a:gd name="connsiteY229" fmla="*/ 293 h 9957"/>
              <a:gd name="connsiteX230" fmla="*/ 5782 w 10000"/>
              <a:gd name="connsiteY230" fmla="*/ 252 h 9957"/>
              <a:gd name="connsiteX231" fmla="*/ 5782 w 10000"/>
              <a:gd name="connsiteY231" fmla="*/ 211 h 9957"/>
              <a:gd name="connsiteX232" fmla="*/ 5782 w 10000"/>
              <a:gd name="connsiteY232" fmla="*/ 169 h 9957"/>
              <a:gd name="connsiteX233" fmla="*/ 5782 w 10000"/>
              <a:gd name="connsiteY233" fmla="*/ 128 h 9957"/>
              <a:gd name="connsiteX234" fmla="*/ 5782 w 10000"/>
              <a:gd name="connsiteY234" fmla="*/ 83 h 9957"/>
              <a:gd name="connsiteX235" fmla="*/ 5782 w 10000"/>
              <a:gd name="connsiteY235" fmla="*/ 41 h 9957"/>
              <a:gd name="connsiteX236" fmla="*/ 5782 w 10000"/>
              <a:gd name="connsiteY236" fmla="*/ 0 h 9957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0 h 10000"/>
              <a:gd name="connsiteX4" fmla="*/ 7293 w 10000"/>
              <a:gd name="connsiteY4" fmla="*/ 547 h 10000"/>
              <a:gd name="connsiteX5" fmla="*/ 7188 w 10000"/>
              <a:gd name="connsiteY5" fmla="*/ 1141 h 10000"/>
              <a:gd name="connsiteX6" fmla="*/ 7136 w 10000"/>
              <a:gd name="connsiteY6" fmla="*/ 1182 h 10000"/>
              <a:gd name="connsiteX7" fmla="*/ 6980 w 10000"/>
              <a:gd name="connsiteY7" fmla="*/ 1519 h 10000"/>
              <a:gd name="connsiteX8" fmla="*/ 7396 w 10000"/>
              <a:gd name="connsiteY8" fmla="*/ 3081 h 10000"/>
              <a:gd name="connsiteX9" fmla="*/ 7501 w 10000"/>
              <a:gd name="connsiteY9" fmla="*/ 3377 h 10000"/>
              <a:gd name="connsiteX10" fmla="*/ 7345 w 10000"/>
              <a:gd name="connsiteY10" fmla="*/ 3630 h 10000"/>
              <a:gd name="connsiteX11" fmla="*/ 8022 w 10000"/>
              <a:gd name="connsiteY11" fmla="*/ 3797 h 10000"/>
              <a:gd name="connsiteX12" fmla="*/ 8489 w 10000"/>
              <a:gd name="connsiteY12" fmla="*/ 4262 h 10000"/>
              <a:gd name="connsiteX13" fmla="*/ 8594 w 10000"/>
              <a:gd name="connsiteY13" fmla="*/ 4347 h 10000"/>
              <a:gd name="connsiteX14" fmla="*/ 8906 w 10000"/>
              <a:gd name="connsiteY14" fmla="*/ 4558 h 10000"/>
              <a:gd name="connsiteX15" fmla="*/ 9114 w 10000"/>
              <a:gd name="connsiteY15" fmla="*/ 4811 h 10000"/>
              <a:gd name="connsiteX16" fmla="*/ 9219 w 10000"/>
              <a:gd name="connsiteY16" fmla="*/ 4937 h 10000"/>
              <a:gd name="connsiteX17" fmla="*/ 9427 w 10000"/>
              <a:gd name="connsiteY17" fmla="*/ 4937 h 10000"/>
              <a:gd name="connsiteX18" fmla="*/ 9427 w 10000"/>
              <a:gd name="connsiteY18" fmla="*/ 4979 h 10000"/>
              <a:gd name="connsiteX19" fmla="*/ 9479 w 10000"/>
              <a:gd name="connsiteY19" fmla="*/ 5064 h 10000"/>
              <a:gd name="connsiteX20" fmla="*/ 9479 w 10000"/>
              <a:gd name="connsiteY20" fmla="*/ 5106 h 10000"/>
              <a:gd name="connsiteX21" fmla="*/ 9532 w 10000"/>
              <a:gd name="connsiteY21" fmla="*/ 5274 h 10000"/>
              <a:gd name="connsiteX22" fmla="*/ 9532 w 10000"/>
              <a:gd name="connsiteY22" fmla="*/ 5317 h 10000"/>
              <a:gd name="connsiteX23" fmla="*/ 9532 w 10000"/>
              <a:gd name="connsiteY23" fmla="*/ 5444 h 10000"/>
              <a:gd name="connsiteX24" fmla="*/ 9532 w 10000"/>
              <a:gd name="connsiteY24" fmla="*/ 5527 h 10000"/>
              <a:gd name="connsiteX25" fmla="*/ 9479 w 10000"/>
              <a:gd name="connsiteY25" fmla="*/ 5612 h 10000"/>
              <a:gd name="connsiteX26" fmla="*/ 9427 w 10000"/>
              <a:gd name="connsiteY26" fmla="*/ 5866 h 10000"/>
              <a:gd name="connsiteX27" fmla="*/ 9375 w 10000"/>
              <a:gd name="connsiteY27" fmla="*/ 5908 h 10000"/>
              <a:gd name="connsiteX28" fmla="*/ 9322 w 10000"/>
              <a:gd name="connsiteY28" fmla="*/ 5950 h 10000"/>
              <a:gd name="connsiteX29" fmla="*/ 9271 w 10000"/>
              <a:gd name="connsiteY29" fmla="*/ 6119 h 10000"/>
              <a:gd name="connsiteX30" fmla="*/ 9219 w 10000"/>
              <a:gd name="connsiteY30" fmla="*/ 6203 h 10000"/>
              <a:gd name="connsiteX31" fmla="*/ 9219 w 10000"/>
              <a:gd name="connsiteY31" fmla="*/ 6287 h 10000"/>
              <a:gd name="connsiteX32" fmla="*/ 9219 w 10000"/>
              <a:gd name="connsiteY32" fmla="*/ 6329 h 10000"/>
              <a:gd name="connsiteX33" fmla="*/ 9219 w 10000"/>
              <a:gd name="connsiteY33" fmla="*/ 6456 h 10000"/>
              <a:gd name="connsiteX34" fmla="*/ 9271 w 10000"/>
              <a:gd name="connsiteY34" fmla="*/ 6583 h 10000"/>
              <a:gd name="connsiteX35" fmla="*/ 9895 w 10000"/>
              <a:gd name="connsiteY35" fmla="*/ 6583 h 10000"/>
              <a:gd name="connsiteX36" fmla="*/ 9895 w 10000"/>
              <a:gd name="connsiteY36" fmla="*/ 6668 h 10000"/>
              <a:gd name="connsiteX37" fmla="*/ 9948 w 10000"/>
              <a:gd name="connsiteY37" fmla="*/ 6962 h 10000"/>
              <a:gd name="connsiteX38" fmla="*/ 9948 w 10000"/>
              <a:gd name="connsiteY38" fmla="*/ 7004 h 10000"/>
              <a:gd name="connsiteX39" fmla="*/ 9948 w 10000"/>
              <a:gd name="connsiteY39" fmla="*/ 7132 h 10000"/>
              <a:gd name="connsiteX40" fmla="*/ 9948 w 10000"/>
              <a:gd name="connsiteY40" fmla="*/ 7174 h 10000"/>
              <a:gd name="connsiteX41" fmla="*/ 9948 w 10000"/>
              <a:gd name="connsiteY41" fmla="*/ 7257 h 10000"/>
              <a:gd name="connsiteX42" fmla="*/ 9948 w 10000"/>
              <a:gd name="connsiteY42" fmla="*/ 7300 h 10000"/>
              <a:gd name="connsiteX43" fmla="*/ 9948 w 10000"/>
              <a:gd name="connsiteY43" fmla="*/ 7343 h 10000"/>
              <a:gd name="connsiteX44" fmla="*/ 9948 w 10000"/>
              <a:gd name="connsiteY44" fmla="*/ 7385 h 10000"/>
              <a:gd name="connsiteX45" fmla="*/ 10000 w 10000"/>
              <a:gd name="connsiteY45" fmla="*/ 7468 h 10000"/>
              <a:gd name="connsiteX46" fmla="*/ 10000 w 10000"/>
              <a:gd name="connsiteY46" fmla="*/ 7597 h 10000"/>
              <a:gd name="connsiteX47" fmla="*/ 10000 w 10000"/>
              <a:gd name="connsiteY47" fmla="*/ 7638 h 10000"/>
              <a:gd name="connsiteX48" fmla="*/ 10000 w 10000"/>
              <a:gd name="connsiteY48" fmla="*/ 7680 h 10000"/>
              <a:gd name="connsiteX49" fmla="*/ 10000 w 10000"/>
              <a:gd name="connsiteY49" fmla="*/ 7721 h 10000"/>
              <a:gd name="connsiteX50" fmla="*/ 10000 w 10000"/>
              <a:gd name="connsiteY50" fmla="*/ 7807 h 10000"/>
              <a:gd name="connsiteX51" fmla="*/ 10000 w 10000"/>
              <a:gd name="connsiteY51" fmla="*/ 7850 h 10000"/>
              <a:gd name="connsiteX52" fmla="*/ 10000 w 10000"/>
              <a:gd name="connsiteY52" fmla="*/ 7891 h 10000"/>
              <a:gd name="connsiteX53" fmla="*/ 10000 w 10000"/>
              <a:gd name="connsiteY53" fmla="*/ 7974 h 10000"/>
              <a:gd name="connsiteX54" fmla="*/ 10000 w 10000"/>
              <a:gd name="connsiteY54" fmla="*/ 8186 h 10000"/>
              <a:gd name="connsiteX55" fmla="*/ 10000 w 10000"/>
              <a:gd name="connsiteY55" fmla="*/ 8227 h 10000"/>
              <a:gd name="connsiteX56" fmla="*/ 10000 w 10000"/>
              <a:gd name="connsiteY56" fmla="*/ 8313 h 10000"/>
              <a:gd name="connsiteX57" fmla="*/ 10000 w 10000"/>
              <a:gd name="connsiteY57" fmla="*/ 8356 h 10000"/>
              <a:gd name="connsiteX58" fmla="*/ 10000 w 10000"/>
              <a:gd name="connsiteY58" fmla="*/ 8397 h 10000"/>
              <a:gd name="connsiteX59" fmla="*/ 10000 w 10000"/>
              <a:gd name="connsiteY59" fmla="*/ 8438 h 10000"/>
              <a:gd name="connsiteX60" fmla="*/ 10000 w 10000"/>
              <a:gd name="connsiteY60" fmla="*/ 8480 h 10000"/>
              <a:gd name="connsiteX61" fmla="*/ 10000 w 10000"/>
              <a:gd name="connsiteY61" fmla="*/ 8567 h 10000"/>
              <a:gd name="connsiteX62" fmla="*/ 10000 w 10000"/>
              <a:gd name="connsiteY62" fmla="*/ 8650 h 10000"/>
              <a:gd name="connsiteX63" fmla="*/ 10000 w 10000"/>
              <a:gd name="connsiteY63" fmla="*/ 8691 h 10000"/>
              <a:gd name="connsiteX64" fmla="*/ 10000 w 10000"/>
              <a:gd name="connsiteY64" fmla="*/ 8736 h 10000"/>
              <a:gd name="connsiteX65" fmla="*/ 9948 w 10000"/>
              <a:gd name="connsiteY65" fmla="*/ 8736 h 10000"/>
              <a:gd name="connsiteX66" fmla="*/ 9948 w 10000"/>
              <a:gd name="connsiteY66" fmla="*/ 8777 h 10000"/>
              <a:gd name="connsiteX67" fmla="*/ 9895 w 10000"/>
              <a:gd name="connsiteY67" fmla="*/ 8820 h 10000"/>
              <a:gd name="connsiteX68" fmla="*/ 9844 w 10000"/>
              <a:gd name="connsiteY68" fmla="*/ 8820 h 10000"/>
              <a:gd name="connsiteX69" fmla="*/ 9844 w 10000"/>
              <a:gd name="connsiteY69" fmla="*/ 8862 h 10000"/>
              <a:gd name="connsiteX70" fmla="*/ 9792 w 10000"/>
              <a:gd name="connsiteY70" fmla="*/ 8862 h 10000"/>
              <a:gd name="connsiteX71" fmla="*/ 9740 w 10000"/>
              <a:gd name="connsiteY71" fmla="*/ 8903 h 10000"/>
              <a:gd name="connsiteX72" fmla="*/ 9687 w 10000"/>
              <a:gd name="connsiteY72" fmla="*/ 8944 h 10000"/>
              <a:gd name="connsiteX73" fmla="*/ 9635 w 10000"/>
              <a:gd name="connsiteY73" fmla="*/ 8944 h 10000"/>
              <a:gd name="connsiteX74" fmla="*/ 9635 w 10000"/>
              <a:gd name="connsiteY74" fmla="*/ 8989 h 10000"/>
              <a:gd name="connsiteX75" fmla="*/ 9583 w 10000"/>
              <a:gd name="connsiteY75" fmla="*/ 8989 h 10000"/>
              <a:gd name="connsiteX76" fmla="*/ 9532 w 10000"/>
              <a:gd name="connsiteY76" fmla="*/ 8989 h 10000"/>
              <a:gd name="connsiteX77" fmla="*/ 9479 w 10000"/>
              <a:gd name="connsiteY77" fmla="*/ 8989 h 10000"/>
              <a:gd name="connsiteX78" fmla="*/ 9427 w 10000"/>
              <a:gd name="connsiteY78" fmla="*/ 8989 h 10000"/>
              <a:gd name="connsiteX79" fmla="*/ 9375 w 10000"/>
              <a:gd name="connsiteY79" fmla="*/ 8989 h 10000"/>
              <a:gd name="connsiteX80" fmla="*/ 9322 w 10000"/>
              <a:gd name="connsiteY80" fmla="*/ 8989 h 10000"/>
              <a:gd name="connsiteX81" fmla="*/ 9271 w 10000"/>
              <a:gd name="connsiteY81" fmla="*/ 8989 h 10000"/>
              <a:gd name="connsiteX82" fmla="*/ 9271 w 10000"/>
              <a:gd name="connsiteY82" fmla="*/ 9030 h 10000"/>
              <a:gd name="connsiteX83" fmla="*/ 9219 w 10000"/>
              <a:gd name="connsiteY83" fmla="*/ 9073 h 10000"/>
              <a:gd name="connsiteX84" fmla="*/ 9167 w 10000"/>
              <a:gd name="connsiteY84" fmla="*/ 9115 h 10000"/>
              <a:gd name="connsiteX85" fmla="*/ 9219 w 10000"/>
              <a:gd name="connsiteY85" fmla="*/ 9115 h 10000"/>
              <a:gd name="connsiteX86" fmla="*/ 9167 w 10000"/>
              <a:gd name="connsiteY86" fmla="*/ 9115 h 10000"/>
              <a:gd name="connsiteX87" fmla="*/ 9114 w 10000"/>
              <a:gd name="connsiteY87" fmla="*/ 9115 h 10000"/>
              <a:gd name="connsiteX88" fmla="*/ 9062 w 10000"/>
              <a:gd name="connsiteY88" fmla="*/ 9156 h 10000"/>
              <a:gd name="connsiteX89" fmla="*/ 9011 w 10000"/>
              <a:gd name="connsiteY89" fmla="*/ 9198 h 10000"/>
              <a:gd name="connsiteX90" fmla="*/ 8959 w 10000"/>
              <a:gd name="connsiteY90" fmla="*/ 9198 h 10000"/>
              <a:gd name="connsiteX91" fmla="*/ 8959 w 10000"/>
              <a:gd name="connsiteY91" fmla="*/ 9242 h 10000"/>
              <a:gd name="connsiteX92" fmla="*/ 8906 w 10000"/>
              <a:gd name="connsiteY92" fmla="*/ 9242 h 10000"/>
              <a:gd name="connsiteX93" fmla="*/ 8906 w 10000"/>
              <a:gd name="connsiteY93" fmla="*/ 9283 h 10000"/>
              <a:gd name="connsiteX94" fmla="*/ 8854 w 10000"/>
              <a:gd name="connsiteY94" fmla="*/ 9283 h 10000"/>
              <a:gd name="connsiteX95" fmla="*/ 8802 w 10000"/>
              <a:gd name="connsiteY95" fmla="*/ 9283 h 10000"/>
              <a:gd name="connsiteX96" fmla="*/ 8749 w 10000"/>
              <a:gd name="connsiteY96" fmla="*/ 9283 h 10000"/>
              <a:gd name="connsiteX97" fmla="*/ 8698 w 10000"/>
              <a:gd name="connsiteY97" fmla="*/ 9283 h 10000"/>
              <a:gd name="connsiteX98" fmla="*/ 8646 w 10000"/>
              <a:gd name="connsiteY98" fmla="*/ 9283 h 10000"/>
              <a:gd name="connsiteX99" fmla="*/ 8646 w 10000"/>
              <a:gd name="connsiteY99" fmla="*/ 9242 h 10000"/>
              <a:gd name="connsiteX100" fmla="*/ 8646 w 10000"/>
              <a:gd name="connsiteY100" fmla="*/ 9198 h 10000"/>
              <a:gd name="connsiteX101" fmla="*/ 8594 w 10000"/>
              <a:gd name="connsiteY101" fmla="*/ 9156 h 10000"/>
              <a:gd name="connsiteX102" fmla="*/ 8594 w 10000"/>
              <a:gd name="connsiteY102" fmla="*/ 9115 h 10000"/>
              <a:gd name="connsiteX103" fmla="*/ 8594 w 10000"/>
              <a:gd name="connsiteY103" fmla="*/ 9073 h 10000"/>
              <a:gd name="connsiteX104" fmla="*/ 8541 w 10000"/>
              <a:gd name="connsiteY104" fmla="*/ 9073 h 10000"/>
              <a:gd name="connsiteX105" fmla="*/ 8489 w 10000"/>
              <a:gd name="connsiteY105" fmla="*/ 9073 h 10000"/>
              <a:gd name="connsiteX106" fmla="*/ 8489 w 10000"/>
              <a:gd name="connsiteY106" fmla="*/ 9030 h 10000"/>
              <a:gd name="connsiteX107" fmla="*/ 8438 w 10000"/>
              <a:gd name="connsiteY107" fmla="*/ 9030 h 10000"/>
              <a:gd name="connsiteX108" fmla="*/ 8386 w 10000"/>
              <a:gd name="connsiteY108" fmla="*/ 9073 h 10000"/>
              <a:gd name="connsiteX109" fmla="*/ 8386 w 10000"/>
              <a:gd name="connsiteY109" fmla="*/ 9115 h 10000"/>
              <a:gd name="connsiteX110" fmla="*/ 8282 w 10000"/>
              <a:gd name="connsiteY110" fmla="*/ 9073 h 10000"/>
              <a:gd name="connsiteX111" fmla="*/ 8282 w 10000"/>
              <a:gd name="connsiteY111" fmla="*/ 9030 h 10000"/>
              <a:gd name="connsiteX112" fmla="*/ 8230 w 10000"/>
              <a:gd name="connsiteY112" fmla="*/ 9030 h 10000"/>
              <a:gd name="connsiteX113" fmla="*/ 8179 w 10000"/>
              <a:gd name="connsiteY113" fmla="*/ 9030 h 10000"/>
              <a:gd name="connsiteX114" fmla="*/ 8126 w 10000"/>
              <a:gd name="connsiteY114" fmla="*/ 9030 h 10000"/>
              <a:gd name="connsiteX115" fmla="*/ 8074 w 10000"/>
              <a:gd name="connsiteY115" fmla="*/ 9030 h 10000"/>
              <a:gd name="connsiteX116" fmla="*/ 8022 w 10000"/>
              <a:gd name="connsiteY116" fmla="*/ 9030 h 10000"/>
              <a:gd name="connsiteX117" fmla="*/ 8022 w 10000"/>
              <a:gd name="connsiteY117" fmla="*/ 9073 h 10000"/>
              <a:gd name="connsiteX118" fmla="*/ 7969 w 10000"/>
              <a:gd name="connsiteY118" fmla="*/ 9073 h 10000"/>
              <a:gd name="connsiteX119" fmla="*/ 7917 w 10000"/>
              <a:gd name="connsiteY119" fmla="*/ 9115 h 10000"/>
              <a:gd name="connsiteX120" fmla="*/ 7866 w 10000"/>
              <a:gd name="connsiteY120" fmla="*/ 9115 h 10000"/>
              <a:gd name="connsiteX121" fmla="*/ 7866 w 10000"/>
              <a:gd name="connsiteY121" fmla="*/ 9073 h 10000"/>
              <a:gd name="connsiteX122" fmla="*/ 7866 w 10000"/>
              <a:gd name="connsiteY122" fmla="*/ 9115 h 10000"/>
              <a:gd name="connsiteX123" fmla="*/ 7814 w 10000"/>
              <a:gd name="connsiteY123" fmla="*/ 9115 h 10000"/>
              <a:gd name="connsiteX124" fmla="*/ 7761 w 10000"/>
              <a:gd name="connsiteY124" fmla="*/ 9156 h 10000"/>
              <a:gd name="connsiteX125" fmla="*/ 7709 w 10000"/>
              <a:gd name="connsiteY125" fmla="*/ 9115 h 10000"/>
              <a:gd name="connsiteX126" fmla="*/ 7657 w 10000"/>
              <a:gd name="connsiteY126" fmla="*/ 9115 h 10000"/>
              <a:gd name="connsiteX127" fmla="*/ 7606 w 10000"/>
              <a:gd name="connsiteY127" fmla="*/ 9115 h 10000"/>
              <a:gd name="connsiteX128" fmla="*/ 7553 w 10000"/>
              <a:gd name="connsiteY128" fmla="*/ 9073 h 10000"/>
              <a:gd name="connsiteX129" fmla="*/ 7501 w 10000"/>
              <a:gd name="connsiteY129" fmla="*/ 9073 h 10000"/>
              <a:gd name="connsiteX130" fmla="*/ 7501 w 10000"/>
              <a:gd name="connsiteY130" fmla="*/ 9115 h 10000"/>
              <a:gd name="connsiteX131" fmla="*/ 7449 w 10000"/>
              <a:gd name="connsiteY131" fmla="*/ 9115 h 10000"/>
              <a:gd name="connsiteX132" fmla="*/ 7396 w 10000"/>
              <a:gd name="connsiteY132" fmla="*/ 9073 h 10000"/>
              <a:gd name="connsiteX133" fmla="*/ 7345 w 10000"/>
              <a:gd name="connsiteY133" fmla="*/ 9073 h 10000"/>
              <a:gd name="connsiteX134" fmla="*/ 7293 w 10000"/>
              <a:gd name="connsiteY134" fmla="*/ 9156 h 10000"/>
              <a:gd name="connsiteX135" fmla="*/ 7241 w 10000"/>
              <a:gd name="connsiteY135" fmla="*/ 9156 h 10000"/>
              <a:gd name="connsiteX136" fmla="*/ 7241 w 10000"/>
              <a:gd name="connsiteY136" fmla="*/ 9115 h 10000"/>
              <a:gd name="connsiteX137" fmla="*/ 7241 w 10000"/>
              <a:gd name="connsiteY137" fmla="*/ 9156 h 10000"/>
              <a:gd name="connsiteX138" fmla="*/ 7241 w 10000"/>
              <a:gd name="connsiteY138" fmla="*/ 9198 h 10000"/>
              <a:gd name="connsiteX139" fmla="*/ 7188 w 10000"/>
              <a:gd name="connsiteY139" fmla="*/ 9198 h 10000"/>
              <a:gd name="connsiteX140" fmla="*/ 7136 w 10000"/>
              <a:gd name="connsiteY140" fmla="*/ 9198 h 10000"/>
              <a:gd name="connsiteX141" fmla="*/ 7188 w 10000"/>
              <a:gd name="connsiteY141" fmla="*/ 9242 h 10000"/>
              <a:gd name="connsiteX142" fmla="*/ 7136 w 10000"/>
              <a:gd name="connsiteY142" fmla="*/ 9283 h 10000"/>
              <a:gd name="connsiteX143" fmla="*/ 7188 w 10000"/>
              <a:gd name="connsiteY143" fmla="*/ 9326 h 10000"/>
              <a:gd name="connsiteX144" fmla="*/ 7241 w 10000"/>
              <a:gd name="connsiteY144" fmla="*/ 9326 h 10000"/>
              <a:gd name="connsiteX145" fmla="*/ 7241 w 10000"/>
              <a:gd name="connsiteY145" fmla="*/ 9368 h 10000"/>
              <a:gd name="connsiteX146" fmla="*/ 7188 w 10000"/>
              <a:gd name="connsiteY146" fmla="*/ 9368 h 10000"/>
              <a:gd name="connsiteX147" fmla="*/ 7136 w 10000"/>
              <a:gd name="connsiteY147" fmla="*/ 9368 h 10000"/>
              <a:gd name="connsiteX148" fmla="*/ 7188 w 10000"/>
              <a:gd name="connsiteY148" fmla="*/ 9409 h 10000"/>
              <a:gd name="connsiteX149" fmla="*/ 7188 w 10000"/>
              <a:gd name="connsiteY149" fmla="*/ 9452 h 10000"/>
              <a:gd name="connsiteX150" fmla="*/ 7136 w 10000"/>
              <a:gd name="connsiteY150" fmla="*/ 9452 h 10000"/>
              <a:gd name="connsiteX151" fmla="*/ 7136 w 10000"/>
              <a:gd name="connsiteY151" fmla="*/ 9495 h 10000"/>
              <a:gd name="connsiteX152" fmla="*/ 7084 w 10000"/>
              <a:gd name="connsiteY152" fmla="*/ 9537 h 10000"/>
              <a:gd name="connsiteX153" fmla="*/ 7136 w 10000"/>
              <a:gd name="connsiteY153" fmla="*/ 9579 h 10000"/>
              <a:gd name="connsiteX154" fmla="*/ 7188 w 10000"/>
              <a:gd name="connsiteY154" fmla="*/ 9579 h 10000"/>
              <a:gd name="connsiteX155" fmla="*/ 7188 w 10000"/>
              <a:gd name="connsiteY155" fmla="*/ 9620 h 10000"/>
              <a:gd name="connsiteX156" fmla="*/ 7188 w 10000"/>
              <a:gd name="connsiteY156" fmla="*/ 9663 h 10000"/>
              <a:gd name="connsiteX157" fmla="*/ 7136 w 10000"/>
              <a:gd name="connsiteY157" fmla="*/ 9663 h 10000"/>
              <a:gd name="connsiteX158" fmla="*/ 7084 w 10000"/>
              <a:gd name="connsiteY158" fmla="*/ 9705 h 10000"/>
              <a:gd name="connsiteX159" fmla="*/ 7136 w 10000"/>
              <a:gd name="connsiteY159" fmla="*/ 9747 h 10000"/>
              <a:gd name="connsiteX160" fmla="*/ 7136 w 10000"/>
              <a:gd name="connsiteY160" fmla="*/ 9790 h 10000"/>
              <a:gd name="connsiteX161" fmla="*/ 7136 w 10000"/>
              <a:gd name="connsiteY161" fmla="*/ 9832 h 10000"/>
              <a:gd name="connsiteX162" fmla="*/ 7136 w 10000"/>
              <a:gd name="connsiteY162" fmla="*/ 9873 h 10000"/>
              <a:gd name="connsiteX163" fmla="*/ 7084 w 10000"/>
              <a:gd name="connsiteY163" fmla="*/ 9873 h 10000"/>
              <a:gd name="connsiteX164" fmla="*/ 7084 w 10000"/>
              <a:gd name="connsiteY164" fmla="*/ 9916 h 10000"/>
              <a:gd name="connsiteX165" fmla="*/ 6928 w 10000"/>
              <a:gd name="connsiteY165" fmla="*/ 9916 h 10000"/>
              <a:gd name="connsiteX166" fmla="*/ 6928 w 10000"/>
              <a:gd name="connsiteY166" fmla="*/ 9958 h 10000"/>
              <a:gd name="connsiteX167" fmla="*/ 6928 w 10000"/>
              <a:gd name="connsiteY167" fmla="*/ 10000 h 10000"/>
              <a:gd name="connsiteX168" fmla="*/ 6928 w 10000"/>
              <a:gd name="connsiteY168" fmla="*/ 10000 h 10000"/>
              <a:gd name="connsiteX169" fmla="*/ 6876 w 10000"/>
              <a:gd name="connsiteY169" fmla="*/ 10000 h 10000"/>
              <a:gd name="connsiteX170" fmla="*/ 7344 w 10000"/>
              <a:gd name="connsiteY170" fmla="*/ 7447 h 10000"/>
              <a:gd name="connsiteX171" fmla="*/ 7136 w 10000"/>
              <a:gd name="connsiteY171" fmla="*/ 7105 h 10000"/>
              <a:gd name="connsiteX172" fmla="*/ 6544 w 10000"/>
              <a:gd name="connsiteY172" fmla="*/ 6993 h 10000"/>
              <a:gd name="connsiteX173" fmla="*/ 5775 w 10000"/>
              <a:gd name="connsiteY173" fmla="*/ 6958 h 10000"/>
              <a:gd name="connsiteX174" fmla="*/ 5311 w 10000"/>
              <a:gd name="connsiteY174" fmla="*/ 6850 h 10000"/>
              <a:gd name="connsiteX175" fmla="*/ 5071 w 10000"/>
              <a:gd name="connsiteY175" fmla="*/ 6741 h 10000"/>
              <a:gd name="connsiteX176" fmla="*/ 4912 w 10000"/>
              <a:gd name="connsiteY176" fmla="*/ 6832 h 10000"/>
              <a:gd name="connsiteX177" fmla="*/ 4416 w 10000"/>
              <a:gd name="connsiteY177" fmla="*/ 6669 h 10000"/>
              <a:gd name="connsiteX178" fmla="*/ 3584 w 10000"/>
              <a:gd name="connsiteY178" fmla="*/ 6379 h 10000"/>
              <a:gd name="connsiteX179" fmla="*/ 3104 w 10000"/>
              <a:gd name="connsiteY179" fmla="*/ 6323 h 10000"/>
              <a:gd name="connsiteX180" fmla="*/ 3200 w 10000"/>
              <a:gd name="connsiteY180" fmla="*/ 6125 h 10000"/>
              <a:gd name="connsiteX181" fmla="*/ 3344 w 10000"/>
              <a:gd name="connsiteY181" fmla="*/ 6070 h 10000"/>
              <a:gd name="connsiteX182" fmla="*/ 3728 w 10000"/>
              <a:gd name="connsiteY182" fmla="*/ 5782 h 10000"/>
              <a:gd name="connsiteX183" fmla="*/ 3968 w 10000"/>
              <a:gd name="connsiteY183" fmla="*/ 5510 h 10000"/>
              <a:gd name="connsiteX184" fmla="*/ 4224 w 10000"/>
              <a:gd name="connsiteY184" fmla="*/ 5220 h 10000"/>
              <a:gd name="connsiteX185" fmla="*/ 4368 w 10000"/>
              <a:gd name="connsiteY185" fmla="*/ 4949 h 10000"/>
              <a:gd name="connsiteX186" fmla="*/ 4352 w 10000"/>
              <a:gd name="connsiteY186" fmla="*/ 4641 h 10000"/>
              <a:gd name="connsiteX187" fmla="*/ 4336 w 10000"/>
              <a:gd name="connsiteY187" fmla="*/ 4369 h 10000"/>
              <a:gd name="connsiteX188" fmla="*/ 4176 w 10000"/>
              <a:gd name="connsiteY188" fmla="*/ 4206 h 10000"/>
              <a:gd name="connsiteX189" fmla="*/ 4016 w 10000"/>
              <a:gd name="connsiteY189" fmla="*/ 4225 h 10000"/>
              <a:gd name="connsiteX190" fmla="*/ 3856 w 10000"/>
              <a:gd name="connsiteY190" fmla="*/ 4514 h 10000"/>
              <a:gd name="connsiteX191" fmla="*/ 3808 w 10000"/>
              <a:gd name="connsiteY191" fmla="*/ 5038 h 10000"/>
              <a:gd name="connsiteX192" fmla="*/ 3536 w 10000"/>
              <a:gd name="connsiteY192" fmla="*/ 5384 h 10000"/>
              <a:gd name="connsiteX193" fmla="*/ 2992 w 10000"/>
              <a:gd name="connsiteY193" fmla="*/ 5691 h 10000"/>
              <a:gd name="connsiteX194" fmla="*/ 2415 w 10000"/>
              <a:gd name="connsiteY194" fmla="*/ 5926 h 10000"/>
              <a:gd name="connsiteX195" fmla="*/ 1951 w 10000"/>
              <a:gd name="connsiteY195" fmla="*/ 6251 h 10000"/>
              <a:gd name="connsiteX196" fmla="*/ 0 w 10000"/>
              <a:gd name="connsiteY196" fmla="*/ 6180 h 10000"/>
              <a:gd name="connsiteX197" fmla="*/ 3 w 10000"/>
              <a:gd name="connsiteY197" fmla="*/ 5950 h 10000"/>
              <a:gd name="connsiteX198" fmla="*/ 159 w 10000"/>
              <a:gd name="connsiteY198" fmla="*/ 6034 h 10000"/>
              <a:gd name="connsiteX199" fmla="*/ 368 w 10000"/>
              <a:gd name="connsiteY199" fmla="*/ 5950 h 10000"/>
              <a:gd name="connsiteX200" fmla="*/ 1462 w 10000"/>
              <a:gd name="connsiteY200" fmla="*/ 5950 h 10000"/>
              <a:gd name="connsiteX201" fmla="*/ 1617 w 10000"/>
              <a:gd name="connsiteY201" fmla="*/ 5908 h 10000"/>
              <a:gd name="connsiteX202" fmla="*/ 1669 w 10000"/>
              <a:gd name="connsiteY202" fmla="*/ 5908 h 10000"/>
              <a:gd name="connsiteX203" fmla="*/ 2189 w 10000"/>
              <a:gd name="connsiteY203" fmla="*/ 5359 h 10000"/>
              <a:gd name="connsiteX204" fmla="*/ 2294 w 10000"/>
              <a:gd name="connsiteY204" fmla="*/ 5274 h 10000"/>
              <a:gd name="connsiteX205" fmla="*/ 2762 w 10000"/>
              <a:gd name="connsiteY205" fmla="*/ 4853 h 10000"/>
              <a:gd name="connsiteX206" fmla="*/ 3023 w 10000"/>
              <a:gd name="connsiteY206" fmla="*/ 4600 h 10000"/>
              <a:gd name="connsiteX207" fmla="*/ 3179 w 10000"/>
              <a:gd name="connsiteY207" fmla="*/ 4473 h 10000"/>
              <a:gd name="connsiteX208" fmla="*/ 3596 w 10000"/>
              <a:gd name="connsiteY208" fmla="*/ 3840 h 10000"/>
              <a:gd name="connsiteX209" fmla="*/ 4116 w 10000"/>
              <a:gd name="connsiteY209" fmla="*/ 3586 h 10000"/>
              <a:gd name="connsiteX210" fmla="*/ 5001 w 10000"/>
              <a:gd name="connsiteY210" fmla="*/ 2870 h 10000"/>
              <a:gd name="connsiteX211" fmla="*/ 4845 w 10000"/>
              <a:gd name="connsiteY211" fmla="*/ 2617 h 10000"/>
              <a:gd name="connsiteX212" fmla="*/ 4794 w 10000"/>
              <a:gd name="connsiteY212" fmla="*/ 2448 h 10000"/>
              <a:gd name="connsiteX213" fmla="*/ 4794 w 10000"/>
              <a:gd name="connsiteY213" fmla="*/ 1265 h 10000"/>
              <a:gd name="connsiteX214" fmla="*/ 4116 w 10000"/>
              <a:gd name="connsiteY214" fmla="*/ 759 h 10000"/>
              <a:gd name="connsiteX215" fmla="*/ 4950 w 10000"/>
              <a:gd name="connsiteY215" fmla="*/ 759 h 10000"/>
              <a:gd name="connsiteX216" fmla="*/ 5782 w 10000"/>
              <a:gd name="connsiteY216" fmla="*/ 759 h 10000"/>
              <a:gd name="connsiteX217" fmla="*/ 5782 w 10000"/>
              <a:gd name="connsiteY217" fmla="*/ 717 h 10000"/>
              <a:gd name="connsiteX218" fmla="*/ 5782 w 10000"/>
              <a:gd name="connsiteY218" fmla="*/ 676 h 10000"/>
              <a:gd name="connsiteX219" fmla="*/ 5782 w 10000"/>
              <a:gd name="connsiteY219" fmla="*/ 635 h 10000"/>
              <a:gd name="connsiteX220" fmla="*/ 5782 w 10000"/>
              <a:gd name="connsiteY220" fmla="*/ 590 h 10000"/>
              <a:gd name="connsiteX221" fmla="*/ 5834 w 10000"/>
              <a:gd name="connsiteY221" fmla="*/ 547 h 10000"/>
              <a:gd name="connsiteX222" fmla="*/ 5834 w 10000"/>
              <a:gd name="connsiteY222" fmla="*/ 506 h 10000"/>
              <a:gd name="connsiteX223" fmla="*/ 5834 w 10000"/>
              <a:gd name="connsiteY223" fmla="*/ 465 h 10000"/>
              <a:gd name="connsiteX224" fmla="*/ 5834 w 10000"/>
              <a:gd name="connsiteY224" fmla="*/ 423 h 10000"/>
              <a:gd name="connsiteX225" fmla="*/ 5834 w 10000"/>
              <a:gd name="connsiteY225" fmla="*/ 382 h 10000"/>
              <a:gd name="connsiteX226" fmla="*/ 5834 w 10000"/>
              <a:gd name="connsiteY226" fmla="*/ 336 h 10000"/>
              <a:gd name="connsiteX227" fmla="*/ 5782 w 10000"/>
              <a:gd name="connsiteY227" fmla="*/ 336 h 10000"/>
              <a:gd name="connsiteX228" fmla="*/ 5782 w 10000"/>
              <a:gd name="connsiteY228" fmla="*/ 294 h 10000"/>
              <a:gd name="connsiteX229" fmla="*/ 5782 w 10000"/>
              <a:gd name="connsiteY229" fmla="*/ 253 h 10000"/>
              <a:gd name="connsiteX230" fmla="*/ 5782 w 10000"/>
              <a:gd name="connsiteY230" fmla="*/ 212 h 10000"/>
              <a:gd name="connsiteX231" fmla="*/ 5782 w 10000"/>
              <a:gd name="connsiteY231" fmla="*/ 170 h 10000"/>
              <a:gd name="connsiteX232" fmla="*/ 5782 w 10000"/>
              <a:gd name="connsiteY232" fmla="*/ 129 h 10000"/>
              <a:gd name="connsiteX233" fmla="*/ 5782 w 10000"/>
              <a:gd name="connsiteY233" fmla="*/ 83 h 10000"/>
              <a:gd name="connsiteX234" fmla="*/ 5782 w 10000"/>
              <a:gd name="connsiteY234" fmla="*/ 41 h 10000"/>
              <a:gd name="connsiteX235" fmla="*/ 5782 w 10000"/>
              <a:gd name="connsiteY235" fmla="*/ 0 h 10000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0 h 10000"/>
              <a:gd name="connsiteX4" fmla="*/ 7293 w 10000"/>
              <a:gd name="connsiteY4" fmla="*/ 547 h 10000"/>
              <a:gd name="connsiteX5" fmla="*/ 7188 w 10000"/>
              <a:gd name="connsiteY5" fmla="*/ 1141 h 10000"/>
              <a:gd name="connsiteX6" fmla="*/ 7136 w 10000"/>
              <a:gd name="connsiteY6" fmla="*/ 1182 h 10000"/>
              <a:gd name="connsiteX7" fmla="*/ 6980 w 10000"/>
              <a:gd name="connsiteY7" fmla="*/ 1519 h 10000"/>
              <a:gd name="connsiteX8" fmla="*/ 7396 w 10000"/>
              <a:gd name="connsiteY8" fmla="*/ 3081 h 10000"/>
              <a:gd name="connsiteX9" fmla="*/ 7501 w 10000"/>
              <a:gd name="connsiteY9" fmla="*/ 3377 h 10000"/>
              <a:gd name="connsiteX10" fmla="*/ 7345 w 10000"/>
              <a:gd name="connsiteY10" fmla="*/ 3630 h 10000"/>
              <a:gd name="connsiteX11" fmla="*/ 8022 w 10000"/>
              <a:gd name="connsiteY11" fmla="*/ 3797 h 10000"/>
              <a:gd name="connsiteX12" fmla="*/ 8489 w 10000"/>
              <a:gd name="connsiteY12" fmla="*/ 4262 h 10000"/>
              <a:gd name="connsiteX13" fmla="*/ 8594 w 10000"/>
              <a:gd name="connsiteY13" fmla="*/ 4347 h 10000"/>
              <a:gd name="connsiteX14" fmla="*/ 8906 w 10000"/>
              <a:gd name="connsiteY14" fmla="*/ 4558 h 10000"/>
              <a:gd name="connsiteX15" fmla="*/ 9114 w 10000"/>
              <a:gd name="connsiteY15" fmla="*/ 4811 h 10000"/>
              <a:gd name="connsiteX16" fmla="*/ 9219 w 10000"/>
              <a:gd name="connsiteY16" fmla="*/ 4937 h 10000"/>
              <a:gd name="connsiteX17" fmla="*/ 9427 w 10000"/>
              <a:gd name="connsiteY17" fmla="*/ 4937 h 10000"/>
              <a:gd name="connsiteX18" fmla="*/ 9427 w 10000"/>
              <a:gd name="connsiteY18" fmla="*/ 4979 h 10000"/>
              <a:gd name="connsiteX19" fmla="*/ 9479 w 10000"/>
              <a:gd name="connsiteY19" fmla="*/ 5064 h 10000"/>
              <a:gd name="connsiteX20" fmla="*/ 9479 w 10000"/>
              <a:gd name="connsiteY20" fmla="*/ 5106 h 10000"/>
              <a:gd name="connsiteX21" fmla="*/ 9532 w 10000"/>
              <a:gd name="connsiteY21" fmla="*/ 5274 h 10000"/>
              <a:gd name="connsiteX22" fmla="*/ 9532 w 10000"/>
              <a:gd name="connsiteY22" fmla="*/ 5317 h 10000"/>
              <a:gd name="connsiteX23" fmla="*/ 9532 w 10000"/>
              <a:gd name="connsiteY23" fmla="*/ 5444 h 10000"/>
              <a:gd name="connsiteX24" fmla="*/ 9532 w 10000"/>
              <a:gd name="connsiteY24" fmla="*/ 5527 h 10000"/>
              <a:gd name="connsiteX25" fmla="*/ 9479 w 10000"/>
              <a:gd name="connsiteY25" fmla="*/ 5612 h 10000"/>
              <a:gd name="connsiteX26" fmla="*/ 9427 w 10000"/>
              <a:gd name="connsiteY26" fmla="*/ 5866 h 10000"/>
              <a:gd name="connsiteX27" fmla="*/ 9375 w 10000"/>
              <a:gd name="connsiteY27" fmla="*/ 5908 h 10000"/>
              <a:gd name="connsiteX28" fmla="*/ 9322 w 10000"/>
              <a:gd name="connsiteY28" fmla="*/ 5950 h 10000"/>
              <a:gd name="connsiteX29" fmla="*/ 9271 w 10000"/>
              <a:gd name="connsiteY29" fmla="*/ 6119 h 10000"/>
              <a:gd name="connsiteX30" fmla="*/ 9219 w 10000"/>
              <a:gd name="connsiteY30" fmla="*/ 6203 h 10000"/>
              <a:gd name="connsiteX31" fmla="*/ 9219 w 10000"/>
              <a:gd name="connsiteY31" fmla="*/ 6287 h 10000"/>
              <a:gd name="connsiteX32" fmla="*/ 9219 w 10000"/>
              <a:gd name="connsiteY32" fmla="*/ 6329 h 10000"/>
              <a:gd name="connsiteX33" fmla="*/ 9219 w 10000"/>
              <a:gd name="connsiteY33" fmla="*/ 6456 h 10000"/>
              <a:gd name="connsiteX34" fmla="*/ 9271 w 10000"/>
              <a:gd name="connsiteY34" fmla="*/ 6583 h 10000"/>
              <a:gd name="connsiteX35" fmla="*/ 9895 w 10000"/>
              <a:gd name="connsiteY35" fmla="*/ 6583 h 10000"/>
              <a:gd name="connsiteX36" fmla="*/ 9895 w 10000"/>
              <a:gd name="connsiteY36" fmla="*/ 6668 h 10000"/>
              <a:gd name="connsiteX37" fmla="*/ 9948 w 10000"/>
              <a:gd name="connsiteY37" fmla="*/ 6962 h 10000"/>
              <a:gd name="connsiteX38" fmla="*/ 9948 w 10000"/>
              <a:gd name="connsiteY38" fmla="*/ 7004 h 10000"/>
              <a:gd name="connsiteX39" fmla="*/ 9948 w 10000"/>
              <a:gd name="connsiteY39" fmla="*/ 7132 h 10000"/>
              <a:gd name="connsiteX40" fmla="*/ 9948 w 10000"/>
              <a:gd name="connsiteY40" fmla="*/ 7174 h 10000"/>
              <a:gd name="connsiteX41" fmla="*/ 9948 w 10000"/>
              <a:gd name="connsiteY41" fmla="*/ 7257 h 10000"/>
              <a:gd name="connsiteX42" fmla="*/ 9948 w 10000"/>
              <a:gd name="connsiteY42" fmla="*/ 7300 h 10000"/>
              <a:gd name="connsiteX43" fmla="*/ 9948 w 10000"/>
              <a:gd name="connsiteY43" fmla="*/ 7343 h 10000"/>
              <a:gd name="connsiteX44" fmla="*/ 9948 w 10000"/>
              <a:gd name="connsiteY44" fmla="*/ 7385 h 10000"/>
              <a:gd name="connsiteX45" fmla="*/ 10000 w 10000"/>
              <a:gd name="connsiteY45" fmla="*/ 7468 h 10000"/>
              <a:gd name="connsiteX46" fmla="*/ 10000 w 10000"/>
              <a:gd name="connsiteY46" fmla="*/ 7597 h 10000"/>
              <a:gd name="connsiteX47" fmla="*/ 10000 w 10000"/>
              <a:gd name="connsiteY47" fmla="*/ 7638 h 10000"/>
              <a:gd name="connsiteX48" fmla="*/ 10000 w 10000"/>
              <a:gd name="connsiteY48" fmla="*/ 7680 h 10000"/>
              <a:gd name="connsiteX49" fmla="*/ 10000 w 10000"/>
              <a:gd name="connsiteY49" fmla="*/ 7721 h 10000"/>
              <a:gd name="connsiteX50" fmla="*/ 10000 w 10000"/>
              <a:gd name="connsiteY50" fmla="*/ 7807 h 10000"/>
              <a:gd name="connsiteX51" fmla="*/ 10000 w 10000"/>
              <a:gd name="connsiteY51" fmla="*/ 7850 h 10000"/>
              <a:gd name="connsiteX52" fmla="*/ 10000 w 10000"/>
              <a:gd name="connsiteY52" fmla="*/ 7891 h 10000"/>
              <a:gd name="connsiteX53" fmla="*/ 10000 w 10000"/>
              <a:gd name="connsiteY53" fmla="*/ 7974 h 10000"/>
              <a:gd name="connsiteX54" fmla="*/ 10000 w 10000"/>
              <a:gd name="connsiteY54" fmla="*/ 8186 h 10000"/>
              <a:gd name="connsiteX55" fmla="*/ 10000 w 10000"/>
              <a:gd name="connsiteY55" fmla="*/ 8227 h 10000"/>
              <a:gd name="connsiteX56" fmla="*/ 10000 w 10000"/>
              <a:gd name="connsiteY56" fmla="*/ 8313 h 10000"/>
              <a:gd name="connsiteX57" fmla="*/ 10000 w 10000"/>
              <a:gd name="connsiteY57" fmla="*/ 8356 h 10000"/>
              <a:gd name="connsiteX58" fmla="*/ 10000 w 10000"/>
              <a:gd name="connsiteY58" fmla="*/ 8397 h 10000"/>
              <a:gd name="connsiteX59" fmla="*/ 10000 w 10000"/>
              <a:gd name="connsiteY59" fmla="*/ 8438 h 10000"/>
              <a:gd name="connsiteX60" fmla="*/ 10000 w 10000"/>
              <a:gd name="connsiteY60" fmla="*/ 8480 h 10000"/>
              <a:gd name="connsiteX61" fmla="*/ 10000 w 10000"/>
              <a:gd name="connsiteY61" fmla="*/ 8567 h 10000"/>
              <a:gd name="connsiteX62" fmla="*/ 10000 w 10000"/>
              <a:gd name="connsiteY62" fmla="*/ 8650 h 10000"/>
              <a:gd name="connsiteX63" fmla="*/ 10000 w 10000"/>
              <a:gd name="connsiteY63" fmla="*/ 8691 h 10000"/>
              <a:gd name="connsiteX64" fmla="*/ 10000 w 10000"/>
              <a:gd name="connsiteY64" fmla="*/ 8736 h 10000"/>
              <a:gd name="connsiteX65" fmla="*/ 9948 w 10000"/>
              <a:gd name="connsiteY65" fmla="*/ 8736 h 10000"/>
              <a:gd name="connsiteX66" fmla="*/ 9948 w 10000"/>
              <a:gd name="connsiteY66" fmla="*/ 8777 h 10000"/>
              <a:gd name="connsiteX67" fmla="*/ 9895 w 10000"/>
              <a:gd name="connsiteY67" fmla="*/ 8820 h 10000"/>
              <a:gd name="connsiteX68" fmla="*/ 9844 w 10000"/>
              <a:gd name="connsiteY68" fmla="*/ 8820 h 10000"/>
              <a:gd name="connsiteX69" fmla="*/ 9844 w 10000"/>
              <a:gd name="connsiteY69" fmla="*/ 8862 h 10000"/>
              <a:gd name="connsiteX70" fmla="*/ 9792 w 10000"/>
              <a:gd name="connsiteY70" fmla="*/ 8862 h 10000"/>
              <a:gd name="connsiteX71" fmla="*/ 9740 w 10000"/>
              <a:gd name="connsiteY71" fmla="*/ 8903 h 10000"/>
              <a:gd name="connsiteX72" fmla="*/ 9687 w 10000"/>
              <a:gd name="connsiteY72" fmla="*/ 8944 h 10000"/>
              <a:gd name="connsiteX73" fmla="*/ 9635 w 10000"/>
              <a:gd name="connsiteY73" fmla="*/ 8944 h 10000"/>
              <a:gd name="connsiteX74" fmla="*/ 9635 w 10000"/>
              <a:gd name="connsiteY74" fmla="*/ 8989 h 10000"/>
              <a:gd name="connsiteX75" fmla="*/ 9583 w 10000"/>
              <a:gd name="connsiteY75" fmla="*/ 8989 h 10000"/>
              <a:gd name="connsiteX76" fmla="*/ 9532 w 10000"/>
              <a:gd name="connsiteY76" fmla="*/ 8989 h 10000"/>
              <a:gd name="connsiteX77" fmla="*/ 9479 w 10000"/>
              <a:gd name="connsiteY77" fmla="*/ 8989 h 10000"/>
              <a:gd name="connsiteX78" fmla="*/ 9427 w 10000"/>
              <a:gd name="connsiteY78" fmla="*/ 8989 h 10000"/>
              <a:gd name="connsiteX79" fmla="*/ 9375 w 10000"/>
              <a:gd name="connsiteY79" fmla="*/ 8989 h 10000"/>
              <a:gd name="connsiteX80" fmla="*/ 9322 w 10000"/>
              <a:gd name="connsiteY80" fmla="*/ 8989 h 10000"/>
              <a:gd name="connsiteX81" fmla="*/ 9271 w 10000"/>
              <a:gd name="connsiteY81" fmla="*/ 8989 h 10000"/>
              <a:gd name="connsiteX82" fmla="*/ 9271 w 10000"/>
              <a:gd name="connsiteY82" fmla="*/ 9030 h 10000"/>
              <a:gd name="connsiteX83" fmla="*/ 9219 w 10000"/>
              <a:gd name="connsiteY83" fmla="*/ 9073 h 10000"/>
              <a:gd name="connsiteX84" fmla="*/ 9167 w 10000"/>
              <a:gd name="connsiteY84" fmla="*/ 9115 h 10000"/>
              <a:gd name="connsiteX85" fmla="*/ 9219 w 10000"/>
              <a:gd name="connsiteY85" fmla="*/ 9115 h 10000"/>
              <a:gd name="connsiteX86" fmla="*/ 9167 w 10000"/>
              <a:gd name="connsiteY86" fmla="*/ 9115 h 10000"/>
              <a:gd name="connsiteX87" fmla="*/ 9114 w 10000"/>
              <a:gd name="connsiteY87" fmla="*/ 9115 h 10000"/>
              <a:gd name="connsiteX88" fmla="*/ 9062 w 10000"/>
              <a:gd name="connsiteY88" fmla="*/ 9156 h 10000"/>
              <a:gd name="connsiteX89" fmla="*/ 9011 w 10000"/>
              <a:gd name="connsiteY89" fmla="*/ 9198 h 10000"/>
              <a:gd name="connsiteX90" fmla="*/ 8959 w 10000"/>
              <a:gd name="connsiteY90" fmla="*/ 9198 h 10000"/>
              <a:gd name="connsiteX91" fmla="*/ 8959 w 10000"/>
              <a:gd name="connsiteY91" fmla="*/ 9242 h 10000"/>
              <a:gd name="connsiteX92" fmla="*/ 8906 w 10000"/>
              <a:gd name="connsiteY92" fmla="*/ 9242 h 10000"/>
              <a:gd name="connsiteX93" fmla="*/ 8906 w 10000"/>
              <a:gd name="connsiteY93" fmla="*/ 9283 h 10000"/>
              <a:gd name="connsiteX94" fmla="*/ 8854 w 10000"/>
              <a:gd name="connsiteY94" fmla="*/ 9283 h 10000"/>
              <a:gd name="connsiteX95" fmla="*/ 8802 w 10000"/>
              <a:gd name="connsiteY95" fmla="*/ 9283 h 10000"/>
              <a:gd name="connsiteX96" fmla="*/ 8749 w 10000"/>
              <a:gd name="connsiteY96" fmla="*/ 9283 h 10000"/>
              <a:gd name="connsiteX97" fmla="*/ 8698 w 10000"/>
              <a:gd name="connsiteY97" fmla="*/ 9283 h 10000"/>
              <a:gd name="connsiteX98" fmla="*/ 8646 w 10000"/>
              <a:gd name="connsiteY98" fmla="*/ 9283 h 10000"/>
              <a:gd name="connsiteX99" fmla="*/ 8646 w 10000"/>
              <a:gd name="connsiteY99" fmla="*/ 9242 h 10000"/>
              <a:gd name="connsiteX100" fmla="*/ 8646 w 10000"/>
              <a:gd name="connsiteY100" fmla="*/ 9198 h 10000"/>
              <a:gd name="connsiteX101" fmla="*/ 8594 w 10000"/>
              <a:gd name="connsiteY101" fmla="*/ 9156 h 10000"/>
              <a:gd name="connsiteX102" fmla="*/ 8594 w 10000"/>
              <a:gd name="connsiteY102" fmla="*/ 9115 h 10000"/>
              <a:gd name="connsiteX103" fmla="*/ 8594 w 10000"/>
              <a:gd name="connsiteY103" fmla="*/ 9073 h 10000"/>
              <a:gd name="connsiteX104" fmla="*/ 8541 w 10000"/>
              <a:gd name="connsiteY104" fmla="*/ 9073 h 10000"/>
              <a:gd name="connsiteX105" fmla="*/ 8489 w 10000"/>
              <a:gd name="connsiteY105" fmla="*/ 9073 h 10000"/>
              <a:gd name="connsiteX106" fmla="*/ 8489 w 10000"/>
              <a:gd name="connsiteY106" fmla="*/ 9030 h 10000"/>
              <a:gd name="connsiteX107" fmla="*/ 8438 w 10000"/>
              <a:gd name="connsiteY107" fmla="*/ 9030 h 10000"/>
              <a:gd name="connsiteX108" fmla="*/ 8386 w 10000"/>
              <a:gd name="connsiteY108" fmla="*/ 9073 h 10000"/>
              <a:gd name="connsiteX109" fmla="*/ 8386 w 10000"/>
              <a:gd name="connsiteY109" fmla="*/ 9115 h 10000"/>
              <a:gd name="connsiteX110" fmla="*/ 8282 w 10000"/>
              <a:gd name="connsiteY110" fmla="*/ 9073 h 10000"/>
              <a:gd name="connsiteX111" fmla="*/ 8282 w 10000"/>
              <a:gd name="connsiteY111" fmla="*/ 9030 h 10000"/>
              <a:gd name="connsiteX112" fmla="*/ 8230 w 10000"/>
              <a:gd name="connsiteY112" fmla="*/ 9030 h 10000"/>
              <a:gd name="connsiteX113" fmla="*/ 8179 w 10000"/>
              <a:gd name="connsiteY113" fmla="*/ 9030 h 10000"/>
              <a:gd name="connsiteX114" fmla="*/ 8126 w 10000"/>
              <a:gd name="connsiteY114" fmla="*/ 9030 h 10000"/>
              <a:gd name="connsiteX115" fmla="*/ 8074 w 10000"/>
              <a:gd name="connsiteY115" fmla="*/ 9030 h 10000"/>
              <a:gd name="connsiteX116" fmla="*/ 8022 w 10000"/>
              <a:gd name="connsiteY116" fmla="*/ 9030 h 10000"/>
              <a:gd name="connsiteX117" fmla="*/ 8022 w 10000"/>
              <a:gd name="connsiteY117" fmla="*/ 9073 h 10000"/>
              <a:gd name="connsiteX118" fmla="*/ 7969 w 10000"/>
              <a:gd name="connsiteY118" fmla="*/ 9073 h 10000"/>
              <a:gd name="connsiteX119" fmla="*/ 7917 w 10000"/>
              <a:gd name="connsiteY119" fmla="*/ 9115 h 10000"/>
              <a:gd name="connsiteX120" fmla="*/ 7866 w 10000"/>
              <a:gd name="connsiteY120" fmla="*/ 9115 h 10000"/>
              <a:gd name="connsiteX121" fmla="*/ 7866 w 10000"/>
              <a:gd name="connsiteY121" fmla="*/ 9073 h 10000"/>
              <a:gd name="connsiteX122" fmla="*/ 7866 w 10000"/>
              <a:gd name="connsiteY122" fmla="*/ 9115 h 10000"/>
              <a:gd name="connsiteX123" fmla="*/ 7814 w 10000"/>
              <a:gd name="connsiteY123" fmla="*/ 9115 h 10000"/>
              <a:gd name="connsiteX124" fmla="*/ 7761 w 10000"/>
              <a:gd name="connsiteY124" fmla="*/ 9156 h 10000"/>
              <a:gd name="connsiteX125" fmla="*/ 7709 w 10000"/>
              <a:gd name="connsiteY125" fmla="*/ 9115 h 10000"/>
              <a:gd name="connsiteX126" fmla="*/ 7657 w 10000"/>
              <a:gd name="connsiteY126" fmla="*/ 9115 h 10000"/>
              <a:gd name="connsiteX127" fmla="*/ 7606 w 10000"/>
              <a:gd name="connsiteY127" fmla="*/ 9115 h 10000"/>
              <a:gd name="connsiteX128" fmla="*/ 7553 w 10000"/>
              <a:gd name="connsiteY128" fmla="*/ 9073 h 10000"/>
              <a:gd name="connsiteX129" fmla="*/ 7501 w 10000"/>
              <a:gd name="connsiteY129" fmla="*/ 9073 h 10000"/>
              <a:gd name="connsiteX130" fmla="*/ 7501 w 10000"/>
              <a:gd name="connsiteY130" fmla="*/ 9115 h 10000"/>
              <a:gd name="connsiteX131" fmla="*/ 7449 w 10000"/>
              <a:gd name="connsiteY131" fmla="*/ 9115 h 10000"/>
              <a:gd name="connsiteX132" fmla="*/ 7396 w 10000"/>
              <a:gd name="connsiteY132" fmla="*/ 9073 h 10000"/>
              <a:gd name="connsiteX133" fmla="*/ 7345 w 10000"/>
              <a:gd name="connsiteY133" fmla="*/ 9073 h 10000"/>
              <a:gd name="connsiteX134" fmla="*/ 7293 w 10000"/>
              <a:gd name="connsiteY134" fmla="*/ 9156 h 10000"/>
              <a:gd name="connsiteX135" fmla="*/ 7241 w 10000"/>
              <a:gd name="connsiteY135" fmla="*/ 9156 h 10000"/>
              <a:gd name="connsiteX136" fmla="*/ 7241 w 10000"/>
              <a:gd name="connsiteY136" fmla="*/ 9115 h 10000"/>
              <a:gd name="connsiteX137" fmla="*/ 7241 w 10000"/>
              <a:gd name="connsiteY137" fmla="*/ 9156 h 10000"/>
              <a:gd name="connsiteX138" fmla="*/ 7241 w 10000"/>
              <a:gd name="connsiteY138" fmla="*/ 9198 h 10000"/>
              <a:gd name="connsiteX139" fmla="*/ 7188 w 10000"/>
              <a:gd name="connsiteY139" fmla="*/ 9198 h 10000"/>
              <a:gd name="connsiteX140" fmla="*/ 7136 w 10000"/>
              <a:gd name="connsiteY140" fmla="*/ 9198 h 10000"/>
              <a:gd name="connsiteX141" fmla="*/ 7188 w 10000"/>
              <a:gd name="connsiteY141" fmla="*/ 9242 h 10000"/>
              <a:gd name="connsiteX142" fmla="*/ 7136 w 10000"/>
              <a:gd name="connsiteY142" fmla="*/ 9283 h 10000"/>
              <a:gd name="connsiteX143" fmla="*/ 7188 w 10000"/>
              <a:gd name="connsiteY143" fmla="*/ 9326 h 10000"/>
              <a:gd name="connsiteX144" fmla="*/ 7241 w 10000"/>
              <a:gd name="connsiteY144" fmla="*/ 9326 h 10000"/>
              <a:gd name="connsiteX145" fmla="*/ 7241 w 10000"/>
              <a:gd name="connsiteY145" fmla="*/ 9368 h 10000"/>
              <a:gd name="connsiteX146" fmla="*/ 7188 w 10000"/>
              <a:gd name="connsiteY146" fmla="*/ 9368 h 10000"/>
              <a:gd name="connsiteX147" fmla="*/ 7136 w 10000"/>
              <a:gd name="connsiteY147" fmla="*/ 9368 h 10000"/>
              <a:gd name="connsiteX148" fmla="*/ 7188 w 10000"/>
              <a:gd name="connsiteY148" fmla="*/ 9409 h 10000"/>
              <a:gd name="connsiteX149" fmla="*/ 7188 w 10000"/>
              <a:gd name="connsiteY149" fmla="*/ 9452 h 10000"/>
              <a:gd name="connsiteX150" fmla="*/ 7136 w 10000"/>
              <a:gd name="connsiteY150" fmla="*/ 9452 h 10000"/>
              <a:gd name="connsiteX151" fmla="*/ 7136 w 10000"/>
              <a:gd name="connsiteY151" fmla="*/ 9495 h 10000"/>
              <a:gd name="connsiteX152" fmla="*/ 7084 w 10000"/>
              <a:gd name="connsiteY152" fmla="*/ 9537 h 10000"/>
              <a:gd name="connsiteX153" fmla="*/ 7136 w 10000"/>
              <a:gd name="connsiteY153" fmla="*/ 9579 h 10000"/>
              <a:gd name="connsiteX154" fmla="*/ 7188 w 10000"/>
              <a:gd name="connsiteY154" fmla="*/ 9579 h 10000"/>
              <a:gd name="connsiteX155" fmla="*/ 7188 w 10000"/>
              <a:gd name="connsiteY155" fmla="*/ 9620 h 10000"/>
              <a:gd name="connsiteX156" fmla="*/ 7188 w 10000"/>
              <a:gd name="connsiteY156" fmla="*/ 9663 h 10000"/>
              <a:gd name="connsiteX157" fmla="*/ 7136 w 10000"/>
              <a:gd name="connsiteY157" fmla="*/ 9663 h 10000"/>
              <a:gd name="connsiteX158" fmla="*/ 7084 w 10000"/>
              <a:gd name="connsiteY158" fmla="*/ 9705 h 10000"/>
              <a:gd name="connsiteX159" fmla="*/ 7136 w 10000"/>
              <a:gd name="connsiteY159" fmla="*/ 9747 h 10000"/>
              <a:gd name="connsiteX160" fmla="*/ 7136 w 10000"/>
              <a:gd name="connsiteY160" fmla="*/ 9790 h 10000"/>
              <a:gd name="connsiteX161" fmla="*/ 7136 w 10000"/>
              <a:gd name="connsiteY161" fmla="*/ 9832 h 10000"/>
              <a:gd name="connsiteX162" fmla="*/ 7136 w 10000"/>
              <a:gd name="connsiteY162" fmla="*/ 9873 h 10000"/>
              <a:gd name="connsiteX163" fmla="*/ 7084 w 10000"/>
              <a:gd name="connsiteY163" fmla="*/ 9873 h 10000"/>
              <a:gd name="connsiteX164" fmla="*/ 7084 w 10000"/>
              <a:gd name="connsiteY164" fmla="*/ 9916 h 10000"/>
              <a:gd name="connsiteX165" fmla="*/ 6928 w 10000"/>
              <a:gd name="connsiteY165" fmla="*/ 9916 h 10000"/>
              <a:gd name="connsiteX166" fmla="*/ 6928 w 10000"/>
              <a:gd name="connsiteY166" fmla="*/ 9958 h 10000"/>
              <a:gd name="connsiteX167" fmla="*/ 6928 w 10000"/>
              <a:gd name="connsiteY167" fmla="*/ 10000 h 10000"/>
              <a:gd name="connsiteX168" fmla="*/ 6876 w 10000"/>
              <a:gd name="connsiteY168" fmla="*/ 10000 h 10000"/>
              <a:gd name="connsiteX169" fmla="*/ 7344 w 10000"/>
              <a:gd name="connsiteY169" fmla="*/ 7447 h 10000"/>
              <a:gd name="connsiteX170" fmla="*/ 7136 w 10000"/>
              <a:gd name="connsiteY170" fmla="*/ 7105 h 10000"/>
              <a:gd name="connsiteX171" fmla="*/ 6544 w 10000"/>
              <a:gd name="connsiteY171" fmla="*/ 6993 h 10000"/>
              <a:gd name="connsiteX172" fmla="*/ 5775 w 10000"/>
              <a:gd name="connsiteY172" fmla="*/ 6958 h 10000"/>
              <a:gd name="connsiteX173" fmla="*/ 5311 w 10000"/>
              <a:gd name="connsiteY173" fmla="*/ 6850 h 10000"/>
              <a:gd name="connsiteX174" fmla="*/ 5071 w 10000"/>
              <a:gd name="connsiteY174" fmla="*/ 6741 h 10000"/>
              <a:gd name="connsiteX175" fmla="*/ 4912 w 10000"/>
              <a:gd name="connsiteY175" fmla="*/ 6832 h 10000"/>
              <a:gd name="connsiteX176" fmla="*/ 4416 w 10000"/>
              <a:gd name="connsiteY176" fmla="*/ 6669 h 10000"/>
              <a:gd name="connsiteX177" fmla="*/ 3584 w 10000"/>
              <a:gd name="connsiteY177" fmla="*/ 6379 h 10000"/>
              <a:gd name="connsiteX178" fmla="*/ 3104 w 10000"/>
              <a:gd name="connsiteY178" fmla="*/ 6323 h 10000"/>
              <a:gd name="connsiteX179" fmla="*/ 3200 w 10000"/>
              <a:gd name="connsiteY179" fmla="*/ 6125 h 10000"/>
              <a:gd name="connsiteX180" fmla="*/ 3344 w 10000"/>
              <a:gd name="connsiteY180" fmla="*/ 6070 h 10000"/>
              <a:gd name="connsiteX181" fmla="*/ 3728 w 10000"/>
              <a:gd name="connsiteY181" fmla="*/ 5782 h 10000"/>
              <a:gd name="connsiteX182" fmla="*/ 3968 w 10000"/>
              <a:gd name="connsiteY182" fmla="*/ 5510 h 10000"/>
              <a:gd name="connsiteX183" fmla="*/ 4224 w 10000"/>
              <a:gd name="connsiteY183" fmla="*/ 5220 h 10000"/>
              <a:gd name="connsiteX184" fmla="*/ 4368 w 10000"/>
              <a:gd name="connsiteY184" fmla="*/ 4949 h 10000"/>
              <a:gd name="connsiteX185" fmla="*/ 4352 w 10000"/>
              <a:gd name="connsiteY185" fmla="*/ 4641 h 10000"/>
              <a:gd name="connsiteX186" fmla="*/ 4336 w 10000"/>
              <a:gd name="connsiteY186" fmla="*/ 4369 h 10000"/>
              <a:gd name="connsiteX187" fmla="*/ 4176 w 10000"/>
              <a:gd name="connsiteY187" fmla="*/ 4206 h 10000"/>
              <a:gd name="connsiteX188" fmla="*/ 4016 w 10000"/>
              <a:gd name="connsiteY188" fmla="*/ 4225 h 10000"/>
              <a:gd name="connsiteX189" fmla="*/ 3856 w 10000"/>
              <a:gd name="connsiteY189" fmla="*/ 4514 h 10000"/>
              <a:gd name="connsiteX190" fmla="*/ 3808 w 10000"/>
              <a:gd name="connsiteY190" fmla="*/ 5038 h 10000"/>
              <a:gd name="connsiteX191" fmla="*/ 3536 w 10000"/>
              <a:gd name="connsiteY191" fmla="*/ 5384 h 10000"/>
              <a:gd name="connsiteX192" fmla="*/ 2992 w 10000"/>
              <a:gd name="connsiteY192" fmla="*/ 5691 h 10000"/>
              <a:gd name="connsiteX193" fmla="*/ 2415 w 10000"/>
              <a:gd name="connsiteY193" fmla="*/ 5926 h 10000"/>
              <a:gd name="connsiteX194" fmla="*/ 1951 w 10000"/>
              <a:gd name="connsiteY194" fmla="*/ 6251 h 10000"/>
              <a:gd name="connsiteX195" fmla="*/ 0 w 10000"/>
              <a:gd name="connsiteY195" fmla="*/ 6180 h 10000"/>
              <a:gd name="connsiteX196" fmla="*/ 3 w 10000"/>
              <a:gd name="connsiteY196" fmla="*/ 5950 h 10000"/>
              <a:gd name="connsiteX197" fmla="*/ 159 w 10000"/>
              <a:gd name="connsiteY197" fmla="*/ 6034 h 10000"/>
              <a:gd name="connsiteX198" fmla="*/ 368 w 10000"/>
              <a:gd name="connsiteY198" fmla="*/ 5950 h 10000"/>
              <a:gd name="connsiteX199" fmla="*/ 1462 w 10000"/>
              <a:gd name="connsiteY199" fmla="*/ 5950 h 10000"/>
              <a:gd name="connsiteX200" fmla="*/ 1617 w 10000"/>
              <a:gd name="connsiteY200" fmla="*/ 5908 h 10000"/>
              <a:gd name="connsiteX201" fmla="*/ 1669 w 10000"/>
              <a:gd name="connsiteY201" fmla="*/ 5908 h 10000"/>
              <a:gd name="connsiteX202" fmla="*/ 2189 w 10000"/>
              <a:gd name="connsiteY202" fmla="*/ 5359 h 10000"/>
              <a:gd name="connsiteX203" fmla="*/ 2294 w 10000"/>
              <a:gd name="connsiteY203" fmla="*/ 5274 h 10000"/>
              <a:gd name="connsiteX204" fmla="*/ 2762 w 10000"/>
              <a:gd name="connsiteY204" fmla="*/ 4853 h 10000"/>
              <a:gd name="connsiteX205" fmla="*/ 3023 w 10000"/>
              <a:gd name="connsiteY205" fmla="*/ 4600 h 10000"/>
              <a:gd name="connsiteX206" fmla="*/ 3179 w 10000"/>
              <a:gd name="connsiteY206" fmla="*/ 4473 h 10000"/>
              <a:gd name="connsiteX207" fmla="*/ 3596 w 10000"/>
              <a:gd name="connsiteY207" fmla="*/ 3840 h 10000"/>
              <a:gd name="connsiteX208" fmla="*/ 4116 w 10000"/>
              <a:gd name="connsiteY208" fmla="*/ 3586 h 10000"/>
              <a:gd name="connsiteX209" fmla="*/ 5001 w 10000"/>
              <a:gd name="connsiteY209" fmla="*/ 2870 h 10000"/>
              <a:gd name="connsiteX210" fmla="*/ 4845 w 10000"/>
              <a:gd name="connsiteY210" fmla="*/ 2617 h 10000"/>
              <a:gd name="connsiteX211" fmla="*/ 4794 w 10000"/>
              <a:gd name="connsiteY211" fmla="*/ 2448 h 10000"/>
              <a:gd name="connsiteX212" fmla="*/ 4794 w 10000"/>
              <a:gd name="connsiteY212" fmla="*/ 1265 h 10000"/>
              <a:gd name="connsiteX213" fmla="*/ 4116 w 10000"/>
              <a:gd name="connsiteY213" fmla="*/ 759 h 10000"/>
              <a:gd name="connsiteX214" fmla="*/ 4950 w 10000"/>
              <a:gd name="connsiteY214" fmla="*/ 759 h 10000"/>
              <a:gd name="connsiteX215" fmla="*/ 5782 w 10000"/>
              <a:gd name="connsiteY215" fmla="*/ 759 h 10000"/>
              <a:gd name="connsiteX216" fmla="*/ 5782 w 10000"/>
              <a:gd name="connsiteY216" fmla="*/ 717 h 10000"/>
              <a:gd name="connsiteX217" fmla="*/ 5782 w 10000"/>
              <a:gd name="connsiteY217" fmla="*/ 676 h 10000"/>
              <a:gd name="connsiteX218" fmla="*/ 5782 w 10000"/>
              <a:gd name="connsiteY218" fmla="*/ 635 h 10000"/>
              <a:gd name="connsiteX219" fmla="*/ 5782 w 10000"/>
              <a:gd name="connsiteY219" fmla="*/ 590 h 10000"/>
              <a:gd name="connsiteX220" fmla="*/ 5834 w 10000"/>
              <a:gd name="connsiteY220" fmla="*/ 547 h 10000"/>
              <a:gd name="connsiteX221" fmla="*/ 5834 w 10000"/>
              <a:gd name="connsiteY221" fmla="*/ 506 h 10000"/>
              <a:gd name="connsiteX222" fmla="*/ 5834 w 10000"/>
              <a:gd name="connsiteY222" fmla="*/ 465 h 10000"/>
              <a:gd name="connsiteX223" fmla="*/ 5834 w 10000"/>
              <a:gd name="connsiteY223" fmla="*/ 423 h 10000"/>
              <a:gd name="connsiteX224" fmla="*/ 5834 w 10000"/>
              <a:gd name="connsiteY224" fmla="*/ 382 h 10000"/>
              <a:gd name="connsiteX225" fmla="*/ 5834 w 10000"/>
              <a:gd name="connsiteY225" fmla="*/ 336 h 10000"/>
              <a:gd name="connsiteX226" fmla="*/ 5782 w 10000"/>
              <a:gd name="connsiteY226" fmla="*/ 336 h 10000"/>
              <a:gd name="connsiteX227" fmla="*/ 5782 w 10000"/>
              <a:gd name="connsiteY227" fmla="*/ 294 h 10000"/>
              <a:gd name="connsiteX228" fmla="*/ 5782 w 10000"/>
              <a:gd name="connsiteY228" fmla="*/ 253 h 10000"/>
              <a:gd name="connsiteX229" fmla="*/ 5782 w 10000"/>
              <a:gd name="connsiteY229" fmla="*/ 212 h 10000"/>
              <a:gd name="connsiteX230" fmla="*/ 5782 w 10000"/>
              <a:gd name="connsiteY230" fmla="*/ 170 h 10000"/>
              <a:gd name="connsiteX231" fmla="*/ 5782 w 10000"/>
              <a:gd name="connsiteY231" fmla="*/ 129 h 10000"/>
              <a:gd name="connsiteX232" fmla="*/ 5782 w 10000"/>
              <a:gd name="connsiteY232" fmla="*/ 83 h 10000"/>
              <a:gd name="connsiteX233" fmla="*/ 5782 w 10000"/>
              <a:gd name="connsiteY233" fmla="*/ 41 h 10000"/>
              <a:gd name="connsiteX234" fmla="*/ 5782 w 10000"/>
              <a:gd name="connsiteY234" fmla="*/ 0 h 10000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0 h 10000"/>
              <a:gd name="connsiteX4" fmla="*/ 7293 w 10000"/>
              <a:gd name="connsiteY4" fmla="*/ 547 h 10000"/>
              <a:gd name="connsiteX5" fmla="*/ 7188 w 10000"/>
              <a:gd name="connsiteY5" fmla="*/ 1141 h 10000"/>
              <a:gd name="connsiteX6" fmla="*/ 7136 w 10000"/>
              <a:gd name="connsiteY6" fmla="*/ 1182 h 10000"/>
              <a:gd name="connsiteX7" fmla="*/ 6980 w 10000"/>
              <a:gd name="connsiteY7" fmla="*/ 1519 h 10000"/>
              <a:gd name="connsiteX8" fmla="*/ 7396 w 10000"/>
              <a:gd name="connsiteY8" fmla="*/ 3081 h 10000"/>
              <a:gd name="connsiteX9" fmla="*/ 7501 w 10000"/>
              <a:gd name="connsiteY9" fmla="*/ 3377 h 10000"/>
              <a:gd name="connsiteX10" fmla="*/ 7345 w 10000"/>
              <a:gd name="connsiteY10" fmla="*/ 3630 h 10000"/>
              <a:gd name="connsiteX11" fmla="*/ 8022 w 10000"/>
              <a:gd name="connsiteY11" fmla="*/ 3797 h 10000"/>
              <a:gd name="connsiteX12" fmla="*/ 8489 w 10000"/>
              <a:gd name="connsiteY12" fmla="*/ 4262 h 10000"/>
              <a:gd name="connsiteX13" fmla="*/ 8594 w 10000"/>
              <a:gd name="connsiteY13" fmla="*/ 4347 h 10000"/>
              <a:gd name="connsiteX14" fmla="*/ 8906 w 10000"/>
              <a:gd name="connsiteY14" fmla="*/ 4558 h 10000"/>
              <a:gd name="connsiteX15" fmla="*/ 9114 w 10000"/>
              <a:gd name="connsiteY15" fmla="*/ 4811 h 10000"/>
              <a:gd name="connsiteX16" fmla="*/ 9219 w 10000"/>
              <a:gd name="connsiteY16" fmla="*/ 4937 h 10000"/>
              <a:gd name="connsiteX17" fmla="*/ 9427 w 10000"/>
              <a:gd name="connsiteY17" fmla="*/ 4937 h 10000"/>
              <a:gd name="connsiteX18" fmla="*/ 9427 w 10000"/>
              <a:gd name="connsiteY18" fmla="*/ 4979 h 10000"/>
              <a:gd name="connsiteX19" fmla="*/ 9479 w 10000"/>
              <a:gd name="connsiteY19" fmla="*/ 5064 h 10000"/>
              <a:gd name="connsiteX20" fmla="*/ 9479 w 10000"/>
              <a:gd name="connsiteY20" fmla="*/ 5106 h 10000"/>
              <a:gd name="connsiteX21" fmla="*/ 9532 w 10000"/>
              <a:gd name="connsiteY21" fmla="*/ 5274 h 10000"/>
              <a:gd name="connsiteX22" fmla="*/ 9532 w 10000"/>
              <a:gd name="connsiteY22" fmla="*/ 5317 h 10000"/>
              <a:gd name="connsiteX23" fmla="*/ 9532 w 10000"/>
              <a:gd name="connsiteY23" fmla="*/ 5444 h 10000"/>
              <a:gd name="connsiteX24" fmla="*/ 9532 w 10000"/>
              <a:gd name="connsiteY24" fmla="*/ 5527 h 10000"/>
              <a:gd name="connsiteX25" fmla="*/ 9479 w 10000"/>
              <a:gd name="connsiteY25" fmla="*/ 5612 h 10000"/>
              <a:gd name="connsiteX26" fmla="*/ 9427 w 10000"/>
              <a:gd name="connsiteY26" fmla="*/ 5866 h 10000"/>
              <a:gd name="connsiteX27" fmla="*/ 9375 w 10000"/>
              <a:gd name="connsiteY27" fmla="*/ 5908 h 10000"/>
              <a:gd name="connsiteX28" fmla="*/ 9322 w 10000"/>
              <a:gd name="connsiteY28" fmla="*/ 5950 h 10000"/>
              <a:gd name="connsiteX29" fmla="*/ 9271 w 10000"/>
              <a:gd name="connsiteY29" fmla="*/ 6119 h 10000"/>
              <a:gd name="connsiteX30" fmla="*/ 9219 w 10000"/>
              <a:gd name="connsiteY30" fmla="*/ 6203 h 10000"/>
              <a:gd name="connsiteX31" fmla="*/ 9219 w 10000"/>
              <a:gd name="connsiteY31" fmla="*/ 6287 h 10000"/>
              <a:gd name="connsiteX32" fmla="*/ 9219 w 10000"/>
              <a:gd name="connsiteY32" fmla="*/ 6329 h 10000"/>
              <a:gd name="connsiteX33" fmla="*/ 9219 w 10000"/>
              <a:gd name="connsiteY33" fmla="*/ 6456 h 10000"/>
              <a:gd name="connsiteX34" fmla="*/ 9271 w 10000"/>
              <a:gd name="connsiteY34" fmla="*/ 6583 h 10000"/>
              <a:gd name="connsiteX35" fmla="*/ 9895 w 10000"/>
              <a:gd name="connsiteY35" fmla="*/ 6583 h 10000"/>
              <a:gd name="connsiteX36" fmla="*/ 9895 w 10000"/>
              <a:gd name="connsiteY36" fmla="*/ 6668 h 10000"/>
              <a:gd name="connsiteX37" fmla="*/ 9948 w 10000"/>
              <a:gd name="connsiteY37" fmla="*/ 6962 h 10000"/>
              <a:gd name="connsiteX38" fmla="*/ 9948 w 10000"/>
              <a:gd name="connsiteY38" fmla="*/ 7004 h 10000"/>
              <a:gd name="connsiteX39" fmla="*/ 9948 w 10000"/>
              <a:gd name="connsiteY39" fmla="*/ 7132 h 10000"/>
              <a:gd name="connsiteX40" fmla="*/ 9948 w 10000"/>
              <a:gd name="connsiteY40" fmla="*/ 7174 h 10000"/>
              <a:gd name="connsiteX41" fmla="*/ 9948 w 10000"/>
              <a:gd name="connsiteY41" fmla="*/ 7257 h 10000"/>
              <a:gd name="connsiteX42" fmla="*/ 9948 w 10000"/>
              <a:gd name="connsiteY42" fmla="*/ 7300 h 10000"/>
              <a:gd name="connsiteX43" fmla="*/ 9948 w 10000"/>
              <a:gd name="connsiteY43" fmla="*/ 7343 h 10000"/>
              <a:gd name="connsiteX44" fmla="*/ 9948 w 10000"/>
              <a:gd name="connsiteY44" fmla="*/ 7385 h 10000"/>
              <a:gd name="connsiteX45" fmla="*/ 10000 w 10000"/>
              <a:gd name="connsiteY45" fmla="*/ 7468 h 10000"/>
              <a:gd name="connsiteX46" fmla="*/ 10000 w 10000"/>
              <a:gd name="connsiteY46" fmla="*/ 7597 h 10000"/>
              <a:gd name="connsiteX47" fmla="*/ 10000 w 10000"/>
              <a:gd name="connsiteY47" fmla="*/ 7638 h 10000"/>
              <a:gd name="connsiteX48" fmla="*/ 10000 w 10000"/>
              <a:gd name="connsiteY48" fmla="*/ 7680 h 10000"/>
              <a:gd name="connsiteX49" fmla="*/ 10000 w 10000"/>
              <a:gd name="connsiteY49" fmla="*/ 7721 h 10000"/>
              <a:gd name="connsiteX50" fmla="*/ 10000 w 10000"/>
              <a:gd name="connsiteY50" fmla="*/ 7807 h 10000"/>
              <a:gd name="connsiteX51" fmla="*/ 10000 w 10000"/>
              <a:gd name="connsiteY51" fmla="*/ 7850 h 10000"/>
              <a:gd name="connsiteX52" fmla="*/ 10000 w 10000"/>
              <a:gd name="connsiteY52" fmla="*/ 7891 h 10000"/>
              <a:gd name="connsiteX53" fmla="*/ 10000 w 10000"/>
              <a:gd name="connsiteY53" fmla="*/ 7974 h 10000"/>
              <a:gd name="connsiteX54" fmla="*/ 10000 w 10000"/>
              <a:gd name="connsiteY54" fmla="*/ 8186 h 10000"/>
              <a:gd name="connsiteX55" fmla="*/ 10000 w 10000"/>
              <a:gd name="connsiteY55" fmla="*/ 8227 h 10000"/>
              <a:gd name="connsiteX56" fmla="*/ 10000 w 10000"/>
              <a:gd name="connsiteY56" fmla="*/ 8313 h 10000"/>
              <a:gd name="connsiteX57" fmla="*/ 10000 w 10000"/>
              <a:gd name="connsiteY57" fmla="*/ 8356 h 10000"/>
              <a:gd name="connsiteX58" fmla="*/ 10000 w 10000"/>
              <a:gd name="connsiteY58" fmla="*/ 8397 h 10000"/>
              <a:gd name="connsiteX59" fmla="*/ 10000 w 10000"/>
              <a:gd name="connsiteY59" fmla="*/ 8438 h 10000"/>
              <a:gd name="connsiteX60" fmla="*/ 10000 w 10000"/>
              <a:gd name="connsiteY60" fmla="*/ 8480 h 10000"/>
              <a:gd name="connsiteX61" fmla="*/ 10000 w 10000"/>
              <a:gd name="connsiteY61" fmla="*/ 8567 h 10000"/>
              <a:gd name="connsiteX62" fmla="*/ 10000 w 10000"/>
              <a:gd name="connsiteY62" fmla="*/ 8650 h 10000"/>
              <a:gd name="connsiteX63" fmla="*/ 10000 w 10000"/>
              <a:gd name="connsiteY63" fmla="*/ 8691 h 10000"/>
              <a:gd name="connsiteX64" fmla="*/ 10000 w 10000"/>
              <a:gd name="connsiteY64" fmla="*/ 8736 h 10000"/>
              <a:gd name="connsiteX65" fmla="*/ 9948 w 10000"/>
              <a:gd name="connsiteY65" fmla="*/ 8736 h 10000"/>
              <a:gd name="connsiteX66" fmla="*/ 9948 w 10000"/>
              <a:gd name="connsiteY66" fmla="*/ 8777 h 10000"/>
              <a:gd name="connsiteX67" fmla="*/ 9895 w 10000"/>
              <a:gd name="connsiteY67" fmla="*/ 8820 h 10000"/>
              <a:gd name="connsiteX68" fmla="*/ 9844 w 10000"/>
              <a:gd name="connsiteY68" fmla="*/ 8820 h 10000"/>
              <a:gd name="connsiteX69" fmla="*/ 9844 w 10000"/>
              <a:gd name="connsiteY69" fmla="*/ 8862 h 10000"/>
              <a:gd name="connsiteX70" fmla="*/ 9792 w 10000"/>
              <a:gd name="connsiteY70" fmla="*/ 8862 h 10000"/>
              <a:gd name="connsiteX71" fmla="*/ 9740 w 10000"/>
              <a:gd name="connsiteY71" fmla="*/ 8903 h 10000"/>
              <a:gd name="connsiteX72" fmla="*/ 9687 w 10000"/>
              <a:gd name="connsiteY72" fmla="*/ 8944 h 10000"/>
              <a:gd name="connsiteX73" fmla="*/ 9635 w 10000"/>
              <a:gd name="connsiteY73" fmla="*/ 8944 h 10000"/>
              <a:gd name="connsiteX74" fmla="*/ 9635 w 10000"/>
              <a:gd name="connsiteY74" fmla="*/ 8989 h 10000"/>
              <a:gd name="connsiteX75" fmla="*/ 9583 w 10000"/>
              <a:gd name="connsiteY75" fmla="*/ 8989 h 10000"/>
              <a:gd name="connsiteX76" fmla="*/ 9532 w 10000"/>
              <a:gd name="connsiteY76" fmla="*/ 8989 h 10000"/>
              <a:gd name="connsiteX77" fmla="*/ 9479 w 10000"/>
              <a:gd name="connsiteY77" fmla="*/ 8989 h 10000"/>
              <a:gd name="connsiteX78" fmla="*/ 9427 w 10000"/>
              <a:gd name="connsiteY78" fmla="*/ 8989 h 10000"/>
              <a:gd name="connsiteX79" fmla="*/ 9375 w 10000"/>
              <a:gd name="connsiteY79" fmla="*/ 8989 h 10000"/>
              <a:gd name="connsiteX80" fmla="*/ 9322 w 10000"/>
              <a:gd name="connsiteY80" fmla="*/ 8989 h 10000"/>
              <a:gd name="connsiteX81" fmla="*/ 9271 w 10000"/>
              <a:gd name="connsiteY81" fmla="*/ 8989 h 10000"/>
              <a:gd name="connsiteX82" fmla="*/ 9271 w 10000"/>
              <a:gd name="connsiteY82" fmla="*/ 9030 h 10000"/>
              <a:gd name="connsiteX83" fmla="*/ 9219 w 10000"/>
              <a:gd name="connsiteY83" fmla="*/ 9073 h 10000"/>
              <a:gd name="connsiteX84" fmla="*/ 9167 w 10000"/>
              <a:gd name="connsiteY84" fmla="*/ 9115 h 10000"/>
              <a:gd name="connsiteX85" fmla="*/ 9219 w 10000"/>
              <a:gd name="connsiteY85" fmla="*/ 9115 h 10000"/>
              <a:gd name="connsiteX86" fmla="*/ 9167 w 10000"/>
              <a:gd name="connsiteY86" fmla="*/ 9115 h 10000"/>
              <a:gd name="connsiteX87" fmla="*/ 9114 w 10000"/>
              <a:gd name="connsiteY87" fmla="*/ 9115 h 10000"/>
              <a:gd name="connsiteX88" fmla="*/ 9062 w 10000"/>
              <a:gd name="connsiteY88" fmla="*/ 9156 h 10000"/>
              <a:gd name="connsiteX89" fmla="*/ 9011 w 10000"/>
              <a:gd name="connsiteY89" fmla="*/ 9198 h 10000"/>
              <a:gd name="connsiteX90" fmla="*/ 8959 w 10000"/>
              <a:gd name="connsiteY90" fmla="*/ 9198 h 10000"/>
              <a:gd name="connsiteX91" fmla="*/ 8959 w 10000"/>
              <a:gd name="connsiteY91" fmla="*/ 9242 h 10000"/>
              <a:gd name="connsiteX92" fmla="*/ 8906 w 10000"/>
              <a:gd name="connsiteY92" fmla="*/ 9242 h 10000"/>
              <a:gd name="connsiteX93" fmla="*/ 8906 w 10000"/>
              <a:gd name="connsiteY93" fmla="*/ 9283 h 10000"/>
              <a:gd name="connsiteX94" fmla="*/ 8854 w 10000"/>
              <a:gd name="connsiteY94" fmla="*/ 9283 h 10000"/>
              <a:gd name="connsiteX95" fmla="*/ 8802 w 10000"/>
              <a:gd name="connsiteY95" fmla="*/ 9283 h 10000"/>
              <a:gd name="connsiteX96" fmla="*/ 8749 w 10000"/>
              <a:gd name="connsiteY96" fmla="*/ 9283 h 10000"/>
              <a:gd name="connsiteX97" fmla="*/ 8698 w 10000"/>
              <a:gd name="connsiteY97" fmla="*/ 9283 h 10000"/>
              <a:gd name="connsiteX98" fmla="*/ 8646 w 10000"/>
              <a:gd name="connsiteY98" fmla="*/ 9283 h 10000"/>
              <a:gd name="connsiteX99" fmla="*/ 8646 w 10000"/>
              <a:gd name="connsiteY99" fmla="*/ 9242 h 10000"/>
              <a:gd name="connsiteX100" fmla="*/ 8646 w 10000"/>
              <a:gd name="connsiteY100" fmla="*/ 9198 h 10000"/>
              <a:gd name="connsiteX101" fmla="*/ 8594 w 10000"/>
              <a:gd name="connsiteY101" fmla="*/ 9156 h 10000"/>
              <a:gd name="connsiteX102" fmla="*/ 8594 w 10000"/>
              <a:gd name="connsiteY102" fmla="*/ 9115 h 10000"/>
              <a:gd name="connsiteX103" fmla="*/ 8594 w 10000"/>
              <a:gd name="connsiteY103" fmla="*/ 9073 h 10000"/>
              <a:gd name="connsiteX104" fmla="*/ 8541 w 10000"/>
              <a:gd name="connsiteY104" fmla="*/ 9073 h 10000"/>
              <a:gd name="connsiteX105" fmla="*/ 8489 w 10000"/>
              <a:gd name="connsiteY105" fmla="*/ 9073 h 10000"/>
              <a:gd name="connsiteX106" fmla="*/ 8489 w 10000"/>
              <a:gd name="connsiteY106" fmla="*/ 9030 h 10000"/>
              <a:gd name="connsiteX107" fmla="*/ 8438 w 10000"/>
              <a:gd name="connsiteY107" fmla="*/ 9030 h 10000"/>
              <a:gd name="connsiteX108" fmla="*/ 8386 w 10000"/>
              <a:gd name="connsiteY108" fmla="*/ 9073 h 10000"/>
              <a:gd name="connsiteX109" fmla="*/ 8386 w 10000"/>
              <a:gd name="connsiteY109" fmla="*/ 9115 h 10000"/>
              <a:gd name="connsiteX110" fmla="*/ 8282 w 10000"/>
              <a:gd name="connsiteY110" fmla="*/ 9073 h 10000"/>
              <a:gd name="connsiteX111" fmla="*/ 8282 w 10000"/>
              <a:gd name="connsiteY111" fmla="*/ 9030 h 10000"/>
              <a:gd name="connsiteX112" fmla="*/ 8230 w 10000"/>
              <a:gd name="connsiteY112" fmla="*/ 9030 h 10000"/>
              <a:gd name="connsiteX113" fmla="*/ 8179 w 10000"/>
              <a:gd name="connsiteY113" fmla="*/ 9030 h 10000"/>
              <a:gd name="connsiteX114" fmla="*/ 8126 w 10000"/>
              <a:gd name="connsiteY114" fmla="*/ 9030 h 10000"/>
              <a:gd name="connsiteX115" fmla="*/ 8074 w 10000"/>
              <a:gd name="connsiteY115" fmla="*/ 9030 h 10000"/>
              <a:gd name="connsiteX116" fmla="*/ 8022 w 10000"/>
              <a:gd name="connsiteY116" fmla="*/ 9030 h 10000"/>
              <a:gd name="connsiteX117" fmla="*/ 8022 w 10000"/>
              <a:gd name="connsiteY117" fmla="*/ 9073 h 10000"/>
              <a:gd name="connsiteX118" fmla="*/ 7969 w 10000"/>
              <a:gd name="connsiteY118" fmla="*/ 9073 h 10000"/>
              <a:gd name="connsiteX119" fmla="*/ 7917 w 10000"/>
              <a:gd name="connsiteY119" fmla="*/ 9115 h 10000"/>
              <a:gd name="connsiteX120" fmla="*/ 7866 w 10000"/>
              <a:gd name="connsiteY120" fmla="*/ 9115 h 10000"/>
              <a:gd name="connsiteX121" fmla="*/ 7866 w 10000"/>
              <a:gd name="connsiteY121" fmla="*/ 9073 h 10000"/>
              <a:gd name="connsiteX122" fmla="*/ 7866 w 10000"/>
              <a:gd name="connsiteY122" fmla="*/ 9115 h 10000"/>
              <a:gd name="connsiteX123" fmla="*/ 7814 w 10000"/>
              <a:gd name="connsiteY123" fmla="*/ 9115 h 10000"/>
              <a:gd name="connsiteX124" fmla="*/ 7761 w 10000"/>
              <a:gd name="connsiteY124" fmla="*/ 9156 h 10000"/>
              <a:gd name="connsiteX125" fmla="*/ 7709 w 10000"/>
              <a:gd name="connsiteY125" fmla="*/ 9115 h 10000"/>
              <a:gd name="connsiteX126" fmla="*/ 7657 w 10000"/>
              <a:gd name="connsiteY126" fmla="*/ 9115 h 10000"/>
              <a:gd name="connsiteX127" fmla="*/ 7606 w 10000"/>
              <a:gd name="connsiteY127" fmla="*/ 9115 h 10000"/>
              <a:gd name="connsiteX128" fmla="*/ 7553 w 10000"/>
              <a:gd name="connsiteY128" fmla="*/ 9073 h 10000"/>
              <a:gd name="connsiteX129" fmla="*/ 7501 w 10000"/>
              <a:gd name="connsiteY129" fmla="*/ 9073 h 10000"/>
              <a:gd name="connsiteX130" fmla="*/ 7501 w 10000"/>
              <a:gd name="connsiteY130" fmla="*/ 9115 h 10000"/>
              <a:gd name="connsiteX131" fmla="*/ 7449 w 10000"/>
              <a:gd name="connsiteY131" fmla="*/ 9115 h 10000"/>
              <a:gd name="connsiteX132" fmla="*/ 7396 w 10000"/>
              <a:gd name="connsiteY132" fmla="*/ 9073 h 10000"/>
              <a:gd name="connsiteX133" fmla="*/ 7345 w 10000"/>
              <a:gd name="connsiteY133" fmla="*/ 9073 h 10000"/>
              <a:gd name="connsiteX134" fmla="*/ 7293 w 10000"/>
              <a:gd name="connsiteY134" fmla="*/ 9156 h 10000"/>
              <a:gd name="connsiteX135" fmla="*/ 7241 w 10000"/>
              <a:gd name="connsiteY135" fmla="*/ 9156 h 10000"/>
              <a:gd name="connsiteX136" fmla="*/ 7241 w 10000"/>
              <a:gd name="connsiteY136" fmla="*/ 9115 h 10000"/>
              <a:gd name="connsiteX137" fmla="*/ 7241 w 10000"/>
              <a:gd name="connsiteY137" fmla="*/ 9156 h 10000"/>
              <a:gd name="connsiteX138" fmla="*/ 7241 w 10000"/>
              <a:gd name="connsiteY138" fmla="*/ 9198 h 10000"/>
              <a:gd name="connsiteX139" fmla="*/ 7188 w 10000"/>
              <a:gd name="connsiteY139" fmla="*/ 9198 h 10000"/>
              <a:gd name="connsiteX140" fmla="*/ 7136 w 10000"/>
              <a:gd name="connsiteY140" fmla="*/ 9198 h 10000"/>
              <a:gd name="connsiteX141" fmla="*/ 7188 w 10000"/>
              <a:gd name="connsiteY141" fmla="*/ 9242 h 10000"/>
              <a:gd name="connsiteX142" fmla="*/ 7136 w 10000"/>
              <a:gd name="connsiteY142" fmla="*/ 9283 h 10000"/>
              <a:gd name="connsiteX143" fmla="*/ 7188 w 10000"/>
              <a:gd name="connsiteY143" fmla="*/ 9326 h 10000"/>
              <a:gd name="connsiteX144" fmla="*/ 7241 w 10000"/>
              <a:gd name="connsiteY144" fmla="*/ 9326 h 10000"/>
              <a:gd name="connsiteX145" fmla="*/ 7241 w 10000"/>
              <a:gd name="connsiteY145" fmla="*/ 9368 h 10000"/>
              <a:gd name="connsiteX146" fmla="*/ 7188 w 10000"/>
              <a:gd name="connsiteY146" fmla="*/ 9368 h 10000"/>
              <a:gd name="connsiteX147" fmla="*/ 7136 w 10000"/>
              <a:gd name="connsiteY147" fmla="*/ 9368 h 10000"/>
              <a:gd name="connsiteX148" fmla="*/ 7188 w 10000"/>
              <a:gd name="connsiteY148" fmla="*/ 9409 h 10000"/>
              <a:gd name="connsiteX149" fmla="*/ 7188 w 10000"/>
              <a:gd name="connsiteY149" fmla="*/ 9452 h 10000"/>
              <a:gd name="connsiteX150" fmla="*/ 7136 w 10000"/>
              <a:gd name="connsiteY150" fmla="*/ 9452 h 10000"/>
              <a:gd name="connsiteX151" fmla="*/ 7136 w 10000"/>
              <a:gd name="connsiteY151" fmla="*/ 9495 h 10000"/>
              <a:gd name="connsiteX152" fmla="*/ 7084 w 10000"/>
              <a:gd name="connsiteY152" fmla="*/ 9537 h 10000"/>
              <a:gd name="connsiteX153" fmla="*/ 7136 w 10000"/>
              <a:gd name="connsiteY153" fmla="*/ 9579 h 10000"/>
              <a:gd name="connsiteX154" fmla="*/ 7188 w 10000"/>
              <a:gd name="connsiteY154" fmla="*/ 9579 h 10000"/>
              <a:gd name="connsiteX155" fmla="*/ 7188 w 10000"/>
              <a:gd name="connsiteY155" fmla="*/ 9620 h 10000"/>
              <a:gd name="connsiteX156" fmla="*/ 7188 w 10000"/>
              <a:gd name="connsiteY156" fmla="*/ 9663 h 10000"/>
              <a:gd name="connsiteX157" fmla="*/ 7136 w 10000"/>
              <a:gd name="connsiteY157" fmla="*/ 9663 h 10000"/>
              <a:gd name="connsiteX158" fmla="*/ 7084 w 10000"/>
              <a:gd name="connsiteY158" fmla="*/ 9705 h 10000"/>
              <a:gd name="connsiteX159" fmla="*/ 7136 w 10000"/>
              <a:gd name="connsiteY159" fmla="*/ 9747 h 10000"/>
              <a:gd name="connsiteX160" fmla="*/ 7136 w 10000"/>
              <a:gd name="connsiteY160" fmla="*/ 9790 h 10000"/>
              <a:gd name="connsiteX161" fmla="*/ 7136 w 10000"/>
              <a:gd name="connsiteY161" fmla="*/ 9832 h 10000"/>
              <a:gd name="connsiteX162" fmla="*/ 7136 w 10000"/>
              <a:gd name="connsiteY162" fmla="*/ 9873 h 10000"/>
              <a:gd name="connsiteX163" fmla="*/ 7084 w 10000"/>
              <a:gd name="connsiteY163" fmla="*/ 9873 h 10000"/>
              <a:gd name="connsiteX164" fmla="*/ 7084 w 10000"/>
              <a:gd name="connsiteY164" fmla="*/ 9916 h 10000"/>
              <a:gd name="connsiteX165" fmla="*/ 6928 w 10000"/>
              <a:gd name="connsiteY165" fmla="*/ 9916 h 10000"/>
              <a:gd name="connsiteX166" fmla="*/ 6928 w 10000"/>
              <a:gd name="connsiteY166" fmla="*/ 9958 h 10000"/>
              <a:gd name="connsiteX167" fmla="*/ 6928 w 10000"/>
              <a:gd name="connsiteY167" fmla="*/ 10000 h 10000"/>
              <a:gd name="connsiteX168" fmla="*/ 7344 w 10000"/>
              <a:gd name="connsiteY168" fmla="*/ 7447 h 10000"/>
              <a:gd name="connsiteX169" fmla="*/ 7136 w 10000"/>
              <a:gd name="connsiteY169" fmla="*/ 7105 h 10000"/>
              <a:gd name="connsiteX170" fmla="*/ 6544 w 10000"/>
              <a:gd name="connsiteY170" fmla="*/ 6993 h 10000"/>
              <a:gd name="connsiteX171" fmla="*/ 5775 w 10000"/>
              <a:gd name="connsiteY171" fmla="*/ 6958 h 10000"/>
              <a:gd name="connsiteX172" fmla="*/ 5311 w 10000"/>
              <a:gd name="connsiteY172" fmla="*/ 6850 h 10000"/>
              <a:gd name="connsiteX173" fmla="*/ 5071 w 10000"/>
              <a:gd name="connsiteY173" fmla="*/ 6741 h 10000"/>
              <a:gd name="connsiteX174" fmla="*/ 4912 w 10000"/>
              <a:gd name="connsiteY174" fmla="*/ 6832 h 10000"/>
              <a:gd name="connsiteX175" fmla="*/ 4416 w 10000"/>
              <a:gd name="connsiteY175" fmla="*/ 6669 h 10000"/>
              <a:gd name="connsiteX176" fmla="*/ 3584 w 10000"/>
              <a:gd name="connsiteY176" fmla="*/ 6379 h 10000"/>
              <a:gd name="connsiteX177" fmla="*/ 3104 w 10000"/>
              <a:gd name="connsiteY177" fmla="*/ 6323 h 10000"/>
              <a:gd name="connsiteX178" fmla="*/ 3200 w 10000"/>
              <a:gd name="connsiteY178" fmla="*/ 6125 h 10000"/>
              <a:gd name="connsiteX179" fmla="*/ 3344 w 10000"/>
              <a:gd name="connsiteY179" fmla="*/ 6070 h 10000"/>
              <a:gd name="connsiteX180" fmla="*/ 3728 w 10000"/>
              <a:gd name="connsiteY180" fmla="*/ 5782 h 10000"/>
              <a:gd name="connsiteX181" fmla="*/ 3968 w 10000"/>
              <a:gd name="connsiteY181" fmla="*/ 5510 h 10000"/>
              <a:gd name="connsiteX182" fmla="*/ 4224 w 10000"/>
              <a:gd name="connsiteY182" fmla="*/ 5220 h 10000"/>
              <a:gd name="connsiteX183" fmla="*/ 4368 w 10000"/>
              <a:gd name="connsiteY183" fmla="*/ 4949 h 10000"/>
              <a:gd name="connsiteX184" fmla="*/ 4352 w 10000"/>
              <a:gd name="connsiteY184" fmla="*/ 4641 h 10000"/>
              <a:gd name="connsiteX185" fmla="*/ 4336 w 10000"/>
              <a:gd name="connsiteY185" fmla="*/ 4369 h 10000"/>
              <a:gd name="connsiteX186" fmla="*/ 4176 w 10000"/>
              <a:gd name="connsiteY186" fmla="*/ 4206 h 10000"/>
              <a:gd name="connsiteX187" fmla="*/ 4016 w 10000"/>
              <a:gd name="connsiteY187" fmla="*/ 4225 h 10000"/>
              <a:gd name="connsiteX188" fmla="*/ 3856 w 10000"/>
              <a:gd name="connsiteY188" fmla="*/ 4514 h 10000"/>
              <a:gd name="connsiteX189" fmla="*/ 3808 w 10000"/>
              <a:gd name="connsiteY189" fmla="*/ 5038 h 10000"/>
              <a:gd name="connsiteX190" fmla="*/ 3536 w 10000"/>
              <a:gd name="connsiteY190" fmla="*/ 5384 h 10000"/>
              <a:gd name="connsiteX191" fmla="*/ 2992 w 10000"/>
              <a:gd name="connsiteY191" fmla="*/ 5691 h 10000"/>
              <a:gd name="connsiteX192" fmla="*/ 2415 w 10000"/>
              <a:gd name="connsiteY192" fmla="*/ 5926 h 10000"/>
              <a:gd name="connsiteX193" fmla="*/ 1951 w 10000"/>
              <a:gd name="connsiteY193" fmla="*/ 6251 h 10000"/>
              <a:gd name="connsiteX194" fmla="*/ 0 w 10000"/>
              <a:gd name="connsiteY194" fmla="*/ 6180 h 10000"/>
              <a:gd name="connsiteX195" fmla="*/ 3 w 10000"/>
              <a:gd name="connsiteY195" fmla="*/ 5950 h 10000"/>
              <a:gd name="connsiteX196" fmla="*/ 159 w 10000"/>
              <a:gd name="connsiteY196" fmla="*/ 6034 h 10000"/>
              <a:gd name="connsiteX197" fmla="*/ 368 w 10000"/>
              <a:gd name="connsiteY197" fmla="*/ 5950 h 10000"/>
              <a:gd name="connsiteX198" fmla="*/ 1462 w 10000"/>
              <a:gd name="connsiteY198" fmla="*/ 5950 h 10000"/>
              <a:gd name="connsiteX199" fmla="*/ 1617 w 10000"/>
              <a:gd name="connsiteY199" fmla="*/ 5908 h 10000"/>
              <a:gd name="connsiteX200" fmla="*/ 1669 w 10000"/>
              <a:gd name="connsiteY200" fmla="*/ 5908 h 10000"/>
              <a:gd name="connsiteX201" fmla="*/ 2189 w 10000"/>
              <a:gd name="connsiteY201" fmla="*/ 5359 h 10000"/>
              <a:gd name="connsiteX202" fmla="*/ 2294 w 10000"/>
              <a:gd name="connsiteY202" fmla="*/ 5274 h 10000"/>
              <a:gd name="connsiteX203" fmla="*/ 2762 w 10000"/>
              <a:gd name="connsiteY203" fmla="*/ 4853 h 10000"/>
              <a:gd name="connsiteX204" fmla="*/ 3023 w 10000"/>
              <a:gd name="connsiteY204" fmla="*/ 4600 h 10000"/>
              <a:gd name="connsiteX205" fmla="*/ 3179 w 10000"/>
              <a:gd name="connsiteY205" fmla="*/ 4473 h 10000"/>
              <a:gd name="connsiteX206" fmla="*/ 3596 w 10000"/>
              <a:gd name="connsiteY206" fmla="*/ 3840 h 10000"/>
              <a:gd name="connsiteX207" fmla="*/ 4116 w 10000"/>
              <a:gd name="connsiteY207" fmla="*/ 3586 h 10000"/>
              <a:gd name="connsiteX208" fmla="*/ 5001 w 10000"/>
              <a:gd name="connsiteY208" fmla="*/ 2870 h 10000"/>
              <a:gd name="connsiteX209" fmla="*/ 4845 w 10000"/>
              <a:gd name="connsiteY209" fmla="*/ 2617 h 10000"/>
              <a:gd name="connsiteX210" fmla="*/ 4794 w 10000"/>
              <a:gd name="connsiteY210" fmla="*/ 2448 h 10000"/>
              <a:gd name="connsiteX211" fmla="*/ 4794 w 10000"/>
              <a:gd name="connsiteY211" fmla="*/ 1265 h 10000"/>
              <a:gd name="connsiteX212" fmla="*/ 4116 w 10000"/>
              <a:gd name="connsiteY212" fmla="*/ 759 h 10000"/>
              <a:gd name="connsiteX213" fmla="*/ 4950 w 10000"/>
              <a:gd name="connsiteY213" fmla="*/ 759 h 10000"/>
              <a:gd name="connsiteX214" fmla="*/ 5782 w 10000"/>
              <a:gd name="connsiteY214" fmla="*/ 759 h 10000"/>
              <a:gd name="connsiteX215" fmla="*/ 5782 w 10000"/>
              <a:gd name="connsiteY215" fmla="*/ 717 h 10000"/>
              <a:gd name="connsiteX216" fmla="*/ 5782 w 10000"/>
              <a:gd name="connsiteY216" fmla="*/ 676 h 10000"/>
              <a:gd name="connsiteX217" fmla="*/ 5782 w 10000"/>
              <a:gd name="connsiteY217" fmla="*/ 635 h 10000"/>
              <a:gd name="connsiteX218" fmla="*/ 5782 w 10000"/>
              <a:gd name="connsiteY218" fmla="*/ 590 h 10000"/>
              <a:gd name="connsiteX219" fmla="*/ 5834 w 10000"/>
              <a:gd name="connsiteY219" fmla="*/ 547 h 10000"/>
              <a:gd name="connsiteX220" fmla="*/ 5834 w 10000"/>
              <a:gd name="connsiteY220" fmla="*/ 506 h 10000"/>
              <a:gd name="connsiteX221" fmla="*/ 5834 w 10000"/>
              <a:gd name="connsiteY221" fmla="*/ 465 h 10000"/>
              <a:gd name="connsiteX222" fmla="*/ 5834 w 10000"/>
              <a:gd name="connsiteY222" fmla="*/ 423 h 10000"/>
              <a:gd name="connsiteX223" fmla="*/ 5834 w 10000"/>
              <a:gd name="connsiteY223" fmla="*/ 382 h 10000"/>
              <a:gd name="connsiteX224" fmla="*/ 5834 w 10000"/>
              <a:gd name="connsiteY224" fmla="*/ 336 h 10000"/>
              <a:gd name="connsiteX225" fmla="*/ 5782 w 10000"/>
              <a:gd name="connsiteY225" fmla="*/ 336 h 10000"/>
              <a:gd name="connsiteX226" fmla="*/ 5782 w 10000"/>
              <a:gd name="connsiteY226" fmla="*/ 294 h 10000"/>
              <a:gd name="connsiteX227" fmla="*/ 5782 w 10000"/>
              <a:gd name="connsiteY227" fmla="*/ 253 h 10000"/>
              <a:gd name="connsiteX228" fmla="*/ 5782 w 10000"/>
              <a:gd name="connsiteY228" fmla="*/ 212 h 10000"/>
              <a:gd name="connsiteX229" fmla="*/ 5782 w 10000"/>
              <a:gd name="connsiteY229" fmla="*/ 170 h 10000"/>
              <a:gd name="connsiteX230" fmla="*/ 5782 w 10000"/>
              <a:gd name="connsiteY230" fmla="*/ 129 h 10000"/>
              <a:gd name="connsiteX231" fmla="*/ 5782 w 10000"/>
              <a:gd name="connsiteY231" fmla="*/ 83 h 10000"/>
              <a:gd name="connsiteX232" fmla="*/ 5782 w 10000"/>
              <a:gd name="connsiteY232" fmla="*/ 41 h 10000"/>
              <a:gd name="connsiteX233" fmla="*/ 5782 w 10000"/>
              <a:gd name="connsiteY233" fmla="*/ 0 h 10000"/>
              <a:gd name="connsiteX0" fmla="*/ 5782 w 10000"/>
              <a:gd name="connsiteY0" fmla="*/ 0 h 9958"/>
              <a:gd name="connsiteX1" fmla="*/ 7345 w 10000"/>
              <a:gd name="connsiteY1" fmla="*/ 41 h 9958"/>
              <a:gd name="connsiteX2" fmla="*/ 7501 w 10000"/>
              <a:gd name="connsiteY2" fmla="*/ 41 h 9958"/>
              <a:gd name="connsiteX3" fmla="*/ 7345 w 10000"/>
              <a:gd name="connsiteY3" fmla="*/ 170 h 9958"/>
              <a:gd name="connsiteX4" fmla="*/ 7293 w 10000"/>
              <a:gd name="connsiteY4" fmla="*/ 547 h 9958"/>
              <a:gd name="connsiteX5" fmla="*/ 7188 w 10000"/>
              <a:gd name="connsiteY5" fmla="*/ 1141 h 9958"/>
              <a:gd name="connsiteX6" fmla="*/ 7136 w 10000"/>
              <a:gd name="connsiteY6" fmla="*/ 1182 h 9958"/>
              <a:gd name="connsiteX7" fmla="*/ 6980 w 10000"/>
              <a:gd name="connsiteY7" fmla="*/ 1519 h 9958"/>
              <a:gd name="connsiteX8" fmla="*/ 7396 w 10000"/>
              <a:gd name="connsiteY8" fmla="*/ 3081 h 9958"/>
              <a:gd name="connsiteX9" fmla="*/ 7501 w 10000"/>
              <a:gd name="connsiteY9" fmla="*/ 3377 h 9958"/>
              <a:gd name="connsiteX10" fmla="*/ 7345 w 10000"/>
              <a:gd name="connsiteY10" fmla="*/ 3630 h 9958"/>
              <a:gd name="connsiteX11" fmla="*/ 8022 w 10000"/>
              <a:gd name="connsiteY11" fmla="*/ 3797 h 9958"/>
              <a:gd name="connsiteX12" fmla="*/ 8489 w 10000"/>
              <a:gd name="connsiteY12" fmla="*/ 4262 h 9958"/>
              <a:gd name="connsiteX13" fmla="*/ 8594 w 10000"/>
              <a:gd name="connsiteY13" fmla="*/ 4347 h 9958"/>
              <a:gd name="connsiteX14" fmla="*/ 8906 w 10000"/>
              <a:gd name="connsiteY14" fmla="*/ 4558 h 9958"/>
              <a:gd name="connsiteX15" fmla="*/ 9114 w 10000"/>
              <a:gd name="connsiteY15" fmla="*/ 4811 h 9958"/>
              <a:gd name="connsiteX16" fmla="*/ 9219 w 10000"/>
              <a:gd name="connsiteY16" fmla="*/ 4937 h 9958"/>
              <a:gd name="connsiteX17" fmla="*/ 9427 w 10000"/>
              <a:gd name="connsiteY17" fmla="*/ 4937 h 9958"/>
              <a:gd name="connsiteX18" fmla="*/ 9427 w 10000"/>
              <a:gd name="connsiteY18" fmla="*/ 4979 h 9958"/>
              <a:gd name="connsiteX19" fmla="*/ 9479 w 10000"/>
              <a:gd name="connsiteY19" fmla="*/ 5064 h 9958"/>
              <a:gd name="connsiteX20" fmla="*/ 9479 w 10000"/>
              <a:gd name="connsiteY20" fmla="*/ 5106 h 9958"/>
              <a:gd name="connsiteX21" fmla="*/ 9532 w 10000"/>
              <a:gd name="connsiteY21" fmla="*/ 5274 h 9958"/>
              <a:gd name="connsiteX22" fmla="*/ 9532 w 10000"/>
              <a:gd name="connsiteY22" fmla="*/ 5317 h 9958"/>
              <a:gd name="connsiteX23" fmla="*/ 9532 w 10000"/>
              <a:gd name="connsiteY23" fmla="*/ 5444 h 9958"/>
              <a:gd name="connsiteX24" fmla="*/ 9532 w 10000"/>
              <a:gd name="connsiteY24" fmla="*/ 5527 h 9958"/>
              <a:gd name="connsiteX25" fmla="*/ 9479 w 10000"/>
              <a:gd name="connsiteY25" fmla="*/ 5612 h 9958"/>
              <a:gd name="connsiteX26" fmla="*/ 9427 w 10000"/>
              <a:gd name="connsiteY26" fmla="*/ 5866 h 9958"/>
              <a:gd name="connsiteX27" fmla="*/ 9375 w 10000"/>
              <a:gd name="connsiteY27" fmla="*/ 5908 h 9958"/>
              <a:gd name="connsiteX28" fmla="*/ 9322 w 10000"/>
              <a:gd name="connsiteY28" fmla="*/ 5950 h 9958"/>
              <a:gd name="connsiteX29" fmla="*/ 9271 w 10000"/>
              <a:gd name="connsiteY29" fmla="*/ 6119 h 9958"/>
              <a:gd name="connsiteX30" fmla="*/ 9219 w 10000"/>
              <a:gd name="connsiteY30" fmla="*/ 6203 h 9958"/>
              <a:gd name="connsiteX31" fmla="*/ 9219 w 10000"/>
              <a:gd name="connsiteY31" fmla="*/ 6287 h 9958"/>
              <a:gd name="connsiteX32" fmla="*/ 9219 w 10000"/>
              <a:gd name="connsiteY32" fmla="*/ 6329 h 9958"/>
              <a:gd name="connsiteX33" fmla="*/ 9219 w 10000"/>
              <a:gd name="connsiteY33" fmla="*/ 6456 h 9958"/>
              <a:gd name="connsiteX34" fmla="*/ 9271 w 10000"/>
              <a:gd name="connsiteY34" fmla="*/ 6583 h 9958"/>
              <a:gd name="connsiteX35" fmla="*/ 9895 w 10000"/>
              <a:gd name="connsiteY35" fmla="*/ 6583 h 9958"/>
              <a:gd name="connsiteX36" fmla="*/ 9895 w 10000"/>
              <a:gd name="connsiteY36" fmla="*/ 6668 h 9958"/>
              <a:gd name="connsiteX37" fmla="*/ 9948 w 10000"/>
              <a:gd name="connsiteY37" fmla="*/ 6962 h 9958"/>
              <a:gd name="connsiteX38" fmla="*/ 9948 w 10000"/>
              <a:gd name="connsiteY38" fmla="*/ 7004 h 9958"/>
              <a:gd name="connsiteX39" fmla="*/ 9948 w 10000"/>
              <a:gd name="connsiteY39" fmla="*/ 7132 h 9958"/>
              <a:gd name="connsiteX40" fmla="*/ 9948 w 10000"/>
              <a:gd name="connsiteY40" fmla="*/ 7174 h 9958"/>
              <a:gd name="connsiteX41" fmla="*/ 9948 w 10000"/>
              <a:gd name="connsiteY41" fmla="*/ 7257 h 9958"/>
              <a:gd name="connsiteX42" fmla="*/ 9948 w 10000"/>
              <a:gd name="connsiteY42" fmla="*/ 7300 h 9958"/>
              <a:gd name="connsiteX43" fmla="*/ 9948 w 10000"/>
              <a:gd name="connsiteY43" fmla="*/ 7343 h 9958"/>
              <a:gd name="connsiteX44" fmla="*/ 9948 w 10000"/>
              <a:gd name="connsiteY44" fmla="*/ 7385 h 9958"/>
              <a:gd name="connsiteX45" fmla="*/ 10000 w 10000"/>
              <a:gd name="connsiteY45" fmla="*/ 7468 h 9958"/>
              <a:gd name="connsiteX46" fmla="*/ 10000 w 10000"/>
              <a:gd name="connsiteY46" fmla="*/ 7597 h 9958"/>
              <a:gd name="connsiteX47" fmla="*/ 10000 w 10000"/>
              <a:gd name="connsiteY47" fmla="*/ 7638 h 9958"/>
              <a:gd name="connsiteX48" fmla="*/ 10000 w 10000"/>
              <a:gd name="connsiteY48" fmla="*/ 7680 h 9958"/>
              <a:gd name="connsiteX49" fmla="*/ 10000 w 10000"/>
              <a:gd name="connsiteY49" fmla="*/ 7721 h 9958"/>
              <a:gd name="connsiteX50" fmla="*/ 10000 w 10000"/>
              <a:gd name="connsiteY50" fmla="*/ 7807 h 9958"/>
              <a:gd name="connsiteX51" fmla="*/ 10000 w 10000"/>
              <a:gd name="connsiteY51" fmla="*/ 7850 h 9958"/>
              <a:gd name="connsiteX52" fmla="*/ 10000 w 10000"/>
              <a:gd name="connsiteY52" fmla="*/ 7891 h 9958"/>
              <a:gd name="connsiteX53" fmla="*/ 10000 w 10000"/>
              <a:gd name="connsiteY53" fmla="*/ 7974 h 9958"/>
              <a:gd name="connsiteX54" fmla="*/ 10000 w 10000"/>
              <a:gd name="connsiteY54" fmla="*/ 8186 h 9958"/>
              <a:gd name="connsiteX55" fmla="*/ 10000 w 10000"/>
              <a:gd name="connsiteY55" fmla="*/ 8227 h 9958"/>
              <a:gd name="connsiteX56" fmla="*/ 10000 w 10000"/>
              <a:gd name="connsiteY56" fmla="*/ 8313 h 9958"/>
              <a:gd name="connsiteX57" fmla="*/ 10000 w 10000"/>
              <a:gd name="connsiteY57" fmla="*/ 8356 h 9958"/>
              <a:gd name="connsiteX58" fmla="*/ 10000 w 10000"/>
              <a:gd name="connsiteY58" fmla="*/ 8397 h 9958"/>
              <a:gd name="connsiteX59" fmla="*/ 10000 w 10000"/>
              <a:gd name="connsiteY59" fmla="*/ 8438 h 9958"/>
              <a:gd name="connsiteX60" fmla="*/ 10000 w 10000"/>
              <a:gd name="connsiteY60" fmla="*/ 8480 h 9958"/>
              <a:gd name="connsiteX61" fmla="*/ 10000 w 10000"/>
              <a:gd name="connsiteY61" fmla="*/ 8567 h 9958"/>
              <a:gd name="connsiteX62" fmla="*/ 10000 w 10000"/>
              <a:gd name="connsiteY62" fmla="*/ 8650 h 9958"/>
              <a:gd name="connsiteX63" fmla="*/ 10000 w 10000"/>
              <a:gd name="connsiteY63" fmla="*/ 8691 h 9958"/>
              <a:gd name="connsiteX64" fmla="*/ 10000 w 10000"/>
              <a:gd name="connsiteY64" fmla="*/ 8736 h 9958"/>
              <a:gd name="connsiteX65" fmla="*/ 9948 w 10000"/>
              <a:gd name="connsiteY65" fmla="*/ 8736 h 9958"/>
              <a:gd name="connsiteX66" fmla="*/ 9948 w 10000"/>
              <a:gd name="connsiteY66" fmla="*/ 8777 h 9958"/>
              <a:gd name="connsiteX67" fmla="*/ 9895 w 10000"/>
              <a:gd name="connsiteY67" fmla="*/ 8820 h 9958"/>
              <a:gd name="connsiteX68" fmla="*/ 9844 w 10000"/>
              <a:gd name="connsiteY68" fmla="*/ 8820 h 9958"/>
              <a:gd name="connsiteX69" fmla="*/ 9844 w 10000"/>
              <a:gd name="connsiteY69" fmla="*/ 8862 h 9958"/>
              <a:gd name="connsiteX70" fmla="*/ 9792 w 10000"/>
              <a:gd name="connsiteY70" fmla="*/ 8862 h 9958"/>
              <a:gd name="connsiteX71" fmla="*/ 9740 w 10000"/>
              <a:gd name="connsiteY71" fmla="*/ 8903 h 9958"/>
              <a:gd name="connsiteX72" fmla="*/ 9687 w 10000"/>
              <a:gd name="connsiteY72" fmla="*/ 8944 h 9958"/>
              <a:gd name="connsiteX73" fmla="*/ 9635 w 10000"/>
              <a:gd name="connsiteY73" fmla="*/ 8944 h 9958"/>
              <a:gd name="connsiteX74" fmla="*/ 9635 w 10000"/>
              <a:gd name="connsiteY74" fmla="*/ 8989 h 9958"/>
              <a:gd name="connsiteX75" fmla="*/ 9583 w 10000"/>
              <a:gd name="connsiteY75" fmla="*/ 8989 h 9958"/>
              <a:gd name="connsiteX76" fmla="*/ 9532 w 10000"/>
              <a:gd name="connsiteY76" fmla="*/ 8989 h 9958"/>
              <a:gd name="connsiteX77" fmla="*/ 9479 w 10000"/>
              <a:gd name="connsiteY77" fmla="*/ 8989 h 9958"/>
              <a:gd name="connsiteX78" fmla="*/ 9427 w 10000"/>
              <a:gd name="connsiteY78" fmla="*/ 8989 h 9958"/>
              <a:gd name="connsiteX79" fmla="*/ 9375 w 10000"/>
              <a:gd name="connsiteY79" fmla="*/ 8989 h 9958"/>
              <a:gd name="connsiteX80" fmla="*/ 9322 w 10000"/>
              <a:gd name="connsiteY80" fmla="*/ 8989 h 9958"/>
              <a:gd name="connsiteX81" fmla="*/ 9271 w 10000"/>
              <a:gd name="connsiteY81" fmla="*/ 8989 h 9958"/>
              <a:gd name="connsiteX82" fmla="*/ 9271 w 10000"/>
              <a:gd name="connsiteY82" fmla="*/ 9030 h 9958"/>
              <a:gd name="connsiteX83" fmla="*/ 9219 w 10000"/>
              <a:gd name="connsiteY83" fmla="*/ 9073 h 9958"/>
              <a:gd name="connsiteX84" fmla="*/ 9167 w 10000"/>
              <a:gd name="connsiteY84" fmla="*/ 9115 h 9958"/>
              <a:gd name="connsiteX85" fmla="*/ 9219 w 10000"/>
              <a:gd name="connsiteY85" fmla="*/ 9115 h 9958"/>
              <a:gd name="connsiteX86" fmla="*/ 9167 w 10000"/>
              <a:gd name="connsiteY86" fmla="*/ 9115 h 9958"/>
              <a:gd name="connsiteX87" fmla="*/ 9114 w 10000"/>
              <a:gd name="connsiteY87" fmla="*/ 9115 h 9958"/>
              <a:gd name="connsiteX88" fmla="*/ 9062 w 10000"/>
              <a:gd name="connsiteY88" fmla="*/ 9156 h 9958"/>
              <a:gd name="connsiteX89" fmla="*/ 9011 w 10000"/>
              <a:gd name="connsiteY89" fmla="*/ 9198 h 9958"/>
              <a:gd name="connsiteX90" fmla="*/ 8959 w 10000"/>
              <a:gd name="connsiteY90" fmla="*/ 9198 h 9958"/>
              <a:gd name="connsiteX91" fmla="*/ 8959 w 10000"/>
              <a:gd name="connsiteY91" fmla="*/ 9242 h 9958"/>
              <a:gd name="connsiteX92" fmla="*/ 8906 w 10000"/>
              <a:gd name="connsiteY92" fmla="*/ 9242 h 9958"/>
              <a:gd name="connsiteX93" fmla="*/ 8906 w 10000"/>
              <a:gd name="connsiteY93" fmla="*/ 9283 h 9958"/>
              <a:gd name="connsiteX94" fmla="*/ 8854 w 10000"/>
              <a:gd name="connsiteY94" fmla="*/ 9283 h 9958"/>
              <a:gd name="connsiteX95" fmla="*/ 8802 w 10000"/>
              <a:gd name="connsiteY95" fmla="*/ 9283 h 9958"/>
              <a:gd name="connsiteX96" fmla="*/ 8749 w 10000"/>
              <a:gd name="connsiteY96" fmla="*/ 9283 h 9958"/>
              <a:gd name="connsiteX97" fmla="*/ 8698 w 10000"/>
              <a:gd name="connsiteY97" fmla="*/ 9283 h 9958"/>
              <a:gd name="connsiteX98" fmla="*/ 8646 w 10000"/>
              <a:gd name="connsiteY98" fmla="*/ 9283 h 9958"/>
              <a:gd name="connsiteX99" fmla="*/ 8646 w 10000"/>
              <a:gd name="connsiteY99" fmla="*/ 9242 h 9958"/>
              <a:gd name="connsiteX100" fmla="*/ 8646 w 10000"/>
              <a:gd name="connsiteY100" fmla="*/ 9198 h 9958"/>
              <a:gd name="connsiteX101" fmla="*/ 8594 w 10000"/>
              <a:gd name="connsiteY101" fmla="*/ 9156 h 9958"/>
              <a:gd name="connsiteX102" fmla="*/ 8594 w 10000"/>
              <a:gd name="connsiteY102" fmla="*/ 9115 h 9958"/>
              <a:gd name="connsiteX103" fmla="*/ 8594 w 10000"/>
              <a:gd name="connsiteY103" fmla="*/ 9073 h 9958"/>
              <a:gd name="connsiteX104" fmla="*/ 8541 w 10000"/>
              <a:gd name="connsiteY104" fmla="*/ 9073 h 9958"/>
              <a:gd name="connsiteX105" fmla="*/ 8489 w 10000"/>
              <a:gd name="connsiteY105" fmla="*/ 9073 h 9958"/>
              <a:gd name="connsiteX106" fmla="*/ 8489 w 10000"/>
              <a:gd name="connsiteY106" fmla="*/ 9030 h 9958"/>
              <a:gd name="connsiteX107" fmla="*/ 8438 w 10000"/>
              <a:gd name="connsiteY107" fmla="*/ 9030 h 9958"/>
              <a:gd name="connsiteX108" fmla="*/ 8386 w 10000"/>
              <a:gd name="connsiteY108" fmla="*/ 9073 h 9958"/>
              <a:gd name="connsiteX109" fmla="*/ 8386 w 10000"/>
              <a:gd name="connsiteY109" fmla="*/ 9115 h 9958"/>
              <a:gd name="connsiteX110" fmla="*/ 8282 w 10000"/>
              <a:gd name="connsiteY110" fmla="*/ 9073 h 9958"/>
              <a:gd name="connsiteX111" fmla="*/ 8282 w 10000"/>
              <a:gd name="connsiteY111" fmla="*/ 9030 h 9958"/>
              <a:gd name="connsiteX112" fmla="*/ 8230 w 10000"/>
              <a:gd name="connsiteY112" fmla="*/ 9030 h 9958"/>
              <a:gd name="connsiteX113" fmla="*/ 8179 w 10000"/>
              <a:gd name="connsiteY113" fmla="*/ 9030 h 9958"/>
              <a:gd name="connsiteX114" fmla="*/ 8126 w 10000"/>
              <a:gd name="connsiteY114" fmla="*/ 9030 h 9958"/>
              <a:gd name="connsiteX115" fmla="*/ 8074 w 10000"/>
              <a:gd name="connsiteY115" fmla="*/ 9030 h 9958"/>
              <a:gd name="connsiteX116" fmla="*/ 8022 w 10000"/>
              <a:gd name="connsiteY116" fmla="*/ 9030 h 9958"/>
              <a:gd name="connsiteX117" fmla="*/ 8022 w 10000"/>
              <a:gd name="connsiteY117" fmla="*/ 9073 h 9958"/>
              <a:gd name="connsiteX118" fmla="*/ 7969 w 10000"/>
              <a:gd name="connsiteY118" fmla="*/ 9073 h 9958"/>
              <a:gd name="connsiteX119" fmla="*/ 7917 w 10000"/>
              <a:gd name="connsiteY119" fmla="*/ 9115 h 9958"/>
              <a:gd name="connsiteX120" fmla="*/ 7866 w 10000"/>
              <a:gd name="connsiteY120" fmla="*/ 9115 h 9958"/>
              <a:gd name="connsiteX121" fmla="*/ 7866 w 10000"/>
              <a:gd name="connsiteY121" fmla="*/ 9073 h 9958"/>
              <a:gd name="connsiteX122" fmla="*/ 7866 w 10000"/>
              <a:gd name="connsiteY122" fmla="*/ 9115 h 9958"/>
              <a:gd name="connsiteX123" fmla="*/ 7814 w 10000"/>
              <a:gd name="connsiteY123" fmla="*/ 9115 h 9958"/>
              <a:gd name="connsiteX124" fmla="*/ 7761 w 10000"/>
              <a:gd name="connsiteY124" fmla="*/ 9156 h 9958"/>
              <a:gd name="connsiteX125" fmla="*/ 7709 w 10000"/>
              <a:gd name="connsiteY125" fmla="*/ 9115 h 9958"/>
              <a:gd name="connsiteX126" fmla="*/ 7657 w 10000"/>
              <a:gd name="connsiteY126" fmla="*/ 9115 h 9958"/>
              <a:gd name="connsiteX127" fmla="*/ 7606 w 10000"/>
              <a:gd name="connsiteY127" fmla="*/ 9115 h 9958"/>
              <a:gd name="connsiteX128" fmla="*/ 7553 w 10000"/>
              <a:gd name="connsiteY128" fmla="*/ 9073 h 9958"/>
              <a:gd name="connsiteX129" fmla="*/ 7501 w 10000"/>
              <a:gd name="connsiteY129" fmla="*/ 9073 h 9958"/>
              <a:gd name="connsiteX130" fmla="*/ 7501 w 10000"/>
              <a:gd name="connsiteY130" fmla="*/ 9115 h 9958"/>
              <a:gd name="connsiteX131" fmla="*/ 7449 w 10000"/>
              <a:gd name="connsiteY131" fmla="*/ 9115 h 9958"/>
              <a:gd name="connsiteX132" fmla="*/ 7396 w 10000"/>
              <a:gd name="connsiteY132" fmla="*/ 9073 h 9958"/>
              <a:gd name="connsiteX133" fmla="*/ 7345 w 10000"/>
              <a:gd name="connsiteY133" fmla="*/ 9073 h 9958"/>
              <a:gd name="connsiteX134" fmla="*/ 7293 w 10000"/>
              <a:gd name="connsiteY134" fmla="*/ 9156 h 9958"/>
              <a:gd name="connsiteX135" fmla="*/ 7241 w 10000"/>
              <a:gd name="connsiteY135" fmla="*/ 9156 h 9958"/>
              <a:gd name="connsiteX136" fmla="*/ 7241 w 10000"/>
              <a:gd name="connsiteY136" fmla="*/ 9115 h 9958"/>
              <a:gd name="connsiteX137" fmla="*/ 7241 w 10000"/>
              <a:gd name="connsiteY137" fmla="*/ 9156 h 9958"/>
              <a:gd name="connsiteX138" fmla="*/ 7241 w 10000"/>
              <a:gd name="connsiteY138" fmla="*/ 9198 h 9958"/>
              <a:gd name="connsiteX139" fmla="*/ 7188 w 10000"/>
              <a:gd name="connsiteY139" fmla="*/ 9198 h 9958"/>
              <a:gd name="connsiteX140" fmla="*/ 7136 w 10000"/>
              <a:gd name="connsiteY140" fmla="*/ 9198 h 9958"/>
              <a:gd name="connsiteX141" fmla="*/ 7188 w 10000"/>
              <a:gd name="connsiteY141" fmla="*/ 9242 h 9958"/>
              <a:gd name="connsiteX142" fmla="*/ 7136 w 10000"/>
              <a:gd name="connsiteY142" fmla="*/ 9283 h 9958"/>
              <a:gd name="connsiteX143" fmla="*/ 7188 w 10000"/>
              <a:gd name="connsiteY143" fmla="*/ 9326 h 9958"/>
              <a:gd name="connsiteX144" fmla="*/ 7241 w 10000"/>
              <a:gd name="connsiteY144" fmla="*/ 9326 h 9958"/>
              <a:gd name="connsiteX145" fmla="*/ 7241 w 10000"/>
              <a:gd name="connsiteY145" fmla="*/ 9368 h 9958"/>
              <a:gd name="connsiteX146" fmla="*/ 7188 w 10000"/>
              <a:gd name="connsiteY146" fmla="*/ 9368 h 9958"/>
              <a:gd name="connsiteX147" fmla="*/ 7136 w 10000"/>
              <a:gd name="connsiteY147" fmla="*/ 9368 h 9958"/>
              <a:gd name="connsiteX148" fmla="*/ 7188 w 10000"/>
              <a:gd name="connsiteY148" fmla="*/ 9409 h 9958"/>
              <a:gd name="connsiteX149" fmla="*/ 7188 w 10000"/>
              <a:gd name="connsiteY149" fmla="*/ 9452 h 9958"/>
              <a:gd name="connsiteX150" fmla="*/ 7136 w 10000"/>
              <a:gd name="connsiteY150" fmla="*/ 9452 h 9958"/>
              <a:gd name="connsiteX151" fmla="*/ 7136 w 10000"/>
              <a:gd name="connsiteY151" fmla="*/ 9495 h 9958"/>
              <a:gd name="connsiteX152" fmla="*/ 7084 w 10000"/>
              <a:gd name="connsiteY152" fmla="*/ 9537 h 9958"/>
              <a:gd name="connsiteX153" fmla="*/ 7136 w 10000"/>
              <a:gd name="connsiteY153" fmla="*/ 9579 h 9958"/>
              <a:gd name="connsiteX154" fmla="*/ 7188 w 10000"/>
              <a:gd name="connsiteY154" fmla="*/ 9579 h 9958"/>
              <a:gd name="connsiteX155" fmla="*/ 7188 w 10000"/>
              <a:gd name="connsiteY155" fmla="*/ 9620 h 9958"/>
              <a:gd name="connsiteX156" fmla="*/ 7188 w 10000"/>
              <a:gd name="connsiteY156" fmla="*/ 9663 h 9958"/>
              <a:gd name="connsiteX157" fmla="*/ 7136 w 10000"/>
              <a:gd name="connsiteY157" fmla="*/ 9663 h 9958"/>
              <a:gd name="connsiteX158" fmla="*/ 7084 w 10000"/>
              <a:gd name="connsiteY158" fmla="*/ 9705 h 9958"/>
              <a:gd name="connsiteX159" fmla="*/ 7136 w 10000"/>
              <a:gd name="connsiteY159" fmla="*/ 9747 h 9958"/>
              <a:gd name="connsiteX160" fmla="*/ 7136 w 10000"/>
              <a:gd name="connsiteY160" fmla="*/ 9790 h 9958"/>
              <a:gd name="connsiteX161" fmla="*/ 7136 w 10000"/>
              <a:gd name="connsiteY161" fmla="*/ 9832 h 9958"/>
              <a:gd name="connsiteX162" fmla="*/ 7136 w 10000"/>
              <a:gd name="connsiteY162" fmla="*/ 9873 h 9958"/>
              <a:gd name="connsiteX163" fmla="*/ 7084 w 10000"/>
              <a:gd name="connsiteY163" fmla="*/ 9873 h 9958"/>
              <a:gd name="connsiteX164" fmla="*/ 7084 w 10000"/>
              <a:gd name="connsiteY164" fmla="*/ 9916 h 9958"/>
              <a:gd name="connsiteX165" fmla="*/ 6928 w 10000"/>
              <a:gd name="connsiteY165" fmla="*/ 9916 h 9958"/>
              <a:gd name="connsiteX166" fmla="*/ 6928 w 10000"/>
              <a:gd name="connsiteY166" fmla="*/ 9958 h 9958"/>
              <a:gd name="connsiteX167" fmla="*/ 7344 w 10000"/>
              <a:gd name="connsiteY167" fmla="*/ 7447 h 9958"/>
              <a:gd name="connsiteX168" fmla="*/ 7136 w 10000"/>
              <a:gd name="connsiteY168" fmla="*/ 7105 h 9958"/>
              <a:gd name="connsiteX169" fmla="*/ 6544 w 10000"/>
              <a:gd name="connsiteY169" fmla="*/ 6993 h 9958"/>
              <a:gd name="connsiteX170" fmla="*/ 5775 w 10000"/>
              <a:gd name="connsiteY170" fmla="*/ 6958 h 9958"/>
              <a:gd name="connsiteX171" fmla="*/ 5311 w 10000"/>
              <a:gd name="connsiteY171" fmla="*/ 6850 h 9958"/>
              <a:gd name="connsiteX172" fmla="*/ 5071 w 10000"/>
              <a:gd name="connsiteY172" fmla="*/ 6741 h 9958"/>
              <a:gd name="connsiteX173" fmla="*/ 4912 w 10000"/>
              <a:gd name="connsiteY173" fmla="*/ 6832 h 9958"/>
              <a:gd name="connsiteX174" fmla="*/ 4416 w 10000"/>
              <a:gd name="connsiteY174" fmla="*/ 6669 h 9958"/>
              <a:gd name="connsiteX175" fmla="*/ 3584 w 10000"/>
              <a:gd name="connsiteY175" fmla="*/ 6379 h 9958"/>
              <a:gd name="connsiteX176" fmla="*/ 3104 w 10000"/>
              <a:gd name="connsiteY176" fmla="*/ 6323 h 9958"/>
              <a:gd name="connsiteX177" fmla="*/ 3200 w 10000"/>
              <a:gd name="connsiteY177" fmla="*/ 6125 h 9958"/>
              <a:gd name="connsiteX178" fmla="*/ 3344 w 10000"/>
              <a:gd name="connsiteY178" fmla="*/ 6070 h 9958"/>
              <a:gd name="connsiteX179" fmla="*/ 3728 w 10000"/>
              <a:gd name="connsiteY179" fmla="*/ 5782 h 9958"/>
              <a:gd name="connsiteX180" fmla="*/ 3968 w 10000"/>
              <a:gd name="connsiteY180" fmla="*/ 5510 h 9958"/>
              <a:gd name="connsiteX181" fmla="*/ 4224 w 10000"/>
              <a:gd name="connsiteY181" fmla="*/ 5220 h 9958"/>
              <a:gd name="connsiteX182" fmla="*/ 4368 w 10000"/>
              <a:gd name="connsiteY182" fmla="*/ 4949 h 9958"/>
              <a:gd name="connsiteX183" fmla="*/ 4352 w 10000"/>
              <a:gd name="connsiteY183" fmla="*/ 4641 h 9958"/>
              <a:gd name="connsiteX184" fmla="*/ 4336 w 10000"/>
              <a:gd name="connsiteY184" fmla="*/ 4369 h 9958"/>
              <a:gd name="connsiteX185" fmla="*/ 4176 w 10000"/>
              <a:gd name="connsiteY185" fmla="*/ 4206 h 9958"/>
              <a:gd name="connsiteX186" fmla="*/ 4016 w 10000"/>
              <a:gd name="connsiteY186" fmla="*/ 4225 h 9958"/>
              <a:gd name="connsiteX187" fmla="*/ 3856 w 10000"/>
              <a:gd name="connsiteY187" fmla="*/ 4514 h 9958"/>
              <a:gd name="connsiteX188" fmla="*/ 3808 w 10000"/>
              <a:gd name="connsiteY188" fmla="*/ 5038 h 9958"/>
              <a:gd name="connsiteX189" fmla="*/ 3536 w 10000"/>
              <a:gd name="connsiteY189" fmla="*/ 5384 h 9958"/>
              <a:gd name="connsiteX190" fmla="*/ 2992 w 10000"/>
              <a:gd name="connsiteY190" fmla="*/ 5691 h 9958"/>
              <a:gd name="connsiteX191" fmla="*/ 2415 w 10000"/>
              <a:gd name="connsiteY191" fmla="*/ 5926 h 9958"/>
              <a:gd name="connsiteX192" fmla="*/ 1951 w 10000"/>
              <a:gd name="connsiteY192" fmla="*/ 6251 h 9958"/>
              <a:gd name="connsiteX193" fmla="*/ 0 w 10000"/>
              <a:gd name="connsiteY193" fmla="*/ 6180 h 9958"/>
              <a:gd name="connsiteX194" fmla="*/ 3 w 10000"/>
              <a:gd name="connsiteY194" fmla="*/ 5950 h 9958"/>
              <a:gd name="connsiteX195" fmla="*/ 159 w 10000"/>
              <a:gd name="connsiteY195" fmla="*/ 6034 h 9958"/>
              <a:gd name="connsiteX196" fmla="*/ 368 w 10000"/>
              <a:gd name="connsiteY196" fmla="*/ 5950 h 9958"/>
              <a:gd name="connsiteX197" fmla="*/ 1462 w 10000"/>
              <a:gd name="connsiteY197" fmla="*/ 5950 h 9958"/>
              <a:gd name="connsiteX198" fmla="*/ 1617 w 10000"/>
              <a:gd name="connsiteY198" fmla="*/ 5908 h 9958"/>
              <a:gd name="connsiteX199" fmla="*/ 1669 w 10000"/>
              <a:gd name="connsiteY199" fmla="*/ 5908 h 9958"/>
              <a:gd name="connsiteX200" fmla="*/ 2189 w 10000"/>
              <a:gd name="connsiteY200" fmla="*/ 5359 h 9958"/>
              <a:gd name="connsiteX201" fmla="*/ 2294 w 10000"/>
              <a:gd name="connsiteY201" fmla="*/ 5274 h 9958"/>
              <a:gd name="connsiteX202" fmla="*/ 2762 w 10000"/>
              <a:gd name="connsiteY202" fmla="*/ 4853 h 9958"/>
              <a:gd name="connsiteX203" fmla="*/ 3023 w 10000"/>
              <a:gd name="connsiteY203" fmla="*/ 4600 h 9958"/>
              <a:gd name="connsiteX204" fmla="*/ 3179 w 10000"/>
              <a:gd name="connsiteY204" fmla="*/ 4473 h 9958"/>
              <a:gd name="connsiteX205" fmla="*/ 3596 w 10000"/>
              <a:gd name="connsiteY205" fmla="*/ 3840 h 9958"/>
              <a:gd name="connsiteX206" fmla="*/ 4116 w 10000"/>
              <a:gd name="connsiteY206" fmla="*/ 3586 h 9958"/>
              <a:gd name="connsiteX207" fmla="*/ 5001 w 10000"/>
              <a:gd name="connsiteY207" fmla="*/ 2870 h 9958"/>
              <a:gd name="connsiteX208" fmla="*/ 4845 w 10000"/>
              <a:gd name="connsiteY208" fmla="*/ 2617 h 9958"/>
              <a:gd name="connsiteX209" fmla="*/ 4794 w 10000"/>
              <a:gd name="connsiteY209" fmla="*/ 2448 h 9958"/>
              <a:gd name="connsiteX210" fmla="*/ 4794 w 10000"/>
              <a:gd name="connsiteY210" fmla="*/ 1265 h 9958"/>
              <a:gd name="connsiteX211" fmla="*/ 4116 w 10000"/>
              <a:gd name="connsiteY211" fmla="*/ 759 h 9958"/>
              <a:gd name="connsiteX212" fmla="*/ 4950 w 10000"/>
              <a:gd name="connsiteY212" fmla="*/ 759 h 9958"/>
              <a:gd name="connsiteX213" fmla="*/ 5782 w 10000"/>
              <a:gd name="connsiteY213" fmla="*/ 759 h 9958"/>
              <a:gd name="connsiteX214" fmla="*/ 5782 w 10000"/>
              <a:gd name="connsiteY214" fmla="*/ 717 h 9958"/>
              <a:gd name="connsiteX215" fmla="*/ 5782 w 10000"/>
              <a:gd name="connsiteY215" fmla="*/ 676 h 9958"/>
              <a:gd name="connsiteX216" fmla="*/ 5782 w 10000"/>
              <a:gd name="connsiteY216" fmla="*/ 635 h 9958"/>
              <a:gd name="connsiteX217" fmla="*/ 5782 w 10000"/>
              <a:gd name="connsiteY217" fmla="*/ 590 h 9958"/>
              <a:gd name="connsiteX218" fmla="*/ 5834 w 10000"/>
              <a:gd name="connsiteY218" fmla="*/ 547 h 9958"/>
              <a:gd name="connsiteX219" fmla="*/ 5834 w 10000"/>
              <a:gd name="connsiteY219" fmla="*/ 506 h 9958"/>
              <a:gd name="connsiteX220" fmla="*/ 5834 w 10000"/>
              <a:gd name="connsiteY220" fmla="*/ 465 h 9958"/>
              <a:gd name="connsiteX221" fmla="*/ 5834 w 10000"/>
              <a:gd name="connsiteY221" fmla="*/ 423 h 9958"/>
              <a:gd name="connsiteX222" fmla="*/ 5834 w 10000"/>
              <a:gd name="connsiteY222" fmla="*/ 382 h 9958"/>
              <a:gd name="connsiteX223" fmla="*/ 5834 w 10000"/>
              <a:gd name="connsiteY223" fmla="*/ 336 h 9958"/>
              <a:gd name="connsiteX224" fmla="*/ 5782 w 10000"/>
              <a:gd name="connsiteY224" fmla="*/ 336 h 9958"/>
              <a:gd name="connsiteX225" fmla="*/ 5782 w 10000"/>
              <a:gd name="connsiteY225" fmla="*/ 294 h 9958"/>
              <a:gd name="connsiteX226" fmla="*/ 5782 w 10000"/>
              <a:gd name="connsiteY226" fmla="*/ 253 h 9958"/>
              <a:gd name="connsiteX227" fmla="*/ 5782 w 10000"/>
              <a:gd name="connsiteY227" fmla="*/ 212 h 9958"/>
              <a:gd name="connsiteX228" fmla="*/ 5782 w 10000"/>
              <a:gd name="connsiteY228" fmla="*/ 170 h 9958"/>
              <a:gd name="connsiteX229" fmla="*/ 5782 w 10000"/>
              <a:gd name="connsiteY229" fmla="*/ 129 h 9958"/>
              <a:gd name="connsiteX230" fmla="*/ 5782 w 10000"/>
              <a:gd name="connsiteY230" fmla="*/ 83 h 9958"/>
              <a:gd name="connsiteX231" fmla="*/ 5782 w 10000"/>
              <a:gd name="connsiteY231" fmla="*/ 41 h 9958"/>
              <a:gd name="connsiteX232" fmla="*/ 5782 w 10000"/>
              <a:gd name="connsiteY232" fmla="*/ 0 h 9958"/>
              <a:gd name="connsiteX0" fmla="*/ 5782 w 10000"/>
              <a:gd name="connsiteY0" fmla="*/ 0 h 9958"/>
              <a:gd name="connsiteX1" fmla="*/ 7345 w 10000"/>
              <a:gd name="connsiteY1" fmla="*/ 41 h 9958"/>
              <a:gd name="connsiteX2" fmla="*/ 7501 w 10000"/>
              <a:gd name="connsiteY2" fmla="*/ 41 h 9958"/>
              <a:gd name="connsiteX3" fmla="*/ 7345 w 10000"/>
              <a:gd name="connsiteY3" fmla="*/ 171 h 9958"/>
              <a:gd name="connsiteX4" fmla="*/ 7293 w 10000"/>
              <a:gd name="connsiteY4" fmla="*/ 549 h 9958"/>
              <a:gd name="connsiteX5" fmla="*/ 7188 w 10000"/>
              <a:gd name="connsiteY5" fmla="*/ 1146 h 9958"/>
              <a:gd name="connsiteX6" fmla="*/ 7136 w 10000"/>
              <a:gd name="connsiteY6" fmla="*/ 1187 h 9958"/>
              <a:gd name="connsiteX7" fmla="*/ 6980 w 10000"/>
              <a:gd name="connsiteY7" fmla="*/ 1525 h 9958"/>
              <a:gd name="connsiteX8" fmla="*/ 7396 w 10000"/>
              <a:gd name="connsiteY8" fmla="*/ 3094 h 9958"/>
              <a:gd name="connsiteX9" fmla="*/ 7501 w 10000"/>
              <a:gd name="connsiteY9" fmla="*/ 3391 h 9958"/>
              <a:gd name="connsiteX10" fmla="*/ 7345 w 10000"/>
              <a:gd name="connsiteY10" fmla="*/ 3645 h 9958"/>
              <a:gd name="connsiteX11" fmla="*/ 8022 w 10000"/>
              <a:gd name="connsiteY11" fmla="*/ 3813 h 9958"/>
              <a:gd name="connsiteX12" fmla="*/ 8489 w 10000"/>
              <a:gd name="connsiteY12" fmla="*/ 4280 h 9958"/>
              <a:gd name="connsiteX13" fmla="*/ 8594 w 10000"/>
              <a:gd name="connsiteY13" fmla="*/ 4365 h 9958"/>
              <a:gd name="connsiteX14" fmla="*/ 8906 w 10000"/>
              <a:gd name="connsiteY14" fmla="*/ 4577 h 9958"/>
              <a:gd name="connsiteX15" fmla="*/ 9114 w 10000"/>
              <a:gd name="connsiteY15" fmla="*/ 4831 h 9958"/>
              <a:gd name="connsiteX16" fmla="*/ 9219 w 10000"/>
              <a:gd name="connsiteY16" fmla="*/ 4958 h 9958"/>
              <a:gd name="connsiteX17" fmla="*/ 9427 w 10000"/>
              <a:gd name="connsiteY17" fmla="*/ 4958 h 9958"/>
              <a:gd name="connsiteX18" fmla="*/ 9427 w 10000"/>
              <a:gd name="connsiteY18" fmla="*/ 5000 h 9958"/>
              <a:gd name="connsiteX19" fmla="*/ 9479 w 10000"/>
              <a:gd name="connsiteY19" fmla="*/ 5085 h 9958"/>
              <a:gd name="connsiteX20" fmla="*/ 9479 w 10000"/>
              <a:gd name="connsiteY20" fmla="*/ 5128 h 9958"/>
              <a:gd name="connsiteX21" fmla="*/ 9532 w 10000"/>
              <a:gd name="connsiteY21" fmla="*/ 5296 h 9958"/>
              <a:gd name="connsiteX22" fmla="*/ 9532 w 10000"/>
              <a:gd name="connsiteY22" fmla="*/ 5339 h 9958"/>
              <a:gd name="connsiteX23" fmla="*/ 9532 w 10000"/>
              <a:gd name="connsiteY23" fmla="*/ 5467 h 9958"/>
              <a:gd name="connsiteX24" fmla="*/ 9532 w 10000"/>
              <a:gd name="connsiteY24" fmla="*/ 5550 h 9958"/>
              <a:gd name="connsiteX25" fmla="*/ 9479 w 10000"/>
              <a:gd name="connsiteY25" fmla="*/ 5636 h 9958"/>
              <a:gd name="connsiteX26" fmla="*/ 9427 w 10000"/>
              <a:gd name="connsiteY26" fmla="*/ 5891 h 9958"/>
              <a:gd name="connsiteX27" fmla="*/ 9375 w 10000"/>
              <a:gd name="connsiteY27" fmla="*/ 5933 h 9958"/>
              <a:gd name="connsiteX28" fmla="*/ 9322 w 10000"/>
              <a:gd name="connsiteY28" fmla="*/ 5975 h 9958"/>
              <a:gd name="connsiteX29" fmla="*/ 9271 w 10000"/>
              <a:gd name="connsiteY29" fmla="*/ 6145 h 9958"/>
              <a:gd name="connsiteX30" fmla="*/ 9219 w 10000"/>
              <a:gd name="connsiteY30" fmla="*/ 6229 h 9958"/>
              <a:gd name="connsiteX31" fmla="*/ 9219 w 10000"/>
              <a:gd name="connsiteY31" fmla="*/ 6314 h 9958"/>
              <a:gd name="connsiteX32" fmla="*/ 9219 w 10000"/>
              <a:gd name="connsiteY32" fmla="*/ 6356 h 9958"/>
              <a:gd name="connsiteX33" fmla="*/ 9219 w 10000"/>
              <a:gd name="connsiteY33" fmla="*/ 6483 h 9958"/>
              <a:gd name="connsiteX34" fmla="*/ 9271 w 10000"/>
              <a:gd name="connsiteY34" fmla="*/ 6611 h 9958"/>
              <a:gd name="connsiteX35" fmla="*/ 9895 w 10000"/>
              <a:gd name="connsiteY35" fmla="*/ 6611 h 9958"/>
              <a:gd name="connsiteX36" fmla="*/ 9895 w 10000"/>
              <a:gd name="connsiteY36" fmla="*/ 6696 h 9958"/>
              <a:gd name="connsiteX37" fmla="*/ 9948 w 10000"/>
              <a:gd name="connsiteY37" fmla="*/ 6991 h 9958"/>
              <a:gd name="connsiteX38" fmla="*/ 9948 w 10000"/>
              <a:gd name="connsiteY38" fmla="*/ 7034 h 9958"/>
              <a:gd name="connsiteX39" fmla="*/ 9948 w 10000"/>
              <a:gd name="connsiteY39" fmla="*/ 7162 h 9958"/>
              <a:gd name="connsiteX40" fmla="*/ 9948 w 10000"/>
              <a:gd name="connsiteY40" fmla="*/ 7204 h 9958"/>
              <a:gd name="connsiteX41" fmla="*/ 9948 w 10000"/>
              <a:gd name="connsiteY41" fmla="*/ 7288 h 9958"/>
              <a:gd name="connsiteX42" fmla="*/ 9948 w 10000"/>
              <a:gd name="connsiteY42" fmla="*/ 7331 h 9958"/>
              <a:gd name="connsiteX43" fmla="*/ 9948 w 10000"/>
              <a:gd name="connsiteY43" fmla="*/ 7374 h 9958"/>
              <a:gd name="connsiteX44" fmla="*/ 9948 w 10000"/>
              <a:gd name="connsiteY44" fmla="*/ 7416 h 9958"/>
              <a:gd name="connsiteX45" fmla="*/ 10000 w 10000"/>
              <a:gd name="connsiteY45" fmla="*/ 7499 h 9958"/>
              <a:gd name="connsiteX46" fmla="*/ 10000 w 10000"/>
              <a:gd name="connsiteY46" fmla="*/ 7629 h 9958"/>
              <a:gd name="connsiteX47" fmla="*/ 10000 w 10000"/>
              <a:gd name="connsiteY47" fmla="*/ 7670 h 9958"/>
              <a:gd name="connsiteX48" fmla="*/ 10000 w 10000"/>
              <a:gd name="connsiteY48" fmla="*/ 7712 h 9958"/>
              <a:gd name="connsiteX49" fmla="*/ 10000 w 10000"/>
              <a:gd name="connsiteY49" fmla="*/ 7754 h 9958"/>
              <a:gd name="connsiteX50" fmla="*/ 10000 w 10000"/>
              <a:gd name="connsiteY50" fmla="*/ 7840 h 9958"/>
              <a:gd name="connsiteX51" fmla="*/ 10000 w 10000"/>
              <a:gd name="connsiteY51" fmla="*/ 7883 h 9958"/>
              <a:gd name="connsiteX52" fmla="*/ 10000 w 10000"/>
              <a:gd name="connsiteY52" fmla="*/ 7924 h 9958"/>
              <a:gd name="connsiteX53" fmla="*/ 10000 w 10000"/>
              <a:gd name="connsiteY53" fmla="*/ 8008 h 9958"/>
              <a:gd name="connsiteX54" fmla="*/ 10000 w 10000"/>
              <a:gd name="connsiteY54" fmla="*/ 8221 h 9958"/>
              <a:gd name="connsiteX55" fmla="*/ 10000 w 10000"/>
              <a:gd name="connsiteY55" fmla="*/ 8262 h 9958"/>
              <a:gd name="connsiteX56" fmla="*/ 10000 w 10000"/>
              <a:gd name="connsiteY56" fmla="*/ 8348 h 9958"/>
              <a:gd name="connsiteX57" fmla="*/ 10000 w 10000"/>
              <a:gd name="connsiteY57" fmla="*/ 8391 h 9958"/>
              <a:gd name="connsiteX58" fmla="*/ 10000 w 10000"/>
              <a:gd name="connsiteY58" fmla="*/ 8432 h 9958"/>
              <a:gd name="connsiteX59" fmla="*/ 10000 w 10000"/>
              <a:gd name="connsiteY59" fmla="*/ 8474 h 9958"/>
              <a:gd name="connsiteX60" fmla="*/ 10000 w 10000"/>
              <a:gd name="connsiteY60" fmla="*/ 8516 h 9958"/>
              <a:gd name="connsiteX61" fmla="*/ 10000 w 10000"/>
              <a:gd name="connsiteY61" fmla="*/ 8603 h 9958"/>
              <a:gd name="connsiteX62" fmla="*/ 10000 w 10000"/>
              <a:gd name="connsiteY62" fmla="*/ 8686 h 9958"/>
              <a:gd name="connsiteX63" fmla="*/ 10000 w 10000"/>
              <a:gd name="connsiteY63" fmla="*/ 8728 h 9958"/>
              <a:gd name="connsiteX64" fmla="*/ 10000 w 10000"/>
              <a:gd name="connsiteY64" fmla="*/ 8773 h 9958"/>
              <a:gd name="connsiteX65" fmla="*/ 9948 w 10000"/>
              <a:gd name="connsiteY65" fmla="*/ 8773 h 9958"/>
              <a:gd name="connsiteX66" fmla="*/ 9948 w 10000"/>
              <a:gd name="connsiteY66" fmla="*/ 8814 h 9958"/>
              <a:gd name="connsiteX67" fmla="*/ 9895 w 10000"/>
              <a:gd name="connsiteY67" fmla="*/ 8857 h 9958"/>
              <a:gd name="connsiteX68" fmla="*/ 9844 w 10000"/>
              <a:gd name="connsiteY68" fmla="*/ 8857 h 9958"/>
              <a:gd name="connsiteX69" fmla="*/ 9844 w 10000"/>
              <a:gd name="connsiteY69" fmla="*/ 8899 h 9958"/>
              <a:gd name="connsiteX70" fmla="*/ 9792 w 10000"/>
              <a:gd name="connsiteY70" fmla="*/ 8899 h 9958"/>
              <a:gd name="connsiteX71" fmla="*/ 9740 w 10000"/>
              <a:gd name="connsiteY71" fmla="*/ 8941 h 9958"/>
              <a:gd name="connsiteX72" fmla="*/ 9687 w 10000"/>
              <a:gd name="connsiteY72" fmla="*/ 8982 h 9958"/>
              <a:gd name="connsiteX73" fmla="*/ 9635 w 10000"/>
              <a:gd name="connsiteY73" fmla="*/ 8982 h 9958"/>
              <a:gd name="connsiteX74" fmla="*/ 9635 w 10000"/>
              <a:gd name="connsiteY74" fmla="*/ 9027 h 9958"/>
              <a:gd name="connsiteX75" fmla="*/ 9583 w 10000"/>
              <a:gd name="connsiteY75" fmla="*/ 9027 h 9958"/>
              <a:gd name="connsiteX76" fmla="*/ 9532 w 10000"/>
              <a:gd name="connsiteY76" fmla="*/ 9027 h 9958"/>
              <a:gd name="connsiteX77" fmla="*/ 9479 w 10000"/>
              <a:gd name="connsiteY77" fmla="*/ 9027 h 9958"/>
              <a:gd name="connsiteX78" fmla="*/ 9427 w 10000"/>
              <a:gd name="connsiteY78" fmla="*/ 9027 h 9958"/>
              <a:gd name="connsiteX79" fmla="*/ 9375 w 10000"/>
              <a:gd name="connsiteY79" fmla="*/ 9027 h 9958"/>
              <a:gd name="connsiteX80" fmla="*/ 9322 w 10000"/>
              <a:gd name="connsiteY80" fmla="*/ 9027 h 9958"/>
              <a:gd name="connsiteX81" fmla="*/ 9271 w 10000"/>
              <a:gd name="connsiteY81" fmla="*/ 9027 h 9958"/>
              <a:gd name="connsiteX82" fmla="*/ 9271 w 10000"/>
              <a:gd name="connsiteY82" fmla="*/ 9068 h 9958"/>
              <a:gd name="connsiteX83" fmla="*/ 9219 w 10000"/>
              <a:gd name="connsiteY83" fmla="*/ 9111 h 9958"/>
              <a:gd name="connsiteX84" fmla="*/ 9167 w 10000"/>
              <a:gd name="connsiteY84" fmla="*/ 9153 h 9958"/>
              <a:gd name="connsiteX85" fmla="*/ 9219 w 10000"/>
              <a:gd name="connsiteY85" fmla="*/ 9153 h 9958"/>
              <a:gd name="connsiteX86" fmla="*/ 9167 w 10000"/>
              <a:gd name="connsiteY86" fmla="*/ 9153 h 9958"/>
              <a:gd name="connsiteX87" fmla="*/ 9114 w 10000"/>
              <a:gd name="connsiteY87" fmla="*/ 9153 h 9958"/>
              <a:gd name="connsiteX88" fmla="*/ 9062 w 10000"/>
              <a:gd name="connsiteY88" fmla="*/ 9195 h 9958"/>
              <a:gd name="connsiteX89" fmla="*/ 9011 w 10000"/>
              <a:gd name="connsiteY89" fmla="*/ 9237 h 9958"/>
              <a:gd name="connsiteX90" fmla="*/ 8959 w 10000"/>
              <a:gd name="connsiteY90" fmla="*/ 9237 h 9958"/>
              <a:gd name="connsiteX91" fmla="*/ 8959 w 10000"/>
              <a:gd name="connsiteY91" fmla="*/ 9281 h 9958"/>
              <a:gd name="connsiteX92" fmla="*/ 8906 w 10000"/>
              <a:gd name="connsiteY92" fmla="*/ 9281 h 9958"/>
              <a:gd name="connsiteX93" fmla="*/ 8906 w 10000"/>
              <a:gd name="connsiteY93" fmla="*/ 9322 h 9958"/>
              <a:gd name="connsiteX94" fmla="*/ 8854 w 10000"/>
              <a:gd name="connsiteY94" fmla="*/ 9322 h 9958"/>
              <a:gd name="connsiteX95" fmla="*/ 8802 w 10000"/>
              <a:gd name="connsiteY95" fmla="*/ 9322 h 9958"/>
              <a:gd name="connsiteX96" fmla="*/ 8749 w 10000"/>
              <a:gd name="connsiteY96" fmla="*/ 9322 h 9958"/>
              <a:gd name="connsiteX97" fmla="*/ 8698 w 10000"/>
              <a:gd name="connsiteY97" fmla="*/ 9322 h 9958"/>
              <a:gd name="connsiteX98" fmla="*/ 8646 w 10000"/>
              <a:gd name="connsiteY98" fmla="*/ 9322 h 9958"/>
              <a:gd name="connsiteX99" fmla="*/ 8646 w 10000"/>
              <a:gd name="connsiteY99" fmla="*/ 9281 h 9958"/>
              <a:gd name="connsiteX100" fmla="*/ 8646 w 10000"/>
              <a:gd name="connsiteY100" fmla="*/ 9237 h 9958"/>
              <a:gd name="connsiteX101" fmla="*/ 8594 w 10000"/>
              <a:gd name="connsiteY101" fmla="*/ 9195 h 9958"/>
              <a:gd name="connsiteX102" fmla="*/ 8594 w 10000"/>
              <a:gd name="connsiteY102" fmla="*/ 9153 h 9958"/>
              <a:gd name="connsiteX103" fmla="*/ 8594 w 10000"/>
              <a:gd name="connsiteY103" fmla="*/ 9111 h 9958"/>
              <a:gd name="connsiteX104" fmla="*/ 8541 w 10000"/>
              <a:gd name="connsiteY104" fmla="*/ 9111 h 9958"/>
              <a:gd name="connsiteX105" fmla="*/ 8489 w 10000"/>
              <a:gd name="connsiteY105" fmla="*/ 9111 h 9958"/>
              <a:gd name="connsiteX106" fmla="*/ 8489 w 10000"/>
              <a:gd name="connsiteY106" fmla="*/ 9068 h 9958"/>
              <a:gd name="connsiteX107" fmla="*/ 8438 w 10000"/>
              <a:gd name="connsiteY107" fmla="*/ 9068 h 9958"/>
              <a:gd name="connsiteX108" fmla="*/ 8386 w 10000"/>
              <a:gd name="connsiteY108" fmla="*/ 9111 h 9958"/>
              <a:gd name="connsiteX109" fmla="*/ 8386 w 10000"/>
              <a:gd name="connsiteY109" fmla="*/ 9153 h 9958"/>
              <a:gd name="connsiteX110" fmla="*/ 8282 w 10000"/>
              <a:gd name="connsiteY110" fmla="*/ 9111 h 9958"/>
              <a:gd name="connsiteX111" fmla="*/ 8282 w 10000"/>
              <a:gd name="connsiteY111" fmla="*/ 9068 h 9958"/>
              <a:gd name="connsiteX112" fmla="*/ 8230 w 10000"/>
              <a:gd name="connsiteY112" fmla="*/ 9068 h 9958"/>
              <a:gd name="connsiteX113" fmla="*/ 8179 w 10000"/>
              <a:gd name="connsiteY113" fmla="*/ 9068 h 9958"/>
              <a:gd name="connsiteX114" fmla="*/ 8126 w 10000"/>
              <a:gd name="connsiteY114" fmla="*/ 9068 h 9958"/>
              <a:gd name="connsiteX115" fmla="*/ 8074 w 10000"/>
              <a:gd name="connsiteY115" fmla="*/ 9068 h 9958"/>
              <a:gd name="connsiteX116" fmla="*/ 8022 w 10000"/>
              <a:gd name="connsiteY116" fmla="*/ 9068 h 9958"/>
              <a:gd name="connsiteX117" fmla="*/ 8022 w 10000"/>
              <a:gd name="connsiteY117" fmla="*/ 9111 h 9958"/>
              <a:gd name="connsiteX118" fmla="*/ 7969 w 10000"/>
              <a:gd name="connsiteY118" fmla="*/ 9111 h 9958"/>
              <a:gd name="connsiteX119" fmla="*/ 7917 w 10000"/>
              <a:gd name="connsiteY119" fmla="*/ 9153 h 9958"/>
              <a:gd name="connsiteX120" fmla="*/ 7866 w 10000"/>
              <a:gd name="connsiteY120" fmla="*/ 9153 h 9958"/>
              <a:gd name="connsiteX121" fmla="*/ 7866 w 10000"/>
              <a:gd name="connsiteY121" fmla="*/ 9111 h 9958"/>
              <a:gd name="connsiteX122" fmla="*/ 7866 w 10000"/>
              <a:gd name="connsiteY122" fmla="*/ 9153 h 9958"/>
              <a:gd name="connsiteX123" fmla="*/ 7814 w 10000"/>
              <a:gd name="connsiteY123" fmla="*/ 9153 h 9958"/>
              <a:gd name="connsiteX124" fmla="*/ 7761 w 10000"/>
              <a:gd name="connsiteY124" fmla="*/ 9195 h 9958"/>
              <a:gd name="connsiteX125" fmla="*/ 7709 w 10000"/>
              <a:gd name="connsiteY125" fmla="*/ 9153 h 9958"/>
              <a:gd name="connsiteX126" fmla="*/ 7657 w 10000"/>
              <a:gd name="connsiteY126" fmla="*/ 9153 h 9958"/>
              <a:gd name="connsiteX127" fmla="*/ 7606 w 10000"/>
              <a:gd name="connsiteY127" fmla="*/ 9153 h 9958"/>
              <a:gd name="connsiteX128" fmla="*/ 7553 w 10000"/>
              <a:gd name="connsiteY128" fmla="*/ 9111 h 9958"/>
              <a:gd name="connsiteX129" fmla="*/ 7501 w 10000"/>
              <a:gd name="connsiteY129" fmla="*/ 9111 h 9958"/>
              <a:gd name="connsiteX130" fmla="*/ 7501 w 10000"/>
              <a:gd name="connsiteY130" fmla="*/ 9153 h 9958"/>
              <a:gd name="connsiteX131" fmla="*/ 7449 w 10000"/>
              <a:gd name="connsiteY131" fmla="*/ 9153 h 9958"/>
              <a:gd name="connsiteX132" fmla="*/ 7396 w 10000"/>
              <a:gd name="connsiteY132" fmla="*/ 9111 h 9958"/>
              <a:gd name="connsiteX133" fmla="*/ 7345 w 10000"/>
              <a:gd name="connsiteY133" fmla="*/ 9111 h 9958"/>
              <a:gd name="connsiteX134" fmla="*/ 7293 w 10000"/>
              <a:gd name="connsiteY134" fmla="*/ 9195 h 9958"/>
              <a:gd name="connsiteX135" fmla="*/ 7241 w 10000"/>
              <a:gd name="connsiteY135" fmla="*/ 9195 h 9958"/>
              <a:gd name="connsiteX136" fmla="*/ 7241 w 10000"/>
              <a:gd name="connsiteY136" fmla="*/ 9153 h 9958"/>
              <a:gd name="connsiteX137" fmla="*/ 7241 w 10000"/>
              <a:gd name="connsiteY137" fmla="*/ 9195 h 9958"/>
              <a:gd name="connsiteX138" fmla="*/ 7241 w 10000"/>
              <a:gd name="connsiteY138" fmla="*/ 9237 h 9958"/>
              <a:gd name="connsiteX139" fmla="*/ 7188 w 10000"/>
              <a:gd name="connsiteY139" fmla="*/ 9237 h 9958"/>
              <a:gd name="connsiteX140" fmla="*/ 7136 w 10000"/>
              <a:gd name="connsiteY140" fmla="*/ 9237 h 9958"/>
              <a:gd name="connsiteX141" fmla="*/ 7188 w 10000"/>
              <a:gd name="connsiteY141" fmla="*/ 9281 h 9958"/>
              <a:gd name="connsiteX142" fmla="*/ 7136 w 10000"/>
              <a:gd name="connsiteY142" fmla="*/ 9322 h 9958"/>
              <a:gd name="connsiteX143" fmla="*/ 7188 w 10000"/>
              <a:gd name="connsiteY143" fmla="*/ 9365 h 9958"/>
              <a:gd name="connsiteX144" fmla="*/ 7241 w 10000"/>
              <a:gd name="connsiteY144" fmla="*/ 9365 h 9958"/>
              <a:gd name="connsiteX145" fmla="*/ 7241 w 10000"/>
              <a:gd name="connsiteY145" fmla="*/ 9408 h 9958"/>
              <a:gd name="connsiteX146" fmla="*/ 7188 w 10000"/>
              <a:gd name="connsiteY146" fmla="*/ 9408 h 9958"/>
              <a:gd name="connsiteX147" fmla="*/ 7136 w 10000"/>
              <a:gd name="connsiteY147" fmla="*/ 9408 h 9958"/>
              <a:gd name="connsiteX148" fmla="*/ 7188 w 10000"/>
              <a:gd name="connsiteY148" fmla="*/ 9449 h 9958"/>
              <a:gd name="connsiteX149" fmla="*/ 7188 w 10000"/>
              <a:gd name="connsiteY149" fmla="*/ 9492 h 9958"/>
              <a:gd name="connsiteX150" fmla="*/ 7136 w 10000"/>
              <a:gd name="connsiteY150" fmla="*/ 9492 h 9958"/>
              <a:gd name="connsiteX151" fmla="*/ 7136 w 10000"/>
              <a:gd name="connsiteY151" fmla="*/ 9535 h 9958"/>
              <a:gd name="connsiteX152" fmla="*/ 7084 w 10000"/>
              <a:gd name="connsiteY152" fmla="*/ 9577 h 9958"/>
              <a:gd name="connsiteX153" fmla="*/ 7136 w 10000"/>
              <a:gd name="connsiteY153" fmla="*/ 9619 h 9958"/>
              <a:gd name="connsiteX154" fmla="*/ 7188 w 10000"/>
              <a:gd name="connsiteY154" fmla="*/ 9619 h 9958"/>
              <a:gd name="connsiteX155" fmla="*/ 7188 w 10000"/>
              <a:gd name="connsiteY155" fmla="*/ 9661 h 9958"/>
              <a:gd name="connsiteX156" fmla="*/ 7188 w 10000"/>
              <a:gd name="connsiteY156" fmla="*/ 9704 h 9958"/>
              <a:gd name="connsiteX157" fmla="*/ 7136 w 10000"/>
              <a:gd name="connsiteY157" fmla="*/ 9704 h 9958"/>
              <a:gd name="connsiteX158" fmla="*/ 7084 w 10000"/>
              <a:gd name="connsiteY158" fmla="*/ 9746 h 9958"/>
              <a:gd name="connsiteX159" fmla="*/ 7136 w 10000"/>
              <a:gd name="connsiteY159" fmla="*/ 9788 h 9958"/>
              <a:gd name="connsiteX160" fmla="*/ 7136 w 10000"/>
              <a:gd name="connsiteY160" fmla="*/ 9831 h 9958"/>
              <a:gd name="connsiteX161" fmla="*/ 7136 w 10000"/>
              <a:gd name="connsiteY161" fmla="*/ 9873 h 9958"/>
              <a:gd name="connsiteX162" fmla="*/ 7136 w 10000"/>
              <a:gd name="connsiteY162" fmla="*/ 9915 h 9958"/>
              <a:gd name="connsiteX163" fmla="*/ 7084 w 10000"/>
              <a:gd name="connsiteY163" fmla="*/ 9915 h 9958"/>
              <a:gd name="connsiteX164" fmla="*/ 7084 w 10000"/>
              <a:gd name="connsiteY164" fmla="*/ 9958 h 9958"/>
              <a:gd name="connsiteX165" fmla="*/ 6928 w 10000"/>
              <a:gd name="connsiteY165" fmla="*/ 9958 h 9958"/>
              <a:gd name="connsiteX166" fmla="*/ 7344 w 10000"/>
              <a:gd name="connsiteY166" fmla="*/ 7478 h 9958"/>
              <a:gd name="connsiteX167" fmla="*/ 7136 w 10000"/>
              <a:gd name="connsiteY167" fmla="*/ 7135 h 9958"/>
              <a:gd name="connsiteX168" fmla="*/ 6544 w 10000"/>
              <a:gd name="connsiteY168" fmla="*/ 7022 h 9958"/>
              <a:gd name="connsiteX169" fmla="*/ 5775 w 10000"/>
              <a:gd name="connsiteY169" fmla="*/ 6987 h 9958"/>
              <a:gd name="connsiteX170" fmla="*/ 5311 w 10000"/>
              <a:gd name="connsiteY170" fmla="*/ 6879 h 9958"/>
              <a:gd name="connsiteX171" fmla="*/ 5071 w 10000"/>
              <a:gd name="connsiteY171" fmla="*/ 6769 h 9958"/>
              <a:gd name="connsiteX172" fmla="*/ 4912 w 10000"/>
              <a:gd name="connsiteY172" fmla="*/ 6861 h 9958"/>
              <a:gd name="connsiteX173" fmla="*/ 4416 w 10000"/>
              <a:gd name="connsiteY173" fmla="*/ 6697 h 9958"/>
              <a:gd name="connsiteX174" fmla="*/ 3584 w 10000"/>
              <a:gd name="connsiteY174" fmla="*/ 6406 h 9958"/>
              <a:gd name="connsiteX175" fmla="*/ 3104 w 10000"/>
              <a:gd name="connsiteY175" fmla="*/ 6350 h 9958"/>
              <a:gd name="connsiteX176" fmla="*/ 3200 w 10000"/>
              <a:gd name="connsiteY176" fmla="*/ 6151 h 9958"/>
              <a:gd name="connsiteX177" fmla="*/ 3344 w 10000"/>
              <a:gd name="connsiteY177" fmla="*/ 6096 h 9958"/>
              <a:gd name="connsiteX178" fmla="*/ 3728 w 10000"/>
              <a:gd name="connsiteY178" fmla="*/ 5806 h 9958"/>
              <a:gd name="connsiteX179" fmla="*/ 3968 w 10000"/>
              <a:gd name="connsiteY179" fmla="*/ 5533 h 9958"/>
              <a:gd name="connsiteX180" fmla="*/ 4224 w 10000"/>
              <a:gd name="connsiteY180" fmla="*/ 5242 h 9958"/>
              <a:gd name="connsiteX181" fmla="*/ 4368 w 10000"/>
              <a:gd name="connsiteY181" fmla="*/ 4970 h 9958"/>
              <a:gd name="connsiteX182" fmla="*/ 4352 w 10000"/>
              <a:gd name="connsiteY182" fmla="*/ 4661 h 9958"/>
              <a:gd name="connsiteX183" fmla="*/ 4336 w 10000"/>
              <a:gd name="connsiteY183" fmla="*/ 4387 h 9958"/>
              <a:gd name="connsiteX184" fmla="*/ 4176 w 10000"/>
              <a:gd name="connsiteY184" fmla="*/ 4224 h 9958"/>
              <a:gd name="connsiteX185" fmla="*/ 4016 w 10000"/>
              <a:gd name="connsiteY185" fmla="*/ 4243 h 9958"/>
              <a:gd name="connsiteX186" fmla="*/ 3856 w 10000"/>
              <a:gd name="connsiteY186" fmla="*/ 4533 h 9958"/>
              <a:gd name="connsiteX187" fmla="*/ 3808 w 10000"/>
              <a:gd name="connsiteY187" fmla="*/ 5059 h 9958"/>
              <a:gd name="connsiteX188" fmla="*/ 3536 w 10000"/>
              <a:gd name="connsiteY188" fmla="*/ 5407 h 9958"/>
              <a:gd name="connsiteX189" fmla="*/ 2992 w 10000"/>
              <a:gd name="connsiteY189" fmla="*/ 5715 h 9958"/>
              <a:gd name="connsiteX190" fmla="*/ 2415 w 10000"/>
              <a:gd name="connsiteY190" fmla="*/ 5951 h 9958"/>
              <a:gd name="connsiteX191" fmla="*/ 1951 w 10000"/>
              <a:gd name="connsiteY191" fmla="*/ 6277 h 9958"/>
              <a:gd name="connsiteX192" fmla="*/ 0 w 10000"/>
              <a:gd name="connsiteY192" fmla="*/ 6206 h 9958"/>
              <a:gd name="connsiteX193" fmla="*/ 3 w 10000"/>
              <a:gd name="connsiteY193" fmla="*/ 5975 h 9958"/>
              <a:gd name="connsiteX194" fmla="*/ 159 w 10000"/>
              <a:gd name="connsiteY194" fmla="*/ 6059 h 9958"/>
              <a:gd name="connsiteX195" fmla="*/ 368 w 10000"/>
              <a:gd name="connsiteY195" fmla="*/ 5975 h 9958"/>
              <a:gd name="connsiteX196" fmla="*/ 1462 w 10000"/>
              <a:gd name="connsiteY196" fmla="*/ 5975 h 9958"/>
              <a:gd name="connsiteX197" fmla="*/ 1617 w 10000"/>
              <a:gd name="connsiteY197" fmla="*/ 5933 h 9958"/>
              <a:gd name="connsiteX198" fmla="*/ 1669 w 10000"/>
              <a:gd name="connsiteY198" fmla="*/ 5933 h 9958"/>
              <a:gd name="connsiteX199" fmla="*/ 2189 w 10000"/>
              <a:gd name="connsiteY199" fmla="*/ 5382 h 9958"/>
              <a:gd name="connsiteX200" fmla="*/ 2294 w 10000"/>
              <a:gd name="connsiteY200" fmla="*/ 5296 h 9958"/>
              <a:gd name="connsiteX201" fmla="*/ 2762 w 10000"/>
              <a:gd name="connsiteY201" fmla="*/ 4873 h 9958"/>
              <a:gd name="connsiteX202" fmla="*/ 3023 w 10000"/>
              <a:gd name="connsiteY202" fmla="*/ 4619 h 9958"/>
              <a:gd name="connsiteX203" fmla="*/ 3179 w 10000"/>
              <a:gd name="connsiteY203" fmla="*/ 4492 h 9958"/>
              <a:gd name="connsiteX204" fmla="*/ 3596 w 10000"/>
              <a:gd name="connsiteY204" fmla="*/ 3856 h 9958"/>
              <a:gd name="connsiteX205" fmla="*/ 4116 w 10000"/>
              <a:gd name="connsiteY205" fmla="*/ 3601 h 9958"/>
              <a:gd name="connsiteX206" fmla="*/ 5001 w 10000"/>
              <a:gd name="connsiteY206" fmla="*/ 2882 h 9958"/>
              <a:gd name="connsiteX207" fmla="*/ 4845 w 10000"/>
              <a:gd name="connsiteY207" fmla="*/ 2628 h 9958"/>
              <a:gd name="connsiteX208" fmla="*/ 4794 w 10000"/>
              <a:gd name="connsiteY208" fmla="*/ 2458 h 9958"/>
              <a:gd name="connsiteX209" fmla="*/ 4794 w 10000"/>
              <a:gd name="connsiteY209" fmla="*/ 1270 h 9958"/>
              <a:gd name="connsiteX210" fmla="*/ 4116 w 10000"/>
              <a:gd name="connsiteY210" fmla="*/ 762 h 9958"/>
              <a:gd name="connsiteX211" fmla="*/ 4950 w 10000"/>
              <a:gd name="connsiteY211" fmla="*/ 762 h 9958"/>
              <a:gd name="connsiteX212" fmla="*/ 5782 w 10000"/>
              <a:gd name="connsiteY212" fmla="*/ 762 h 9958"/>
              <a:gd name="connsiteX213" fmla="*/ 5782 w 10000"/>
              <a:gd name="connsiteY213" fmla="*/ 720 h 9958"/>
              <a:gd name="connsiteX214" fmla="*/ 5782 w 10000"/>
              <a:gd name="connsiteY214" fmla="*/ 679 h 9958"/>
              <a:gd name="connsiteX215" fmla="*/ 5782 w 10000"/>
              <a:gd name="connsiteY215" fmla="*/ 638 h 9958"/>
              <a:gd name="connsiteX216" fmla="*/ 5782 w 10000"/>
              <a:gd name="connsiteY216" fmla="*/ 592 h 9958"/>
              <a:gd name="connsiteX217" fmla="*/ 5834 w 10000"/>
              <a:gd name="connsiteY217" fmla="*/ 549 h 9958"/>
              <a:gd name="connsiteX218" fmla="*/ 5834 w 10000"/>
              <a:gd name="connsiteY218" fmla="*/ 508 h 9958"/>
              <a:gd name="connsiteX219" fmla="*/ 5834 w 10000"/>
              <a:gd name="connsiteY219" fmla="*/ 467 h 9958"/>
              <a:gd name="connsiteX220" fmla="*/ 5834 w 10000"/>
              <a:gd name="connsiteY220" fmla="*/ 425 h 9958"/>
              <a:gd name="connsiteX221" fmla="*/ 5834 w 10000"/>
              <a:gd name="connsiteY221" fmla="*/ 384 h 9958"/>
              <a:gd name="connsiteX222" fmla="*/ 5834 w 10000"/>
              <a:gd name="connsiteY222" fmla="*/ 337 h 9958"/>
              <a:gd name="connsiteX223" fmla="*/ 5782 w 10000"/>
              <a:gd name="connsiteY223" fmla="*/ 337 h 9958"/>
              <a:gd name="connsiteX224" fmla="*/ 5782 w 10000"/>
              <a:gd name="connsiteY224" fmla="*/ 295 h 9958"/>
              <a:gd name="connsiteX225" fmla="*/ 5782 w 10000"/>
              <a:gd name="connsiteY225" fmla="*/ 254 h 9958"/>
              <a:gd name="connsiteX226" fmla="*/ 5782 w 10000"/>
              <a:gd name="connsiteY226" fmla="*/ 213 h 9958"/>
              <a:gd name="connsiteX227" fmla="*/ 5782 w 10000"/>
              <a:gd name="connsiteY227" fmla="*/ 171 h 9958"/>
              <a:gd name="connsiteX228" fmla="*/ 5782 w 10000"/>
              <a:gd name="connsiteY228" fmla="*/ 130 h 9958"/>
              <a:gd name="connsiteX229" fmla="*/ 5782 w 10000"/>
              <a:gd name="connsiteY229" fmla="*/ 83 h 9958"/>
              <a:gd name="connsiteX230" fmla="*/ 5782 w 10000"/>
              <a:gd name="connsiteY230" fmla="*/ 41 h 9958"/>
              <a:gd name="connsiteX231" fmla="*/ 5782 w 10000"/>
              <a:gd name="connsiteY231" fmla="*/ 0 h 9958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2 h 10000"/>
              <a:gd name="connsiteX4" fmla="*/ 7293 w 10000"/>
              <a:gd name="connsiteY4" fmla="*/ 551 h 10000"/>
              <a:gd name="connsiteX5" fmla="*/ 7188 w 10000"/>
              <a:gd name="connsiteY5" fmla="*/ 1151 h 10000"/>
              <a:gd name="connsiteX6" fmla="*/ 7136 w 10000"/>
              <a:gd name="connsiteY6" fmla="*/ 1192 h 10000"/>
              <a:gd name="connsiteX7" fmla="*/ 6980 w 10000"/>
              <a:gd name="connsiteY7" fmla="*/ 1531 h 10000"/>
              <a:gd name="connsiteX8" fmla="*/ 7396 w 10000"/>
              <a:gd name="connsiteY8" fmla="*/ 3107 h 10000"/>
              <a:gd name="connsiteX9" fmla="*/ 7501 w 10000"/>
              <a:gd name="connsiteY9" fmla="*/ 3405 h 10000"/>
              <a:gd name="connsiteX10" fmla="*/ 7345 w 10000"/>
              <a:gd name="connsiteY10" fmla="*/ 3660 h 10000"/>
              <a:gd name="connsiteX11" fmla="*/ 8022 w 10000"/>
              <a:gd name="connsiteY11" fmla="*/ 3829 h 10000"/>
              <a:gd name="connsiteX12" fmla="*/ 8489 w 10000"/>
              <a:gd name="connsiteY12" fmla="*/ 4298 h 10000"/>
              <a:gd name="connsiteX13" fmla="*/ 8594 w 10000"/>
              <a:gd name="connsiteY13" fmla="*/ 4383 h 10000"/>
              <a:gd name="connsiteX14" fmla="*/ 8906 w 10000"/>
              <a:gd name="connsiteY14" fmla="*/ 4596 h 10000"/>
              <a:gd name="connsiteX15" fmla="*/ 9114 w 10000"/>
              <a:gd name="connsiteY15" fmla="*/ 4851 h 10000"/>
              <a:gd name="connsiteX16" fmla="*/ 9219 w 10000"/>
              <a:gd name="connsiteY16" fmla="*/ 4979 h 10000"/>
              <a:gd name="connsiteX17" fmla="*/ 9427 w 10000"/>
              <a:gd name="connsiteY17" fmla="*/ 4979 h 10000"/>
              <a:gd name="connsiteX18" fmla="*/ 9427 w 10000"/>
              <a:gd name="connsiteY18" fmla="*/ 5021 h 10000"/>
              <a:gd name="connsiteX19" fmla="*/ 9479 w 10000"/>
              <a:gd name="connsiteY19" fmla="*/ 5106 h 10000"/>
              <a:gd name="connsiteX20" fmla="*/ 9479 w 10000"/>
              <a:gd name="connsiteY20" fmla="*/ 5150 h 10000"/>
              <a:gd name="connsiteX21" fmla="*/ 9532 w 10000"/>
              <a:gd name="connsiteY21" fmla="*/ 5318 h 10000"/>
              <a:gd name="connsiteX22" fmla="*/ 9532 w 10000"/>
              <a:gd name="connsiteY22" fmla="*/ 5362 h 10000"/>
              <a:gd name="connsiteX23" fmla="*/ 9532 w 10000"/>
              <a:gd name="connsiteY23" fmla="*/ 5490 h 10000"/>
              <a:gd name="connsiteX24" fmla="*/ 9532 w 10000"/>
              <a:gd name="connsiteY24" fmla="*/ 5573 h 10000"/>
              <a:gd name="connsiteX25" fmla="*/ 9479 w 10000"/>
              <a:gd name="connsiteY25" fmla="*/ 5660 h 10000"/>
              <a:gd name="connsiteX26" fmla="*/ 9427 w 10000"/>
              <a:gd name="connsiteY26" fmla="*/ 5916 h 10000"/>
              <a:gd name="connsiteX27" fmla="*/ 9375 w 10000"/>
              <a:gd name="connsiteY27" fmla="*/ 5958 h 10000"/>
              <a:gd name="connsiteX28" fmla="*/ 9322 w 10000"/>
              <a:gd name="connsiteY28" fmla="*/ 6000 h 10000"/>
              <a:gd name="connsiteX29" fmla="*/ 9271 w 10000"/>
              <a:gd name="connsiteY29" fmla="*/ 6171 h 10000"/>
              <a:gd name="connsiteX30" fmla="*/ 9219 w 10000"/>
              <a:gd name="connsiteY30" fmla="*/ 6255 h 10000"/>
              <a:gd name="connsiteX31" fmla="*/ 9219 w 10000"/>
              <a:gd name="connsiteY31" fmla="*/ 6341 h 10000"/>
              <a:gd name="connsiteX32" fmla="*/ 9219 w 10000"/>
              <a:gd name="connsiteY32" fmla="*/ 6383 h 10000"/>
              <a:gd name="connsiteX33" fmla="*/ 9219 w 10000"/>
              <a:gd name="connsiteY33" fmla="*/ 6510 h 10000"/>
              <a:gd name="connsiteX34" fmla="*/ 9271 w 10000"/>
              <a:gd name="connsiteY34" fmla="*/ 6639 h 10000"/>
              <a:gd name="connsiteX35" fmla="*/ 9895 w 10000"/>
              <a:gd name="connsiteY35" fmla="*/ 6639 h 10000"/>
              <a:gd name="connsiteX36" fmla="*/ 9895 w 10000"/>
              <a:gd name="connsiteY36" fmla="*/ 6724 h 10000"/>
              <a:gd name="connsiteX37" fmla="*/ 9948 w 10000"/>
              <a:gd name="connsiteY37" fmla="*/ 7020 h 10000"/>
              <a:gd name="connsiteX38" fmla="*/ 9948 w 10000"/>
              <a:gd name="connsiteY38" fmla="*/ 7064 h 10000"/>
              <a:gd name="connsiteX39" fmla="*/ 9948 w 10000"/>
              <a:gd name="connsiteY39" fmla="*/ 7192 h 10000"/>
              <a:gd name="connsiteX40" fmla="*/ 9948 w 10000"/>
              <a:gd name="connsiteY40" fmla="*/ 7234 h 10000"/>
              <a:gd name="connsiteX41" fmla="*/ 9948 w 10000"/>
              <a:gd name="connsiteY41" fmla="*/ 7319 h 10000"/>
              <a:gd name="connsiteX42" fmla="*/ 9948 w 10000"/>
              <a:gd name="connsiteY42" fmla="*/ 7362 h 10000"/>
              <a:gd name="connsiteX43" fmla="*/ 9948 w 10000"/>
              <a:gd name="connsiteY43" fmla="*/ 7405 h 10000"/>
              <a:gd name="connsiteX44" fmla="*/ 9948 w 10000"/>
              <a:gd name="connsiteY44" fmla="*/ 7447 h 10000"/>
              <a:gd name="connsiteX45" fmla="*/ 10000 w 10000"/>
              <a:gd name="connsiteY45" fmla="*/ 7531 h 10000"/>
              <a:gd name="connsiteX46" fmla="*/ 10000 w 10000"/>
              <a:gd name="connsiteY46" fmla="*/ 7661 h 10000"/>
              <a:gd name="connsiteX47" fmla="*/ 10000 w 10000"/>
              <a:gd name="connsiteY47" fmla="*/ 7702 h 10000"/>
              <a:gd name="connsiteX48" fmla="*/ 10000 w 10000"/>
              <a:gd name="connsiteY48" fmla="*/ 7745 h 10000"/>
              <a:gd name="connsiteX49" fmla="*/ 10000 w 10000"/>
              <a:gd name="connsiteY49" fmla="*/ 7787 h 10000"/>
              <a:gd name="connsiteX50" fmla="*/ 10000 w 10000"/>
              <a:gd name="connsiteY50" fmla="*/ 7873 h 10000"/>
              <a:gd name="connsiteX51" fmla="*/ 10000 w 10000"/>
              <a:gd name="connsiteY51" fmla="*/ 7916 h 10000"/>
              <a:gd name="connsiteX52" fmla="*/ 10000 w 10000"/>
              <a:gd name="connsiteY52" fmla="*/ 7957 h 10000"/>
              <a:gd name="connsiteX53" fmla="*/ 10000 w 10000"/>
              <a:gd name="connsiteY53" fmla="*/ 8042 h 10000"/>
              <a:gd name="connsiteX54" fmla="*/ 10000 w 10000"/>
              <a:gd name="connsiteY54" fmla="*/ 8256 h 10000"/>
              <a:gd name="connsiteX55" fmla="*/ 10000 w 10000"/>
              <a:gd name="connsiteY55" fmla="*/ 8297 h 10000"/>
              <a:gd name="connsiteX56" fmla="*/ 10000 w 10000"/>
              <a:gd name="connsiteY56" fmla="*/ 8383 h 10000"/>
              <a:gd name="connsiteX57" fmla="*/ 10000 w 10000"/>
              <a:gd name="connsiteY57" fmla="*/ 8426 h 10000"/>
              <a:gd name="connsiteX58" fmla="*/ 10000 w 10000"/>
              <a:gd name="connsiteY58" fmla="*/ 8468 h 10000"/>
              <a:gd name="connsiteX59" fmla="*/ 10000 w 10000"/>
              <a:gd name="connsiteY59" fmla="*/ 8510 h 10000"/>
              <a:gd name="connsiteX60" fmla="*/ 10000 w 10000"/>
              <a:gd name="connsiteY60" fmla="*/ 8552 h 10000"/>
              <a:gd name="connsiteX61" fmla="*/ 10000 w 10000"/>
              <a:gd name="connsiteY61" fmla="*/ 8639 h 10000"/>
              <a:gd name="connsiteX62" fmla="*/ 10000 w 10000"/>
              <a:gd name="connsiteY62" fmla="*/ 8723 h 10000"/>
              <a:gd name="connsiteX63" fmla="*/ 10000 w 10000"/>
              <a:gd name="connsiteY63" fmla="*/ 8765 h 10000"/>
              <a:gd name="connsiteX64" fmla="*/ 10000 w 10000"/>
              <a:gd name="connsiteY64" fmla="*/ 8810 h 10000"/>
              <a:gd name="connsiteX65" fmla="*/ 9948 w 10000"/>
              <a:gd name="connsiteY65" fmla="*/ 8810 h 10000"/>
              <a:gd name="connsiteX66" fmla="*/ 9948 w 10000"/>
              <a:gd name="connsiteY66" fmla="*/ 8851 h 10000"/>
              <a:gd name="connsiteX67" fmla="*/ 9895 w 10000"/>
              <a:gd name="connsiteY67" fmla="*/ 8894 h 10000"/>
              <a:gd name="connsiteX68" fmla="*/ 9844 w 10000"/>
              <a:gd name="connsiteY68" fmla="*/ 8894 h 10000"/>
              <a:gd name="connsiteX69" fmla="*/ 9844 w 10000"/>
              <a:gd name="connsiteY69" fmla="*/ 8937 h 10000"/>
              <a:gd name="connsiteX70" fmla="*/ 9792 w 10000"/>
              <a:gd name="connsiteY70" fmla="*/ 8937 h 10000"/>
              <a:gd name="connsiteX71" fmla="*/ 9740 w 10000"/>
              <a:gd name="connsiteY71" fmla="*/ 8979 h 10000"/>
              <a:gd name="connsiteX72" fmla="*/ 9687 w 10000"/>
              <a:gd name="connsiteY72" fmla="*/ 9020 h 10000"/>
              <a:gd name="connsiteX73" fmla="*/ 9635 w 10000"/>
              <a:gd name="connsiteY73" fmla="*/ 9020 h 10000"/>
              <a:gd name="connsiteX74" fmla="*/ 9635 w 10000"/>
              <a:gd name="connsiteY74" fmla="*/ 9065 h 10000"/>
              <a:gd name="connsiteX75" fmla="*/ 9583 w 10000"/>
              <a:gd name="connsiteY75" fmla="*/ 9065 h 10000"/>
              <a:gd name="connsiteX76" fmla="*/ 9532 w 10000"/>
              <a:gd name="connsiteY76" fmla="*/ 9065 h 10000"/>
              <a:gd name="connsiteX77" fmla="*/ 9479 w 10000"/>
              <a:gd name="connsiteY77" fmla="*/ 9065 h 10000"/>
              <a:gd name="connsiteX78" fmla="*/ 9427 w 10000"/>
              <a:gd name="connsiteY78" fmla="*/ 9065 h 10000"/>
              <a:gd name="connsiteX79" fmla="*/ 9375 w 10000"/>
              <a:gd name="connsiteY79" fmla="*/ 9065 h 10000"/>
              <a:gd name="connsiteX80" fmla="*/ 9322 w 10000"/>
              <a:gd name="connsiteY80" fmla="*/ 9065 h 10000"/>
              <a:gd name="connsiteX81" fmla="*/ 9271 w 10000"/>
              <a:gd name="connsiteY81" fmla="*/ 9065 h 10000"/>
              <a:gd name="connsiteX82" fmla="*/ 9271 w 10000"/>
              <a:gd name="connsiteY82" fmla="*/ 9106 h 10000"/>
              <a:gd name="connsiteX83" fmla="*/ 9219 w 10000"/>
              <a:gd name="connsiteY83" fmla="*/ 9149 h 10000"/>
              <a:gd name="connsiteX84" fmla="*/ 9167 w 10000"/>
              <a:gd name="connsiteY84" fmla="*/ 9192 h 10000"/>
              <a:gd name="connsiteX85" fmla="*/ 9219 w 10000"/>
              <a:gd name="connsiteY85" fmla="*/ 9192 h 10000"/>
              <a:gd name="connsiteX86" fmla="*/ 9167 w 10000"/>
              <a:gd name="connsiteY86" fmla="*/ 9192 h 10000"/>
              <a:gd name="connsiteX87" fmla="*/ 9114 w 10000"/>
              <a:gd name="connsiteY87" fmla="*/ 9192 h 10000"/>
              <a:gd name="connsiteX88" fmla="*/ 9062 w 10000"/>
              <a:gd name="connsiteY88" fmla="*/ 9234 h 10000"/>
              <a:gd name="connsiteX89" fmla="*/ 9011 w 10000"/>
              <a:gd name="connsiteY89" fmla="*/ 9276 h 10000"/>
              <a:gd name="connsiteX90" fmla="*/ 8959 w 10000"/>
              <a:gd name="connsiteY90" fmla="*/ 9276 h 10000"/>
              <a:gd name="connsiteX91" fmla="*/ 8959 w 10000"/>
              <a:gd name="connsiteY91" fmla="*/ 9320 h 10000"/>
              <a:gd name="connsiteX92" fmla="*/ 8906 w 10000"/>
              <a:gd name="connsiteY92" fmla="*/ 9320 h 10000"/>
              <a:gd name="connsiteX93" fmla="*/ 8906 w 10000"/>
              <a:gd name="connsiteY93" fmla="*/ 9361 h 10000"/>
              <a:gd name="connsiteX94" fmla="*/ 8854 w 10000"/>
              <a:gd name="connsiteY94" fmla="*/ 9361 h 10000"/>
              <a:gd name="connsiteX95" fmla="*/ 8802 w 10000"/>
              <a:gd name="connsiteY95" fmla="*/ 9361 h 10000"/>
              <a:gd name="connsiteX96" fmla="*/ 8749 w 10000"/>
              <a:gd name="connsiteY96" fmla="*/ 9361 h 10000"/>
              <a:gd name="connsiteX97" fmla="*/ 8698 w 10000"/>
              <a:gd name="connsiteY97" fmla="*/ 9361 h 10000"/>
              <a:gd name="connsiteX98" fmla="*/ 8646 w 10000"/>
              <a:gd name="connsiteY98" fmla="*/ 9361 h 10000"/>
              <a:gd name="connsiteX99" fmla="*/ 8646 w 10000"/>
              <a:gd name="connsiteY99" fmla="*/ 9320 h 10000"/>
              <a:gd name="connsiteX100" fmla="*/ 8646 w 10000"/>
              <a:gd name="connsiteY100" fmla="*/ 9276 h 10000"/>
              <a:gd name="connsiteX101" fmla="*/ 8594 w 10000"/>
              <a:gd name="connsiteY101" fmla="*/ 9234 h 10000"/>
              <a:gd name="connsiteX102" fmla="*/ 8594 w 10000"/>
              <a:gd name="connsiteY102" fmla="*/ 9192 h 10000"/>
              <a:gd name="connsiteX103" fmla="*/ 8594 w 10000"/>
              <a:gd name="connsiteY103" fmla="*/ 9149 h 10000"/>
              <a:gd name="connsiteX104" fmla="*/ 8541 w 10000"/>
              <a:gd name="connsiteY104" fmla="*/ 9149 h 10000"/>
              <a:gd name="connsiteX105" fmla="*/ 8489 w 10000"/>
              <a:gd name="connsiteY105" fmla="*/ 9149 h 10000"/>
              <a:gd name="connsiteX106" fmla="*/ 8489 w 10000"/>
              <a:gd name="connsiteY106" fmla="*/ 9106 h 10000"/>
              <a:gd name="connsiteX107" fmla="*/ 8438 w 10000"/>
              <a:gd name="connsiteY107" fmla="*/ 9106 h 10000"/>
              <a:gd name="connsiteX108" fmla="*/ 8386 w 10000"/>
              <a:gd name="connsiteY108" fmla="*/ 9149 h 10000"/>
              <a:gd name="connsiteX109" fmla="*/ 8386 w 10000"/>
              <a:gd name="connsiteY109" fmla="*/ 9192 h 10000"/>
              <a:gd name="connsiteX110" fmla="*/ 8282 w 10000"/>
              <a:gd name="connsiteY110" fmla="*/ 9149 h 10000"/>
              <a:gd name="connsiteX111" fmla="*/ 8282 w 10000"/>
              <a:gd name="connsiteY111" fmla="*/ 9106 h 10000"/>
              <a:gd name="connsiteX112" fmla="*/ 8230 w 10000"/>
              <a:gd name="connsiteY112" fmla="*/ 9106 h 10000"/>
              <a:gd name="connsiteX113" fmla="*/ 8179 w 10000"/>
              <a:gd name="connsiteY113" fmla="*/ 9106 h 10000"/>
              <a:gd name="connsiteX114" fmla="*/ 8126 w 10000"/>
              <a:gd name="connsiteY114" fmla="*/ 9106 h 10000"/>
              <a:gd name="connsiteX115" fmla="*/ 8074 w 10000"/>
              <a:gd name="connsiteY115" fmla="*/ 9106 h 10000"/>
              <a:gd name="connsiteX116" fmla="*/ 8022 w 10000"/>
              <a:gd name="connsiteY116" fmla="*/ 9106 h 10000"/>
              <a:gd name="connsiteX117" fmla="*/ 8022 w 10000"/>
              <a:gd name="connsiteY117" fmla="*/ 9149 h 10000"/>
              <a:gd name="connsiteX118" fmla="*/ 7969 w 10000"/>
              <a:gd name="connsiteY118" fmla="*/ 9149 h 10000"/>
              <a:gd name="connsiteX119" fmla="*/ 7917 w 10000"/>
              <a:gd name="connsiteY119" fmla="*/ 9192 h 10000"/>
              <a:gd name="connsiteX120" fmla="*/ 7866 w 10000"/>
              <a:gd name="connsiteY120" fmla="*/ 9192 h 10000"/>
              <a:gd name="connsiteX121" fmla="*/ 7866 w 10000"/>
              <a:gd name="connsiteY121" fmla="*/ 9149 h 10000"/>
              <a:gd name="connsiteX122" fmla="*/ 7866 w 10000"/>
              <a:gd name="connsiteY122" fmla="*/ 9192 h 10000"/>
              <a:gd name="connsiteX123" fmla="*/ 7814 w 10000"/>
              <a:gd name="connsiteY123" fmla="*/ 9192 h 10000"/>
              <a:gd name="connsiteX124" fmla="*/ 7761 w 10000"/>
              <a:gd name="connsiteY124" fmla="*/ 9234 h 10000"/>
              <a:gd name="connsiteX125" fmla="*/ 7709 w 10000"/>
              <a:gd name="connsiteY125" fmla="*/ 9192 h 10000"/>
              <a:gd name="connsiteX126" fmla="*/ 7657 w 10000"/>
              <a:gd name="connsiteY126" fmla="*/ 9192 h 10000"/>
              <a:gd name="connsiteX127" fmla="*/ 7606 w 10000"/>
              <a:gd name="connsiteY127" fmla="*/ 9192 h 10000"/>
              <a:gd name="connsiteX128" fmla="*/ 7553 w 10000"/>
              <a:gd name="connsiteY128" fmla="*/ 9149 h 10000"/>
              <a:gd name="connsiteX129" fmla="*/ 7501 w 10000"/>
              <a:gd name="connsiteY129" fmla="*/ 9149 h 10000"/>
              <a:gd name="connsiteX130" fmla="*/ 7501 w 10000"/>
              <a:gd name="connsiteY130" fmla="*/ 9192 h 10000"/>
              <a:gd name="connsiteX131" fmla="*/ 7449 w 10000"/>
              <a:gd name="connsiteY131" fmla="*/ 9192 h 10000"/>
              <a:gd name="connsiteX132" fmla="*/ 7396 w 10000"/>
              <a:gd name="connsiteY132" fmla="*/ 9149 h 10000"/>
              <a:gd name="connsiteX133" fmla="*/ 7345 w 10000"/>
              <a:gd name="connsiteY133" fmla="*/ 9149 h 10000"/>
              <a:gd name="connsiteX134" fmla="*/ 7293 w 10000"/>
              <a:gd name="connsiteY134" fmla="*/ 9234 h 10000"/>
              <a:gd name="connsiteX135" fmla="*/ 7241 w 10000"/>
              <a:gd name="connsiteY135" fmla="*/ 9234 h 10000"/>
              <a:gd name="connsiteX136" fmla="*/ 7241 w 10000"/>
              <a:gd name="connsiteY136" fmla="*/ 9192 h 10000"/>
              <a:gd name="connsiteX137" fmla="*/ 7241 w 10000"/>
              <a:gd name="connsiteY137" fmla="*/ 9234 h 10000"/>
              <a:gd name="connsiteX138" fmla="*/ 7241 w 10000"/>
              <a:gd name="connsiteY138" fmla="*/ 9276 h 10000"/>
              <a:gd name="connsiteX139" fmla="*/ 7188 w 10000"/>
              <a:gd name="connsiteY139" fmla="*/ 9276 h 10000"/>
              <a:gd name="connsiteX140" fmla="*/ 7136 w 10000"/>
              <a:gd name="connsiteY140" fmla="*/ 9276 h 10000"/>
              <a:gd name="connsiteX141" fmla="*/ 7188 w 10000"/>
              <a:gd name="connsiteY141" fmla="*/ 9320 h 10000"/>
              <a:gd name="connsiteX142" fmla="*/ 7136 w 10000"/>
              <a:gd name="connsiteY142" fmla="*/ 9361 h 10000"/>
              <a:gd name="connsiteX143" fmla="*/ 7188 w 10000"/>
              <a:gd name="connsiteY143" fmla="*/ 9404 h 10000"/>
              <a:gd name="connsiteX144" fmla="*/ 7241 w 10000"/>
              <a:gd name="connsiteY144" fmla="*/ 9404 h 10000"/>
              <a:gd name="connsiteX145" fmla="*/ 7241 w 10000"/>
              <a:gd name="connsiteY145" fmla="*/ 9448 h 10000"/>
              <a:gd name="connsiteX146" fmla="*/ 7188 w 10000"/>
              <a:gd name="connsiteY146" fmla="*/ 9448 h 10000"/>
              <a:gd name="connsiteX147" fmla="*/ 7136 w 10000"/>
              <a:gd name="connsiteY147" fmla="*/ 9448 h 10000"/>
              <a:gd name="connsiteX148" fmla="*/ 7188 w 10000"/>
              <a:gd name="connsiteY148" fmla="*/ 9489 h 10000"/>
              <a:gd name="connsiteX149" fmla="*/ 7188 w 10000"/>
              <a:gd name="connsiteY149" fmla="*/ 9532 h 10000"/>
              <a:gd name="connsiteX150" fmla="*/ 7136 w 10000"/>
              <a:gd name="connsiteY150" fmla="*/ 9532 h 10000"/>
              <a:gd name="connsiteX151" fmla="*/ 7136 w 10000"/>
              <a:gd name="connsiteY151" fmla="*/ 9575 h 10000"/>
              <a:gd name="connsiteX152" fmla="*/ 7084 w 10000"/>
              <a:gd name="connsiteY152" fmla="*/ 9617 h 10000"/>
              <a:gd name="connsiteX153" fmla="*/ 7136 w 10000"/>
              <a:gd name="connsiteY153" fmla="*/ 9660 h 10000"/>
              <a:gd name="connsiteX154" fmla="*/ 7188 w 10000"/>
              <a:gd name="connsiteY154" fmla="*/ 9660 h 10000"/>
              <a:gd name="connsiteX155" fmla="*/ 7188 w 10000"/>
              <a:gd name="connsiteY155" fmla="*/ 9702 h 10000"/>
              <a:gd name="connsiteX156" fmla="*/ 7188 w 10000"/>
              <a:gd name="connsiteY156" fmla="*/ 9745 h 10000"/>
              <a:gd name="connsiteX157" fmla="*/ 7136 w 10000"/>
              <a:gd name="connsiteY157" fmla="*/ 9745 h 10000"/>
              <a:gd name="connsiteX158" fmla="*/ 7084 w 10000"/>
              <a:gd name="connsiteY158" fmla="*/ 9787 h 10000"/>
              <a:gd name="connsiteX159" fmla="*/ 7136 w 10000"/>
              <a:gd name="connsiteY159" fmla="*/ 9829 h 10000"/>
              <a:gd name="connsiteX160" fmla="*/ 7136 w 10000"/>
              <a:gd name="connsiteY160" fmla="*/ 9872 h 10000"/>
              <a:gd name="connsiteX161" fmla="*/ 7136 w 10000"/>
              <a:gd name="connsiteY161" fmla="*/ 9915 h 10000"/>
              <a:gd name="connsiteX162" fmla="*/ 7136 w 10000"/>
              <a:gd name="connsiteY162" fmla="*/ 9957 h 10000"/>
              <a:gd name="connsiteX163" fmla="*/ 7084 w 10000"/>
              <a:gd name="connsiteY163" fmla="*/ 9957 h 10000"/>
              <a:gd name="connsiteX164" fmla="*/ 7084 w 10000"/>
              <a:gd name="connsiteY164" fmla="*/ 10000 h 10000"/>
              <a:gd name="connsiteX165" fmla="*/ 7344 w 10000"/>
              <a:gd name="connsiteY165" fmla="*/ 7510 h 10000"/>
              <a:gd name="connsiteX166" fmla="*/ 7136 w 10000"/>
              <a:gd name="connsiteY166" fmla="*/ 7165 h 10000"/>
              <a:gd name="connsiteX167" fmla="*/ 6544 w 10000"/>
              <a:gd name="connsiteY167" fmla="*/ 7052 h 10000"/>
              <a:gd name="connsiteX168" fmla="*/ 5775 w 10000"/>
              <a:gd name="connsiteY168" fmla="*/ 7016 h 10000"/>
              <a:gd name="connsiteX169" fmla="*/ 5311 w 10000"/>
              <a:gd name="connsiteY169" fmla="*/ 6908 h 10000"/>
              <a:gd name="connsiteX170" fmla="*/ 5071 w 10000"/>
              <a:gd name="connsiteY170" fmla="*/ 6798 h 10000"/>
              <a:gd name="connsiteX171" fmla="*/ 4912 w 10000"/>
              <a:gd name="connsiteY171" fmla="*/ 6890 h 10000"/>
              <a:gd name="connsiteX172" fmla="*/ 4416 w 10000"/>
              <a:gd name="connsiteY172" fmla="*/ 6725 h 10000"/>
              <a:gd name="connsiteX173" fmla="*/ 3584 w 10000"/>
              <a:gd name="connsiteY173" fmla="*/ 6433 h 10000"/>
              <a:gd name="connsiteX174" fmla="*/ 3104 w 10000"/>
              <a:gd name="connsiteY174" fmla="*/ 6377 h 10000"/>
              <a:gd name="connsiteX175" fmla="*/ 3200 w 10000"/>
              <a:gd name="connsiteY175" fmla="*/ 6177 h 10000"/>
              <a:gd name="connsiteX176" fmla="*/ 3344 w 10000"/>
              <a:gd name="connsiteY176" fmla="*/ 6122 h 10000"/>
              <a:gd name="connsiteX177" fmla="*/ 3728 w 10000"/>
              <a:gd name="connsiteY177" fmla="*/ 5830 h 10000"/>
              <a:gd name="connsiteX178" fmla="*/ 3968 w 10000"/>
              <a:gd name="connsiteY178" fmla="*/ 5556 h 10000"/>
              <a:gd name="connsiteX179" fmla="*/ 4224 w 10000"/>
              <a:gd name="connsiteY179" fmla="*/ 5264 h 10000"/>
              <a:gd name="connsiteX180" fmla="*/ 4368 w 10000"/>
              <a:gd name="connsiteY180" fmla="*/ 4991 h 10000"/>
              <a:gd name="connsiteX181" fmla="*/ 4352 w 10000"/>
              <a:gd name="connsiteY181" fmla="*/ 4681 h 10000"/>
              <a:gd name="connsiteX182" fmla="*/ 4336 w 10000"/>
              <a:gd name="connsiteY182" fmla="*/ 4406 h 10000"/>
              <a:gd name="connsiteX183" fmla="*/ 4176 w 10000"/>
              <a:gd name="connsiteY183" fmla="*/ 4242 h 10000"/>
              <a:gd name="connsiteX184" fmla="*/ 4016 w 10000"/>
              <a:gd name="connsiteY184" fmla="*/ 4261 h 10000"/>
              <a:gd name="connsiteX185" fmla="*/ 3856 w 10000"/>
              <a:gd name="connsiteY185" fmla="*/ 4552 h 10000"/>
              <a:gd name="connsiteX186" fmla="*/ 3808 w 10000"/>
              <a:gd name="connsiteY186" fmla="*/ 5080 h 10000"/>
              <a:gd name="connsiteX187" fmla="*/ 3536 w 10000"/>
              <a:gd name="connsiteY187" fmla="*/ 5430 h 10000"/>
              <a:gd name="connsiteX188" fmla="*/ 2992 w 10000"/>
              <a:gd name="connsiteY188" fmla="*/ 5739 h 10000"/>
              <a:gd name="connsiteX189" fmla="*/ 2415 w 10000"/>
              <a:gd name="connsiteY189" fmla="*/ 5976 h 10000"/>
              <a:gd name="connsiteX190" fmla="*/ 1951 w 10000"/>
              <a:gd name="connsiteY190" fmla="*/ 6303 h 10000"/>
              <a:gd name="connsiteX191" fmla="*/ 0 w 10000"/>
              <a:gd name="connsiteY191" fmla="*/ 6232 h 10000"/>
              <a:gd name="connsiteX192" fmla="*/ 3 w 10000"/>
              <a:gd name="connsiteY192" fmla="*/ 6000 h 10000"/>
              <a:gd name="connsiteX193" fmla="*/ 159 w 10000"/>
              <a:gd name="connsiteY193" fmla="*/ 6085 h 10000"/>
              <a:gd name="connsiteX194" fmla="*/ 368 w 10000"/>
              <a:gd name="connsiteY194" fmla="*/ 6000 h 10000"/>
              <a:gd name="connsiteX195" fmla="*/ 1462 w 10000"/>
              <a:gd name="connsiteY195" fmla="*/ 6000 h 10000"/>
              <a:gd name="connsiteX196" fmla="*/ 1617 w 10000"/>
              <a:gd name="connsiteY196" fmla="*/ 5958 h 10000"/>
              <a:gd name="connsiteX197" fmla="*/ 1669 w 10000"/>
              <a:gd name="connsiteY197" fmla="*/ 5958 h 10000"/>
              <a:gd name="connsiteX198" fmla="*/ 2189 w 10000"/>
              <a:gd name="connsiteY198" fmla="*/ 5405 h 10000"/>
              <a:gd name="connsiteX199" fmla="*/ 2294 w 10000"/>
              <a:gd name="connsiteY199" fmla="*/ 5318 h 10000"/>
              <a:gd name="connsiteX200" fmla="*/ 2762 w 10000"/>
              <a:gd name="connsiteY200" fmla="*/ 4894 h 10000"/>
              <a:gd name="connsiteX201" fmla="*/ 3023 w 10000"/>
              <a:gd name="connsiteY201" fmla="*/ 4638 h 10000"/>
              <a:gd name="connsiteX202" fmla="*/ 3179 w 10000"/>
              <a:gd name="connsiteY202" fmla="*/ 4511 h 10000"/>
              <a:gd name="connsiteX203" fmla="*/ 3596 w 10000"/>
              <a:gd name="connsiteY203" fmla="*/ 3872 h 10000"/>
              <a:gd name="connsiteX204" fmla="*/ 4116 w 10000"/>
              <a:gd name="connsiteY204" fmla="*/ 3616 h 10000"/>
              <a:gd name="connsiteX205" fmla="*/ 5001 w 10000"/>
              <a:gd name="connsiteY205" fmla="*/ 2894 h 10000"/>
              <a:gd name="connsiteX206" fmla="*/ 4845 w 10000"/>
              <a:gd name="connsiteY206" fmla="*/ 2639 h 10000"/>
              <a:gd name="connsiteX207" fmla="*/ 4794 w 10000"/>
              <a:gd name="connsiteY207" fmla="*/ 2468 h 10000"/>
              <a:gd name="connsiteX208" fmla="*/ 4794 w 10000"/>
              <a:gd name="connsiteY208" fmla="*/ 1275 h 10000"/>
              <a:gd name="connsiteX209" fmla="*/ 4116 w 10000"/>
              <a:gd name="connsiteY209" fmla="*/ 765 h 10000"/>
              <a:gd name="connsiteX210" fmla="*/ 4950 w 10000"/>
              <a:gd name="connsiteY210" fmla="*/ 765 h 10000"/>
              <a:gd name="connsiteX211" fmla="*/ 5782 w 10000"/>
              <a:gd name="connsiteY211" fmla="*/ 765 h 10000"/>
              <a:gd name="connsiteX212" fmla="*/ 5782 w 10000"/>
              <a:gd name="connsiteY212" fmla="*/ 723 h 10000"/>
              <a:gd name="connsiteX213" fmla="*/ 5782 w 10000"/>
              <a:gd name="connsiteY213" fmla="*/ 682 h 10000"/>
              <a:gd name="connsiteX214" fmla="*/ 5782 w 10000"/>
              <a:gd name="connsiteY214" fmla="*/ 641 h 10000"/>
              <a:gd name="connsiteX215" fmla="*/ 5782 w 10000"/>
              <a:gd name="connsiteY215" fmla="*/ 594 h 10000"/>
              <a:gd name="connsiteX216" fmla="*/ 5834 w 10000"/>
              <a:gd name="connsiteY216" fmla="*/ 551 h 10000"/>
              <a:gd name="connsiteX217" fmla="*/ 5834 w 10000"/>
              <a:gd name="connsiteY217" fmla="*/ 510 h 10000"/>
              <a:gd name="connsiteX218" fmla="*/ 5834 w 10000"/>
              <a:gd name="connsiteY218" fmla="*/ 469 h 10000"/>
              <a:gd name="connsiteX219" fmla="*/ 5834 w 10000"/>
              <a:gd name="connsiteY219" fmla="*/ 427 h 10000"/>
              <a:gd name="connsiteX220" fmla="*/ 5834 w 10000"/>
              <a:gd name="connsiteY220" fmla="*/ 386 h 10000"/>
              <a:gd name="connsiteX221" fmla="*/ 5834 w 10000"/>
              <a:gd name="connsiteY221" fmla="*/ 338 h 10000"/>
              <a:gd name="connsiteX222" fmla="*/ 5782 w 10000"/>
              <a:gd name="connsiteY222" fmla="*/ 338 h 10000"/>
              <a:gd name="connsiteX223" fmla="*/ 5782 w 10000"/>
              <a:gd name="connsiteY223" fmla="*/ 296 h 10000"/>
              <a:gd name="connsiteX224" fmla="*/ 5782 w 10000"/>
              <a:gd name="connsiteY224" fmla="*/ 255 h 10000"/>
              <a:gd name="connsiteX225" fmla="*/ 5782 w 10000"/>
              <a:gd name="connsiteY225" fmla="*/ 214 h 10000"/>
              <a:gd name="connsiteX226" fmla="*/ 5782 w 10000"/>
              <a:gd name="connsiteY226" fmla="*/ 172 h 10000"/>
              <a:gd name="connsiteX227" fmla="*/ 5782 w 10000"/>
              <a:gd name="connsiteY227" fmla="*/ 131 h 10000"/>
              <a:gd name="connsiteX228" fmla="*/ 5782 w 10000"/>
              <a:gd name="connsiteY228" fmla="*/ 83 h 10000"/>
              <a:gd name="connsiteX229" fmla="*/ 5782 w 10000"/>
              <a:gd name="connsiteY229" fmla="*/ 41 h 10000"/>
              <a:gd name="connsiteX230" fmla="*/ 5782 w 10000"/>
              <a:gd name="connsiteY230" fmla="*/ 0 h 10000"/>
              <a:gd name="connsiteX0" fmla="*/ 5782 w 10000"/>
              <a:gd name="connsiteY0" fmla="*/ 0 h 9957"/>
              <a:gd name="connsiteX1" fmla="*/ 7345 w 10000"/>
              <a:gd name="connsiteY1" fmla="*/ 41 h 9957"/>
              <a:gd name="connsiteX2" fmla="*/ 7501 w 10000"/>
              <a:gd name="connsiteY2" fmla="*/ 41 h 9957"/>
              <a:gd name="connsiteX3" fmla="*/ 7345 w 10000"/>
              <a:gd name="connsiteY3" fmla="*/ 172 h 9957"/>
              <a:gd name="connsiteX4" fmla="*/ 7293 w 10000"/>
              <a:gd name="connsiteY4" fmla="*/ 551 h 9957"/>
              <a:gd name="connsiteX5" fmla="*/ 7188 w 10000"/>
              <a:gd name="connsiteY5" fmla="*/ 1151 h 9957"/>
              <a:gd name="connsiteX6" fmla="*/ 7136 w 10000"/>
              <a:gd name="connsiteY6" fmla="*/ 1192 h 9957"/>
              <a:gd name="connsiteX7" fmla="*/ 6980 w 10000"/>
              <a:gd name="connsiteY7" fmla="*/ 1531 h 9957"/>
              <a:gd name="connsiteX8" fmla="*/ 7396 w 10000"/>
              <a:gd name="connsiteY8" fmla="*/ 3107 h 9957"/>
              <a:gd name="connsiteX9" fmla="*/ 7501 w 10000"/>
              <a:gd name="connsiteY9" fmla="*/ 3405 h 9957"/>
              <a:gd name="connsiteX10" fmla="*/ 7345 w 10000"/>
              <a:gd name="connsiteY10" fmla="*/ 3660 h 9957"/>
              <a:gd name="connsiteX11" fmla="*/ 8022 w 10000"/>
              <a:gd name="connsiteY11" fmla="*/ 3829 h 9957"/>
              <a:gd name="connsiteX12" fmla="*/ 8489 w 10000"/>
              <a:gd name="connsiteY12" fmla="*/ 4298 h 9957"/>
              <a:gd name="connsiteX13" fmla="*/ 8594 w 10000"/>
              <a:gd name="connsiteY13" fmla="*/ 4383 h 9957"/>
              <a:gd name="connsiteX14" fmla="*/ 8906 w 10000"/>
              <a:gd name="connsiteY14" fmla="*/ 4596 h 9957"/>
              <a:gd name="connsiteX15" fmla="*/ 9114 w 10000"/>
              <a:gd name="connsiteY15" fmla="*/ 4851 h 9957"/>
              <a:gd name="connsiteX16" fmla="*/ 9219 w 10000"/>
              <a:gd name="connsiteY16" fmla="*/ 4979 h 9957"/>
              <a:gd name="connsiteX17" fmla="*/ 9427 w 10000"/>
              <a:gd name="connsiteY17" fmla="*/ 4979 h 9957"/>
              <a:gd name="connsiteX18" fmla="*/ 9427 w 10000"/>
              <a:gd name="connsiteY18" fmla="*/ 5021 h 9957"/>
              <a:gd name="connsiteX19" fmla="*/ 9479 w 10000"/>
              <a:gd name="connsiteY19" fmla="*/ 5106 h 9957"/>
              <a:gd name="connsiteX20" fmla="*/ 9479 w 10000"/>
              <a:gd name="connsiteY20" fmla="*/ 5150 h 9957"/>
              <a:gd name="connsiteX21" fmla="*/ 9532 w 10000"/>
              <a:gd name="connsiteY21" fmla="*/ 5318 h 9957"/>
              <a:gd name="connsiteX22" fmla="*/ 9532 w 10000"/>
              <a:gd name="connsiteY22" fmla="*/ 5362 h 9957"/>
              <a:gd name="connsiteX23" fmla="*/ 9532 w 10000"/>
              <a:gd name="connsiteY23" fmla="*/ 5490 h 9957"/>
              <a:gd name="connsiteX24" fmla="*/ 9532 w 10000"/>
              <a:gd name="connsiteY24" fmla="*/ 5573 h 9957"/>
              <a:gd name="connsiteX25" fmla="*/ 9479 w 10000"/>
              <a:gd name="connsiteY25" fmla="*/ 5660 h 9957"/>
              <a:gd name="connsiteX26" fmla="*/ 9427 w 10000"/>
              <a:gd name="connsiteY26" fmla="*/ 5916 h 9957"/>
              <a:gd name="connsiteX27" fmla="*/ 9375 w 10000"/>
              <a:gd name="connsiteY27" fmla="*/ 5958 h 9957"/>
              <a:gd name="connsiteX28" fmla="*/ 9322 w 10000"/>
              <a:gd name="connsiteY28" fmla="*/ 6000 h 9957"/>
              <a:gd name="connsiteX29" fmla="*/ 9271 w 10000"/>
              <a:gd name="connsiteY29" fmla="*/ 6171 h 9957"/>
              <a:gd name="connsiteX30" fmla="*/ 9219 w 10000"/>
              <a:gd name="connsiteY30" fmla="*/ 6255 h 9957"/>
              <a:gd name="connsiteX31" fmla="*/ 9219 w 10000"/>
              <a:gd name="connsiteY31" fmla="*/ 6341 h 9957"/>
              <a:gd name="connsiteX32" fmla="*/ 9219 w 10000"/>
              <a:gd name="connsiteY32" fmla="*/ 6383 h 9957"/>
              <a:gd name="connsiteX33" fmla="*/ 9219 w 10000"/>
              <a:gd name="connsiteY33" fmla="*/ 6510 h 9957"/>
              <a:gd name="connsiteX34" fmla="*/ 9271 w 10000"/>
              <a:gd name="connsiteY34" fmla="*/ 6639 h 9957"/>
              <a:gd name="connsiteX35" fmla="*/ 9895 w 10000"/>
              <a:gd name="connsiteY35" fmla="*/ 6639 h 9957"/>
              <a:gd name="connsiteX36" fmla="*/ 9895 w 10000"/>
              <a:gd name="connsiteY36" fmla="*/ 6724 h 9957"/>
              <a:gd name="connsiteX37" fmla="*/ 9948 w 10000"/>
              <a:gd name="connsiteY37" fmla="*/ 7020 h 9957"/>
              <a:gd name="connsiteX38" fmla="*/ 9948 w 10000"/>
              <a:gd name="connsiteY38" fmla="*/ 7064 h 9957"/>
              <a:gd name="connsiteX39" fmla="*/ 9948 w 10000"/>
              <a:gd name="connsiteY39" fmla="*/ 7192 h 9957"/>
              <a:gd name="connsiteX40" fmla="*/ 9948 w 10000"/>
              <a:gd name="connsiteY40" fmla="*/ 7234 h 9957"/>
              <a:gd name="connsiteX41" fmla="*/ 9948 w 10000"/>
              <a:gd name="connsiteY41" fmla="*/ 7319 h 9957"/>
              <a:gd name="connsiteX42" fmla="*/ 9948 w 10000"/>
              <a:gd name="connsiteY42" fmla="*/ 7362 h 9957"/>
              <a:gd name="connsiteX43" fmla="*/ 9948 w 10000"/>
              <a:gd name="connsiteY43" fmla="*/ 7405 h 9957"/>
              <a:gd name="connsiteX44" fmla="*/ 9948 w 10000"/>
              <a:gd name="connsiteY44" fmla="*/ 7447 h 9957"/>
              <a:gd name="connsiteX45" fmla="*/ 10000 w 10000"/>
              <a:gd name="connsiteY45" fmla="*/ 7531 h 9957"/>
              <a:gd name="connsiteX46" fmla="*/ 10000 w 10000"/>
              <a:gd name="connsiteY46" fmla="*/ 7661 h 9957"/>
              <a:gd name="connsiteX47" fmla="*/ 10000 w 10000"/>
              <a:gd name="connsiteY47" fmla="*/ 7702 h 9957"/>
              <a:gd name="connsiteX48" fmla="*/ 10000 w 10000"/>
              <a:gd name="connsiteY48" fmla="*/ 7745 h 9957"/>
              <a:gd name="connsiteX49" fmla="*/ 10000 w 10000"/>
              <a:gd name="connsiteY49" fmla="*/ 7787 h 9957"/>
              <a:gd name="connsiteX50" fmla="*/ 10000 w 10000"/>
              <a:gd name="connsiteY50" fmla="*/ 7873 h 9957"/>
              <a:gd name="connsiteX51" fmla="*/ 10000 w 10000"/>
              <a:gd name="connsiteY51" fmla="*/ 7916 h 9957"/>
              <a:gd name="connsiteX52" fmla="*/ 10000 w 10000"/>
              <a:gd name="connsiteY52" fmla="*/ 7957 h 9957"/>
              <a:gd name="connsiteX53" fmla="*/ 10000 w 10000"/>
              <a:gd name="connsiteY53" fmla="*/ 8042 h 9957"/>
              <a:gd name="connsiteX54" fmla="*/ 10000 w 10000"/>
              <a:gd name="connsiteY54" fmla="*/ 8256 h 9957"/>
              <a:gd name="connsiteX55" fmla="*/ 10000 w 10000"/>
              <a:gd name="connsiteY55" fmla="*/ 8297 h 9957"/>
              <a:gd name="connsiteX56" fmla="*/ 10000 w 10000"/>
              <a:gd name="connsiteY56" fmla="*/ 8383 h 9957"/>
              <a:gd name="connsiteX57" fmla="*/ 10000 w 10000"/>
              <a:gd name="connsiteY57" fmla="*/ 8426 h 9957"/>
              <a:gd name="connsiteX58" fmla="*/ 10000 w 10000"/>
              <a:gd name="connsiteY58" fmla="*/ 8468 h 9957"/>
              <a:gd name="connsiteX59" fmla="*/ 10000 w 10000"/>
              <a:gd name="connsiteY59" fmla="*/ 8510 h 9957"/>
              <a:gd name="connsiteX60" fmla="*/ 10000 w 10000"/>
              <a:gd name="connsiteY60" fmla="*/ 8552 h 9957"/>
              <a:gd name="connsiteX61" fmla="*/ 10000 w 10000"/>
              <a:gd name="connsiteY61" fmla="*/ 8639 h 9957"/>
              <a:gd name="connsiteX62" fmla="*/ 10000 w 10000"/>
              <a:gd name="connsiteY62" fmla="*/ 8723 h 9957"/>
              <a:gd name="connsiteX63" fmla="*/ 10000 w 10000"/>
              <a:gd name="connsiteY63" fmla="*/ 8765 h 9957"/>
              <a:gd name="connsiteX64" fmla="*/ 10000 w 10000"/>
              <a:gd name="connsiteY64" fmla="*/ 8810 h 9957"/>
              <a:gd name="connsiteX65" fmla="*/ 9948 w 10000"/>
              <a:gd name="connsiteY65" fmla="*/ 8810 h 9957"/>
              <a:gd name="connsiteX66" fmla="*/ 9948 w 10000"/>
              <a:gd name="connsiteY66" fmla="*/ 8851 h 9957"/>
              <a:gd name="connsiteX67" fmla="*/ 9895 w 10000"/>
              <a:gd name="connsiteY67" fmla="*/ 8894 h 9957"/>
              <a:gd name="connsiteX68" fmla="*/ 9844 w 10000"/>
              <a:gd name="connsiteY68" fmla="*/ 8894 h 9957"/>
              <a:gd name="connsiteX69" fmla="*/ 9844 w 10000"/>
              <a:gd name="connsiteY69" fmla="*/ 8937 h 9957"/>
              <a:gd name="connsiteX70" fmla="*/ 9792 w 10000"/>
              <a:gd name="connsiteY70" fmla="*/ 8937 h 9957"/>
              <a:gd name="connsiteX71" fmla="*/ 9740 w 10000"/>
              <a:gd name="connsiteY71" fmla="*/ 8979 h 9957"/>
              <a:gd name="connsiteX72" fmla="*/ 9687 w 10000"/>
              <a:gd name="connsiteY72" fmla="*/ 9020 h 9957"/>
              <a:gd name="connsiteX73" fmla="*/ 9635 w 10000"/>
              <a:gd name="connsiteY73" fmla="*/ 9020 h 9957"/>
              <a:gd name="connsiteX74" fmla="*/ 9635 w 10000"/>
              <a:gd name="connsiteY74" fmla="*/ 9065 h 9957"/>
              <a:gd name="connsiteX75" fmla="*/ 9583 w 10000"/>
              <a:gd name="connsiteY75" fmla="*/ 9065 h 9957"/>
              <a:gd name="connsiteX76" fmla="*/ 9532 w 10000"/>
              <a:gd name="connsiteY76" fmla="*/ 9065 h 9957"/>
              <a:gd name="connsiteX77" fmla="*/ 9479 w 10000"/>
              <a:gd name="connsiteY77" fmla="*/ 9065 h 9957"/>
              <a:gd name="connsiteX78" fmla="*/ 9427 w 10000"/>
              <a:gd name="connsiteY78" fmla="*/ 9065 h 9957"/>
              <a:gd name="connsiteX79" fmla="*/ 9375 w 10000"/>
              <a:gd name="connsiteY79" fmla="*/ 9065 h 9957"/>
              <a:gd name="connsiteX80" fmla="*/ 9322 w 10000"/>
              <a:gd name="connsiteY80" fmla="*/ 9065 h 9957"/>
              <a:gd name="connsiteX81" fmla="*/ 9271 w 10000"/>
              <a:gd name="connsiteY81" fmla="*/ 9065 h 9957"/>
              <a:gd name="connsiteX82" fmla="*/ 9271 w 10000"/>
              <a:gd name="connsiteY82" fmla="*/ 9106 h 9957"/>
              <a:gd name="connsiteX83" fmla="*/ 9219 w 10000"/>
              <a:gd name="connsiteY83" fmla="*/ 9149 h 9957"/>
              <a:gd name="connsiteX84" fmla="*/ 9167 w 10000"/>
              <a:gd name="connsiteY84" fmla="*/ 9192 h 9957"/>
              <a:gd name="connsiteX85" fmla="*/ 9219 w 10000"/>
              <a:gd name="connsiteY85" fmla="*/ 9192 h 9957"/>
              <a:gd name="connsiteX86" fmla="*/ 9167 w 10000"/>
              <a:gd name="connsiteY86" fmla="*/ 9192 h 9957"/>
              <a:gd name="connsiteX87" fmla="*/ 9114 w 10000"/>
              <a:gd name="connsiteY87" fmla="*/ 9192 h 9957"/>
              <a:gd name="connsiteX88" fmla="*/ 9062 w 10000"/>
              <a:gd name="connsiteY88" fmla="*/ 9234 h 9957"/>
              <a:gd name="connsiteX89" fmla="*/ 9011 w 10000"/>
              <a:gd name="connsiteY89" fmla="*/ 9276 h 9957"/>
              <a:gd name="connsiteX90" fmla="*/ 8959 w 10000"/>
              <a:gd name="connsiteY90" fmla="*/ 9276 h 9957"/>
              <a:gd name="connsiteX91" fmla="*/ 8959 w 10000"/>
              <a:gd name="connsiteY91" fmla="*/ 9320 h 9957"/>
              <a:gd name="connsiteX92" fmla="*/ 8906 w 10000"/>
              <a:gd name="connsiteY92" fmla="*/ 9320 h 9957"/>
              <a:gd name="connsiteX93" fmla="*/ 8906 w 10000"/>
              <a:gd name="connsiteY93" fmla="*/ 9361 h 9957"/>
              <a:gd name="connsiteX94" fmla="*/ 8854 w 10000"/>
              <a:gd name="connsiteY94" fmla="*/ 9361 h 9957"/>
              <a:gd name="connsiteX95" fmla="*/ 8802 w 10000"/>
              <a:gd name="connsiteY95" fmla="*/ 9361 h 9957"/>
              <a:gd name="connsiteX96" fmla="*/ 8749 w 10000"/>
              <a:gd name="connsiteY96" fmla="*/ 9361 h 9957"/>
              <a:gd name="connsiteX97" fmla="*/ 8698 w 10000"/>
              <a:gd name="connsiteY97" fmla="*/ 9361 h 9957"/>
              <a:gd name="connsiteX98" fmla="*/ 8646 w 10000"/>
              <a:gd name="connsiteY98" fmla="*/ 9361 h 9957"/>
              <a:gd name="connsiteX99" fmla="*/ 8646 w 10000"/>
              <a:gd name="connsiteY99" fmla="*/ 9320 h 9957"/>
              <a:gd name="connsiteX100" fmla="*/ 8646 w 10000"/>
              <a:gd name="connsiteY100" fmla="*/ 9276 h 9957"/>
              <a:gd name="connsiteX101" fmla="*/ 8594 w 10000"/>
              <a:gd name="connsiteY101" fmla="*/ 9234 h 9957"/>
              <a:gd name="connsiteX102" fmla="*/ 8594 w 10000"/>
              <a:gd name="connsiteY102" fmla="*/ 9192 h 9957"/>
              <a:gd name="connsiteX103" fmla="*/ 8594 w 10000"/>
              <a:gd name="connsiteY103" fmla="*/ 9149 h 9957"/>
              <a:gd name="connsiteX104" fmla="*/ 8541 w 10000"/>
              <a:gd name="connsiteY104" fmla="*/ 9149 h 9957"/>
              <a:gd name="connsiteX105" fmla="*/ 8489 w 10000"/>
              <a:gd name="connsiteY105" fmla="*/ 9149 h 9957"/>
              <a:gd name="connsiteX106" fmla="*/ 8489 w 10000"/>
              <a:gd name="connsiteY106" fmla="*/ 9106 h 9957"/>
              <a:gd name="connsiteX107" fmla="*/ 8438 w 10000"/>
              <a:gd name="connsiteY107" fmla="*/ 9106 h 9957"/>
              <a:gd name="connsiteX108" fmla="*/ 8386 w 10000"/>
              <a:gd name="connsiteY108" fmla="*/ 9149 h 9957"/>
              <a:gd name="connsiteX109" fmla="*/ 8386 w 10000"/>
              <a:gd name="connsiteY109" fmla="*/ 9192 h 9957"/>
              <a:gd name="connsiteX110" fmla="*/ 8282 w 10000"/>
              <a:gd name="connsiteY110" fmla="*/ 9149 h 9957"/>
              <a:gd name="connsiteX111" fmla="*/ 8282 w 10000"/>
              <a:gd name="connsiteY111" fmla="*/ 9106 h 9957"/>
              <a:gd name="connsiteX112" fmla="*/ 8230 w 10000"/>
              <a:gd name="connsiteY112" fmla="*/ 9106 h 9957"/>
              <a:gd name="connsiteX113" fmla="*/ 8179 w 10000"/>
              <a:gd name="connsiteY113" fmla="*/ 9106 h 9957"/>
              <a:gd name="connsiteX114" fmla="*/ 8126 w 10000"/>
              <a:gd name="connsiteY114" fmla="*/ 9106 h 9957"/>
              <a:gd name="connsiteX115" fmla="*/ 8074 w 10000"/>
              <a:gd name="connsiteY115" fmla="*/ 9106 h 9957"/>
              <a:gd name="connsiteX116" fmla="*/ 8022 w 10000"/>
              <a:gd name="connsiteY116" fmla="*/ 9106 h 9957"/>
              <a:gd name="connsiteX117" fmla="*/ 8022 w 10000"/>
              <a:gd name="connsiteY117" fmla="*/ 9149 h 9957"/>
              <a:gd name="connsiteX118" fmla="*/ 7969 w 10000"/>
              <a:gd name="connsiteY118" fmla="*/ 9149 h 9957"/>
              <a:gd name="connsiteX119" fmla="*/ 7917 w 10000"/>
              <a:gd name="connsiteY119" fmla="*/ 9192 h 9957"/>
              <a:gd name="connsiteX120" fmla="*/ 7866 w 10000"/>
              <a:gd name="connsiteY120" fmla="*/ 9192 h 9957"/>
              <a:gd name="connsiteX121" fmla="*/ 7866 w 10000"/>
              <a:gd name="connsiteY121" fmla="*/ 9149 h 9957"/>
              <a:gd name="connsiteX122" fmla="*/ 7866 w 10000"/>
              <a:gd name="connsiteY122" fmla="*/ 9192 h 9957"/>
              <a:gd name="connsiteX123" fmla="*/ 7814 w 10000"/>
              <a:gd name="connsiteY123" fmla="*/ 9192 h 9957"/>
              <a:gd name="connsiteX124" fmla="*/ 7761 w 10000"/>
              <a:gd name="connsiteY124" fmla="*/ 9234 h 9957"/>
              <a:gd name="connsiteX125" fmla="*/ 7709 w 10000"/>
              <a:gd name="connsiteY125" fmla="*/ 9192 h 9957"/>
              <a:gd name="connsiteX126" fmla="*/ 7657 w 10000"/>
              <a:gd name="connsiteY126" fmla="*/ 9192 h 9957"/>
              <a:gd name="connsiteX127" fmla="*/ 7606 w 10000"/>
              <a:gd name="connsiteY127" fmla="*/ 9192 h 9957"/>
              <a:gd name="connsiteX128" fmla="*/ 7553 w 10000"/>
              <a:gd name="connsiteY128" fmla="*/ 9149 h 9957"/>
              <a:gd name="connsiteX129" fmla="*/ 7501 w 10000"/>
              <a:gd name="connsiteY129" fmla="*/ 9149 h 9957"/>
              <a:gd name="connsiteX130" fmla="*/ 7501 w 10000"/>
              <a:gd name="connsiteY130" fmla="*/ 9192 h 9957"/>
              <a:gd name="connsiteX131" fmla="*/ 7449 w 10000"/>
              <a:gd name="connsiteY131" fmla="*/ 9192 h 9957"/>
              <a:gd name="connsiteX132" fmla="*/ 7396 w 10000"/>
              <a:gd name="connsiteY132" fmla="*/ 9149 h 9957"/>
              <a:gd name="connsiteX133" fmla="*/ 7345 w 10000"/>
              <a:gd name="connsiteY133" fmla="*/ 9149 h 9957"/>
              <a:gd name="connsiteX134" fmla="*/ 7293 w 10000"/>
              <a:gd name="connsiteY134" fmla="*/ 9234 h 9957"/>
              <a:gd name="connsiteX135" fmla="*/ 7241 w 10000"/>
              <a:gd name="connsiteY135" fmla="*/ 9234 h 9957"/>
              <a:gd name="connsiteX136" fmla="*/ 7241 w 10000"/>
              <a:gd name="connsiteY136" fmla="*/ 9192 h 9957"/>
              <a:gd name="connsiteX137" fmla="*/ 7241 w 10000"/>
              <a:gd name="connsiteY137" fmla="*/ 9234 h 9957"/>
              <a:gd name="connsiteX138" fmla="*/ 7241 w 10000"/>
              <a:gd name="connsiteY138" fmla="*/ 9276 h 9957"/>
              <a:gd name="connsiteX139" fmla="*/ 7188 w 10000"/>
              <a:gd name="connsiteY139" fmla="*/ 9276 h 9957"/>
              <a:gd name="connsiteX140" fmla="*/ 7136 w 10000"/>
              <a:gd name="connsiteY140" fmla="*/ 9276 h 9957"/>
              <a:gd name="connsiteX141" fmla="*/ 7188 w 10000"/>
              <a:gd name="connsiteY141" fmla="*/ 9320 h 9957"/>
              <a:gd name="connsiteX142" fmla="*/ 7136 w 10000"/>
              <a:gd name="connsiteY142" fmla="*/ 9361 h 9957"/>
              <a:gd name="connsiteX143" fmla="*/ 7188 w 10000"/>
              <a:gd name="connsiteY143" fmla="*/ 9404 h 9957"/>
              <a:gd name="connsiteX144" fmla="*/ 7241 w 10000"/>
              <a:gd name="connsiteY144" fmla="*/ 9404 h 9957"/>
              <a:gd name="connsiteX145" fmla="*/ 7241 w 10000"/>
              <a:gd name="connsiteY145" fmla="*/ 9448 h 9957"/>
              <a:gd name="connsiteX146" fmla="*/ 7188 w 10000"/>
              <a:gd name="connsiteY146" fmla="*/ 9448 h 9957"/>
              <a:gd name="connsiteX147" fmla="*/ 7136 w 10000"/>
              <a:gd name="connsiteY147" fmla="*/ 9448 h 9957"/>
              <a:gd name="connsiteX148" fmla="*/ 7188 w 10000"/>
              <a:gd name="connsiteY148" fmla="*/ 9489 h 9957"/>
              <a:gd name="connsiteX149" fmla="*/ 7188 w 10000"/>
              <a:gd name="connsiteY149" fmla="*/ 9532 h 9957"/>
              <a:gd name="connsiteX150" fmla="*/ 7136 w 10000"/>
              <a:gd name="connsiteY150" fmla="*/ 9532 h 9957"/>
              <a:gd name="connsiteX151" fmla="*/ 7136 w 10000"/>
              <a:gd name="connsiteY151" fmla="*/ 9575 h 9957"/>
              <a:gd name="connsiteX152" fmla="*/ 7084 w 10000"/>
              <a:gd name="connsiteY152" fmla="*/ 9617 h 9957"/>
              <a:gd name="connsiteX153" fmla="*/ 7136 w 10000"/>
              <a:gd name="connsiteY153" fmla="*/ 9660 h 9957"/>
              <a:gd name="connsiteX154" fmla="*/ 7188 w 10000"/>
              <a:gd name="connsiteY154" fmla="*/ 9660 h 9957"/>
              <a:gd name="connsiteX155" fmla="*/ 7188 w 10000"/>
              <a:gd name="connsiteY155" fmla="*/ 9702 h 9957"/>
              <a:gd name="connsiteX156" fmla="*/ 7188 w 10000"/>
              <a:gd name="connsiteY156" fmla="*/ 9745 h 9957"/>
              <a:gd name="connsiteX157" fmla="*/ 7136 w 10000"/>
              <a:gd name="connsiteY157" fmla="*/ 9745 h 9957"/>
              <a:gd name="connsiteX158" fmla="*/ 7084 w 10000"/>
              <a:gd name="connsiteY158" fmla="*/ 9787 h 9957"/>
              <a:gd name="connsiteX159" fmla="*/ 7136 w 10000"/>
              <a:gd name="connsiteY159" fmla="*/ 9829 h 9957"/>
              <a:gd name="connsiteX160" fmla="*/ 7136 w 10000"/>
              <a:gd name="connsiteY160" fmla="*/ 9872 h 9957"/>
              <a:gd name="connsiteX161" fmla="*/ 7136 w 10000"/>
              <a:gd name="connsiteY161" fmla="*/ 9915 h 9957"/>
              <a:gd name="connsiteX162" fmla="*/ 7136 w 10000"/>
              <a:gd name="connsiteY162" fmla="*/ 9957 h 9957"/>
              <a:gd name="connsiteX163" fmla="*/ 7084 w 10000"/>
              <a:gd name="connsiteY163" fmla="*/ 9957 h 9957"/>
              <a:gd name="connsiteX164" fmla="*/ 7344 w 10000"/>
              <a:gd name="connsiteY164" fmla="*/ 7510 h 9957"/>
              <a:gd name="connsiteX165" fmla="*/ 7136 w 10000"/>
              <a:gd name="connsiteY165" fmla="*/ 7165 h 9957"/>
              <a:gd name="connsiteX166" fmla="*/ 6544 w 10000"/>
              <a:gd name="connsiteY166" fmla="*/ 7052 h 9957"/>
              <a:gd name="connsiteX167" fmla="*/ 5775 w 10000"/>
              <a:gd name="connsiteY167" fmla="*/ 7016 h 9957"/>
              <a:gd name="connsiteX168" fmla="*/ 5311 w 10000"/>
              <a:gd name="connsiteY168" fmla="*/ 6908 h 9957"/>
              <a:gd name="connsiteX169" fmla="*/ 5071 w 10000"/>
              <a:gd name="connsiteY169" fmla="*/ 6798 h 9957"/>
              <a:gd name="connsiteX170" fmla="*/ 4912 w 10000"/>
              <a:gd name="connsiteY170" fmla="*/ 6890 h 9957"/>
              <a:gd name="connsiteX171" fmla="*/ 4416 w 10000"/>
              <a:gd name="connsiteY171" fmla="*/ 6725 h 9957"/>
              <a:gd name="connsiteX172" fmla="*/ 3584 w 10000"/>
              <a:gd name="connsiteY172" fmla="*/ 6433 h 9957"/>
              <a:gd name="connsiteX173" fmla="*/ 3104 w 10000"/>
              <a:gd name="connsiteY173" fmla="*/ 6377 h 9957"/>
              <a:gd name="connsiteX174" fmla="*/ 3200 w 10000"/>
              <a:gd name="connsiteY174" fmla="*/ 6177 h 9957"/>
              <a:gd name="connsiteX175" fmla="*/ 3344 w 10000"/>
              <a:gd name="connsiteY175" fmla="*/ 6122 h 9957"/>
              <a:gd name="connsiteX176" fmla="*/ 3728 w 10000"/>
              <a:gd name="connsiteY176" fmla="*/ 5830 h 9957"/>
              <a:gd name="connsiteX177" fmla="*/ 3968 w 10000"/>
              <a:gd name="connsiteY177" fmla="*/ 5556 h 9957"/>
              <a:gd name="connsiteX178" fmla="*/ 4224 w 10000"/>
              <a:gd name="connsiteY178" fmla="*/ 5264 h 9957"/>
              <a:gd name="connsiteX179" fmla="*/ 4368 w 10000"/>
              <a:gd name="connsiteY179" fmla="*/ 4991 h 9957"/>
              <a:gd name="connsiteX180" fmla="*/ 4352 w 10000"/>
              <a:gd name="connsiteY180" fmla="*/ 4681 h 9957"/>
              <a:gd name="connsiteX181" fmla="*/ 4336 w 10000"/>
              <a:gd name="connsiteY181" fmla="*/ 4406 h 9957"/>
              <a:gd name="connsiteX182" fmla="*/ 4176 w 10000"/>
              <a:gd name="connsiteY182" fmla="*/ 4242 h 9957"/>
              <a:gd name="connsiteX183" fmla="*/ 4016 w 10000"/>
              <a:gd name="connsiteY183" fmla="*/ 4261 h 9957"/>
              <a:gd name="connsiteX184" fmla="*/ 3856 w 10000"/>
              <a:gd name="connsiteY184" fmla="*/ 4552 h 9957"/>
              <a:gd name="connsiteX185" fmla="*/ 3808 w 10000"/>
              <a:gd name="connsiteY185" fmla="*/ 5080 h 9957"/>
              <a:gd name="connsiteX186" fmla="*/ 3536 w 10000"/>
              <a:gd name="connsiteY186" fmla="*/ 5430 h 9957"/>
              <a:gd name="connsiteX187" fmla="*/ 2992 w 10000"/>
              <a:gd name="connsiteY187" fmla="*/ 5739 h 9957"/>
              <a:gd name="connsiteX188" fmla="*/ 2415 w 10000"/>
              <a:gd name="connsiteY188" fmla="*/ 5976 h 9957"/>
              <a:gd name="connsiteX189" fmla="*/ 1951 w 10000"/>
              <a:gd name="connsiteY189" fmla="*/ 6303 h 9957"/>
              <a:gd name="connsiteX190" fmla="*/ 0 w 10000"/>
              <a:gd name="connsiteY190" fmla="*/ 6232 h 9957"/>
              <a:gd name="connsiteX191" fmla="*/ 3 w 10000"/>
              <a:gd name="connsiteY191" fmla="*/ 6000 h 9957"/>
              <a:gd name="connsiteX192" fmla="*/ 159 w 10000"/>
              <a:gd name="connsiteY192" fmla="*/ 6085 h 9957"/>
              <a:gd name="connsiteX193" fmla="*/ 368 w 10000"/>
              <a:gd name="connsiteY193" fmla="*/ 6000 h 9957"/>
              <a:gd name="connsiteX194" fmla="*/ 1462 w 10000"/>
              <a:gd name="connsiteY194" fmla="*/ 6000 h 9957"/>
              <a:gd name="connsiteX195" fmla="*/ 1617 w 10000"/>
              <a:gd name="connsiteY195" fmla="*/ 5958 h 9957"/>
              <a:gd name="connsiteX196" fmla="*/ 1669 w 10000"/>
              <a:gd name="connsiteY196" fmla="*/ 5958 h 9957"/>
              <a:gd name="connsiteX197" fmla="*/ 2189 w 10000"/>
              <a:gd name="connsiteY197" fmla="*/ 5405 h 9957"/>
              <a:gd name="connsiteX198" fmla="*/ 2294 w 10000"/>
              <a:gd name="connsiteY198" fmla="*/ 5318 h 9957"/>
              <a:gd name="connsiteX199" fmla="*/ 2762 w 10000"/>
              <a:gd name="connsiteY199" fmla="*/ 4894 h 9957"/>
              <a:gd name="connsiteX200" fmla="*/ 3023 w 10000"/>
              <a:gd name="connsiteY200" fmla="*/ 4638 h 9957"/>
              <a:gd name="connsiteX201" fmla="*/ 3179 w 10000"/>
              <a:gd name="connsiteY201" fmla="*/ 4511 h 9957"/>
              <a:gd name="connsiteX202" fmla="*/ 3596 w 10000"/>
              <a:gd name="connsiteY202" fmla="*/ 3872 h 9957"/>
              <a:gd name="connsiteX203" fmla="*/ 4116 w 10000"/>
              <a:gd name="connsiteY203" fmla="*/ 3616 h 9957"/>
              <a:gd name="connsiteX204" fmla="*/ 5001 w 10000"/>
              <a:gd name="connsiteY204" fmla="*/ 2894 h 9957"/>
              <a:gd name="connsiteX205" fmla="*/ 4845 w 10000"/>
              <a:gd name="connsiteY205" fmla="*/ 2639 h 9957"/>
              <a:gd name="connsiteX206" fmla="*/ 4794 w 10000"/>
              <a:gd name="connsiteY206" fmla="*/ 2468 h 9957"/>
              <a:gd name="connsiteX207" fmla="*/ 4794 w 10000"/>
              <a:gd name="connsiteY207" fmla="*/ 1275 h 9957"/>
              <a:gd name="connsiteX208" fmla="*/ 4116 w 10000"/>
              <a:gd name="connsiteY208" fmla="*/ 765 h 9957"/>
              <a:gd name="connsiteX209" fmla="*/ 4950 w 10000"/>
              <a:gd name="connsiteY209" fmla="*/ 765 h 9957"/>
              <a:gd name="connsiteX210" fmla="*/ 5782 w 10000"/>
              <a:gd name="connsiteY210" fmla="*/ 765 h 9957"/>
              <a:gd name="connsiteX211" fmla="*/ 5782 w 10000"/>
              <a:gd name="connsiteY211" fmla="*/ 723 h 9957"/>
              <a:gd name="connsiteX212" fmla="*/ 5782 w 10000"/>
              <a:gd name="connsiteY212" fmla="*/ 682 h 9957"/>
              <a:gd name="connsiteX213" fmla="*/ 5782 w 10000"/>
              <a:gd name="connsiteY213" fmla="*/ 641 h 9957"/>
              <a:gd name="connsiteX214" fmla="*/ 5782 w 10000"/>
              <a:gd name="connsiteY214" fmla="*/ 594 h 9957"/>
              <a:gd name="connsiteX215" fmla="*/ 5834 w 10000"/>
              <a:gd name="connsiteY215" fmla="*/ 551 h 9957"/>
              <a:gd name="connsiteX216" fmla="*/ 5834 w 10000"/>
              <a:gd name="connsiteY216" fmla="*/ 510 h 9957"/>
              <a:gd name="connsiteX217" fmla="*/ 5834 w 10000"/>
              <a:gd name="connsiteY217" fmla="*/ 469 h 9957"/>
              <a:gd name="connsiteX218" fmla="*/ 5834 w 10000"/>
              <a:gd name="connsiteY218" fmla="*/ 427 h 9957"/>
              <a:gd name="connsiteX219" fmla="*/ 5834 w 10000"/>
              <a:gd name="connsiteY219" fmla="*/ 386 h 9957"/>
              <a:gd name="connsiteX220" fmla="*/ 5834 w 10000"/>
              <a:gd name="connsiteY220" fmla="*/ 338 h 9957"/>
              <a:gd name="connsiteX221" fmla="*/ 5782 w 10000"/>
              <a:gd name="connsiteY221" fmla="*/ 338 h 9957"/>
              <a:gd name="connsiteX222" fmla="*/ 5782 w 10000"/>
              <a:gd name="connsiteY222" fmla="*/ 296 h 9957"/>
              <a:gd name="connsiteX223" fmla="*/ 5782 w 10000"/>
              <a:gd name="connsiteY223" fmla="*/ 255 h 9957"/>
              <a:gd name="connsiteX224" fmla="*/ 5782 w 10000"/>
              <a:gd name="connsiteY224" fmla="*/ 214 h 9957"/>
              <a:gd name="connsiteX225" fmla="*/ 5782 w 10000"/>
              <a:gd name="connsiteY225" fmla="*/ 172 h 9957"/>
              <a:gd name="connsiteX226" fmla="*/ 5782 w 10000"/>
              <a:gd name="connsiteY226" fmla="*/ 131 h 9957"/>
              <a:gd name="connsiteX227" fmla="*/ 5782 w 10000"/>
              <a:gd name="connsiteY227" fmla="*/ 83 h 9957"/>
              <a:gd name="connsiteX228" fmla="*/ 5782 w 10000"/>
              <a:gd name="connsiteY228" fmla="*/ 41 h 9957"/>
              <a:gd name="connsiteX229" fmla="*/ 5782 w 10000"/>
              <a:gd name="connsiteY229" fmla="*/ 0 h 9957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3 h 10000"/>
              <a:gd name="connsiteX4" fmla="*/ 7293 w 10000"/>
              <a:gd name="connsiteY4" fmla="*/ 553 h 10000"/>
              <a:gd name="connsiteX5" fmla="*/ 7188 w 10000"/>
              <a:gd name="connsiteY5" fmla="*/ 1156 h 10000"/>
              <a:gd name="connsiteX6" fmla="*/ 7136 w 10000"/>
              <a:gd name="connsiteY6" fmla="*/ 1197 h 10000"/>
              <a:gd name="connsiteX7" fmla="*/ 6980 w 10000"/>
              <a:gd name="connsiteY7" fmla="*/ 1538 h 10000"/>
              <a:gd name="connsiteX8" fmla="*/ 7396 w 10000"/>
              <a:gd name="connsiteY8" fmla="*/ 3120 h 10000"/>
              <a:gd name="connsiteX9" fmla="*/ 7501 w 10000"/>
              <a:gd name="connsiteY9" fmla="*/ 3420 h 10000"/>
              <a:gd name="connsiteX10" fmla="*/ 7345 w 10000"/>
              <a:gd name="connsiteY10" fmla="*/ 3676 h 10000"/>
              <a:gd name="connsiteX11" fmla="*/ 8022 w 10000"/>
              <a:gd name="connsiteY11" fmla="*/ 3846 h 10000"/>
              <a:gd name="connsiteX12" fmla="*/ 8489 w 10000"/>
              <a:gd name="connsiteY12" fmla="*/ 4317 h 10000"/>
              <a:gd name="connsiteX13" fmla="*/ 8594 w 10000"/>
              <a:gd name="connsiteY13" fmla="*/ 4402 h 10000"/>
              <a:gd name="connsiteX14" fmla="*/ 8906 w 10000"/>
              <a:gd name="connsiteY14" fmla="*/ 4616 h 10000"/>
              <a:gd name="connsiteX15" fmla="*/ 9114 w 10000"/>
              <a:gd name="connsiteY15" fmla="*/ 4872 h 10000"/>
              <a:gd name="connsiteX16" fmla="*/ 9219 w 10000"/>
              <a:gd name="connsiteY16" fmla="*/ 5001 h 10000"/>
              <a:gd name="connsiteX17" fmla="*/ 9427 w 10000"/>
              <a:gd name="connsiteY17" fmla="*/ 5001 h 10000"/>
              <a:gd name="connsiteX18" fmla="*/ 9427 w 10000"/>
              <a:gd name="connsiteY18" fmla="*/ 5043 h 10000"/>
              <a:gd name="connsiteX19" fmla="*/ 9479 w 10000"/>
              <a:gd name="connsiteY19" fmla="*/ 5128 h 10000"/>
              <a:gd name="connsiteX20" fmla="*/ 9479 w 10000"/>
              <a:gd name="connsiteY20" fmla="*/ 5172 h 10000"/>
              <a:gd name="connsiteX21" fmla="*/ 9532 w 10000"/>
              <a:gd name="connsiteY21" fmla="*/ 5341 h 10000"/>
              <a:gd name="connsiteX22" fmla="*/ 9532 w 10000"/>
              <a:gd name="connsiteY22" fmla="*/ 5385 h 10000"/>
              <a:gd name="connsiteX23" fmla="*/ 9532 w 10000"/>
              <a:gd name="connsiteY23" fmla="*/ 5514 h 10000"/>
              <a:gd name="connsiteX24" fmla="*/ 9532 w 10000"/>
              <a:gd name="connsiteY24" fmla="*/ 5597 h 10000"/>
              <a:gd name="connsiteX25" fmla="*/ 9479 w 10000"/>
              <a:gd name="connsiteY25" fmla="*/ 5684 h 10000"/>
              <a:gd name="connsiteX26" fmla="*/ 9427 w 10000"/>
              <a:gd name="connsiteY26" fmla="*/ 5942 h 10000"/>
              <a:gd name="connsiteX27" fmla="*/ 9375 w 10000"/>
              <a:gd name="connsiteY27" fmla="*/ 5984 h 10000"/>
              <a:gd name="connsiteX28" fmla="*/ 9322 w 10000"/>
              <a:gd name="connsiteY28" fmla="*/ 6026 h 10000"/>
              <a:gd name="connsiteX29" fmla="*/ 9271 w 10000"/>
              <a:gd name="connsiteY29" fmla="*/ 6198 h 10000"/>
              <a:gd name="connsiteX30" fmla="*/ 9219 w 10000"/>
              <a:gd name="connsiteY30" fmla="*/ 6282 h 10000"/>
              <a:gd name="connsiteX31" fmla="*/ 9219 w 10000"/>
              <a:gd name="connsiteY31" fmla="*/ 6368 h 10000"/>
              <a:gd name="connsiteX32" fmla="*/ 9219 w 10000"/>
              <a:gd name="connsiteY32" fmla="*/ 6411 h 10000"/>
              <a:gd name="connsiteX33" fmla="*/ 9219 w 10000"/>
              <a:gd name="connsiteY33" fmla="*/ 6538 h 10000"/>
              <a:gd name="connsiteX34" fmla="*/ 9271 w 10000"/>
              <a:gd name="connsiteY34" fmla="*/ 6668 h 10000"/>
              <a:gd name="connsiteX35" fmla="*/ 9895 w 10000"/>
              <a:gd name="connsiteY35" fmla="*/ 6668 h 10000"/>
              <a:gd name="connsiteX36" fmla="*/ 9895 w 10000"/>
              <a:gd name="connsiteY36" fmla="*/ 6753 h 10000"/>
              <a:gd name="connsiteX37" fmla="*/ 9948 w 10000"/>
              <a:gd name="connsiteY37" fmla="*/ 7050 h 10000"/>
              <a:gd name="connsiteX38" fmla="*/ 9948 w 10000"/>
              <a:gd name="connsiteY38" fmla="*/ 7095 h 10000"/>
              <a:gd name="connsiteX39" fmla="*/ 9948 w 10000"/>
              <a:gd name="connsiteY39" fmla="*/ 7223 h 10000"/>
              <a:gd name="connsiteX40" fmla="*/ 9948 w 10000"/>
              <a:gd name="connsiteY40" fmla="*/ 7265 h 10000"/>
              <a:gd name="connsiteX41" fmla="*/ 9948 w 10000"/>
              <a:gd name="connsiteY41" fmla="*/ 7351 h 10000"/>
              <a:gd name="connsiteX42" fmla="*/ 9948 w 10000"/>
              <a:gd name="connsiteY42" fmla="*/ 7394 h 10000"/>
              <a:gd name="connsiteX43" fmla="*/ 9948 w 10000"/>
              <a:gd name="connsiteY43" fmla="*/ 7437 h 10000"/>
              <a:gd name="connsiteX44" fmla="*/ 9948 w 10000"/>
              <a:gd name="connsiteY44" fmla="*/ 7479 h 10000"/>
              <a:gd name="connsiteX45" fmla="*/ 10000 w 10000"/>
              <a:gd name="connsiteY45" fmla="*/ 7564 h 10000"/>
              <a:gd name="connsiteX46" fmla="*/ 10000 w 10000"/>
              <a:gd name="connsiteY46" fmla="*/ 7694 h 10000"/>
              <a:gd name="connsiteX47" fmla="*/ 10000 w 10000"/>
              <a:gd name="connsiteY47" fmla="*/ 7735 h 10000"/>
              <a:gd name="connsiteX48" fmla="*/ 10000 w 10000"/>
              <a:gd name="connsiteY48" fmla="*/ 7778 h 10000"/>
              <a:gd name="connsiteX49" fmla="*/ 10000 w 10000"/>
              <a:gd name="connsiteY49" fmla="*/ 7821 h 10000"/>
              <a:gd name="connsiteX50" fmla="*/ 10000 w 10000"/>
              <a:gd name="connsiteY50" fmla="*/ 7907 h 10000"/>
              <a:gd name="connsiteX51" fmla="*/ 10000 w 10000"/>
              <a:gd name="connsiteY51" fmla="*/ 7950 h 10000"/>
              <a:gd name="connsiteX52" fmla="*/ 10000 w 10000"/>
              <a:gd name="connsiteY52" fmla="*/ 7991 h 10000"/>
              <a:gd name="connsiteX53" fmla="*/ 10000 w 10000"/>
              <a:gd name="connsiteY53" fmla="*/ 8077 h 10000"/>
              <a:gd name="connsiteX54" fmla="*/ 10000 w 10000"/>
              <a:gd name="connsiteY54" fmla="*/ 8292 h 10000"/>
              <a:gd name="connsiteX55" fmla="*/ 10000 w 10000"/>
              <a:gd name="connsiteY55" fmla="*/ 8333 h 10000"/>
              <a:gd name="connsiteX56" fmla="*/ 10000 w 10000"/>
              <a:gd name="connsiteY56" fmla="*/ 8419 h 10000"/>
              <a:gd name="connsiteX57" fmla="*/ 10000 w 10000"/>
              <a:gd name="connsiteY57" fmla="*/ 8462 h 10000"/>
              <a:gd name="connsiteX58" fmla="*/ 10000 w 10000"/>
              <a:gd name="connsiteY58" fmla="*/ 8505 h 10000"/>
              <a:gd name="connsiteX59" fmla="*/ 10000 w 10000"/>
              <a:gd name="connsiteY59" fmla="*/ 8547 h 10000"/>
              <a:gd name="connsiteX60" fmla="*/ 10000 w 10000"/>
              <a:gd name="connsiteY60" fmla="*/ 8589 h 10000"/>
              <a:gd name="connsiteX61" fmla="*/ 10000 w 10000"/>
              <a:gd name="connsiteY61" fmla="*/ 8676 h 10000"/>
              <a:gd name="connsiteX62" fmla="*/ 10000 w 10000"/>
              <a:gd name="connsiteY62" fmla="*/ 8761 h 10000"/>
              <a:gd name="connsiteX63" fmla="*/ 10000 w 10000"/>
              <a:gd name="connsiteY63" fmla="*/ 8803 h 10000"/>
              <a:gd name="connsiteX64" fmla="*/ 10000 w 10000"/>
              <a:gd name="connsiteY64" fmla="*/ 8848 h 10000"/>
              <a:gd name="connsiteX65" fmla="*/ 9948 w 10000"/>
              <a:gd name="connsiteY65" fmla="*/ 8848 h 10000"/>
              <a:gd name="connsiteX66" fmla="*/ 9948 w 10000"/>
              <a:gd name="connsiteY66" fmla="*/ 8889 h 10000"/>
              <a:gd name="connsiteX67" fmla="*/ 9895 w 10000"/>
              <a:gd name="connsiteY67" fmla="*/ 8932 h 10000"/>
              <a:gd name="connsiteX68" fmla="*/ 9844 w 10000"/>
              <a:gd name="connsiteY68" fmla="*/ 8932 h 10000"/>
              <a:gd name="connsiteX69" fmla="*/ 9844 w 10000"/>
              <a:gd name="connsiteY69" fmla="*/ 8976 h 10000"/>
              <a:gd name="connsiteX70" fmla="*/ 9792 w 10000"/>
              <a:gd name="connsiteY70" fmla="*/ 8976 h 10000"/>
              <a:gd name="connsiteX71" fmla="*/ 9740 w 10000"/>
              <a:gd name="connsiteY71" fmla="*/ 9018 h 10000"/>
              <a:gd name="connsiteX72" fmla="*/ 9687 w 10000"/>
              <a:gd name="connsiteY72" fmla="*/ 9059 h 10000"/>
              <a:gd name="connsiteX73" fmla="*/ 9635 w 10000"/>
              <a:gd name="connsiteY73" fmla="*/ 9059 h 10000"/>
              <a:gd name="connsiteX74" fmla="*/ 9635 w 10000"/>
              <a:gd name="connsiteY74" fmla="*/ 9104 h 10000"/>
              <a:gd name="connsiteX75" fmla="*/ 9583 w 10000"/>
              <a:gd name="connsiteY75" fmla="*/ 9104 h 10000"/>
              <a:gd name="connsiteX76" fmla="*/ 9532 w 10000"/>
              <a:gd name="connsiteY76" fmla="*/ 9104 h 10000"/>
              <a:gd name="connsiteX77" fmla="*/ 9479 w 10000"/>
              <a:gd name="connsiteY77" fmla="*/ 9104 h 10000"/>
              <a:gd name="connsiteX78" fmla="*/ 9427 w 10000"/>
              <a:gd name="connsiteY78" fmla="*/ 9104 h 10000"/>
              <a:gd name="connsiteX79" fmla="*/ 9375 w 10000"/>
              <a:gd name="connsiteY79" fmla="*/ 9104 h 10000"/>
              <a:gd name="connsiteX80" fmla="*/ 9322 w 10000"/>
              <a:gd name="connsiteY80" fmla="*/ 9104 h 10000"/>
              <a:gd name="connsiteX81" fmla="*/ 9271 w 10000"/>
              <a:gd name="connsiteY81" fmla="*/ 9104 h 10000"/>
              <a:gd name="connsiteX82" fmla="*/ 9271 w 10000"/>
              <a:gd name="connsiteY82" fmla="*/ 9145 h 10000"/>
              <a:gd name="connsiteX83" fmla="*/ 9219 w 10000"/>
              <a:gd name="connsiteY83" fmla="*/ 9189 h 10000"/>
              <a:gd name="connsiteX84" fmla="*/ 9167 w 10000"/>
              <a:gd name="connsiteY84" fmla="*/ 9232 h 10000"/>
              <a:gd name="connsiteX85" fmla="*/ 9219 w 10000"/>
              <a:gd name="connsiteY85" fmla="*/ 9232 h 10000"/>
              <a:gd name="connsiteX86" fmla="*/ 9167 w 10000"/>
              <a:gd name="connsiteY86" fmla="*/ 9232 h 10000"/>
              <a:gd name="connsiteX87" fmla="*/ 9114 w 10000"/>
              <a:gd name="connsiteY87" fmla="*/ 9232 h 10000"/>
              <a:gd name="connsiteX88" fmla="*/ 9062 w 10000"/>
              <a:gd name="connsiteY88" fmla="*/ 9274 h 10000"/>
              <a:gd name="connsiteX89" fmla="*/ 9011 w 10000"/>
              <a:gd name="connsiteY89" fmla="*/ 9316 h 10000"/>
              <a:gd name="connsiteX90" fmla="*/ 8959 w 10000"/>
              <a:gd name="connsiteY90" fmla="*/ 9316 h 10000"/>
              <a:gd name="connsiteX91" fmla="*/ 8959 w 10000"/>
              <a:gd name="connsiteY91" fmla="*/ 9360 h 10000"/>
              <a:gd name="connsiteX92" fmla="*/ 8906 w 10000"/>
              <a:gd name="connsiteY92" fmla="*/ 9360 h 10000"/>
              <a:gd name="connsiteX93" fmla="*/ 8906 w 10000"/>
              <a:gd name="connsiteY93" fmla="*/ 9401 h 10000"/>
              <a:gd name="connsiteX94" fmla="*/ 8854 w 10000"/>
              <a:gd name="connsiteY94" fmla="*/ 9401 h 10000"/>
              <a:gd name="connsiteX95" fmla="*/ 8802 w 10000"/>
              <a:gd name="connsiteY95" fmla="*/ 9401 h 10000"/>
              <a:gd name="connsiteX96" fmla="*/ 8749 w 10000"/>
              <a:gd name="connsiteY96" fmla="*/ 9401 h 10000"/>
              <a:gd name="connsiteX97" fmla="*/ 8698 w 10000"/>
              <a:gd name="connsiteY97" fmla="*/ 9401 h 10000"/>
              <a:gd name="connsiteX98" fmla="*/ 8646 w 10000"/>
              <a:gd name="connsiteY98" fmla="*/ 9401 h 10000"/>
              <a:gd name="connsiteX99" fmla="*/ 8646 w 10000"/>
              <a:gd name="connsiteY99" fmla="*/ 9360 h 10000"/>
              <a:gd name="connsiteX100" fmla="*/ 8646 w 10000"/>
              <a:gd name="connsiteY100" fmla="*/ 9316 h 10000"/>
              <a:gd name="connsiteX101" fmla="*/ 8594 w 10000"/>
              <a:gd name="connsiteY101" fmla="*/ 9274 h 10000"/>
              <a:gd name="connsiteX102" fmla="*/ 8594 w 10000"/>
              <a:gd name="connsiteY102" fmla="*/ 9232 h 10000"/>
              <a:gd name="connsiteX103" fmla="*/ 8594 w 10000"/>
              <a:gd name="connsiteY103" fmla="*/ 9189 h 10000"/>
              <a:gd name="connsiteX104" fmla="*/ 8541 w 10000"/>
              <a:gd name="connsiteY104" fmla="*/ 9189 h 10000"/>
              <a:gd name="connsiteX105" fmla="*/ 8489 w 10000"/>
              <a:gd name="connsiteY105" fmla="*/ 9189 h 10000"/>
              <a:gd name="connsiteX106" fmla="*/ 8489 w 10000"/>
              <a:gd name="connsiteY106" fmla="*/ 9145 h 10000"/>
              <a:gd name="connsiteX107" fmla="*/ 8438 w 10000"/>
              <a:gd name="connsiteY107" fmla="*/ 9145 h 10000"/>
              <a:gd name="connsiteX108" fmla="*/ 8386 w 10000"/>
              <a:gd name="connsiteY108" fmla="*/ 9189 h 10000"/>
              <a:gd name="connsiteX109" fmla="*/ 8386 w 10000"/>
              <a:gd name="connsiteY109" fmla="*/ 9232 h 10000"/>
              <a:gd name="connsiteX110" fmla="*/ 8282 w 10000"/>
              <a:gd name="connsiteY110" fmla="*/ 9189 h 10000"/>
              <a:gd name="connsiteX111" fmla="*/ 8282 w 10000"/>
              <a:gd name="connsiteY111" fmla="*/ 9145 h 10000"/>
              <a:gd name="connsiteX112" fmla="*/ 8230 w 10000"/>
              <a:gd name="connsiteY112" fmla="*/ 9145 h 10000"/>
              <a:gd name="connsiteX113" fmla="*/ 8179 w 10000"/>
              <a:gd name="connsiteY113" fmla="*/ 9145 h 10000"/>
              <a:gd name="connsiteX114" fmla="*/ 8126 w 10000"/>
              <a:gd name="connsiteY114" fmla="*/ 9145 h 10000"/>
              <a:gd name="connsiteX115" fmla="*/ 8074 w 10000"/>
              <a:gd name="connsiteY115" fmla="*/ 9145 h 10000"/>
              <a:gd name="connsiteX116" fmla="*/ 8022 w 10000"/>
              <a:gd name="connsiteY116" fmla="*/ 9145 h 10000"/>
              <a:gd name="connsiteX117" fmla="*/ 8022 w 10000"/>
              <a:gd name="connsiteY117" fmla="*/ 9189 h 10000"/>
              <a:gd name="connsiteX118" fmla="*/ 7969 w 10000"/>
              <a:gd name="connsiteY118" fmla="*/ 9189 h 10000"/>
              <a:gd name="connsiteX119" fmla="*/ 7917 w 10000"/>
              <a:gd name="connsiteY119" fmla="*/ 9232 h 10000"/>
              <a:gd name="connsiteX120" fmla="*/ 7866 w 10000"/>
              <a:gd name="connsiteY120" fmla="*/ 9232 h 10000"/>
              <a:gd name="connsiteX121" fmla="*/ 7866 w 10000"/>
              <a:gd name="connsiteY121" fmla="*/ 9189 h 10000"/>
              <a:gd name="connsiteX122" fmla="*/ 7866 w 10000"/>
              <a:gd name="connsiteY122" fmla="*/ 9232 h 10000"/>
              <a:gd name="connsiteX123" fmla="*/ 7814 w 10000"/>
              <a:gd name="connsiteY123" fmla="*/ 9232 h 10000"/>
              <a:gd name="connsiteX124" fmla="*/ 7761 w 10000"/>
              <a:gd name="connsiteY124" fmla="*/ 9274 h 10000"/>
              <a:gd name="connsiteX125" fmla="*/ 7709 w 10000"/>
              <a:gd name="connsiteY125" fmla="*/ 9232 h 10000"/>
              <a:gd name="connsiteX126" fmla="*/ 7657 w 10000"/>
              <a:gd name="connsiteY126" fmla="*/ 9232 h 10000"/>
              <a:gd name="connsiteX127" fmla="*/ 7606 w 10000"/>
              <a:gd name="connsiteY127" fmla="*/ 9232 h 10000"/>
              <a:gd name="connsiteX128" fmla="*/ 7553 w 10000"/>
              <a:gd name="connsiteY128" fmla="*/ 9189 h 10000"/>
              <a:gd name="connsiteX129" fmla="*/ 7501 w 10000"/>
              <a:gd name="connsiteY129" fmla="*/ 9189 h 10000"/>
              <a:gd name="connsiteX130" fmla="*/ 7501 w 10000"/>
              <a:gd name="connsiteY130" fmla="*/ 9232 h 10000"/>
              <a:gd name="connsiteX131" fmla="*/ 7449 w 10000"/>
              <a:gd name="connsiteY131" fmla="*/ 9232 h 10000"/>
              <a:gd name="connsiteX132" fmla="*/ 7396 w 10000"/>
              <a:gd name="connsiteY132" fmla="*/ 9189 h 10000"/>
              <a:gd name="connsiteX133" fmla="*/ 7345 w 10000"/>
              <a:gd name="connsiteY133" fmla="*/ 9189 h 10000"/>
              <a:gd name="connsiteX134" fmla="*/ 7293 w 10000"/>
              <a:gd name="connsiteY134" fmla="*/ 9274 h 10000"/>
              <a:gd name="connsiteX135" fmla="*/ 7241 w 10000"/>
              <a:gd name="connsiteY135" fmla="*/ 9274 h 10000"/>
              <a:gd name="connsiteX136" fmla="*/ 7241 w 10000"/>
              <a:gd name="connsiteY136" fmla="*/ 9232 h 10000"/>
              <a:gd name="connsiteX137" fmla="*/ 7241 w 10000"/>
              <a:gd name="connsiteY137" fmla="*/ 9274 h 10000"/>
              <a:gd name="connsiteX138" fmla="*/ 7241 w 10000"/>
              <a:gd name="connsiteY138" fmla="*/ 9316 h 10000"/>
              <a:gd name="connsiteX139" fmla="*/ 7188 w 10000"/>
              <a:gd name="connsiteY139" fmla="*/ 9316 h 10000"/>
              <a:gd name="connsiteX140" fmla="*/ 7136 w 10000"/>
              <a:gd name="connsiteY140" fmla="*/ 9316 h 10000"/>
              <a:gd name="connsiteX141" fmla="*/ 7188 w 10000"/>
              <a:gd name="connsiteY141" fmla="*/ 9360 h 10000"/>
              <a:gd name="connsiteX142" fmla="*/ 7136 w 10000"/>
              <a:gd name="connsiteY142" fmla="*/ 9401 h 10000"/>
              <a:gd name="connsiteX143" fmla="*/ 7188 w 10000"/>
              <a:gd name="connsiteY143" fmla="*/ 9445 h 10000"/>
              <a:gd name="connsiteX144" fmla="*/ 7241 w 10000"/>
              <a:gd name="connsiteY144" fmla="*/ 9445 h 10000"/>
              <a:gd name="connsiteX145" fmla="*/ 7241 w 10000"/>
              <a:gd name="connsiteY145" fmla="*/ 9489 h 10000"/>
              <a:gd name="connsiteX146" fmla="*/ 7188 w 10000"/>
              <a:gd name="connsiteY146" fmla="*/ 9489 h 10000"/>
              <a:gd name="connsiteX147" fmla="*/ 7136 w 10000"/>
              <a:gd name="connsiteY147" fmla="*/ 9489 h 10000"/>
              <a:gd name="connsiteX148" fmla="*/ 7188 w 10000"/>
              <a:gd name="connsiteY148" fmla="*/ 9530 h 10000"/>
              <a:gd name="connsiteX149" fmla="*/ 7188 w 10000"/>
              <a:gd name="connsiteY149" fmla="*/ 9573 h 10000"/>
              <a:gd name="connsiteX150" fmla="*/ 7136 w 10000"/>
              <a:gd name="connsiteY150" fmla="*/ 9573 h 10000"/>
              <a:gd name="connsiteX151" fmla="*/ 7136 w 10000"/>
              <a:gd name="connsiteY151" fmla="*/ 9616 h 10000"/>
              <a:gd name="connsiteX152" fmla="*/ 7084 w 10000"/>
              <a:gd name="connsiteY152" fmla="*/ 9659 h 10000"/>
              <a:gd name="connsiteX153" fmla="*/ 7136 w 10000"/>
              <a:gd name="connsiteY153" fmla="*/ 9702 h 10000"/>
              <a:gd name="connsiteX154" fmla="*/ 7188 w 10000"/>
              <a:gd name="connsiteY154" fmla="*/ 9702 h 10000"/>
              <a:gd name="connsiteX155" fmla="*/ 7188 w 10000"/>
              <a:gd name="connsiteY155" fmla="*/ 9744 h 10000"/>
              <a:gd name="connsiteX156" fmla="*/ 7188 w 10000"/>
              <a:gd name="connsiteY156" fmla="*/ 9787 h 10000"/>
              <a:gd name="connsiteX157" fmla="*/ 7136 w 10000"/>
              <a:gd name="connsiteY157" fmla="*/ 9787 h 10000"/>
              <a:gd name="connsiteX158" fmla="*/ 7084 w 10000"/>
              <a:gd name="connsiteY158" fmla="*/ 9829 h 10000"/>
              <a:gd name="connsiteX159" fmla="*/ 7136 w 10000"/>
              <a:gd name="connsiteY159" fmla="*/ 9871 h 10000"/>
              <a:gd name="connsiteX160" fmla="*/ 7136 w 10000"/>
              <a:gd name="connsiteY160" fmla="*/ 9915 h 10000"/>
              <a:gd name="connsiteX161" fmla="*/ 7136 w 10000"/>
              <a:gd name="connsiteY161" fmla="*/ 9958 h 10000"/>
              <a:gd name="connsiteX162" fmla="*/ 7136 w 10000"/>
              <a:gd name="connsiteY162" fmla="*/ 10000 h 10000"/>
              <a:gd name="connsiteX163" fmla="*/ 7344 w 10000"/>
              <a:gd name="connsiteY163" fmla="*/ 7542 h 10000"/>
              <a:gd name="connsiteX164" fmla="*/ 7136 w 10000"/>
              <a:gd name="connsiteY164" fmla="*/ 7196 h 10000"/>
              <a:gd name="connsiteX165" fmla="*/ 6544 w 10000"/>
              <a:gd name="connsiteY165" fmla="*/ 7082 h 10000"/>
              <a:gd name="connsiteX166" fmla="*/ 5775 w 10000"/>
              <a:gd name="connsiteY166" fmla="*/ 7046 h 10000"/>
              <a:gd name="connsiteX167" fmla="*/ 5311 w 10000"/>
              <a:gd name="connsiteY167" fmla="*/ 6938 h 10000"/>
              <a:gd name="connsiteX168" fmla="*/ 5071 w 10000"/>
              <a:gd name="connsiteY168" fmla="*/ 6827 h 10000"/>
              <a:gd name="connsiteX169" fmla="*/ 4912 w 10000"/>
              <a:gd name="connsiteY169" fmla="*/ 6920 h 10000"/>
              <a:gd name="connsiteX170" fmla="*/ 4416 w 10000"/>
              <a:gd name="connsiteY170" fmla="*/ 6754 h 10000"/>
              <a:gd name="connsiteX171" fmla="*/ 3584 w 10000"/>
              <a:gd name="connsiteY171" fmla="*/ 6461 h 10000"/>
              <a:gd name="connsiteX172" fmla="*/ 3104 w 10000"/>
              <a:gd name="connsiteY172" fmla="*/ 6405 h 10000"/>
              <a:gd name="connsiteX173" fmla="*/ 3200 w 10000"/>
              <a:gd name="connsiteY173" fmla="*/ 6204 h 10000"/>
              <a:gd name="connsiteX174" fmla="*/ 3344 w 10000"/>
              <a:gd name="connsiteY174" fmla="*/ 6148 h 10000"/>
              <a:gd name="connsiteX175" fmla="*/ 3728 w 10000"/>
              <a:gd name="connsiteY175" fmla="*/ 5855 h 10000"/>
              <a:gd name="connsiteX176" fmla="*/ 3968 w 10000"/>
              <a:gd name="connsiteY176" fmla="*/ 5580 h 10000"/>
              <a:gd name="connsiteX177" fmla="*/ 4224 w 10000"/>
              <a:gd name="connsiteY177" fmla="*/ 5287 h 10000"/>
              <a:gd name="connsiteX178" fmla="*/ 4368 w 10000"/>
              <a:gd name="connsiteY178" fmla="*/ 5013 h 10000"/>
              <a:gd name="connsiteX179" fmla="*/ 4352 w 10000"/>
              <a:gd name="connsiteY179" fmla="*/ 4701 h 10000"/>
              <a:gd name="connsiteX180" fmla="*/ 4336 w 10000"/>
              <a:gd name="connsiteY180" fmla="*/ 4425 h 10000"/>
              <a:gd name="connsiteX181" fmla="*/ 4176 w 10000"/>
              <a:gd name="connsiteY181" fmla="*/ 4260 h 10000"/>
              <a:gd name="connsiteX182" fmla="*/ 4016 w 10000"/>
              <a:gd name="connsiteY182" fmla="*/ 4279 h 10000"/>
              <a:gd name="connsiteX183" fmla="*/ 3856 w 10000"/>
              <a:gd name="connsiteY183" fmla="*/ 4572 h 10000"/>
              <a:gd name="connsiteX184" fmla="*/ 3808 w 10000"/>
              <a:gd name="connsiteY184" fmla="*/ 5102 h 10000"/>
              <a:gd name="connsiteX185" fmla="*/ 3536 w 10000"/>
              <a:gd name="connsiteY185" fmla="*/ 5453 h 10000"/>
              <a:gd name="connsiteX186" fmla="*/ 2992 w 10000"/>
              <a:gd name="connsiteY186" fmla="*/ 5764 h 10000"/>
              <a:gd name="connsiteX187" fmla="*/ 2415 w 10000"/>
              <a:gd name="connsiteY187" fmla="*/ 6002 h 10000"/>
              <a:gd name="connsiteX188" fmla="*/ 1951 w 10000"/>
              <a:gd name="connsiteY188" fmla="*/ 6330 h 10000"/>
              <a:gd name="connsiteX189" fmla="*/ 0 w 10000"/>
              <a:gd name="connsiteY189" fmla="*/ 6259 h 10000"/>
              <a:gd name="connsiteX190" fmla="*/ 3 w 10000"/>
              <a:gd name="connsiteY190" fmla="*/ 6026 h 10000"/>
              <a:gd name="connsiteX191" fmla="*/ 159 w 10000"/>
              <a:gd name="connsiteY191" fmla="*/ 6111 h 10000"/>
              <a:gd name="connsiteX192" fmla="*/ 368 w 10000"/>
              <a:gd name="connsiteY192" fmla="*/ 6026 h 10000"/>
              <a:gd name="connsiteX193" fmla="*/ 1462 w 10000"/>
              <a:gd name="connsiteY193" fmla="*/ 6026 h 10000"/>
              <a:gd name="connsiteX194" fmla="*/ 1617 w 10000"/>
              <a:gd name="connsiteY194" fmla="*/ 5984 h 10000"/>
              <a:gd name="connsiteX195" fmla="*/ 1669 w 10000"/>
              <a:gd name="connsiteY195" fmla="*/ 5984 h 10000"/>
              <a:gd name="connsiteX196" fmla="*/ 2189 w 10000"/>
              <a:gd name="connsiteY196" fmla="*/ 5428 h 10000"/>
              <a:gd name="connsiteX197" fmla="*/ 2294 w 10000"/>
              <a:gd name="connsiteY197" fmla="*/ 5341 h 10000"/>
              <a:gd name="connsiteX198" fmla="*/ 2762 w 10000"/>
              <a:gd name="connsiteY198" fmla="*/ 4915 h 10000"/>
              <a:gd name="connsiteX199" fmla="*/ 3023 w 10000"/>
              <a:gd name="connsiteY199" fmla="*/ 4658 h 10000"/>
              <a:gd name="connsiteX200" fmla="*/ 3179 w 10000"/>
              <a:gd name="connsiteY200" fmla="*/ 4530 h 10000"/>
              <a:gd name="connsiteX201" fmla="*/ 3596 w 10000"/>
              <a:gd name="connsiteY201" fmla="*/ 3889 h 10000"/>
              <a:gd name="connsiteX202" fmla="*/ 4116 w 10000"/>
              <a:gd name="connsiteY202" fmla="*/ 3632 h 10000"/>
              <a:gd name="connsiteX203" fmla="*/ 5001 w 10000"/>
              <a:gd name="connsiteY203" fmla="*/ 2906 h 10000"/>
              <a:gd name="connsiteX204" fmla="*/ 4845 w 10000"/>
              <a:gd name="connsiteY204" fmla="*/ 2650 h 10000"/>
              <a:gd name="connsiteX205" fmla="*/ 4794 w 10000"/>
              <a:gd name="connsiteY205" fmla="*/ 2479 h 10000"/>
              <a:gd name="connsiteX206" fmla="*/ 4794 w 10000"/>
              <a:gd name="connsiteY206" fmla="*/ 1281 h 10000"/>
              <a:gd name="connsiteX207" fmla="*/ 4116 w 10000"/>
              <a:gd name="connsiteY207" fmla="*/ 768 h 10000"/>
              <a:gd name="connsiteX208" fmla="*/ 4950 w 10000"/>
              <a:gd name="connsiteY208" fmla="*/ 768 h 10000"/>
              <a:gd name="connsiteX209" fmla="*/ 5782 w 10000"/>
              <a:gd name="connsiteY209" fmla="*/ 768 h 10000"/>
              <a:gd name="connsiteX210" fmla="*/ 5782 w 10000"/>
              <a:gd name="connsiteY210" fmla="*/ 726 h 10000"/>
              <a:gd name="connsiteX211" fmla="*/ 5782 w 10000"/>
              <a:gd name="connsiteY211" fmla="*/ 685 h 10000"/>
              <a:gd name="connsiteX212" fmla="*/ 5782 w 10000"/>
              <a:gd name="connsiteY212" fmla="*/ 644 h 10000"/>
              <a:gd name="connsiteX213" fmla="*/ 5782 w 10000"/>
              <a:gd name="connsiteY213" fmla="*/ 597 h 10000"/>
              <a:gd name="connsiteX214" fmla="*/ 5834 w 10000"/>
              <a:gd name="connsiteY214" fmla="*/ 553 h 10000"/>
              <a:gd name="connsiteX215" fmla="*/ 5834 w 10000"/>
              <a:gd name="connsiteY215" fmla="*/ 512 h 10000"/>
              <a:gd name="connsiteX216" fmla="*/ 5834 w 10000"/>
              <a:gd name="connsiteY216" fmla="*/ 471 h 10000"/>
              <a:gd name="connsiteX217" fmla="*/ 5834 w 10000"/>
              <a:gd name="connsiteY217" fmla="*/ 429 h 10000"/>
              <a:gd name="connsiteX218" fmla="*/ 5834 w 10000"/>
              <a:gd name="connsiteY218" fmla="*/ 388 h 10000"/>
              <a:gd name="connsiteX219" fmla="*/ 5834 w 10000"/>
              <a:gd name="connsiteY219" fmla="*/ 339 h 10000"/>
              <a:gd name="connsiteX220" fmla="*/ 5782 w 10000"/>
              <a:gd name="connsiteY220" fmla="*/ 339 h 10000"/>
              <a:gd name="connsiteX221" fmla="*/ 5782 w 10000"/>
              <a:gd name="connsiteY221" fmla="*/ 297 h 10000"/>
              <a:gd name="connsiteX222" fmla="*/ 5782 w 10000"/>
              <a:gd name="connsiteY222" fmla="*/ 256 h 10000"/>
              <a:gd name="connsiteX223" fmla="*/ 5782 w 10000"/>
              <a:gd name="connsiteY223" fmla="*/ 215 h 10000"/>
              <a:gd name="connsiteX224" fmla="*/ 5782 w 10000"/>
              <a:gd name="connsiteY224" fmla="*/ 173 h 10000"/>
              <a:gd name="connsiteX225" fmla="*/ 5782 w 10000"/>
              <a:gd name="connsiteY225" fmla="*/ 132 h 10000"/>
              <a:gd name="connsiteX226" fmla="*/ 5782 w 10000"/>
              <a:gd name="connsiteY226" fmla="*/ 83 h 10000"/>
              <a:gd name="connsiteX227" fmla="*/ 5782 w 10000"/>
              <a:gd name="connsiteY227" fmla="*/ 41 h 10000"/>
              <a:gd name="connsiteX228" fmla="*/ 5782 w 10000"/>
              <a:gd name="connsiteY228" fmla="*/ 0 h 10000"/>
              <a:gd name="connsiteX0" fmla="*/ 5782 w 10000"/>
              <a:gd name="connsiteY0" fmla="*/ 0 h 9958"/>
              <a:gd name="connsiteX1" fmla="*/ 7345 w 10000"/>
              <a:gd name="connsiteY1" fmla="*/ 41 h 9958"/>
              <a:gd name="connsiteX2" fmla="*/ 7501 w 10000"/>
              <a:gd name="connsiteY2" fmla="*/ 41 h 9958"/>
              <a:gd name="connsiteX3" fmla="*/ 7345 w 10000"/>
              <a:gd name="connsiteY3" fmla="*/ 173 h 9958"/>
              <a:gd name="connsiteX4" fmla="*/ 7293 w 10000"/>
              <a:gd name="connsiteY4" fmla="*/ 553 h 9958"/>
              <a:gd name="connsiteX5" fmla="*/ 7188 w 10000"/>
              <a:gd name="connsiteY5" fmla="*/ 1156 h 9958"/>
              <a:gd name="connsiteX6" fmla="*/ 7136 w 10000"/>
              <a:gd name="connsiteY6" fmla="*/ 1197 h 9958"/>
              <a:gd name="connsiteX7" fmla="*/ 6980 w 10000"/>
              <a:gd name="connsiteY7" fmla="*/ 1538 h 9958"/>
              <a:gd name="connsiteX8" fmla="*/ 7396 w 10000"/>
              <a:gd name="connsiteY8" fmla="*/ 3120 h 9958"/>
              <a:gd name="connsiteX9" fmla="*/ 7501 w 10000"/>
              <a:gd name="connsiteY9" fmla="*/ 3420 h 9958"/>
              <a:gd name="connsiteX10" fmla="*/ 7345 w 10000"/>
              <a:gd name="connsiteY10" fmla="*/ 3676 h 9958"/>
              <a:gd name="connsiteX11" fmla="*/ 8022 w 10000"/>
              <a:gd name="connsiteY11" fmla="*/ 3846 h 9958"/>
              <a:gd name="connsiteX12" fmla="*/ 8489 w 10000"/>
              <a:gd name="connsiteY12" fmla="*/ 4317 h 9958"/>
              <a:gd name="connsiteX13" fmla="*/ 8594 w 10000"/>
              <a:gd name="connsiteY13" fmla="*/ 4402 h 9958"/>
              <a:gd name="connsiteX14" fmla="*/ 8906 w 10000"/>
              <a:gd name="connsiteY14" fmla="*/ 4616 h 9958"/>
              <a:gd name="connsiteX15" fmla="*/ 9114 w 10000"/>
              <a:gd name="connsiteY15" fmla="*/ 4872 h 9958"/>
              <a:gd name="connsiteX16" fmla="*/ 9219 w 10000"/>
              <a:gd name="connsiteY16" fmla="*/ 5001 h 9958"/>
              <a:gd name="connsiteX17" fmla="*/ 9427 w 10000"/>
              <a:gd name="connsiteY17" fmla="*/ 5001 h 9958"/>
              <a:gd name="connsiteX18" fmla="*/ 9427 w 10000"/>
              <a:gd name="connsiteY18" fmla="*/ 5043 h 9958"/>
              <a:gd name="connsiteX19" fmla="*/ 9479 w 10000"/>
              <a:gd name="connsiteY19" fmla="*/ 5128 h 9958"/>
              <a:gd name="connsiteX20" fmla="*/ 9479 w 10000"/>
              <a:gd name="connsiteY20" fmla="*/ 5172 h 9958"/>
              <a:gd name="connsiteX21" fmla="*/ 9532 w 10000"/>
              <a:gd name="connsiteY21" fmla="*/ 5341 h 9958"/>
              <a:gd name="connsiteX22" fmla="*/ 9532 w 10000"/>
              <a:gd name="connsiteY22" fmla="*/ 5385 h 9958"/>
              <a:gd name="connsiteX23" fmla="*/ 9532 w 10000"/>
              <a:gd name="connsiteY23" fmla="*/ 5514 h 9958"/>
              <a:gd name="connsiteX24" fmla="*/ 9532 w 10000"/>
              <a:gd name="connsiteY24" fmla="*/ 5597 h 9958"/>
              <a:gd name="connsiteX25" fmla="*/ 9479 w 10000"/>
              <a:gd name="connsiteY25" fmla="*/ 5684 h 9958"/>
              <a:gd name="connsiteX26" fmla="*/ 9427 w 10000"/>
              <a:gd name="connsiteY26" fmla="*/ 5942 h 9958"/>
              <a:gd name="connsiteX27" fmla="*/ 9375 w 10000"/>
              <a:gd name="connsiteY27" fmla="*/ 5984 h 9958"/>
              <a:gd name="connsiteX28" fmla="*/ 9322 w 10000"/>
              <a:gd name="connsiteY28" fmla="*/ 6026 h 9958"/>
              <a:gd name="connsiteX29" fmla="*/ 9271 w 10000"/>
              <a:gd name="connsiteY29" fmla="*/ 6198 h 9958"/>
              <a:gd name="connsiteX30" fmla="*/ 9219 w 10000"/>
              <a:gd name="connsiteY30" fmla="*/ 6282 h 9958"/>
              <a:gd name="connsiteX31" fmla="*/ 9219 w 10000"/>
              <a:gd name="connsiteY31" fmla="*/ 6368 h 9958"/>
              <a:gd name="connsiteX32" fmla="*/ 9219 w 10000"/>
              <a:gd name="connsiteY32" fmla="*/ 6411 h 9958"/>
              <a:gd name="connsiteX33" fmla="*/ 9219 w 10000"/>
              <a:gd name="connsiteY33" fmla="*/ 6538 h 9958"/>
              <a:gd name="connsiteX34" fmla="*/ 9271 w 10000"/>
              <a:gd name="connsiteY34" fmla="*/ 6668 h 9958"/>
              <a:gd name="connsiteX35" fmla="*/ 9895 w 10000"/>
              <a:gd name="connsiteY35" fmla="*/ 6668 h 9958"/>
              <a:gd name="connsiteX36" fmla="*/ 9895 w 10000"/>
              <a:gd name="connsiteY36" fmla="*/ 6753 h 9958"/>
              <a:gd name="connsiteX37" fmla="*/ 9948 w 10000"/>
              <a:gd name="connsiteY37" fmla="*/ 7050 h 9958"/>
              <a:gd name="connsiteX38" fmla="*/ 9948 w 10000"/>
              <a:gd name="connsiteY38" fmla="*/ 7095 h 9958"/>
              <a:gd name="connsiteX39" fmla="*/ 9948 w 10000"/>
              <a:gd name="connsiteY39" fmla="*/ 7223 h 9958"/>
              <a:gd name="connsiteX40" fmla="*/ 9948 w 10000"/>
              <a:gd name="connsiteY40" fmla="*/ 7265 h 9958"/>
              <a:gd name="connsiteX41" fmla="*/ 9948 w 10000"/>
              <a:gd name="connsiteY41" fmla="*/ 7351 h 9958"/>
              <a:gd name="connsiteX42" fmla="*/ 9948 w 10000"/>
              <a:gd name="connsiteY42" fmla="*/ 7394 h 9958"/>
              <a:gd name="connsiteX43" fmla="*/ 9948 w 10000"/>
              <a:gd name="connsiteY43" fmla="*/ 7437 h 9958"/>
              <a:gd name="connsiteX44" fmla="*/ 9948 w 10000"/>
              <a:gd name="connsiteY44" fmla="*/ 7479 h 9958"/>
              <a:gd name="connsiteX45" fmla="*/ 10000 w 10000"/>
              <a:gd name="connsiteY45" fmla="*/ 7564 h 9958"/>
              <a:gd name="connsiteX46" fmla="*/ 10000 w 10000"/>
              <a:gd name="connsiteY46" fmla="*/ 7694 h 9958"/>
              <a:gd name="connsiteX47" fmla="*/ 10000 w 10000"/>
              <a:gd name="connsiteY47" fmla="*/ 7735 h 9958"/>
              <a:gd name="connsiteX48" fmla="*/ 10000 w 10000"/>
              <a:gd name="connsiteY48" fmla="*/ 7778 h 9958"/>
              <a:gd name="connsiteX49" fmla="*/ 10000 w 10000"/>
              <a:gd name="connsiteY49" fmla="*/ 7821 h 9958"/>
              <a:gd name="connsiteX50" fmla="*/ 10000 w 10000"/>
              <a:gd name="connsiteY50" fmla="*/ 7907 h 9958"/>
              <a:gd name="connsiteX51" fmla="*/ 10000 w 10000"/>
              <a:gd name="connsiteY51" fmla="*/ 7950 h 9958"/>
              <a:gd name="connsiteX52" fmla="*/ 10000 w 10000"/>
              <a:gd name="connsiteY52" fmla="*/ 7991 h 9958"/>
              <a:gd name="connsiteX53" fmla="*/ 10000 w 10000"/>
              <a:gd name="connsiteY53" fmla="*/ 8077 h 9958"/>
              <a:gd name="connsiteX54" fmla="*/ 10000 w 10000"/>
              <a:gd name="connsiteY54" fmla="*/ 8292 h 9958"/>
              <a:gd name="connsiteX55" fmla="*/ 10000 w 10000"/>
              <a:gd name="connsiteY55" fmla="*/ 8333 h 9958"/>
              <a:gd name="connsiteX56" fmla="*/ 10000 w 10000"/>
              <a:gd name="connsiteY56" fmla="*/ 8419 h 9958"/>
              <a:gd name="connsiteX57" fmla="*/ 10000 w 10000"/>
              <a:gd name="connsiteY57" fmla="*/ 8462 h 9958"/>
              <a:gd name="connsiteX58" fmla="*/ 10000 w 10000"/>
              <a:gd name="connsiteY58" fmla="*/ 8505 h 9958"/>
              <a:gd name="connsiteX59" fmla="*/ 10000 w 10000"/>
              <a:gd name="connsiteY59" fmla="*/ 8547 h 9958"/>
              <a:gd name="connsiteX60" fmla="*/ 10000 w 10000"/>
              <a:gd name="connsiteY60" fmla="*/ 8589 h 9958"/>
              <a:gd name="connsiteX61" fmla="*/ 10000 w 10000"/>
              <a:gd name="connsiteY61" fmla="*/ 8676 h 9958"/>
              <a:gd name="connsiteX62" fmla="*/ 10000 w 10000"/>
              <a:gd name="connsiteY62" fmla="*/ 8761 h 9958"/>
              <a:gd name="connsiteX63" fmla="*/ 10000 w 10000"/>
              <a:gd name="connsiteY63" fmla="*/ 8803 h 9958"/>
              <a:gd name="connsiteX64" fmla="*/ 10000 w 10000"/>
              <a:gd name="connsiteY64" fmla="*/ 8848 h 9958"/>
              <a:gd name="connsiteX65" fmla="*/ 9948 w 10000"/>
              <a:gd name="connsiteY65" fmla="*/ 8848 h 9958"/>
              <a:gd name="connsiteX66" fmla="*/ 9948 w 10000"/>
              <a:gd name="connsiteY66" fmla="*/ 8889 h 9958"/>
              <a:gd name="connsiteX67" fmla="*/ 9895 w 10000"/>
              <a:gd name="connsiteY67" fmla="*/ 8932 h 9958"/>
              <a:gd name="connsiteX68" fmla="*/ 9844 w 10000"/>
              <a:gd name="connsiteY68" fmla="*/ 8932 h 9958"/>
              <a:gd name="connsiteX69" fmla="*/ 9844 w 10000"/>
              <a:gd name="connsiteY69" fmla="*/ 8976 h 9958"/>
              <a:gd name="connsiteX70" fmla="*/ 9792 w 10000"/>
              <a:gd name="connsiteY70" fmla="*/ 8976 h 9958"/>
              <a:gd name="connsiteX71" fmla="*/ 9740 w 10000"/>
              <a:gd name="connsiteY71" fmla="*/ 9018 h 9958"/>
              <a:gd name="connsiteX72" fmla="*/ 9687 w 10000"/>
              <a:gd name="connsiteY72" fmla="*/ 9059 h 9958"/>
              <a:gd name="connsiteX73" fmla="*/ 9635 w 10000"/>
              <a:gd name="connsiteY73" fmla="*/ 9059 h 9958"/>
              <a:gd name="connsiteX74" fmla="*/ 9635 w 10000"/>
              <a:gd name="connsiteY74" fmla="*/ 9104 h 9958"/>
              <a:gd name="connsiteX75" fmla="*/ 9583 w 10000"/>
              <a:gd name="connsiteY75" fmla="*/ 9104 h 9958"/>
              <a:gd name="connsiteX76" fmla="*/ 9532 w 10000"/>
              <a:gd name="connsiteY76" fmla="*/ 9104 h 9958"/>
              <a:gd name="connsiteX77" fmla="*/ 9479 w 10000"/>
              <a:gd name="connsiteY77" fmla="*/ 9104 h 9958"/>
              <a:gd name="connsiteX78" fmla="*/ 9427 w 10000"/>
              <a:gd name="connsiteY78" fmla="*/ 9104 h 9958"/>
              <a:gd name="connsiteX79" fmla="*/ 9375 w 10000"/>
              <a:gd name="connsiteY79" fmla="*/ 9104 h 9958"/>
              <a:gd name="connsiteX80" fmla="*/ 9322 w 10000"/>
              <a:gd name="connsiteY80" fmla="*/ 9104 h 9958"/>
              <a:gd name="connsiteX81" fmla="*/ 9271 w 10000"/>
              <a:gd name="connsiteY81" fmla="*/ 9104 h 9958"/>
              <a:gd name="connsiteX82" fmla="*/ 9271 w 10000"/>
              <a:gd name="connsiteY82" fmla="*/ 9145 h 9958"/>
              <a:gd name="connsiteX83" fmla="*/ 9219 w 10000"/>
              <a:gd name="connsiteY83" fmla="*/ 9189 h 9958"/>
              <a:gd name="connsiteX84" fmla="*/ 9167 w 10000"/>
              <a:gd name="connsiteY84" fmla="*/ 9232 h 9958"/>
              <a:gd name="connsiteX85" fmla="*/ 9219 w 10000"/>
              <a:gd name="connsiteY85" fmla="*/ 9232 h 9958"/>
              <a:gd name="connsiteX86" fmla="*/ 9167 w 10000"/>
              <a:gd name="connsiteY86" fmla="*/ 9232 h 9958"/>
              <a:gd name="connsiteX87" fmla="*/ 9114 w 10000"/>
              <a:gd name="connsiteY87" fmla="*/ 9232 h 9958"/>
              <a:gd name="connsiteX88" fmla="*/ 9062 w 10000"/>
              <a:gd name="connsiteY88" fmla="*/ 9274 h 9958"/>
              <a:gd name="connsiteX89" fmla="*/ 9011 w 10000"/>
              <a:gd name="connsiteY89" fmla="*/ 9316 h 9958"/>
              <a:gd name="connsiteX90" fmla="*/ 8959 w 10000"/>
              <a:gd name="connsiteY90" fmla="*/ 9316 h 9958"/>
              <a:gd name="connsiteX91" fmla="*/ 8959 w 10000"/>
              <a:gd name="connsiteY91" fmla="*/ 9360 h 9958"/>
              <a:gd name="connsiteX92" fmla="*/ 8906 w 10000"/>
              <a:gd name="connsiteY92" fmla="*/ 9360 h 9958"/>
              <a:gd name="connsiteX93" fmla="*/ 8906 w 10000"/>
              <a:gd name="connsiteY93" fmla="*/ 9401 h 9958"/>
              <a:gd name="connsiteX94" fmla="*/ 8854 w 10000"/>
              <a:gd name="connsiteY94" fmla="*/ 9401 h 9958"/>
              <a:gd name="connsiteX95" fmla="*/ 8802 w 10000"/>
              <a:gd name="connsiteY95" fmla="*/ 9401 h 9958"/>
              <a:gd name="connsiteX96" fmla="*/ 8749 w 10000"/>
              <a:gd name="connsiteY96" fmla="*/ 9401 h 9958"/>
              <a:gd name="connsiteX97" fmla="*/ 8698 w 10000"/>
              <a:gd name="connsiteY97" fmla="*/ 9401 h 9958"/>
              <a:gd name="connsiteX98" fmla="*/ 8646 w 10000"/>
              <a:gd name="connsiteY98" fmla="*/ 9401 h 9958"/>
              <a:gd name="connsiteX99" fmla="*/ 8646 w 10000"/>
              <a:gd name="connsiteY99" fmla="*/ 9360 h 9958"/>
              <a:gd name="connsiteX100" fmla="*/ 8646 w 10000"/>
              <a:gd name="connsiteY100" fmla="*/ 9316 h 9958"/>
              <a:gd name="connsiteX101" fmla="*/ 8594 w 10000"/>
              <a:gd name="connsiteY101" fmla="*/ 9274 h 9958"/>
              <a:gd name="connsiteX102" fmla="*/ 8594 w 10000"/>
              <a:gd name="connsiteY102" fmla="*/ 9232 h 9958"/>
              <a:gd name="connsiteX103" fmla="*/ 8594 w 10000"/>
              <a:gd name="connsiteY103" fmla="*/ 9189 h 9958"/>
              <a:gd name="connsiteX104" fmla="*/ 8541 w 10000"/>
              <a:gd name="connsiteY104" fmla="*/ 9189 h 9958"/>
              <a:gd name="connsiteX105" fmla="*/ 8489 w 10000"/>
              <a:gd name="connsiteY105" fmla="*/ 9189 h 9958"/>
              <a:gd name="connsiteX106" fmla="*/ 8489 w 10000"/>
              <a:gd name="connsiteY106" fmla="*/ 9145 h 9958"/>
              <a:gd name="connsiteX107" fmla="*/ 8438 w 10000"/>
              <a:gd name="connsiteY107" fmla="*/ 9145 h 9958"/>
              <a:gd name="connsiteX108" fmla="*/ 8386 w 10000"/>
              <a:gd name="connsiteY108" fmla="*/ 9189 h 9958"/>
              <a:gd name="connsiteX109" fmla="*/ 8386 w 10000"/>
              <a:gd name="connsiteY109" fmla="*/ 9232 h 9958"/>
              <a:gd name="connsiteX110" fmla="*/ 8282 w 10000"/>
              <a:gd name="connsiteY110" fmla="*/ 9189 h 9958"/>
              <a:gd name="connsiteX111" fmla="*/ 8282 w 10000"/>
              <a:gd name="connsiteY111" fmla="*/ 9145 h 9958"/>
              <a:gd name="connsiteX112" fmla="*/ 8230 w 10000"/>
              <a:gd name="connsiteY112" fmla="*/ 9145 h 9958"/>
              <a:gd name="connsiteX113" fmla="*/ 8179 w 10000"/>
              <a:gd name="connsiteY113" fmla="*/ 9145 h 9958"/>
              <a:gd name="connsiteX114" fmla="*/ 8126 w 10000"/>
              <a:gd name="connsiteY114" fmla="*/ 9145 h 9958"/>
              <a:gd name="connsiteX115" fmla="*/ 8074 w 10000"/>
              <a:gd name="connsiteY115" fmla="*/ 9145 h 9958"/>
              <a:gd name="connsiteX116" fmla="*/ 8022 w 10000"/>
              <a:gd name="connsiteY116" fmla="*/ 9145 h 9958"/>
              <a:gd name="connsiteX117" fmla="*/ 8022 w 10000"/>
              <a:gd name="connsiteY117" fmla="*/ 9189 h 9958"/>
              <a:gd name="connsiteX118" fmla="*/ 7969 w 10000"/>
              <a:gd name="connsiteY118" fmla="*/ 9189 h 9958"/>
              <a:gd name="connsiteX119" fmla="*/ 7917 w 10000"/>
              <a:gd name="connsiteY119" fmla="*/ 9232 h 9958"/>
              <a:gd name="connsiteX120" fmla="*/ 7866 w 10000"/>
              <a:gd name="connsiteY120" fmla="*/ 9232 h 9958"/>
              <a:gd name="connsiteX121" fmla="*/ 7866 w 10000"/>
              <a:gd name="connsiteY121" fmla="*/ 9189 h 9958"/>
              <a:gd name="connsiteX122" fmla="*/ 7866 w 10000"/>
              <a:gd name="connsiteY122" fmla="*/ 9232 h 9958"/>
              <a:gd name="connsiteX123" fmla="*/ 7814 w 10000"/>
              <a:gd name="connsiteY123" fmla="*/ 9232 h 9958"/>
              <a:gd name="connsiteX124" fmla="*/ 7761 w 10000"/>
              <a:gd name="connsiteY124" fmla="*/ 9274 h 9958"/>
              <a:gd name="connsiteX125" fmla="*/ 7709 w 10000"/>
              <a:gd name="connsiteY125" fmla="*/ 9232 h 9958"/>
              <a:gd name="connsiteX126" fmla="*/ 7657 w 10000"/>
              <a:gd name="connsiteY126" fmla="*/ 9232 h 9958"/>
              <a:gd name="connsiteX127" fmla="*/ 7606 w 10000"/>
              <a:gd name="connsiteY127" fmla="*/ 9232 h 9958"/>
              <a:gd name="connsiteX128" fmla="*/ 7553 w 10000"/>
              <a:gd name="connsiteY128" fmla="*/ 9189 h 9958"/>
              <a:gd name="connsiteX129" fmla="*/ 7501 w 10000"/>
              <a:gd name="connsiteY129" fmla="*/ 9189 h 9958"/>
              <a:gd name="connsiteX130" fmla="*/ 7501 w 10000"/>
              <a:gd name="connsiteY130" fmla="*/ 9232 h 9958"/>
              <a:gd name="connsiteX131" fmla="*/ 7449 w 10000"/>
              <a:gd name="connsiteY131" fmla="*/ 9232 h 9958"/>
              <a:gd name="connsiteX132" fmla="*/ 7396 w 10000"/>
              <a:gd name="connsiteY132" fmla="*/ 9189 h 9958"/>
              <a:gd name="connsiteX133" fmla="*/ 7345 w 10000"/>
              <a:gd name="connsiteY133" fmla="*/ 9189 h 9958"/>
              <a:gd name="connsiteX134" fmla="*/ 7293 w 10000"/>
              <a:gd name="connsiteY134" fmla="*/ 9274 h 9958"/>
              <a:gd name="connsiteX135" fmla="*/ 7241 w 10000"/>
              <a:gd name="connsiteY135" fmla="*/ 9274 h 9958"/>
              <a:gd name="connsiteX136" fmla="*/ 7241 w 10000"/>
              <a:gd name="connsiteY136" fmla="*/ 9232 h 9958"/>
              <a:gd name="connsiteX137" fmla="*/ 7241 w 10000"/>
              <a:gd name="connsiteY137" fmla="*/ 9274 h 9958"/>
              <a:gd name="connsiteX138" fmla="*/ 7241 w 10000"/>
              <a:gd name="connsiteY138" fmla="*/ 9316 h 9958"/>
              <a:gd name="connsiteX139" fmla="*/ 7188 w 10000"/>
              <a:gd name="connsiteY139" fmla="*/ 9316 h 9958"/>
              <a:gd name="connsiteX140" fmla="*/ 7136 w 10000"/>
              <a:gd name="connsiteY140" fmla="*/ 9316 h 9958"/>
              <a:gd name="connsiteX141" fmla="*/ 7188 w 10000"/>
              <a:gd name="connsiteY141" fmla="*/ 9360 h 9958"/>
              <a:gd name="connsiteX142" fmla="*/ 7136 w 10000"/>
              <a:gd name="connsiteY142" fmla="*/ 9401 h 9958"/>
              <a:gd name="connsiteX143" fmla="*/ 7188 w 10000"/>
              <a:gd name="connsiteY143" fmla="*/ 9445 h 9958"/>
              <a:gd name="connsiteX144" fmla="*/ 7241 w 10000"/>
              <a:gd name="connsiteY144" fmla="*/ 9445 h 9958"/>
              <a:gd name="connsiteX145" fmla="*/ 7241 w 10000"/>
              <a:gd name="connsiteY145" fmla="*/ 9489 h 9958"/>
              <a:gd name="connsiteX146" fmla="*/ 7188 w 10000"/>
              <a:gd name="connsiteY146" fmla="*/ 9489 h 9958"/>
              <a:gd name="connsiteX147" fmla="*/ 7136 w 10000"/>
              <a:gd name="connsiteY147" fmla="*/ 9489 h 9958"/>
              <a:gd name="connsiteX148" fmla="*/ 7188 w 10000"/>
              <a:gd name="connsiteY148" fmla="*/ 9530 h 9958"/>
              <a:gd name="connsiteX149" fmla="*/ 7188 w 10000"/>
              <a:gd name="connsiteY149" fmla="*/ 9573 h 9958"/>
              <a:gd name="connsiteX150" fmla="*/ 7136 w 10000"/>
              <a:gd name="connsiteY150" fmla="*/ 9573 h 9958"/>
              <a:gd name="connsiteX151" fmla="*/ 7136 w 10000"/>
              <a:gd name="connsiteY151" fmla="*/ 9616 h 9958"/>
              <a:gd name="connsiteX152" fmla="*/ 7084 w 10000"/>
              <a:gd name="connsiteY152" fmla="*/ 9659 h 9958"/>
              <a:gd name="connsiteX153" fmla="*/ 7136 w 10000"/>
              <a:gd name="connsiteY153" fmla="*/ 9702 h 9958"/>
              <a:gd name="connsiteX154" fmla="*/ 7188 w 10000"/>
              <a:gd name="connsiteY154" fmla="*/ 9702 h 9958"/>
              <a:gd name="connsiteX155" fmla="*/ 7188 w 10000"/>
              <a:gd name="connsiteY155" fmla="*/ 9744 h 9958"/>
              <a:gd name="connsiteX156" fmla="*/ 7188 w 10000"/>
              <a:gd name="connsiteY156" fmla="*/ 9787 h 9958"/>
              <a:gd name="connsiteX157" fmla="*/ 7136 w 10000"/>
              <a:gd name="connsiteY157" fmla="*/ 9787 h 9958"/>
              <a:gd name="connsiteX158" fmla="*/ 7084 w 10000"/>
              <a:gd name="connsiteY158" fmla="*/ 9829 h 9958"/>
              <a:gd name="connsiteX159" fmla="*/ 7136 w 10000"/>
              <a:gd name="connsiteY159" fmla="*/ 9871 h 9958"/>
              <a:gd name="connsiteX160" fmla="*/ 7136 w 10000"/>
              <a:gd name="connsiteY160" fmla="*/ 9915 h 9958"/>
              <a:gd name="connsiteX161" fmla="*/ 7136 w 10000"/>
              <a:gd name="connsiteY161" fmla="*/ 9958 h 9958"/>
              <a:gd name="connsiteX162" fmla="*/ 7344 w 10000"/>
              <a:gd name="connsiteY162" fmla="*/ 7542 h 9958"/>
              <a:gd name="connsiteX163" fmla="*/ 7136 w 10000"/>
              <a:gd name="connsiteY163" fmla="*/ 7196 h 9958"/>
              <a:gd name="connsiteX164" fmla="*/ 6544 w 10000"/>
              <a:gd name="connsiteY164" fmla="*/ 7082 h 9958"/>
              <a:gd name="connsiteX165" fmla="*/ 5775 w 10000"/>
              <a:gd name="connsiteY165" fmla="*/ 7046 h 9958"/>
              <a:gd name="connsiteX166" fmla="*/ 5311 w 10000"/>
              <a:gd name="connsiteY166" fmla="*/ 6938 h 9958"/>
              <a:gd name="connsiteX167" fmla="*/ 5071 w 10000"/>
              <a:gd name="connsiteY167" fmla="*/ 6827 h 9958"/>
              <a:gd name="connsiteX168" fmla="*/ 4912 w 10000"/>
              <a:gd name="connsiteY168" fmla="*/ 6920 h 9958"/>
              <a:gd name="connsiteX169" fmla="*/ 4416 w 10000"/>
              <a:gd name="connsiteY169" fmla="*/ 6754 h 9958"/>
              <a:gd name="connsiteX170" fmla="*/ 3584 w 10000"/>
              <a:gd name="connsiteY170" fmla="*/ 6461 h 9958"/>
              <a:gd name="connsiteX171" fmla="*/ 3104 w 10000"/>
              <a:gd name="connsiteY171" fmla="*/ 6405 h 9958"/>
              <a:gd name="connsiteX172" fmla="*/ 3200 w 10000"/>
              <a:gd name="connsiteY172" fmla="*/ 6204 h 9958"/>
              <a:gd name="connsiteX173" fmla="*/ 3344 w 10000"/>
              <a:gd name="connsiteY173" fmla="*/ 6148 h 9958"/>
              <a:gd name="connsiteX174" fmla="*/ 3728 w 10000"/>
              <a:gd name="connsiteY174" fmla="*/ 5855 h 9958"/>
              <a:gd name="connsiteX175" fmla="*/ 3968 w 10000"/>
              <a:gd name="connsiteY175" fmla="*/ 5580 h 9958"/>
              <a:gd name="connsiteX176" fmla="*/ 4224 w 10000"/>
              <a:gd name="connsiteY176" fmla="*/ 5287 h 9958"/>
              <a:gd name="connsiteX177" fmla="*/ 4368 w 10000"/>
              <a:gd name="connsiteY177" fmla="*/ 5013 h 9958"/>
              <a:gd name="connsiteX178" fmla="*/ 4352 w 10000"/>
              <a:gd name="connsiteY178" fmla="*/ 4701 h 9958"/>
              <a:gd name="connsiteX179" fmla="*/ 4336 w 10000"/>
              <a:gd name="connsiteY179" fmla="*/ 4425 h 9958"/>
              <a:gd name="connsiteX180" fmla="*/ 4176 w 10000"/>
              <a:gd name="connsiteY180" fmla="*/ 4260 h 9958"/>
              <a:gd name="connsiteX181" fmla="*/ 4016 w 10000"/>
              <a:gd name="connsiteY181" fmla="*/ 4279 h 9958"/>
              <a:gd name="connsiteX182" fmla="*/ 3856 w 10000"/>
              <a:gd name="connsiteY182" fmla="*/ 4572 h 9958"/>
              <a:gd name="connsiteX183" fmla="*/ 3808 w 10000"/>
              <a:gd name="connsiteY183" fmla="*/ 5102 h 9958"/>
              <a:gd name="connsiteX184" fmla="*/ 3536 w 10000"/>
              <a:gd name="connsiteY184" fmla="*/ 5453 h 9958"/>
              <a:gd name="connsiteX185" fmla="*/ 2992 w 10000"/>
              <a:gd name="connsiteY185" fmla="*/ 5764 h 9958"/>
              <a:gd name="connsiteX186" fmla="*/ 2415 w 10000"/>
              <a:gd name="connsiteY186" fmla="*/ 6002 h 9958"/>
              <a:gd name="connsiteX187" fmla="*/ 1951 w 10000"/>
              <a:gd name="connsiteY187" fmla="*/ 6330 h 9958"/>
              <a:gd name="connsiteX188" fmla="*/ 0 w 10000"/>
              <a:gd name="connsiteY188" fmla="*/ 6259 h 9958"/>
              <a:gd name="connsiteX189" fmla="*/ 3 w 10000"/>
              <a:gd name="connsiteY189" fmla="*/ 6026 h 9958"/>
              <a:gd name="connsiteX190" fmla="*/ 159 w 10000"/>
              <a:gd name="connsiteY190" fmla="*/ 6111 h 9958"/>
              <a:gd name="connsiteX191" fmla="*/ 368 w 10000"/>
              <a:gd name="connsiteY191" fmla="*/ 6026 h 9958"/>
              <a:gd name="connsiteX192" fmla="*/ 1462 w 10000"/>
              <a:gd name="connsiteY192" fmla="*/ 6026 h 9958"/>
              <a:gd name="connsiteX193" fmla="*/ 1617 w 10000"/>
              <a:gd name="connsiteY193" fmla="*/ 5984 h 9958"/>
              <a:gd name="connsiteX194" fmla="*/ 1669 w 10000"/>
              <a:gd name="connsiteY194" fmla="*/ 5984 h 9958"/>
              <a:gd name="connsiteX195" fmla="*/ 2189 w 10000"/>
              <a:gd name="connsiteY195" fmla="*/ 5428 h 9958"/>
              <a:gd name="connsiteX196" fmla="*/ 2294 w 10000"/>
              <a:gd name="connsiteY196" fmla="*/ 5341 h 9958"/>
              <a:gd name="connsiteX197" fmla="*/ 2762 w 10000"/>
              <a:gd name="connsiteY197" fmla="*/ 4915 h 9958"/>
              <a:gd name="connsiteX198" fmla="*/ 3023 w 10000"/>
              <a:gd name="connsiteY198" fmla="*/ 4658 h 9958"/>
              <a:gd name="connsiteX199" fmla="*/ 3179 w 10000"/>
              <a:gd name="connsiteY199" fmla="*/ 4530 h 9958"/>
              <a:gd name="connsiteX200" fmla="*/ 3596 w 10000"/>
              <a:gd name="connsiteY200" fmla="*/ 3889 h 9958"/>
              <a:gd name="connsiteX201" fmla="*/ 4116 w 10000"/>
              <a:gd name="connsiteY201" fmla="*/ 3632 h 9958"/>
              <a:gd name="connsiteX202" fmla="*/ 5001 w 10000"/>
              <a:gd name="connsiteY202" fmla="*/ 2906 h 9958"/>
              <a:gd name="connsiteX203" fmla="*/ 4845 w 10000"/>
              <a:gd name="connsiteY203" fmla="*/ 2650 h 9958"/>
              <a:gd name="connsiteX204" fmla="*/ 4794 w 10000"/>
              <a:gd name="connsiteY204" fmla="*/ 2479 h 9958"/>
              <a:gd name="connsiteX205" fmla="*/ 4794 w 10000"/>
              <a:gd name="connsiteY205" fmla="*/ 1281 h 9958"/>
              <a:gd name="connsiteX206" fmla="*/ 4116 w 10000"/>
              <a:gd name="connsiteY206" fmla="*/ 768 h 9958"/>
              <a:gd name="connsiteX207" fmla="*/ 4950 w 10000"/>
              <a:gd name="connsiteY207" fmla="*/ 768 h 9958"/>
              <a:gd name="connsiteX208" fmla="*/ 5782 w 10000"/>
              <a:gd name="connsiteY208" fmla="*/ 768 h 9958"/>
              <a:gd name="connsiteX209" fmla="*/ 5782 w 10000"/>
              <a:gd name="connsiteY209" fmla="*/ 726 h 9958"/>
              <a:gd name="connsiteX210" fmla="*/ 5782 w 10000"/>
              <a:gd name="connsiteY210" fmla="*/ 685 h 9958"/>
              <a:gd name="connsiteX211" fmla="*/ 5782 w 10000"/>
              <a:gd name="connsiteY211" fmla="*/ 644 h 9958"/>
              <a:gd name="connsiteX212" fmla="*/ 5782 w 10000"/>
              <a:gd name="connsiteY212" fmla="*/ 597 h 9958"/>
              <a:gd name="connsiteX213" fmla="*/ 5834 w 10000"/>
              <a:gd name="connsiteY213" fmla="*/ 553 h 9958"/>
              <a:gd name="connsiteX214" fmla="*/ 5834 w 10000"/>
              <a:gd name="connsiteY214" fmla="*/ 512 h 9958"/>
              <a:gd name="connsiteX215" fmla="*/ 5834 w 10000"/>
              <a:gd name="connsiteY215" fmla="*/ 471 h 9958"/>
              <a:gd name="connsiteX216" fmla="*/ 5834 w 10000"/>
              <a:gd name="connsiteY216" fmla="*/ 429 h 9958"/>
              <a:gd name="connsiteX217" fmla="*/ 5834 w 10000"/>
              <a:gd name="connsiteY217" fmla="*/ 388 h 9958"/>
              <a:gd name="connsiteX218" fmla="*/ 5834 w 10000"/>
              <a:gd name="connsiteY218" fmla="*/ 339 h 9958"/>
              <a:gd name="connsiteX219" fmla="*/ 5782 w 10000"/>
              <a:gd name="connsiteY219" fmla="*/ 339 h 9958"/>
              <a:gd name="connsiteX220" fmla="*/ 5782 w 10000"/>
              <a:gd name="connsiteY220" fmla="*/ 297 h 9958"/>
              <a:gd name="connsiteX221" fmla="*/ 5782 w 10000"/>
              <a:gd name="connsiteY221" fmla="*/ 256 h 9958"/>
              <a:gd name="connsiteX222" fmla="*/ 5782 w 10000"/>
              <a:gd name="connsiteY222" fmla="*/ 215 h 9958"/>
              <a:gd name="connsiteX223" fmla="*/ 5782 w 10000"/>
              <a:gd name="connsiteY223" fmla="*/ 173 h 9958"/>
              <a:gd name="connsiteX224" fmla="*/ 5782 w 10000"/>
              <a:gd name="connsiteY224" fmla="*/ 132 h 9958"/>
              <a:gd name="connsiteX225" fmla="*/ 5782 w 10000"/>
              <a:gd name="connsiteY225" fmla="*/ 83 h 9958"/>
              <a:gd name="connsiteX226" fmla="*/ 5782 w 10000"/>
              <a:gd name="connsiteY226" fmla="*/ 41 h 9958"/>
              <a:gd name="connsiteX227" fmla="*/ 5782 w 10000"/>
              <a:gd name="connsiteY227" fmla="*/ 0 h 9958"/>
              <a:gd name="connsiteX0" fmla="*/ 5782 w 10000"/>
              <a:gd name="connsiteY0" fmla="*/ 0 h 9957"/>
              <a:gd name="connsiteX1" fmla="*/ 7345 w 10000"/>
              <a:gd name="connsiteY1" fmla="*/ 41 h 9957"/>
              <a:gd name="connsiteX2" fmla="*/ 7501 w 10000"/>
              <a:gd name="connsiteY2" fmla="*/ 41 h 9957"/>
              <a:gd name="connsiteX3" fmla="*/ 7345 w 10000"/>
              <a:gd name="connsiteY3" fmla="*/ 174 h 9957"/>
              <a:gd name="connsiteX4" fmla="*/ 7293 w 10000"/>
              <a:gd name="connsiteY4" fmla="*/ 555 h 9957"/>
              <a:gd name="connsiteX5" fmla="*/ 7188 w 10000"/>
              <a:gd name="connsiteY5" fmla="*/ 1161 h 9957"/>
              <a:gd name="connsiteX6" fmla="*/ 7136 w 10000"/>
              <a:gd name="connsiteY6" fmla="*/ 1202 h 9957"/>
              <a:gd name="connsiteX7" fmla="*/ 6980 w 10000"/>
              <a:gd name="connsiteY7" fmla="*/ 1544 h 9957"/>
              <a:gd name="connsiteX8" fmla="*/ 7396 w 10000"/>
              <a:gd name="connsiteY8" fmla="*/ 3133 h 9957"/>
              <a:gd name="connsiteX9" fmla="*/ 7501 w 10000"/>
              <a:gd name="connsiteY9" fmla="*/ 3434 h 9957"/>
              <a:gd name="connsiteX10" fmla="*/ 7345 w 10000"/>
              <a:gd name="connsiteY10" fmla="*/ 3692 h 9957"/>
              <a:gd name="connsiteX11" fmla="*/ 8022 w 10000"/>
              <a:gd name="connsiteY11" fmla="*/ 3862 h 9957"/>
              <a:gd name="connsiteX12" fmla="*/ 8489 w 10000"/>
              <a:gd name="connsiteY12" fmla="*/ 4335 h 9957"/>
              <a:gd name="connsiteX13" fmla="*/ 8594 w 10000"/>
              <a:gd name="connsiteY13" fmla="*/ 4421 h 9957"/>
              <a:gd name="connsiteX14" fmla="*/ 8906 w 10000"/>
              <a:gd name="connsiteY14" fmla="*/ 4635 h 9957"/>
              <a:gd name="connsiteX15" fmla="*/ 9114 w 10000"/>
              <a:gd name="connsiteY15" fmla="*/ 4893 h 9957"/>
              <a:gd name="connsiteX16" fmla="*/ 9219 w 10000"/>
              <a:gd name="connsiteY16" fmla="*/ 5022 h 9957"/>
              <a:gd name="connsiteX17" fmla="*/ 9427 w 10000"/>
              <a:gd name="connsiteY17" fmla="*/ 5022 h 9957"/>
              <a:gd name="connsiteX18" fmla="*/ 9427 w 10000"/>
              <a:gd name="connsiteY18" fmla="*/ 5064 h 9957"/>
              <a:gd name="connsiteX19" fmla="*/ 9479 w 10000"/>
              <a:gd name="connsiteY19" fmla="*/ 5150 h 9957"/>
              <a:gd name="connsiteX20" fmla="*/ 9479 w 10000"/>
              <a:gd name="connsiteY20" fmla="*/ 5194 h 9957"/>
              <a:gd name="connsiteX21" fmla="*/ 9532 w 10000"/>
              <a:gd name="connsiteY21" fmla="*/ 5364 h 9957"/>
              <a:gd name="connsiteX22" fmla="*/ 9532 w 10000"/>
              <a:gd name="connsiteY22" fmla="*/ 5408 h 9957"/>
              <a:gd name="connsiteX23" fmla="*/ 9532 w 10000"/>
              <a:gd name="connsiteY23" fmla="*/ 5537 h 9957"/>
              <a:gd name="connsiteX24" fmla="*/ 9532 w 10000"/>
              <a:gd name="connsiteY24" fmla="*/ 5621 h 9957"/>
              <a:gd name="connsiteX25" fmla="*/ 9479 w 10000"/>
              <a:gd name="connsiteY25" fmla="*/ 5708 h 9957"/>
              <a:gd name="connsiteX26" fmla="*/ 9427 w 10000"/>
              <a:gd name="connsiteY26" fmla="*/ 5967 h 9957"/>
              <a:gd name="connsiteX27" fmla="*/ 9375 w 10000"/>
              <a:gd name="connsiteY27" fmla="*/ 6009 h 9957"/>
              <a:gd name="connsiteX28" fmla="*/ 9322 w 10000"/>
              <a:gd name="connsiteY28" fmla="*/ 6051 h 9957"/>
              <a:gd name="connsiteX29" fmla="*/ 9271 w 10000"/>
              <a:gd name="connsiteY29" fmla="*/ 6224 h 9957"/>
              <a:gd name="connsiteX30" fmla="*/ 9219 w 10000"/>
              <a:gd name="connsiteY30" fmla="*/ 6308 h 9957"/>
              <a:gd name="connsiteX31" fmla="*/ 9219 w 10000"/>
              <a:gd name="connsiteY31" fmla="*/ 6395 h 9957"/>
              <a:gd name="connsiteX32" fmla="*/ 9219 w 10000"/>
              <a:gd name="connsiteY32" fmla="*/ 6438 h 9957"/>
              <a:gd name="connsiteX33" fmla="*/ 9219 w 10000"/>
              <a:gd name="connsiteY33" fmla="*/ 6566 h 9957"/>
              <a:gd name="connsiteX34" fmla="*/ 9271 w 10000"/>
              <a:gd name="connsiteY34" fmla="*/ 6696 h 9957"/>
              <a:gd name="connsiteX35" fmla="*/ 9895 w 10000"/>
              <a:gd name="connsiteY35" fmla="*/ 6696 h 9957"/>
              <a:gd name="connsiteX36" fmla="*/ 9895 w 10000"/>
              <a:gd name="connsiteY36" fmla="*/ 6781 h 9957"/>
              <a:gd name="connsiteX37" fmla="*/ 9948 w 10000"/>
              <a:gd name="connsiteY37" fmla="*/ 7080 h 9957"/>
              <a:gd name="connsiteX38" fmla="*/ 9948 w 10000"/>
              <a:gd name="connsiteY38" fmla="*/ 7125 h 9957"/>
              <a:gd name="connsiteX39" fmla="*/ 9948 w 10000"/>
              <a:gd name="connsiteY39" fmla="*/ 7253 h 9957"/>
              <a:gd name="connsiteX40" fmla="*/ 9948 w 10000"/>
              <a:gd name="connsiteY40" fmla="*/ 7296 h 9957"/>
              <a:gd name="connsiteX41" fmla="*/ 9948 w 10000"/>
              <a:gd name="connsiteY41" fmla="*/ 7382 h 9957"/>
              <a:gd name="connsiteX42" fmla="*/ 9948 w 10000"/>
              <a:gd name="connsiteY42" fmla="*/ 7425 h 9957"/>
              <a:gd name="connsiteX43" fmla="*/ 9948 w 10000"/>
              <a:gd name="connsiteY43" fmla="*/ 7468 h 9957"/>
              <a:gd name="connsiteX44" fmla="*/ 9948 w 10000"/>
              <a:gd name="connsiteY44" fmla="*/ 7511 h 9957"/>
              <a:gd name="connsiteX45" fmla="*/ 10000 w 10000"/>
              <a:gd name="connsiteY45" fmla="*/ 7596 h 9957"/>
              <a:gd name="connsiteX46" fmla="*/ 10000 w 10000"/>
              <a:gd name="connsiteY46" fmla="*/ 7726 h 9957"/>
              <a:gd name="connsiteX47" fmla="*/ 10000 w 10000"/>
              <a:gd name="connsiteY47" fmla="*/ 7768 h 9957"/>
              <a:gd name="connsiteX48" fmla="*/ 10000 w 10000"/>
              <a:gd name="connsiteY48" fmla="*/ 7811 h 9957"/>
              <a:gd name="connsiteX49" fmla="*/ 10000 w 10000"/>
              <a:gd name="connsiteY49" fmla="*/ 7854 h 9957"/>
              <a:gd name="connsiteX50" fmla="*/ 10000 w 10000"/>
              <a:gd name="connsiteY50" fmla="*/ 7940 h 9957"/>
              <a:gd name="connsiteX51" fmla="*/ 10000 w 10000"/>
              <a:gd name="connsiteY51" fmla="*/ 7984 h 9957"/>
              <a:gd name="connsiteX52" fmla="*/ 10000 w 10000"/>
              <a:gd name="connsiteY52" fmla="*/ 8025 h 9957"/>
              <a:gd name="connsiteX53" fmla="*/ 10000 w 10000"/>
              <a:gd name="connsiteY53" fmla="*/ 8111 h 9957"/>
              <a:gd name="connsiteX54" fmla="*/ 10000 w 10000"/>
              <a:gd name="connsiteY54" fmla="*/ 8327 h 9957"/>
              <a:gd name="connsiteX55" fmla="*/ 10000 w 10000"/>
              <a:gd name="connsiteY55" fmla="*/ 8368 h 9957"/>
              <a:gd name="connsiteX56" fmla="*/ 10000 w 10000"/>
              <a:gd name="connsiteY56" fmla="*/ 8455 h 9957"/>
              <a:gd name="connsiteX57" fmla="*/ 10000 w 10000"/>
              <a:gd name="connsiteY57" fmla="*/ 8498 h 9957"/>
              <a:gd name="connsiteX58" fmla="*/ 10000 w 10000"/>
              <a:gd name="connsiteY58" fmla="*/ 8541 h 9957"/>
              <a:gd name="connsiteX59" fmla="*/ 10000 w 10000"/>
              <a:gd name="connsiteY59" fmla="*/ 8583 h 9957"/>
              <a:gd name="connsiteX60" fmla="*/ 10000 w 10000"/>
              <a:gd name="connsiteY60" fmla="*/ 8625 h 9957"/>
              <a:gd name="connsiteX61" fmla="*/ 10000 w 10000"/>
              <a:gd name="connsiteY61" fmla="*/ 8713 h 9957"/>
              <a:gd name="connsiteX62" fmla="*/ 10000 w 10000"/>
              <a:gd name="connsiteY62" fmla="*/ 8798 h 9957"/>
              <a:gd name="connsiteX63" fmla="*/ 10000 w 10000"/>
              <a:gd name="connsiteY63" fmla="*/ 8840 h 9957"/>
              <a:gd name="connsiteX64" fmla="*/ 10000 w 10000"/>
              <a:gd name="connsiteY64" fmla="*/ 8885 h 9957"/>
              <a:gd name="connsiteX65" fmla="*/ 9948 w 10000"/>
              <a:gd name="connsiteY65" fmla="*/ 8885 h 9957"/>
              <a:gd name="connsiteX66" fmla="*/ 9948 w 10000"/>
              <a:gd name="connsiteY66" fmla="*/ 8926 h 9957"/>
              <a:gd name="connsiteX67" fmla="*/ 9895 w 10000"/>
              <a:gd name="connsiteY67" fmla="*/ 8970 h 9957"/>
              <a:gd name="connsiteX68" fmla="*/ 9844 w 10000"/>
              <a:gd name="connsiteY68" fmla="*/ 8970 h 9957"/>
              <a:gd name="connsiteX69" fmla="*/ 9844 w 10000"/>
              <a:gd name="connsiteY69" fmla="*/ 9014 h 9957"/>
              <a:gd name="connsiteX70" fmla="*/ 9792 w 10000"/>
              <a:gd name="connsiteY70" fmla="*/ 9014 h 9957"/>
              <a:gd name="connsiteX71" fmla="*/ 9740 w 10000"/>
              <a:gd name="connsiteY71" fmla="*/ 9056 h 9957"/>
              <a:gd name="connsiteX72" fmla="*/ 9687 w 10000"/>
              <a:gd name="connsiteY72" fmla="*/ 9097 h 9957"/>
              <a:gd name="connsiteX73" fmla="*/ 9635 w 10000"/>
              <a:gd name="connsiteY73" fmla="*/ 9097 h 9957"/>
              <a:gd name="connsiteX74" fmla="*/ 9635 w 10000"/>
              <a:gd name="connsiteY74" fmla="*/ 9142 h 9957"/>
              <a:gd name="connsiteX75" fmla="*/ 9583 w 10000"/>
              <a:gd name="connsiteY75" fmla="*/ 9142 h 9957"/>
              <a:gd name="connsiteX76" fmla="*/ 9532 w 10000"/>
              <a:gd name="connsiteY76" fmla="*/ 9142 h 9957"/>
              <a:gd name="connsiteX77" fmla="*/ 9479 w 10000"/>
              <a:gd name="connsiteY77" fmla="*/ 9142 h 9957"/>
              <a:gd name="connsiteX78" fmla="*/ 9427 w 10000"/>
              <a:gd name="connsiteY78" fmla="*/ 9142 h 9957"/>
              <a:gd name="connsiteX79" fmla="*/ 9375 w 10000"/>
              <a:gd name="connsiteY79" fmla="*/ 9142 h 9957"/>
              <a:gd name="connsiteX80" fmla="*/ 9322 w 10000"/>
              <a:gd name="connsiteY80" fmla="*/ 9142 h 9957"/>
              <a:gd name="connsiteX81" fmla="*/ 9271 w 10000"/>
              <a:gd name="connsiteY81" fmla="*/ 9142 h 9957"/>
              <a:gd name="connsiteX82" fmla="*/ 9271 w 10000"/>
              <a:gd name="connsiteY82" fmla="*/ 9184 h 9957"/>
              <a:gd name="connsiteX83" fmla="*/ 9219 w 10000"/>
              <a:gd name="connsiteY83" fmla="*/ 9228 h 9957"/>
              <a:gd name="connsiteX84" fmla="*/ 9167 w 10000"/>
              <a:gd name="connsiteY84" fmla="*/ 9271 h 9957"/>
              <a:gd name="connsiteX85" fmla="*/ 9219 w 10000"/>
              <a:gd name="connsiteY85" fmla="*/ 9271 h 9957"/>
              <a:gd name="connsiteX86" fmla="*/ 9167 w 10000"/>
              <a:gd name="connsiteY86" fmla="*/ 9271 h 9957"/>
              <a:gd name="connsiteX87" fmla="*/ 9114 w 10000"/>
              <a:gd name="connsiteY87" fmla="*/ 9271 h 9957"/>
              <a:gd name="connsiteX88" fmla="*/ 9062 w 10000"/>
              <a:gd name="connsiteY88" fmla="*/ 9313 h 9957"/>
              <a:gd name="connsiteX89" fmla="*/ 9011 w 10000"/>
              <a:gd name="connsiteY89" fmla="*/ 9355 h 9957"/>
              <a:gd name="connsiteX90" fmla="*/ 8959 w 10000"/>
              <a:gd name="connsiteY90" fmla="*/ 9355 h 9957"/>
              <a:gd name="connsiteX91" fmla="*/ 8959 w 10000"/>
              <a:gd name="connsiteY91" fmla="*/ 9399 h 9957"/>
              <a:gd name="connsiteX92" fmla="*/ 8906 w 10000"/>
              <a:gd name="connsiteY92" fmla="*/ 9399 h 9957"/>
              <a:gd name="connsiteX93" fmla="*/ 8906 w 10000"/>
              <a:gd name="connsiteY93" fmla="*/ 9441 h 9957"/>
              <a:gd name="connsiteX94" fmla="*/ 8854 w 10000"/>
              <a:gd name="connsiteY94" fmla="*/ 9441 h 9957"/>
              <a:gd name="connsiteX95" fmla="*/ 8802 w 10000"/>
              <a:gd name="connsiteY95" fmla="*/ 9441 h 9957"/>
              <a:gd name="connsiteX96" fmla="*/ 8749 w 10000"/>
              <a:gd name="connsiteY96" fmla="*/ 9441 h 9957"/>
              <a:gd name="connsiteX97" fmla="*/ 8698 w 10000"/>
              <a:gd name="connsiteY97" fmla="*/ 9441 h 9957"/>
              <a:gd name="connsiteX98" fmla="*/ 8646 w 10000"/>
              <a:gd name="connsiteY98" fmla="*/ 9441 h 9957"/>
              <a:gd name="connsiteX99" fmla="*/ 8646 w 10000"/>
              <a:gd name="connsiteY99" fmla="*/ 9399 h 9957"/>
              <a:gd name="connsiteX100" fmla="*/ 8646 w 10000"/>
              <a:gd name="connsiteY100" fmla="*/ 9355 h 9957"/>
              <a:gd name="connsiteX101" fmla="*/ 8594 w 10000"/>
              <a:gd name="connsiteY101" fmla="*/ 9313 h 9957"/>
              <a:gd name="connsiteX102" fmla="*/ 8594 w 10000"/>
              <a:gd name="connsiteY102" fmla="*/ 9271 h 9957"/>
              <a:gd name="connsiteX103" fmla="*/ 8594 w 10000"/>
              <a:gd name="connsiteY103" fmla="*/ 9228 h 9957"/>
              <a:gd name="connsiteX104" fmla="*/ 8541 w 10000"/>
              <a:gd name="connsiteY104" fmla="*/ 9228 h 9957"/>
              <a:gd name="connsiteX105" fmla="*/ 8489 w 10000"/>
              <a:gd name="connsiteY105" fmla="*/ 9228 h 9957"/>
              <a:gd name="connsiteX106" fmla="*/ 8489 w 10000"/>
              <a:gd name="connsiteY106" fmla="*/ 9184 h 9957"/>
              <a:gd name="connsiteX107" fmla="*/ 8438 w 10000"/>
              <a:gd name="connsiteY107" fmla="*/ 9184 h 9957"/>
              <a:gd name="connsiteX108" fmla="*/ 8386 w 10000"/>
              <a:gd name="connsiteY108" fmla="*/ 9228 h 9957"/>
              <a:gd name="connsiteX109" fmla="*/ 8386 w 10000"/>
              <a:gd name="connsiteY109" fmla="*/ 9271 h 9957"/>
              <a:gd name="connsiteX110" fmla="*/ 8282 w 10000"/>
              <a:gd name="connsiteY110" fmla="*/ 9228 h 9957"/>
              <a:gd name="connsiteX111" fmla="*/ 8282 w 10000"/>
              <a:gd name="connsiteY111" fmla="*/ 9184 h 9957"/>
              <a:gd name="connsiteX112" fmla="*/ 8230 w 10000"/>
              <a:gd name="connsiteY112" fmla="*/ 9184 h 9957"/>
              <a:gd name="connsiteX113" fmla="*/ 8179 w 10000"/>
              <a:gd name="connsiteY113" fmla="*/ 9184 h 9957"/>
              <a:gd name="connsiteX114" fmla="*/ 8126 w 10000"/>
              <a:gd name="connsiteY114" fmla="*/ 9184 h 9957"/>
              <a:gd name="connsiteX115" fmla="*/ 8074 w 10000"/>
              <a:gd name="connsiteY115" fmla="*/ 9184 h 9957"/>
              <a:gd name="connsiteX116" fmla="*/ 8022 w 10000"/>
              <a:gd name="connsiteY116" fmla="*/ 9184 h 9957"/>
              <a:gd name="connsiteX117" fmla="*/ 8022 w 10000"/>
              <a:gd name="connsiteY117" fmla="*/ 9228 h 9957"/>
              <a:gd name="connsiteX118" fmla="*/ 7969 w 10000"/>
              <a:gd name="connsiteY118" fmla="*/ 9228 h 9957"/>
              <a:gd name="connsiteX119" fmla="*/ 7917 w 10000"/>
              <a:gd name="connsiteY119" fmla="*/ 9271 h 9957"/>
              <a:gd name="connsiteX120" fmla="*/ 7866 w 10000"/>
              <a:gd name="connsiteY120" fmla="*/ 9271 h 9957"/>
              <a:gd name="connsiteX121" fmla="*/ 7866 w 10000"/>
              <a:gd name="connsiteY121" fmla="*/ 9228 h 9957"/>
              <a:gd name="connsiteX122" fmla="*/ 7866 w 10000"/>
              <a:gd name="connsiteY122" fmla="*/ 9271 h 9957"/>
              <a:gd name="connsiteX123" fmla="*/ 7814 w 10000"/>
              <a:gd name="connsiteY123" fmla="*/ 9271 h 9957"/>
              <a:gd name="connsiteX124" fmla="*/ 7761 w 10000"/>
              <a:gd name="connsiteY124" fmla="*/ 9313 h 9957"/>
              <a:gd name="connsiteX125" fmla="*/ 7709 w 10000"/>
              <a:gd name="connsiteY125" fmla="*/ 9271 h 9957"/>
              <a:gd name="connsiteX126" fmla="*/ 7657 w 10000"/>
              <a:gd name="connsiteY126" fmla="*/ 9271 h 9957"/>
              <a:gd name="connsiteX127" fmla="*/ 7606 w 10000"/>
              <a:gd name="connsiteY127" fmla="*/ 9271 h 9957"/>
              <a:gd name="connsiteX128" fmla="*/ 7553 w 10000"/>
              <a:gd name="connsiteY128" fmla="*/ 9228 h 9957"/>
              <a:gd name="connsiteX129" fmla="*/ 7501 w 10000"/>
              <a:gd name="connsiteY129" fmla="*/ 9228 h 9957"/>
              <a:gd name="connsiteX130" fmla="*/ 7501 w 10000"/>
              <a:gd name="connsiteY130" fmla="*/ 9271 h 9957"/>
              <a:gd name="connsiteX131" fmla="*/ 7449 w 10000"/>
              <a:gd name="connsiteY131" fmla="*/ 9271 h 9957"/>
              <a:gd name="connsiteX132" fmla="*/ 7396 w 10000"/>
              <a:gd name="connsiteY132" fmla="*/ 9228 h 9957"/>
              <a:gd name="connsiteX133" fmla="*/ 7345 w 10000"/>
              <a:gd name="connsiteY133" fmla="*/ 9228 h 9957"/>
              <a:gd name="connsiteX134" fmla="*/ 7293 w 10000"/>
              <a:gd name="connsiteY134" fmla="*/ 9313 h 9957"/>
              <a:gd name="connsiteX135" fmla="*/ 7241 w 10000"/>
              <a:gd name="connsiteY135" fmla="*/ 9313 h 9957"/>
              <a:gd name="connsiteX136" fmla="*/ 7241 w 10000"/>
              <a:gd name="connsiteY136" fmla="*/ 9271 h 9957"/>
              <a:gd name="connsiteX137" fmla="*/ 7241 w 10000"/>
              <a:gd name="connsiteY137" fmla="*/ 9313 h 9957"/>
              <a:gd name="connsiteX138" fmla="*/ 7241 w 10000"/>
              <a:gd name="connsiteY138" fmla="*/ 9355 h 9957"/>
              <a:gd name="connsiteX139" fmla="*/ 7188 w 10000"/>
              <a:gd name="connsiteY139" fmla="*/ 9355 h 9957"/>
              <a:gd name="connsiteX140" fmla="*/ 7136 w 10000"/>
              <a:gd name="connsiteY140" fmla="*/ 9355 h 9957"/>
              <a:gd name="connsiteX141" fmla="*/ 7188 w 10000"/>
              <a:gd name="connsiteY141" fmla="*/ 9399 h 9957"/>
              <a:gd name="connsiteX142" fmla="*/ 7136 w 10000"/>
              <a:gd name="connsiteY142" fmla="*/ 9441 h 9957"/>
              <a:gd name="connsiteX143" fmla="*/ 7188 w 10000"/>
              <a:gd name="connsiteY143" fmla="*/ 9485 h 9957"/>
              <a:gd name="connsiteX144" fmla="*/ 7241 w 10000"/>
              <a:gd name="connsiteY144" fmla="*/ 9485 h 9957"/>
              <a:gd name="connsiteX145" fmla="*/ 7241 w 10000"/>
              <a:gd name="connsiteY145" fmla="*/ 9529 h 9957"/>
              <a:gd name="connsiteX146" fmla="*/ 7188 w 10000"/>
              <a:gd name="connsiteY146" fmla="*/ 9529 h 9957"/>
              <a:gd name="connsiteX147" fmla="*/ 7136 w 10000"/>
              <a:gd name="connsiteY147" fmla="*/ 9529 h 9957"/>
              <a:gd name="connsiteX148" fmla="*/ 7188 w 10000"/>
              <a:gd name="connsiteY148" fmla="*/ 9570 h 9957"/>
              <a:gd name="connsiteX149" fmla="*/ 7188 w 10000"/>
              <a:gd name="connsiteY149" fmla="*/ 9613 h 9957"/>
              <a:gd name="connsiteX150" fmla="*/ 7136 w 10000"/>
              <a:gd name="connsiteY150" fmla="*/ 9613 h 9957"/>
              <a:gd name="connsiteX151" fmla="*/ 7136 w 10000"/>
              <a:gd name="connsiteY151" fmla="*/ 9657 h 9957"/>
              <a:gd name="connsiteX152" fmla="*/ 7084 w 10000"/>
              <a:gd name="connsiteY152" fmla="*/ 9700 h 9957"/>
              <a:gd name="connsiteX153" fmla="*/ 7136 w 10000"/>
              <a:gd name="connsiteY153" fmla="*/ 9743 h 9957"/>
              <a:gd name="connsiteX154" fmla="*/ 7188 w 10000"/>
              <a:gd name="connsiteY154" fmla="*/ 9743 h 9957"/>
              <a:gd name="connsiteX155" fmla="*/ 7188 w 10000"/>
              <a:gd name="connsiteY155" fmla="*/ 9785 h 9957"/>
              <a:gd name="connsiteX156" fmla="*/ 7188 w 10000"/>
              <a:gd name="connsiteY156" fmla="*/ 9828 h 9957"/>
              <a:gd name="connsiteX157" fmla="*/ 7136 w 10000"/>
              <a:gd name="connsiteY157" fmla="*/ 9828 h 9957"/>
              <a:gd name="connsiteX158" fmla="*/ 7084 w 10000"/>
              <a:gd name="connsiteY158" fmla="*/ 9870 h 9957"/>
              <a:gd name="connsiteX159" fmla="*/ 7136 w 10000"/>
              <a:gd name="connsiteY159" fmla="*/ 9913 h 9957"/>
              <a:gd name="connsiteX160" fmla="*/ 7136 w 10000"/>
              <a:gd name="connsiteY160" fmla="*/ 9957 h 9957"/>
              <a:gd name="connsiteX161" fmla="*/ 7344 w 10000"/>
              <a:gd name="connsiteY161" fmla="*/ 7574 h 9957"/>
              <a:gd name="connsiteX162" fmla="*/ 7136 w 10000"/>
              <a:gd name="connsiteY162" fmla="*/ 7226 h 9957"/>
              <a:gd name="connsiteX163" fmla="*/ 6544 w 10000"/>
              <a:gd name="connsiteY163" fmla="*/ 7112 h 9957"/>
              <a:gd name="connsiteX164" fmla="*/ 5775 w 10000"/>
              <a:gd name="connsiteY164" fmla="*/ 7076 h 9957"/>
              <a:gd name="connsiteX165" fmla="*/ 5311 w 10000"/>
              <a:gd name="connsiteY165" fmla="*/ 6967 h 9957"/>
              <a:gd name="connsiteX166" fmla="*/ 5071 w 10000"/>
              <a:gd name="connsiteY166" fmla="*/ 6856 h 9957"/>
              <a:gd name="connsiteX167" fmla="*/ 4912 w 10000"/>
              <a:gd name="connsiteY167" fmla="*/ 6949 h 9957"/>
              <a:gd name="connsiteX168" fmla="*/ 4416 w 10000"/>
              <a:gd name="connsiteY168" fmla="*/ 6782 h 9957"/>
              <a:gd name="connsiteX169" fmla="*/ 3584 w 10000"/>
              <a:gd name="connsiteY169" fmla="*/ 6488 h 9957"/>
              <a:gd name="connsiteX170" fmla="*/ 3104 w 10000"/>
              <a:gd name="connsiteY170" fmla="*/ 6432 h 9957"/>
              <a:gd name="connsiteX171" fmla="*/ 3200 w 10000"/>
              <a:gd name="connsiteY171" fmla="*/ 6230 h 9957"/>
              <a:gd name="connsiteX172" fmla="*/ 3344 w 10000"/>
              <a:gd name="connsiteY172" fmla="*/ 6174 h 9957"/>
              <a:gd name="connsiteX173" fmla="*/ 3728 w 10000"/>
              <a:gd name="connsiteY173" fmla="*/ 5880 h 9957"/>
              <a:gd name="connsiteX174" fmla="*/ 3968 w 10000"/>
              <a:gd name="connsiteY174" fmla="*/ 5604 h 9957"/>
              <a:gd name="connsiteX175" fmla="*/ 4224 w 10000"/>
              <a:gd name="connsiteY175" fmla="*/ 5309 h 9957"/>
              <a:gd name="connsiteX176" fmla="*/ 4368 w 10000"/>
              <a:gd name="connsiteY176" fmla="*/ 5034 h 9957"/>
              <a:gd name="connsiteX177" fmla="*/ 4352 w 10000"/>
              <a:gd name="connsiteY177" fmla="*/ 4721 h 9957"/>
              <a:gd name="connsiteX178" fmla="*/ 4336 w 10000"/>
              <a:gd name="connsiteY178" fmla="*/ 4444 h 9957"/>
              <a:gd name="connsiteX179" fmla="*/ 4176 w 10000"/>
              <a:gd name="connsiteY179" fmla="*/ 4278 h 9957"/>
              <a:gd name="connsiteX180" fmla="*/ 4016 w 10000"/>
              <a:gd name="connsiteY180" fmla="*/ 4297 h 9957"/>
              <a:gd name="connsiteX181" fmla="*/ 3856 w 10000"/>
              <a:gd name="connsiteY181" fmla="*/ 4591 h 9957"/>
              <a:gd name="connsiteX182" fmla="*/ 3808 w 10000"/>
              <a:gd name="connsiteY182" fmla="*/ 5124 h 9957"/>
              <a:gd name="connsiteX183" fmla="*/ 3536 w 10000"/>
              <a:gd name="connsiteY183" fmla="*/ 5476 h 9957"/>
              <a:gd name="connsiteX184" fmla="*/ 2992 w 10000"/>
              <a:gd name="connsiteY184" fmla="*/ 5788 h 9957"/>
              <a:gd name="connsiteX185" fmla="*/ 2415 w 10000"/>
              <a:gd name="connsiteY185" fmla="*/ 6027 h 9957"/>
              <a:gd name="connsiteX186" fmla="*/ 1951 w 10000"/>
              <a:gd name="connsiteY186" fmla="*/ 6357 h 9957"/>
              <a:gd name="connsiteX187" fmla="*/ 0 w 10000"/>
              <a:gd name="connsiteY187" fmla="*/ 6285 h 9957"/>
              <a:gd name="connsiteX188" fmla="*/ 3 w 10000"/>
              <a:gd name="connsiteY188" fmla="*/ 6051 h 9957"/>
              <a:gd name="connsiteX189" fmla="*/ 159 w 10000"/>
              <a:gd name="connsiteY189" fmla="*/ 6137 h 9957"/>
              <a:gd name="connsiteX190" fmla="*/ 368 w 10000"/>
              <a:gd name="connsiteY190" fmla="*/ 6051 h 9957"/>
              <a:gd name="connsiteX191" fmla="*/ 1462 w 10000"/>
              <a:gd name="connsiteY191" fmla="*/ 6051 h 9957"/>
              <a:gd name="connsiteX192" fmla="*/ 1617 w 10000"/>
              <a:gd name="connsiteY192" fmla="*/ 6009 h 9957"/>
              <a:gd name="connsiteX193" fmla="*/ 1669 w 10000"/>
              <a:gd name="connsiteY193" fmla="*/ 6009 h 9957"/>
              <a:gd name="connsiteX194" fmla="*/ 2189 w 10000"/>
              <a:gd name="connsiteY194" fmla="*/ 5451 h 9957"/>
              <a:gd name="connsiteX195" fmla="*/ 2294 w 10000"/>
              <a:gd name="connsiteY195" fmla="*/ 5364 h 9957"/>
              <a:gd name="connsiteX196" fmla="*/ 2762 w 10000"/>
              <a:gd name="connsiteY196" fmla="*/ 4936 h 9957"/>
              <a:gd name="connsiteX197" fmla="*/ 3023 w 10000"/>
              <a:gd name="connsiteY197" fmla="*/ 4678 h 9957"/>
              <a:gd name="connsiteX198" fmla="*/ 3179 w 10000"/>
              <a:gd name="connsiteY198" fmla="*/ 4549 h 9957"/>
              <a:gd name="connsiteX199" fmla="*/ 3596 w 10000"/>
              <a:gd name="connsiteY199" fmla="*/ 3905 h 9957"/>
              <a:gd name="connsiteX200" fmla="*/ 4116 w 10000"/>
              <a:gd name="connsiteY200" fmla="*/ 3647 h 9957"/>
              <a:gd name="connsiteX201" fmla="*/ 5001 w 10000"/>
              <a:gd name="connsiteY201" fmla="*/ 2918 h 9957"/>
              <a:gd name="connsiteX202" fmla="*/ 4845 w 10000"/>
              <a:gd name="connsiteY202" fmla="*/ 2661 h 9957"/>
              <a:gd name="connsiteX203" fmla="*/ 4794 w 10000"/>
              <a:gd name="connsiteY203" fmla="*/ 2489 h 9957"/>
              <a:gd name="connsiteX204" fmla="*/ 4794 w 10000"/>
              <a:gd name="connsiteY204" fmla="*/ 1286 h 9957"/>
              <a:gd name="connsiteX205" fmla="*/ 4116 w 10000"/>
              <a:gd name="connsiteY205" fmla="*/ 771 h 9957"/>
              <a:gd name="connsiteX206" fmla="*/ 4950 w 10000"/>
              <a:gd name="connsiteY206" fmla="*/ 771 h 9957"/>
              <a:gd name="connsiteX207" fmla="*/ 5782 w 10000"/>
              <a:gd name="connsiteY207" fmla="*/ 771 h 9957"/>
              <a:gd name="connsiteX208" fmla="*/ 5782 w 10000"/>
              <a:gd name="connsiteY208" fmla="*/ 729 h 9957"/>
              <a:gd name="connsiteX209" fmla="*/ 5782 w 10000"/>
              <a:gd name="connsiteY209" fmla="*/ 688 h 9957"/>
              <a:gd name="connsiteX210" fmla="*/ 5782 w 10000"/>
              <a:gd name="connsiteY210" fmla="*/ 647 h 9957"/>
              <a:gd name="connsiteX211" fmla="*/ 5782 w 10000"/>
              <a:gd name="connsiteY211" fmla="*/ 600 h 9957"/>
              <a:gd name="connsiteX212" fmla="*/ 5834 w 10000"/>
              <a:gd name="connsiteY212" fmla="*/ 555 h 9957"/>
              <a:gd name="connsiteX213" fmla="*/ 5834 w 10000"/>
              <a:gd name="connsiteY213" fmla="*/ 514 h 9957"/>
              <a:gd name="connsiteX214" fmla="*/ 5834 w 10000"/>
              <a:gd name="connsiteY214" fmla="*/ 473 h 9957"/>
              <a:gd name="connsiteX215" fmla="*/ 5834 w 10000"/>
              <a:gd name="connsiteY215" fmla="*/ 431 h 9957"/>
              <a:gd name="connsiteX216" fmla="*/ 5834 w 10000"/>
              <a:gd name="connsiteY216" fmla="*/ 390 h 9957"/>
              <a:gd name="connsiteX217" fmla="*/ 5834 w 10000"/>
              <a:gd name="connsiteY217" fmla="*/ 340 h 9957"/>
              <a:gd name="connsiteX218" fmla="*/ 5782 w 10000"/>
              <a:gd name="connsiteY218" fmla="*/ 340 h 9957"/>
              <a:gd name="connsiteX219" fmla="*/ 5782 w 10000"/>
              <a:gd name="connsiteY219" fmla="*/ 298 h 9957"/>
              <a:gd name="connsiteX220" fmla="*/ 5782 w 10000"/>
              <a:gd name="connsiteY220" fmla="*/ 257 h 9957"/>
              <a:gd name="connsiteX221" fmla="*/ 5782 w 10000"/>
              <a:gd name="connsiteY221" fmla="*/ 216 h 9957"/>
              <a:gd name="connsiteX222" fmla="*/ 5782 w 10000"/>
              <a:gd name="connsiteY222" fmla="*/ 174 h 9957"/>
              <a:gd name="connsiteX223" fmla="*/ 5782 w 10000"/>
              <a:gd name="connsiteY223" fmla="*/ 133 h 9957"/>
              <a:gd name="connsiteX224" fmla="*/ 5782 w 10000"/>
              <a:gd name="connsiteY224" fmla="*/ 83 h 9957"/>
              <a:gd name="connsiteX225" fmla="*/ 5782 w 10000"/>
              <a:gd name="connsiteY225" fmla="*/ 41 h 9957"/>
              <a:gd name="connsiteX226" fmla="*/ 5782 w 10000"/>
              <a:gd name="connsiteY226" fmla="*/ 0 h 9957"/>
              <a:gd name="connsiteX0" fmla="*/ 5782 w 10000"/>
              <a:gd name="connsiteY0" fmla="*/ 0 h 10154"/>
              <a:gd name="connsiteX1" fmla="*/ 7345 w 10000"/>
              <a:gd name="connsiteY1" fmla="*/ 41 h 10154"/>
              <a:gd name="connsiteX2" fmla="*/ 7501 w 10000"/>
              <a:gd name="connsiteY2" fmla="*/ 41 h 10154"/>
              <a:gd name="connsiteX3" fmla="*/ 7345 w 10000"/>
              <a:gd name="connsiteY3" fmla="*/ 175 h 10154"/>
              <a:gd name="connsiteX4" fmla="*/ 7293 w 10000"/>
              <a:gd name="connsiteY4" fmla="*/ 557 h 10154"/>
              <a:gd name="connsiteX5" fmla="*/ 7188 w 10000"/>
              <a:gd name="connsiteY5" fmla="*/ 1166 h 10154"/>
              <a:gd name="connsiteX6" fmla="*/ 7136 w 10000"/>
              <a:gd name="connsiteY6" fmla="*/ 1207 h 10154"/>
              <a:gd name="connsiteX7" fmla="*/ 6980 w 10000"/>
              <a:gd name="connsiteY7" fmla="*/ 1551 h 10154"/>
              <a:gd name="connsiteX8" fmla="*/ 7396 w 10000"/>
              <a:gd name="connsiteY8" fmla="*/ 3147 h 10154"/>
              <a:gd name="connsiteX9" fmla="*/ 7501 w 10000"/>
              <a:gd name="connsiteY9" fmla="*/ 3449 h 10154"/>
              <a:gd name="connsiteX10" fmla="*/ 7345 w 10000"/>
              <a:gd name="connsiteY10" fmla="*/ 3708 h 10154"/>
              <a:gd name="connsiteX11" fmla="*/ 8022 w 10000"/>
              <a:gd name="connsiteY11" fmla="*/ 3879 h 10154"/>
              <a:gd name="connsiteX12" fmla="*/ 8489 w 10000"/>
              <a:gd name="connsiteY12" fmla="*/ 4354 h 10154"/>
              <a:gd name="connsiteX13" fmla="*/ 8594 w 10000"/>
              <a:gd name="connsiteY13" fmla="*/ 4440 h 10154"/>
              <a:gd name="connsiteX14" fmla="*/ 8906 w 10000"/>
              <a:gd name="connsiteY14" fmla="*/ 4655 h 10154"/>
              <a:gd name="connsiteX15" fmla="*/ 9114 w 10000"/>
              <a:gd name="connsiteY15" fmla="*/ 4914 h 10154"/>
              <a:gd name="connsiteX16" fmla="*/ 9219 w 10000"/>
              <a:gd name="connsiteY16" fmla="*/ 5044 h 10154"/>
              <a:gd name="connsiteX17" fmla="*/ 9427 w 10000"/>
              <a:gd name="connsiteY17" fmla="*/ 5044 h 10154"/>
              <a:gd name="connsiteX18" fmla="*/ 9427 w 10000"/>
              <a:gd name="connsiteY18" fmla="*/ 5086 h 10154"/>
              <a:gd name="connsiteX19" fmla="*/ 9479 w 10000"/>
              <a:gd name="connsiteY19" fmla="*/ 5172 h 10154"/>
              <a:gd name="connsiteX20" fmla="*/ 9479 w 10000"/>
              <a:gd name="connsiteY20" fmla="*/ 5216 h 10154"/>
              <a:gd name="connsiteX21" fmla="*/ 9532 w 10000"/>
              <a:gd name="connsiteY21" fmla="*/ 5387 h 10154"/>
              <a:gd name="connsiteX22" fmla="*/ 9532 w 10000"/>
              <a:gd name="connsiteY22" fmla="*/ 5431 h 10154"/>
              <a:gd name="connsiteX23" fmla="*/ 9532 w 10000"/>
              <a:gd name="connsiteY23" fmla="*/ 5561 h 10154"/>
              <a:gd name="connsiteX24" fmla="*/ 9532 w 10000"/>
              <a:gd name="connsiteY24" fmla="*/ 5645 h 10154"/>
              <a:gd name="connsiteX25" fmla="*/ 9479 w 10000"/>
              <a:gd name="connsiteY25" fmla="*/ 5733 h 10154"/>
              <a:gd name="connsiteX26" fmla="*/ 9427 w 10000"/>
              <a:gd name="connsiteY26" fmla="*/ 5993 h 10154"/>
              <a:gd name="connsiteX27" fmla="*/ 9375 w 10000"/>
              <a:gd name="connsiteY27" fmla="*/ 6035 h 10154"/>
              <a:gd name="connsiteX28" fmla="*/ 9322 w 10000"/>
              <a:gd name="connsiteY28" fmla="*/ 6077 h 10154"/>
              <a:gd name="connsiteX29" fmla="*/ 9271 w 10000"/>
              <a:gd name="connsiteY29" fmla="*/ 6251 h 10154"/>
              <a:gd name="connsiteX30" fmla="*/ 9219 w 10000"/>
              <a:gd name="connsiteY30" fmla="*/ 6335 h 10154"/>
              <a:gd name="connsiteX31" fmla="*/ 9219 w 10000"/>
              <a:gd name="connsiteY31" fmla="*/ 6423 h 10154"/>
              <a:gd name="connsiteX32" fmla="*/ 9219 w 10000"/>
              <a:gd name="connsiteY32" fmla="*/ 6466 h 10154"/>
              <a:gd name="connsiteX33" fmla="*/ 9219 w 10000"/>
              <a:gd name="connsiteY33" fmla="*/ 6594 h 10154"/>
              <a:gd name="connsiteX34" fmla="*/ 9271 w 10000"/>
              <a:gd name="connsiteY34" fmla="*/ 6725 h 10154"/>
              <a:gd name="connsiteX35" fmla="*/ 9895 w 10000"/>
              <a:gd name="connsiteY35" fmla="*/ 6725 h 10154"/>
              <a:gd name="connsiteX36" fmla="*/ 9895 w 10000"/>
              <a:gd name="connsiteY36" fmla="*/ 6810 h 10154"/>
              <a:gd name="connsiteX37" fmla="*/ 9948 w 10000"/>
              <a:gd name="connsiteY37" fmla="*/ 7111 h 10154"/>
              <a:gd name="connsiteX38" fmla="*/ 9948 w 10000"/>
              <a:gd name="connsiteY38" fmla="*/ 7156 h 10154"/>
              <a:gd name="connsiteX39" fmla="*/ 9948 w 10000"/>
              <a:gd name="connsiteY39" fmla="*/ 7284 h 10154"/>
              <a:gd name="connsiteX40" fmla="*/ 9948 w 10000"/>
              <a:gd name="connsiteY40" fmla="*/ 7328 h 10154"/>
              <a:gd name="connsiteX41" fmla="*/ 9948 w 10000"/>
              <a:gd name="connsiteY41" fmla="*/ 7414 h 10154"/>
              <a:gd name="connsiteX42" fmla="*/ 9948 w 10000"/>
              <a:gd name="connsiteY42" fmla="*/ 7457 h 10154"/>
              <a:gd name="connsiteX43" fmla="*/ 9948 w 10000"/>
              <a:gd name="connsiteY43" fmla="*/ 7500 h 10154"/>
              <a:gd name="connsiteX44" fmla="*/ 9948 w 10000"/>
              <a:gd name="connsiteY44" fmla="*/ 7543 h 10154"/>
              <a:gd name="connsiteX45" fmla="*/ 10000 w 10000"/>
              <a:gd name="connsiteY45" fmla="*/ 7629 h 10154"/>
              <a:gd name="connsiteX46" fmla="*/ 10000 w 10000"/>
              <a:gd name="connsiteY46" fmla="*/ 7759 h 10154"/>
              <a:gd name="connsiteX47" fmla="*/ 10000 w 10000"/>
              <a:gd name="connsiteY47" fmla="*/ 7802 h 10154"/>
              <a:gd name="connsiteX48" fmla="*/ 10000 w 10000"/>
              <a:gd name="connsiteY48" fmla="*/ 7845 h 10154"/>
              <a:gd name="connsiteX49" fmla="*/ 10000 w 10000"/>
              <a:gd name="connsiteY49" fmla="*/ 7888 h 10154"/>
              <a:gd name="connsiteX50" fmla="*/ 10000 w 10000"/>
              <a:gd name="connsiteY50" fmla="*/ 7974 h 10154"/>
              <a:gd name="connsiteX51" fmla="*/ 10000 w 10000"/>
              <a:gd name="connsiteY51" fmla="*/ 8018 h 10154"/>
              <a:gd name="connsiteX52" fmla="*/ 10000 w 10000"/>
              <a:gd name="connsiteY52" fmla="*/ 8060 h 10154"/>
              <a:gd name="connsiteX53" fmla="*/ 10000 w 10000"/>
              <a:gd name="connsiteY53" fmla="*/ 8146 h 10154"/>
              <a:gd name="connsiteX54" fmla="*/ 10000 w 10000"/>
              <a:gd name="connsiteY54" fmla="*/ 8363 h 10154"/>
              <a:gd name="connsiteX55" fmla="*/ 10000 w 10000"/>
              <a:gd name="connsiteY55" fmla="*/ 8404 h 10154"/>
              <a:gd name="connsiteX56" fmla="*/ 10000 w 10000"/>
              <a:gd name="connsiteY56" fmla="*/ 8492 h 10154"/>
              <a:gd name="connsiteX57" fmla="*/ 10000 w 10000"/>
              <a:gd name="connsiteY57" fmla="*/ 8535 h 10154"/>
              <a:gd name="connsiteX58" fmla="*/ 10000 w 10000"/>
              <a:gd name="connsiteY58" fmla="*/ 8578 h 10154"/>
              <a:gd name="connsiteX59" fmla="*/ 10000 w 10000"/>
              <a:gd name="connsiteY59" fmla="*/ 8620 h 10154"/>
              <a:gd name="connsiteX60" fmla="*/ 10000 w 10000"/>
              <a:gd name="connsiteY60" fmla="*/ 8662 h 10154"/>
              <a:gd name="connsiteX61" fmla="*/ 10000 w 10000"/>
              <a:gd name="connsiteY61" fmla="*/ 8751 h 10154"/>
              <a:gd name="connsiteX62" fmla="*/ 10000 w 10000"/>
              <a:gd name="connsiteY62" fmla="*/ 8836 h 10154"/>
              <a:gd name="connsiteX63" fmla="*/ 10000 w 10000"/>
              <a:gd name="connsiteY63" fmla="*/ 8878 h 10154"/>
              <a:gd name="connsiteX64" fmla="*/ 10000 w 10000"/>
              <a:gd name="connsiteY64" fmla="*/ 8923 h 10154"/>
              <a:gd name="connsiteX65" fmla="*/ 9948 w 10000"/>
              <a:gd name="connsiteY65" fmla="*/ 8923 h 10154"/>
              <a:gd name="connsiteX66" fmla="*/ 9948 w 10000"/>
              <a:gd name="connsiteY66" fmla="*/ 8965 h 10154"/>
              <a:gd name="connsiteX67" fmla="*/ 9895 w 10000"/>
              <a:gd name="connsiteY67" fmla="*/ 9009 h 10154"/>
              <a:gd name="connsiteX68" fmla="*/ 9844 w 10000"/>
              <a:gd name="connsiteY68" fmla="*/ 9009 h 10154"/>
              <a:gd name="connsiteX69" fmla="*/ 9844 w 10000"/>
              <a:gd name="connsiteY69" fmla="*/ 9053 h 10154"/>
              <a:gd name="connsiteX70" fmla="*/ 9792 w 10000"/>
              <a:gd name="connsiteY70" fmla="*/ 9053 h 10154"/>
              <a:gd name="connsiteX71" fmla="*/ 9740 w 10000"/>
              <a:gd name="connsiteY71" fmla="*/ 9095 h 10154"/>
              <a:gd name="connsiteX72" fmla="*/ 9687 w 10000"/>
              <a:gd name="connsiteY72" fmla="*/ 9136 h 10154"/>
              <a:gd name="connsiteX73" fmla="*/ 9635 w 10000"/>
              <a:gd name="connsiteY73" fmla="*/ 9136 h 10154"/>
              <a:gd name="connsiteX74" fmla="*/ 9635 w 10000"/>
              <a:gd name="connsiteY74" fmla="*/ 9181 h 10154"/>
              <a:gd name="connsiteX75" fmla="*/ 9583 w 10000"/>
              <a:gd name="connsiteY75" fmla="*/ 9181 h 10154"/>
              <a:gd name="connsiteX76" fmla="*/ 9532 w 10000"/>
              <a:gd name="connsiteY76" fmla="*/ 9181 h 10154"/>
              <a:gd name="connsiteX77" fmla="*/ 9479 w 10000"/>
              <a:gd name="connsiteY77" fmla="*/ 9181 h 10154"/>
              <a:gd name="connsiteX78" fmla="*/ 9427 w 10000"/>
              <a:gd name="connsiteY78" fmla="*/ 9181 h 10154"/>
              <a:gd name="connsiteX79" fmla="*/ 9375 w 10000"/>
              <a:gd name="connsiteY79" fmla="*/ 9181 h 10154"/>
              <a:gd name="connsiteX80" fmla="*/ 9322 w 10000"/>
              <a:gd name="connsiteY80" fmla="*/ 9181 h 10154"/>
              <a:gd name="connsiteX81" fmla="*/ 9271 w 10000"/>
              <a:gd name="connsiteY81" fmla="*/ 9181 h 10154"/>
              <a:gd name="connsiteX82" fmla="*/ 9271 w 10000"/>
              <a:gd name="connsiteY82" fmla="*/ 9224 h 10154"/>
              <a:gd name="connsiteX83" fmla="*/ 9219 w 10000"/>
              <a:gd name="connsiteY83" fmla="*/ 9268 h 10154"/>
              <a:gd name="connsiteX84" fmla="*/ 9167 w 10000"/>
              <a:gd name="connsiteY84" fmla="*/ 9311 h 10154"/>
              <a:gd name="connsiteX85" fmla="*/ 9219 w 10000"/>
              <a:gd name="connsiteY85" fmla="*/ 9311 h 10154"/>
              <a:gd name="connsiteX86" fmla="*/ 9167 w 10000"/>
              <a:gd name="connsiteY86" fmla="*/ 9311 h 10154"/>
              <a:gd name="connsiteX87" fmla="*/ 9114 w 10000"/>
              <a:gd name="connsiteY87" fmla="*/ 9311 h 10154"/>
              <a:gd name="connsiteX88" fmla="*/ 9062 w 10000"/>
              <a:gd name="connsiteY88" fmla="*/ 9353 h 10154"/>
              <a:gd name="connsiteX89" fmla="*/ 9011 w 10000"/>
              <a:gd name="connsiteY89" fmla="*/ 9395 h 10154"/>
              <a:gd name="connsiteX90" fmla="*/ 8959 w 10000"/>
              <a:gd name="connsiteY90" fmla="*/ 9395 h 10154"/>
              <a:gd name="connsiteX91" fmla="*/ 8959 w 10000"/>
              <a:gd name="connsiteY91" fmla="*/ 9440 h 10154"/>
              <a:gd name="connsiteX92" fmla="*/ 8906 w 10000"/>
              <a:gd name="connsiteY92" fmla="*/ 9440 h 10154"/>
              <a:gd name="connsiteX93" fmla="*/ 8906 w 10000"/>
              <a:gd name="connsiteY93" fmla="*/ 9482 h 10154"/>
              <a:gd name="connsiteX94" fmla="*/ 8854 w 10000"/>
              <a:gd name="connsiteY94" fmla="*/ 9482 h 10154"/>
              <a:gd name="connsiteX95" fmla="*/ 8802 w 10000"/>
              <a:gd name="connsiteY95" fmla="*/ 9482 h 10154"/>
              <a:gd name="connsiteX96" fmla="*/ 8749 w 10000"/>
              <a:gd name="connsiteY96" fmla="*/ 9482 h 10154"/>
              <a:gd name="connsiteX97" fmla="*/ 8698 w 10000"/>
              <a:gd name="connsiteY97" fmla="*/ 9482 h 10154"/>
              <a:gd name="connsiteX98" fmla="*/ 8646 w 10000"/>
              <a:gd name="connsiteY98" fmla="*/ 9482 h 10154"/>
              <a:gd name="connsiteX99" fmla="*/ 8646 w 10000"/>
              <a:gd name="connsiteY99" fmla="*/ 9440 h 10154"/>
              <a:gd name="connsiteX100" fmla="*/ 8646 w 10000"/>
              <a:gd name="connsiteY100" fmla="*/ 9395 h 10154"/>
              <a:gd name="connsiteX101" fmla="*/ 8594 w 10000"/>
              <a:gd name="connsiteY101" fmla="*/ 9353 h 10154"/>
              <a:gd name="connsiteX102" fmla="*/ 8594 w 10000"/>
              <a:gd name="connsiteY102" fmla="*/ 9311 h 10154"/>
              <a:gd name="connsiteX103" fmla="*/ 8594 w 10000"/>
              <a:gd name="connsiteY103" fmla="*/ 9268 h 10154"/>
              <a:gd name="connsiteX104" fmla="*/ 8541 w 10000"/>
              <a:gd name="connsiteY104" fmla="*/ 9268 h 10154"/>
              <a:gd name="connsiteX105" fmla="*/ 8489 w 10000"/>
              <a:gd name="connsiteY105" fmla="*/ 9268 h 10154"/>
              <a:gd name="connsiteX106" fmla="*/ 8489 w 10000"/>
              <a:gd name="connsiteY106" fmla="*/ 9224 h 10154"/>
              <a:gd name="connsiteX107" fmla="*/ 8438 w 10000"/>
              <a:gd name="connsiteY107" fmla="*/ 9224 h 10154"/>
              <a:gd name="connsiteX108" fmla="*/ 8386 w 10000"/>
              <a:gd name="connsiteY108" fmla="*/ 9268 h 10154"/>
              <a:gd name="connsiteX109" fmla="*/ 8386 w 10000"/>
              <a:gd name="connsiteY109" fmla="*/ 9311 h 10154"/>
              <a:gd name="connsiteX110" fmla="*/ 8282 w 10000"/>
              <a:gd name="connsiteY110" fmla="*/ 9268 h 10154"/>
              <a:gd name="connsiteX111" fmla="*/ 8282 w 10000"/>
              <a:gd name="connsiteY111" fmla="*/ 9224 h 10154"/>
              <a:gd name="connsiteX112" fmla="*/ 8230 w 10000"/>
              <a:gd name="connsiteY112" fmla="*/ 9224 h 10154"/>
              <a:gd name="connsiteX113" fmla="*/ 8179 w 10000"/>
              <a:gd name="connsiteY113" fmla="*/ 9224 h 10154"/>
              <a:gd name="connsiteX114" fmla="*/ 8126 w 10000"/>
              <a:gd name="connsiteY114" fmla="*/ 9224 h 10154"/>
              <a:gd name="connsiteX115" fmla="*/ 8074 w 10000"/>
              <a:gd name="connsiteY115" fmla="*/ 9224 h 10154"/>
              <a:gd name="connsiteX116" fmla="*/ 8022 w 10000"/>
              <a:gd name="connsiteY116" fmla="*/ 9224 h 10154"/>
              <a:gd name="connsiteX117" fmla="*/ 8022 w 10000"/>
              <a:gd name="connsiteY117" fmla="*/ 9268 h 10154"/>
              <a:gd name="connsiteX118" fmla="*/ 7969 w 10000"/>
              <a:gd name="connsiteY118" fmla="*/ 9268 h 10154"/>
              <a:gd name="connsiteX119" fmla="*/ 7917 w 10000"/>
              <a:gd name="connsiteY119" fmla="*/ 9311 h 10154"/>
              <a:gd name="connsiteX120" fmla="*/ 7866 w 10000"/>
              <a:gd name="connsiteY120" fmla="*/ 9311 h 10154"/>
              <a:gd name="connsiteX121" fmla="*/ 7866 w 10000"/>
              <a:gd name="connsiteY121" fmla="*/ 9268 h 10154"/>
              <a:gd name="connsiteX122" fmla="*/ 7866 w 10000"/>
              <a:gd name="connsiteY122" fmla="*/ 9311 h 10154"/>
              <a:gd name="connsiteX123" fmla="*/ 7814 w 10000"/>
              <a:gd name="connsiteY123" fmla="*/ 9311 h 10154"/>
              <a:gd name="connsiteX124" fmla="*/ 7761 w 10000"/>
              <a:gd name="connsiteY124" fmla="*/ 9353 h 10154"/>
              <a:gd name="connsiteX125" fmla="*/ 7709 w 10000"/>
              <a:gd name="connsiteY125" fmla="*/ 9311 h 10154"/>
              <a:gd name="connsiteX126" fmla="*/ 7657 w 10000"/>
              <a:gd name="connsiteY126" fmla="*/ 9311 h 10154"/>
              <a:gd name="connsiteX127" fmla="*/ 7606 w 10000"/>
              <a:gd name="connsiteY127" fmla="*/ 9311 h 10154"/>
              <a:gd name="connsiteX128" fmla="*/ 7553 w 10000"/>
              <a:gd name="connsiteY128" fmla="*/ 9268 h 10154"/>
              <a:gd name="connsiteX129" fmla="*/ 7501 w 10000"/>
              <a:gd name="connsiteY129" fmla="*/ 9268 h 10154"/>
              <a:gd name="connsiteX130" fmla="*/ 7501 w 10000"/>
              <a:gd name="connsiteY130" fmla="*/ 9311 h 10154"/>
              <a:gd name="connsiteX131" fmla="*/ 7449 w 10000"/>
              <a:gd name="connsiteY131" fmla="*/ 9311 h 10154"/>
              <a:gd name="connsiteX132" fmla="*/ 7396 w 10000"/>
              <a:gd name="connsiteY132" fmla="*/ 9268 h 10154"/>
              <a:gd name="connsiteX133" fmla="*/ 7345 w 10000"/>
              <a:gd name="connsiteY133" fmla="*/ 9268 h 10154"/>
              <a:gd name="connsiteX134" fmla="*/ 7293 w 10000"/>
              <a:gd name="connsiteY134" fmla="*/ 9353 h 10154"/>
              <a:gd name="connsiteX135" fmla="*/ 7241 w 10000"/>
              <a:gd name="connsiteY135" fmla="*/ 9353 h 10154"/>
              <a:gd name="connsiteX136" fmla="*/ 7241 w 10000"/>
              <a:gd name="connsiteY136" fmla="*/ 9311 h 10154"/>
              <a:gd name="connsiteX137" fmla="*/ 7241 w 10000"/>
              <a:gd name="connsiteY137" fmla="*/ 9353 h 10154"/>
              <a:gd name="connsiteX138" fmla="*/ 7241 w 10000"/>
              <a:gd name="connsiteY138" fmla="*/ 9395 h 10154"/>
              <a:gd name="connsiteX139" fmla="*/ 7188 w 10000"/>
              <a:gd name="connsiteY139" fmla="*/ 9395 h 10154"/>
              <a:gd name="connsiteX140" fmla="*/ 7136 w 10000"/>
              <a:gd name="connsiteY140" fmla="*/ 9395 h 10154"/>
              <a:gd name="connsiteX141" fmla="*/ 7188 w 10000"/>
              <a:gd name="connsiteY141" fmla="*/ 9440 h 10154"/>
              <a:gd name="connsiteX142" fmla="*/ 7136 w 10000"/>
              <a:gd name="connsiteY142" fmla="*/ 9482 h 10154"/>
              <a:gd name="connsiteX143" fmla="*/ 7188 w 10000"/>
              <a:gd name="connsiteY143" fmla="*/ 9526 h 10154"/>
              <a:gd name="connsiteX144" fmla="*/ 7241 w 10000"/>
              <a:gd name="connsiteY144" fmla="*/ 9526 h 10154"/>
              <a:gd name="connsiteX145" fmla="*/ 7241 w 10000"/>
              <a:gd name="connsiteY145" fmla="*/ 9570 h 10154"/>
              <a:gd name="connsiteX146" fmla="*/ 7188 w 10000"/>
              <a:gd name="connsiteY146" fmla="*/ 9570 h 10154"/>
              <a:gd name="connsiteX147" fmla="*/ 7136 w 10000"/>
              <a:gd name="connsiteY147" fmla="*/ 9570 h 10154"/>
              <a:gd name="connsiteX148" fmla="*/ 7188 w 10000"/>
              <a:gd name="connsiteY148" fmla="*/ 9611 h 10154"/>
              <a:gd name="connsiteX149" fmla="*/ 7188 w 10000"/>
              <a:gd name="connsiteY149" fmla="*/ 9655 h 10154"/>
              <a:gd name="connsiteX150" fmla="*/ 7136 w 10000"/>
              <a:gd name="connsiteY150" fmla="*/ 9655 h 10154"/>
              <a:gd name="connsiteX151" fmla="*/ 7136 w 10000"/>
              <a:gd name="connsiteY151" fmla="*/ 9699 h 10154"/>
              <a:gd name="connsiteX152" fmla="*/ 7084 w 10000"/>
              <a:gd name="connsiteY152" fmla="*/ 9742 h 10154"/>
              <a:gd name="connsiteX153" fmla="*/ 7136 w 10000"/>
              <a:gd name="connsiteY153" fmla="*/ 9785 h 10154"/>
              <a:gd name="connsiteX154" fmla="*/ 7188 w 10000"/>
              <a:gd name="connsiteY154" fmla="*/ 9785 h 10154"/>
              <a:gd name="connsiteX155" fmla="*/ 7188 w 10000"/>
              <a:gd name="connsiteY155" fmla="*/ 9827 h 10154"/>
              <a:gd name="connsiteX156" fmla="*/ 7188 w 10000"/>
              <a:gd name="connsiteY156" fmla="*/ 9870 h 10154"/>
              <a:gd name="connsiteX157" fmla="*/ 7136 w 10000"/>
              <a:gd name="connsiteY157" fmla="*/ 9870 h 10154"/>
              <a:gd name="connsiteX158" fmla="*/ 7084 w 10000"/>
              <a:gd name="connsiteY158" fmla="*/ 9913 h 10154"/>
              <a:gd name="connsiteX159" fmla="*/ 7136 w 10000"/>
              <a:gd name="connsiteY159" fmla="*/ 10000 h 10154"/>
              <a:gd name="connsiteX160" fmla="*/ 7344 w 10000"/>
              <a:gd name="connsiteY160" fmla="*/ 7607 h 10154"/>
              <a:gd name="connsiteX161" fmla="*/ 7136 w 10000"/>
              <a:gd name="connsiteY161" fmla="*/ 7257 h 10154"/>
              <a:gd name="connsiteX162" fmla="*/ 6544 w 10000"/>
              <a:gd name="connsiteY162" fmla="*/ 7143 h 10154"/>
              <a:gd name="connsiteX163" fmla="*/ 5775 w 10000"/>
              <a:gd name="connsiteY163" fmla="*/ 7107 h 10154"/>
              <a:gd name="connsiteX164" fmla="*/ 5311 w 10000"/>
              <a:gd name="connsiteY164" fmla="*/ 6997 h 10154"/>
              <a:gd name="connsiteX165" fmla="*/ 5071 w 10000"/>
              <a:gd name="connsiteY165" fmla="*/ 6886 h 10154"/>
              <a:gd name="connsiteX166" fmla="*/ 4912 w 10000"/>
              <a:gd name="connsiteY166" fmla="*/ 6979 h 10154"/>
              <a:gd name="connsiteX167" fmla="*/ 4416 w 10000"/>
              <a:gd name="connsiteY167" fmla="*/ 6811 h 10154"/>
              <a:gd name="connsiteX168" fmla="*/ 3584 w 10000"/>
              <a:gd name="connsiteY168" fmla="*/ 6516 h 10154"/>
              <a:gd name="connsiteX169" fmla="*/ 3104 w 10000"/>
              <a:gd name="connsiteY169" fmla="*/ 6460 h 10154"/>
              <a:gd name="connsiteX170" fmla="*/ 3200 w 10000"/>
              <a:gd name="connsiteY170" fmla="*/ 6257 h 10154"/>
              <a:gd name="connsiteX171" fmla="*/ 3344 w 10000"/>
              <a:gd name="connsiteY171" fmla="*/ 6201 h 10154"/>
              <a:gd name="connsiteX172" fmla="*/ 3728 w 10000"/>
              <a:gd name="connsiteY172" fmla="*/ 5905 h 10154"/>
              <a:gd name="connsiteX173" fmla="*/ 3968 w 10000"/>
              <a:gd name="connsiteY173" fmla="*/ 5628 h 10154"/>
              <a:gd name="connsiteX174" fmla="*/ 4224 w 10000"/>
              <a:gd name="connsiteY174" fmla="*/ 5332 h 10154"/>
              <a:gd name="connsiteX175" fmla="*/ 4368 w 10000"/>
              <a:gd name="connsiteY175" fmla="*/ 5056 h 10154"/>
              <a:gd name="connsiteX176" fmla="*/ 4352 w 10000"/>
              <a:gd name="connsiteY176" fmla="*/ 4741 h 10154"/>
              <a:gd name="connsiteX177" fmla="*/ 4336 w 10000"/>
              <a:gd name="connsiteY177" fmla="*/ 4463 h 10154"/>
              <a:gd name="connsiteX178" fmla="*/ 4176 w 10000"/>
              <a:gd name="connsiteY178" fmla="*/ 4296 h 10154"/>
              <a:gd name="connsiteX179" fmla="*/ 4016 w 10000"/>
              <a:gd name="connsiteY179" fmla="*/ 4316 h 10154"/>
              <a:gd name="connsiteX180" fmla="*/ 3856 w 10000"/>
              <a:gd name="connsiteY180" fmla="*/ 4611 h 10154"/>
              <a:gd name="connsiteX181" fmla="*/ 3808 w 10000"/>
              <a:gd name="connsiteY181" fmla="*/ 5146 h 10154"/>
              <a:gd name="connsiteX182" fmla="*/ 3536 w 10000"/>
              <a:gd name="connsiteY182" fmla="*/ 5500 h 10154"/>
              <a:gd name="connsiteX183" fmla="*/ 2992 w 10000"/>
              <a:gd name="connsiteY183" fmla="*/ 5813 h 10154"/>
              <a:gd name="connsiteX184" fmla="*/ 2415 w 10000"/>
              <a:gd name="connsiteY184" fmla="*/ 6053 h 10154"/>
              <a:gd name="connsiteX185" fmla="*/ 1951 w 10000"/>
              <a:gd name="connsiteY185" fmla="*/ 6384 h 10154"/>
              <a:gd name="connsiteX186" fmla="*/ 0 w 10000"/>
              <a:gd name="connsiteY186" fmla="*/ 6312 h 10154"/>
              <a:gd name="connsiteX187" fmla="*/ 3 w 10000"/>
              <a:gd name="connsiteY187" fmla="*/ 6077 h 10154"/>
              <a:gd name="connsiteX188" fmla="*/ 159 w 10000"/>
              <a:gd name="connsiteY188" fmla="*/ 6164 h 10154"/>
              <a:gd name="connsiteX189" fmla="*/ 368 w 10000"/>
              <a:gd name="connsiteY189" fmla="*/ 6077 h 10154"/>
              <a:gd name="connsiteX190" fmla="*/ 1462 w 10000"/>
              <a:gd name="connsiteY190" fmla="*/ 6077 h 10154"/>
              <a:gd name="connsiteX191" fmla="*/ 1617 w 10000"/>
              <a:gd name="connsiteY191" fmla="*/ 6035 h 10154"/>
              <a:gd name="connsiteX192" fmla="*/ 1669 w 10000"/>
              <a:gd name="connsiteY192" fmla="*/ 6035 h 10154"/>
              <a:gd name="connsiteX193" fmla="*/ 2189 w 10000"/>
              <a:gd name="connsiteY193" fmla="*/ 5475 h 10154"/>
              <a:gd name="connsiteX194" fmla="*/ 2294 w 10000"/>
              <a:gd name="connsiteY194" fmla="*/ 5387 h 10154"/>
              <a:gd name="connsiteX195" fmla="*/ 2762 w 10000"/>
              <a:gd name="connsiteY195" fmla="*/ 4957 h 10154"/>
              <a:gd name="connsiteX196" fmla="*/ 3023 w 10000"/>
              <a:gd name="connsiteY196" fmla="*/ 4698 h 10154"/>
              <a:gd name="connsiteX197" fmla="*/ 3179 w 10000"/>
              <a:gd name="connsiteY197" fmla="*/ 4569 h 10154"/>
              <a:gd name="connsiteX198" fmla="*/ 3596 w 10000"/>
              <a:gd name="connsiteY198" fmla="*/ 3922 h 10154"/>
              <a:gd name="connsiteX199" fmla="*/ 4116 w 10000"/>
              <a:gd name="connsiteY199" fmla="*/ 3663 h 10154"/>
              <a:gd name="connsiteX200" fmla="*/ 5001 w 10000"/>
              <a:gd name="connsiteY200" fmla="*/ 2931 h 10154"/>
              <a:gd name="connsiteX201" fmla="*/ 4845 w 10000"/>
              <a:gd name="connsiteY201" fmla="*/ 2672 h 10154"/>
              <a:gd name="connsiteX202" fmla="*/ 4794 w 10000"/>
              <a:gd name="connsiteY202" fmla="*/ 2500 h 10154"/>
              <a:gd name="connsiteX203" fmla="*/ 4794 w 10000"/>
              <a:gd name="connsiteY203" fmla="*/ 1292 h 10154"/>
              <a:gd name="connsiteX204" fmla="*/ 4116 w 10000"/>
              <a:gd name="connsiteY204" fmla="*/ 774 h 10154"/>
              <a:gd name="connsiteX205" fmla="*/ 4950 w 10000"/>
              <a:gd name="connsiteY205" fmla="*/ 774 h 10154"/>
              <a:gd name="connsiteX206" fmla="*/ 5782 w 10000"/>
              <a:gd name="connsiteY206" fmla="*/ 774 h 10154"/>
              <a:gd name="connsiteX207" fmla="*/ 5782 w 10000"/>
              <a:gd name="connsiteY207" fmla="*/ 732 h 10154"/>
              <a:gd name="connsiteX208" fmla="*/ 5782 w 10000"/>
              <a:gd name="connsiteY208" fmla="*/ 691 h 10154"/>
              <a:gd name="connsiteX209" fmla="*/ 5782 w 10000"/>
              <a:gd name="connsiteY209" fmla="*/ 650 h 10154"/>
              <a:gd name="connsiteX210" fmla="*/ 5782 w 10000"/>
              <a:gd name="connsiteY210" fmla="*/ 603 h 10154"/>
              <a:gd name="connsiteX211" fmla="*/ 5834 w 10000"/>
              <a:gd name="connsiteY211" fmla="*/ 557 h 10154"/>
              <a:gd name="connsiteX212" fmla="*/ 5834 w 10000"/>
              <a:gd name="connsiteY212" fmla="*/ 516 h 10154"/>
              <a:gd name="connsiteX213" fmla="*/ 5834 w 10000"/>
              <a:gd name="connsiteY213" fmla="*/ 475 h 10154"/>
              <a:gd name="connsiteX214" fmla="*/ 5834 w 10000"/>
              <a:gd name="connsiteY214" fmla="*/ 433 h 10154"/>
              <a:gd name="connsiteX215" fmla="*/ 5834 w 10000"/>
              <a:gd name="connsiteY215" fmla="*/ 392 h 10154"/>
              <a:gd name="connsiteX216" fmla="*/ 5834 w 10000"/>
              <a:gd name="connsiteY216" fmla="*/ 341 h 10154"/>
              <a:gd name="connsiteX217" fmla="*/ 5782 w 10000"/>
              <a:gd name="connsiteY217" fmla="*/ 341 h 10154"/>
              <a:gd name="connsiteX218" fmla="*/ 5782 w 10000"/>
              <a:gd name="connsiteY218" fmla="*/ 299 h 10154"/>
              <a:gd name="connsiteX219" fmla="*/ 5782 w 10000"/>
              <a:gd name="connsiteY219" fmla="*/ 258 h 10154"/>
              <a:gd name="connsiteX220" fmla="*/ 5782 w 10000"/>
              <a:gd name="connsiteY220" fmla="*/ 217 h 10154"/>
              <a:gd name="connsiteX221" fmla="*/ 5782 w 10000"/>
              <a:gd name="connsiteY221" fmla="*/ 175 h 10154"/>
              <a:gd name="connsiteX222" fmla="*/ 5782 w 10000"/>
              <a:gd name="connsiteY222" fmla="*/ 134 h 10154"/>
              <a:gd name="connsiteX223" fmla="*/ 5782 w 10000"/>
              <a:gd name="connsiteY223" fmla="*/ 83 h 10154"/>
              <a:gd name="connsiteX224" fmla="*/ 5782 w 10000"/>
              <a:gd name="connsiteY224" fmla="*/ 41 h 10154"/>
              <a:gd name="connsiteX225" fmla="*/ 5782 w 10000"/>
              <a:gd name="connsiteY225" fmla="*/ 0 h 10154"/>
              <a:gd name="connsiteX0" fmla="*/ 5782 w 10000"/>
              <a:gd name="connsiteY0" fmla="*/ 0 h 10143"/>
              <a:gd name="connsiteX1" fmla="*/ 7345 w 10000"/>
              <a:gd name="connsiteY1" fmla="*/ 41 h 10143"/>
              <a:gd name="connsiteX2" fmla="*/ 7501 w 10000"/>
              <a:gd name="connsiteY2" fmla="*/ 41 h 10143"/>
              <a:gd name="connsiteX3" fmla="*/ 7345 w 10000"/>
              <a:gd name="connsiteY3" fmla="*/ 175 h 10143"/>
              <a:gd name="connsiteX4" fmla="*/ 7293 w 10000"/>
              <a:gd name="connsiteY4" fmla="*/ 557 h 10143"/>
              <a:gd name="connsiteX5" fmla="*/ 7188 w 10000"/>
              <a:gd name="connsiteY5" fmla="*/ 1166 h 10143"/>
              <a:gd name="connsiteX6" fmla="*/ 7136 w 10000"/>
              <a:gd name="connsiteY6" fmla="*/ 1207 h 10143"/>
              <a:gd name="connsiteX7" fmla="*/ 6980 w 10000"/>
              <a:gd name="connsiteY7" fmla="*/ 1551 h 10143"/>
              <a:gd name="connsiteX8" fmla="*/ 7396 w 10000"/>
              <a:gd name="connsiteY8" fmla="*/ 3147 h 10143"/>
              <a:gd name="connsiteX9" fmla="*/ 7501 w 10000"/>
              <a:gd name="connsiteY9" fmla="*/ 3449 h 10143"/>
              <a:gd name="connsiteX10" fmla="*/ 7345 w 10000"/>
              <a:gd name="connsiteY10" fmla="*/ 3708 h 10143"/>
              <a:gd name="connsiteX11" fmla="*/ 8022 w 10000"/>
              <a:gd name="connsiteY11" fmla="*/ 3879 h 10143"/>
              <a:gd name="connsiteX12" fmla="*/ 8489 w 10000"/>
              <a:gd name="connsiteY12" fmla="*/ 4354 h 10143"/>
              <a:gd name="connsiteX13" fmla="*/ 8594 w 10000"/>
              <a:gd name="connsiteY13" fmla="*/ 4440 h 10143"/>
              <a:gd name="connsiteX14" fmla="*/ 8906 w 10000"/>
              <a:gd name="connsiteY14" fmla="*/ 4655 h 10143"/>
              <a:gd name="connsiteX15" fmla="*/ 9114 w 10000"/>
              <a:gd name="connsiteY15" fmla="*/ 4914 h 10143"/>
              <a:gd name="connsiteX16" fmla="*/ 9219 w 10000"/>
              <a:gd name="connsiteY16" fmla="*/ 5044 h 10143"/>
              <a:gd name="connsiteX17" fmla="*/ 9427 w 10000"/>
              <a:gd name="connsiteY17" fmla="*/ 5044 h 10143"/>
              <a:gd name="connsiteX18" fmla="*/ 9427 w 10000"/>
              <a:gd name="connsiteY18" fmla="*/ 5086 h 10143"/>
              <a:gd name="connsiteX19" fmla="*/ 9479 w 10000"/>
              <a:gd name="connsiteY19" fmla="*/ 5172 h 10143"/>
              <a:gd name="connsiteX20" fmla="*/ 9479 w 10000"/>
              <a:gd name="connsiteY20" fmla="*/ 5216 h 10143"/>
              <a:gd name="connsiteX21" fmla="*/ 9532 w 10000"/>
              <a:gd name="connsiteY21" fmla="*/ 5387 h 10143"/>
              <a:gd name="connsiteX22" fmla="*/ 9532 w 10000"/>
              <a:gd name="connsiteY22" fmla="*/ 5431 h 10143"/>
              <a:gd name="connsiteX23" fmla="*/ 9532 w 10000"/>
              <a:gd name="connsiteY23" fmla="*/ 5561 h 10143"/>
              <a:gd name="connsiteX24" fmla="*/ 9532 w 10000"/>
              <a:gd name="connsiteY24" fmla="*/ 5645 h 10143"/>
              <a:gd name="connsiteX25" fmla="*/ 9479 w 10000"/>
              <a:gd name="connsiteY25" fmla="*/ 5733 h 10143"/>
              <a:gd name="connsiteX26" fmla="*/ 9427 w 10000"/>
              <a:gd name="connsiteY26" fmla="*/ 5993 h 10143"/>
              <a:gd name="connsiteX27" fmla="*/ 9375 w 10000"/>
              <a:gd name="connsiteY27" fmla="*/ 6035 h 10143"/>
              <a:gd name="connsiteX28" fmla="*/ 9322 w 10000"/>
              <a:gd name="connsiteY28" fmla="*/ 6077 h 10143"/>
              <a:gd name="connsiteX29" fmla="*/ 9271 w 10000"/>
              <a:gd name="connsiteY29" fmla="*/ 6251 h 10143"/>
              <a:gd name="connsiteX30" fmla="*/ 9219 w 10000"/>
              <a:gd name="connsiteY30" fmla="*/ 6335 h 10143"/>
              <a:gd name="connsiteX31" fmla="*/ 9219 w 10000"/>
              <a:gd name="connsiteY31" fmla="*/ 6423 h 10143"/>
              <a:gd name="connsiteX32" fmla="*/ 9219 w 10000"/>
              <a:gd name="connsiteY32" fmla="*/ 6466 h 10143"/>
              <a:gd name="connsiteX33" fmla="*/ 9219 w 10000"/>
              <a:gd name="connsiteY33" fmla="*/ 6594 h 10143"/>
              <a:gd name="connsiteX34" fmla="*/ 9271 w 10000"/>
              <a:gd name="connsiteY34" fmla="*/ 6725 h 10143"/>
              <a:gd name="connsiteX35" fmla="*/ 9895 w 10000"/>
              <a:gd name="connsiteY35" fmla="*/ 6725 h 10143"/>
              <a:gd name="connsiteX36" fmla="*/ 9895 w 10000"/>
              <a:gd name="connsiteY36" fmla="*/ 6810 h 10143"/>
              <a:gd name="connsiteX37" fmla="*/ 9948 w 10000"/>
              <a:gd name="connsiteY37" fmla="*/ 7111 h 10143"/>
              <a:gd name="connsiteX38" fmla="*/ 9948 w 10000"/>
              <a:gd name="connsiteY38" fmla="*/ 7156 h 10143"/>
              <a:gd name="connsiteX39" fmla="*/ 9948 w 10000"/>
              <a:gd name="connsiteY39" fmla="*/ 7284 h 10143"/>
              <a:gd name="connsiteX40" fmla="*/ 9948 w 10000"/>
              <a:gd name="connsiteY40" fmla="*/ 7328 h 10143"/>
              <a:gd name="connsiteX41" fmla="*/ 9948 w 10000"/>
              <a:gd name="connsiteY41" fmla="*/ 7414 h 10143"/>
              <a:gd name="connsiteX42" fmla="*/ 9948 w 10000"/>
              <a:gd name="connsiteY42" fmla="*/ 7457 h 10143"/>
              <a:gd name="connsiteX43" fmla="*/ 9948 w 10000"/>
              <a:gd name="connsiteY43" fmla="*/ 7500 h 10143"/>
              <a:gd name="connsiteX44" fmla="*/ 9948 w 10000"/>
              <a:gd name="connsiteY44" fmla="*/ 7543 h 10143"/>
              <a:gd name="connsiteX45" fmla="*/ 10000 w 10000"/>
              <a:gd name="connsiteY45" fmla="*/ 7629 h 10143"/>
              <a:gd name="connsiteX46" fmla="*/ 10000 w 10000"/>
              <a:gd name="connsiteY46" fmla="*/ 7759 h 10143"/>
              <a:gd name="connsiteX47" fmla="*/ 10000 w 10000"/>
              <a:gd name="connsiteY47" fmla="*/ 7802 h 10143"/>
              <a:gd name="connsiteX48" fmla="*/ 10000 w 10000"/>
              <a:gd name="connsiteY48" fmla="*/ 7845 h 10143"/>
              <a:gd name="connsiteX49" fmla="*/ 10000 w 10000"/>
              <a:gd name="connsiteY49" fmla="*/ 7888 h 10143"/>
              <a:gd name="connsiteX50" fmla="*/ 10000 w 10000"/>
              <a:gd name="connsiteY50" fmla="*/ 7974 h 10143"/>
              <a:gd name="connsiteX51" fmla="*/ 10000 w 10000"/>
              <a:gd name="connsiteY51" fmla="*/ 8018 h 10143"/>
              <a:gd name="connsiteX52" fmla="*/ 10000 w 10000"/>
              <a:gd name="connsiteY52" fmla="*/ 8060 h 10143"/>
              <a:gd name="connsiteX53" fmla="*/ 10000 w 10000"/>
              <a:gd name="connsiteY53" fmla="*/ 8146 h 10143"/>
              <a:gd name="connsiteX54" fmla="*/ 10000 w 10000"/>
              <a:gd name="connsiteY54" fmla="*/ 8363 h 10143"/>
              <a:gd name="connsiteX55" fmla="*/ 10000 w 10000"/>
              <a:gd name="connsiteY55" fmla="*/ 8404 h 10143"/>
              <a:gd name="connsiteX56" fmla="*/ 10000 w 10000"/>
              <a:gd name="connsiteY56" fmla="*/ 8492 h 10143"/>
              <a:gd name="connsiteX57" fmla="*/ 10000 w 10000"/>
              <a:gd name="connsiteY57" fmla="*/ 8535 h 10143"/>
              <a:gd name="connsiteX58" fmla="*/ 10000 w 10000"/>
              <a:gd name="connsiteY58" fmla="*/ 8578 h 10143"/>
              <a:gd name="connsiteX59" fmla="*/ 10000 w 10000"/>
              <a:gd name="connsiteY59" fmla="*/ 8620 h 10143"/>
              <a:gd name="connsiteX60" fmla="*/ 10000 w 10000"/>
              <a:gd name="connsiteY60" fmla="*/ 8662 h 10143"/>
              <a:gd name="connsiteX61" fmla="*/ 10000 w 10000"/>
              <a:gd name="connsiteY61" fmla="*/ 8751 h 10143"/>
              <a:gd name="connsiteX62" fmla="*/ 10000 w 10000"/>
              <a:gd name="connsiteY62" fmla="*/ 8836 h 10143"/>
              <a:gd name="connsiteX63" fmla="*/ 10000 w 10000"/>
              <a:gd name="connsiteY63" fmla="*/ 8878 h 10143"/>
              <a:gd name="connsiteX64" fmla="*/ 10000 w 10000"/>
              <a:gd name="connsiteY64" fmla="*/ 8923 h 10143"/>
              <a:gd name="connsiteX65" fmla="*/ 9948 w 10000"/>
              <a:gd name="connsiteY65" fmla="*/ 8923 h 10143"/>
              <a:gd name="connsiteX66" fmla="*/ 9948 w 10000"/>
              <a:gd name="connsiteY66" fmla="*/ 8965 h 10143"/>
              <a:gd name="connsiteX67" fmla="*/ 9895 w 10000"/>
              <a:gd name="connsiteY67" fmla="*/ 9009 h 10143"/>
              <a:gd name="connsiteX68" fmla="*/ 9844 w 10000"/>
              <a:gd name="connsiteY68" fmla="*/ 9009 h 10143"/>
              <a:gd name="connsiteX69" fmla="*/ 9844 w 10000"/>
              <a:gd name="connsiteY69" fmla="*/ 9053 h 10143"/>
              <a:gd name="connsiteX70" fmla="*/ 9792 w 10000"/>
              <a:gd name="connsiteY70" fmla="*/ 9053 h 10143"/>
              <a:gd name="connsiteX71" fmla="*/ 9740 w 10000"/>
              <a:gd name="connsiteY71" fmla="*/ 9095 h 10143"/>
              <a:gd name="connsiteX72" fmla="*/ 9687 w 10000"/>
              <a:gd name="connsiteY72" fmla="*/ 9136 h 10143"/>
              <a:gd name="connsiteX73" fmla="*/ 9635 w 10000"/>
              <a:gd name="connsiteY73" fmla="*/ 9136 h 10143"/>
              <a:gd name="connsiteX74" fmla="*/ 9635 w 10000"/>
              <a:gd name="connsiteY74" fmla="*/ 9181 h 10143"/>
              <a:gd name="connsiteX75" fmla="*/ 9583 w 10000"/>
              <a:gd name="connsiteY75" fmla="*/ 9181 h 10143"/>
              <a:gd name="connsiteX76" fmla="*/ 9532 w 10000"/>
              <a:gd name="connsiteY76" fmla="*/ 9181 h 10143"/>
              <a:gd name="connsiteX77" fmla="*/ 9479 w 10000"/>
              <a:gd name="connsiteY77" fmla="*/ 9181 h 10143"/>
              <a:gd name="connsiteX78" fmla="*/ 9427 w 10000"/>
              <a:gd name="connsiteY78" fmla="*/ 9181 h 10143"/>
              <a:gd name="connsiteX79" fmla="*/ 9375 w 10000"/>
              <a:gd name="connsiteY79" fmla="*/ 9181 h 10143"/>
              <a:gd name="connsiteX80" fmla="*/ 9322 w 10000"/>
              <a:gd name="connsiteY80" fmla="*/ 9181 h 10143"/>
              <a:gd name="connsiteX81" fmla="*/ 9271 w 10000"/>
              <a:gd name="connsiteY81" fmla="*/ 9181 h 10143"/>
              <a:gd name="connsiteX82" fmla="*/ 9271 w 10000"/>
              <a:gd name="connsiteY82" fmla="*/ 9224 h 10143"/>
              <a:gd name="connsiteX83" fmla="*/ 9219 w 10000"/>
              <a:gd name="connsiteY83" fmla="*/ 9268 h 10143"/>
              <a:gd name="connsiteX84" fmla="*/ 9167 w 10000"/>
              <a:gd name="connsiteY84" fmla="*/ 9311 h 10143"/>
              <a:gd name="connsiteX85" fmla="*/ 9219 w 10000"/>
              <a:gd name="connsiteY85" fmla="*/ 9311 h 10143"/>
              <a:gd name="connsiteX86" fmla="*/ 9167 w 10000"/>
              <a:gd name="connsiteY86" fmla="*/ 9311 h 10143"/>
              <a:gd name="connsiteX87" fmla="*/ 9114 w 10000"/>
              <a:gd name="connsiteY87" fmla="*/ 9311 h 10143"/>
              <a:gd name="connsiteX88" fmla="*/ 9062 w 10000"/>
              <a:gd name="connsiteY88" fmla="*/ 9353 h 10143"/>
              <a:gd name="connsiteX89" fmla="*/ 9011 w 10000"/>
              <a:gd name="connsiteY89" fmla="*/ 9395 h 10143"/>
              <a:gd name="connsiteX90" fmla="*/ 8959 w 10000"/>
              <a:gd name="connsiteY90" fmla="*/ 9395 h 10143"/>
              <a:gd name="connsiteX91" fmla="*/ 8959 w 10000"/>
              <a:gd name="connsiteY91" fmla="*/ 9440 h 10143"/>
              <a:gd name="connsiteX92" fmla="*/ 8906 w 10000"/>
              <a:gd name="connsiteY92" fmla="*/ 9440 h 10143"/>
              <a:gd name="connsiteX93" fmla="*/ 8906 w 10000"/>
              <a:gd name="connsiteY93" fmla="*/ 9482 h 10143"/>
              <a:gd name="connsiteX94" fmla="*/ 8854 w 10000"/>
              <a:gd name="connsiteY94" fmla="*/ 9482 h 10143"/>
              <a:gd name="connsiteX95" fmla="*/ 8802 w 10000"/>
              <a:gd name="connsiteY95" fmla="*/ 9482 h 10143"/>
              <a:gd name="connsiteX96" fmla="*/ 8749 w 10000"/>
              <a:gd name="connsiteY96" fmla="*/ 9482 h 10143"/>
              <a:gd name="connsiteX97" fmla="*/ 8698 w 10000"/>
              <a:gd name="connsiteY97" fmla="*/ 9482 h 10143"/>
              <a:gd name="connsiteX98" fmla="*/ 8646 w 10000"/>
              <a:gd name="connsiteY98" fmla="*/ 9482 h 10143"/>
              <a:gd name="connsiteX99" fmla="*/ 8646 w 10000"/>
              <a:gd name="connsiteY99" fmla="*/ 9440 h 10143"/>
              <a:gd name="connsiteX100" fmla="*/ 8646 w 10000"/>
              <a:gd name="connsiteY100" fmla="*/ 9395 h 10143"/>
              <a:gd name="connsiteX101" fmla="*/ 8594 w 10000"/>
              <a:gd name="connsiteY101" fmla="*/ 9353 h 10143"/>
              <a:gd name="connsiteX102" fmla="*/ 8594 w 10000"/>
              <a:gd name="connsiteY102" fmla="*/ 9311 h 10143"/>
              <a:gd name="connsiteX103" fmla="*/ 8594 w 10000"/>
              <a:gd name="connsiteY103" fmla="*/ 9268 h 10143"/>
              <a:gd name="connsiteX104" fmla="*/ 8541 w 10000"/>
              <a:gd name="connsiteY104" fmla="*/ 9268 h 10143"/>
              <a:gd name="connsiteX105" fmla="*/ 8489 w 10000"/>
              <a:gd name="connsiteY105" fmla="*/ 9268 h 10143"/>
              <a:gd name="connsiteX106" fmla="*/ 8489 w 10000"/>
              <a:gd name="connsiteY106" fmla="*/ 9224 h 10143"/>
              <a:gd name="connsiteX107" fmla="*/ 8438 w 10000"/>
              <a:gd name="connsiteY107" fmla="*/ 9224 h 10143"/>
              <a:gd name="connsiteX108" fmla="*/ 8386 w 10000"/>
              <a:gd name="connsiteY108" fmla="*/ 9268 h 10143"/>
              <a:gd name="connsiteX109" fmla="*/ 8386 w 10000"/>
              <a:gd name="connsiteY109" fmla="*/ 9311 h 10143"/>
              <a:gd name="connsiteX110" fmla="*/ 8282 w 10000"/>
              <a:gd name="connsiteY110" fmla="*/ 9268 h 10143"/>
              <a:gd name="connsiteX111" fmla="*/ 8282 w 10000"/>
              <a:gd name="connsiteY111" fmla="*/ 9224 h 10143"/>
              <a:gd name="connsiteX112" fmla="*/ 8230 w 10000"/>
              <a:gd name="connsiteY112" fmla="*/ 9224 h 10143"/>
              <a:gd name="connsiteX113" fmla="*/ 8179 w 10000"/>
              <a:gd name="connsiteY113" fmla="*/ 9224 h 10143"/>
              <a:gd name="connsiteX114" fmla="*/ 8126 w 10000"/>
              <a:gd name="connsiteY114" fmla="*/ 9224 h 10143"/>
              <a:gd name="connsiteX115" fmla="*/ 8074 w 10000"/>
              <a:gd name="connsiteY115" fmla="*/ 9224 h 10143"/>
              <a:gd name="connsiteX116" fmla="*/ 8022 w 10000"/>
              <a:gd name="connsiteY116" fmla="*/ 9224 h 10143"/>
              <a:gd name="connsiteX117" fmla="*/ 8022 w 10000"/>
              <a:gd name="connsiteY117" fmla="*/ 9268 h 10143"/>
              <a:gd name="connsiteX118" fmla="*/ 7969 w 10000"/>
              <a:gd name="connsiteY118" fmla="*/ 9268 h 10143"/>
              <a:gd name="connsiteX119" fmla="*/ 7917 w 10000"/>
              <a:gd name="connsiteY119" fmla="*/ 9311 h 10143"/>
              <a:gd name="connsiteX120" fmla="*/ 7866 w 10000"/>
              <a:gd name="connsiteY120" fmla="*/ 9311 h 10143"/>
              <a:gd name="connsiteX121" fmla="*/ 7866 w 10000"/>
              <a:gd name="connsiteY121" fmla="*/ 9268 h 10143"/>
              <a:gd name="connsiteX122" fmla="*/ 7866 w 10000"/>
              <a:gd name="connsiteY122" fmla="*/ 9311 h 10143"/>
              <a:gd name="connsiteX123" fmla="*/ 7814 w 10000"/>
              <a:gd name="connsiteY123" fmla="*/ 9311 h 10143"/>
              <a:gd name="connsiteX124" fmla="*/ 7761 w 10000"/>
              <a:gd name="connsiteY124" fmla="*/ 9353 h 10143"/>
              <a:gd name="connsiteX125" fmla="*/ 7709 w 10000"/>
              <a:gd name="connsiteY125" fmla="*/ 9311 h 10143"/>
              <a:gd name="connsiteX126" fmla="*/ 7657 w 10000"/>
              <a:gd name="connsiteY126" fmla="*/ 9311 h 10143"/>
              <a:gd name="connsiteX127" fmla="*/ 7606 w 10000"/>
              <a:gd name="connsiteY127" fmla="*/ 9311 h 10143"/>
              <a:gd name="connsiteX128" fmla="*/ 7553 w 10000"/>
              <a:gd name="connsiteY128" fmla="*/ 9268 h 10143"/>
              <a:gd name="connsiteX129" fmla="*/ 7501 w 10000"/>
              <a:gd name="connsiteY129" fmla="*/ 9268 h 10143"/>
              <a:gd name="connsiteX130" fmla="*/ 7501 w 10000"/>
              <a:gd name="connsiteY130" fmla="*/ 9311 h 10143"/>
              <a:gd name="connsiteX131" fmla="*/ 7449 w 10000"/>
              <a:gd name="connsiteY131" fmla="*/ 9311 h 10143"/>
              <a:gd name="connsiteX132" fmla="*/ 7396 w 10000"/>
              <a:gd name="connsiteY132" fmla="*/ 9268 h 10143"/>
              <a:gd name="connsiteX133" fmla="*/ 7345 w 10000"/>
              <a:gd name="connsiteY133" fmla="*/ 9268 h 10143"/>
              <a:gd name="connsiteX134" fmla="*/ 7293 w 10000"/>
              <a:gd name="connsiteY134" fmla="*/ 9353 h 10143"/>
              <a:gd name="connsiteX135" fmla="*/ 7241 w 10000"/>
              <a:gd name="connsiteY135" fmla="*/ 9353 h 10143"/>
              <a:gd name="connsiteX136" fmla="*/ 7241 w 10000"/>
              <a:gd name="connsiteY136" fmla="*/ 9311 h 10143"/>
              <a:gd name="connsiteX137" fmla="*/ 7241 w 10000"/>
              <a:gd name="connsiteY137" fmla="*/ 9353 h 10143"/>
              <a:gd name="connsiteX138" fmla="*/ 7241 w 10000"/>
              <a:gd name="connsiteY138" fmla="*/ 9395 h 10143"/>
              <a:gd name="connsiteX139" fmla="*/ 7188 w 10000"/>
              <a:gd name="connsiteY139" fmla="*/ 9395 h 10143"/>
              <a:gd name="connsiteX140" fmla="*/ 7136 w 10000"/>
              <a:gd name="connsiteY140" fmla="*/ 9395 h 10143"/>
              <a:gd name="connsiteX141" fmla="*/ 7188 w 10000"/>
              <a:gd name="connsiteY141" fmla="*/ 9440 h 10143"/>
              <a:gd name="connsiteX142" fmla="*/ 7136 w 10000"/>
              <a:gd name="connsiteY142" fmla="*/ 9482 h 10143"/>
              <a:gd name="connsiteX143" fmla="*/ 7188 w 10000"/>
              <a:gd name="connsiteY143" fmla="*/ 9526 h 10143"/>
              <a:gd name="connsiteX144" fmla="*/ 7241 w 10000"/>
              <a:gd name="connsiteY144" fmla="*/ 9526 h 10143"/>
              <a:gd name="connsiteX145" fmla="*/ 7241 w 10000"/>
              <a:gd name="connsiteY145" fmla="*/ 9570 h 10143"/>
              <a:gd name="connsiteX146" fmla="*/ 7188 w 10000"/>
              <a:gd name="connsiteY146" fmla="*/ 9570 h 10143"/>
              <a:gd name="connsiteX147" fmla="*/ 7136 w 10000"/>
              <a:gd name="connsiteY147" fmla="*/ 9570 h 10143"/>
              <a:gd name="connsiteX148" fmla="*/ 7188 w 10000"/>
              <a:gd name="connsiteY148" fmla="*/ 9611 h 10143"/>
              <a:gd name="connsiteX149" fmla="*/ 7188 w 10000"/>
              <a:gd name="connsiteY149" fmla="*/ 9655 h 10143"/>
              <a:gd name="connsiteX150" fmla="*/ 7136 w 10000"/>
              <a:gd name="connsiteY150" fmla="*/ 9655 h 10143"/>
              <a:gd name="connsiteX151" fmla="*/ 7136 w 10000"/>
              <a:gd name="connsiteY151" fmla="*/ 9699 h 10143"/>
              <a:gd name="connsiteX152" fmla="*/ 7084 w 10000"/>
              <a:gd name="connsiteY152" fmla="*/ 9742 h 10143"/>
              <a:gd name="connsiteX153" fmla="*/ 7136 w 10000"/>
              <a:gd name="connsiteY153" fmla="*/ 9785 h 10143"/>
              <a:gd name="connsiteX154" fmla="*/ 7188 w 10000"/>
              <a:gd name="connsiteY154" fmla="*/ 9785 h 10143"/>
              <a:gd name="connsiteX155" fmla="*/ 7188 w 10000"/>
              <a:gd name="connsiteY155" fmla="*/ 9827 h 10143"/>
              <a:gd name="connsiteX156" fmla="*/ 7188 w 10000"/>
              <a:gd name="connsiteY156" fmla="*/ 9870 h 10143"/>
              <a:gd name="connsiteX157" fmla="*/ 7136 w 10000"/>
              <a:gd name="connsiteY157" fmla="*/ 9870 h 10143"/>
              <a:gd name="connsiteX158" fmla="*/ 7136 w 10000"/>
              <a:gd name="connsiteY158" fmla="*/ 10000 h 10143"/>
              <a:gd name="connsiteX159" fmla="*/ 7344 w 10000"/>
              <a:gd name="connsiteY159" fmla="*/ 7607 h 10143"/>
              <a:gd name="connsiteX160" fmla="*/ 7136 w 10000"/>
              <a:gd name="connsiteY160" fmla="*/ 7257 h 10143"/>
              <a:gd name="connsiteX161" fmla="*/ 6544 w 10000"/>
              <a:gd name="connsiteY161" fmla="*/ 7143 h 10143"/>
              <a:gd name="connsiteX162" fmla="*/ 5775 w 10000"/>
              <a:gd name="connsiteY162" fmla="*/ 7107 h 10143"/>
              <a:gd name="connsiteX163" fmla="*/ 5311 w 10000"/>
              <a:gd name="connsiteY163" fmla="*/ 6997 h 10143"/>
              <a:gd name="connsiteX164" fmla="*/ 5071 w 10000"/>
              <a:gd name="connsiteY164" fmla="*/ 6886 h 10143"/>
              <a:gd name="connsiteX165" fmla="*/ 4912 w 10000"/>
              <a:gd name="connsiteY165" fmla="*/ 6979 h 10143"/>
              <a:gd name="connsiteX166" fmla="*/ 4416 w 10000"/>
              <a:gd name="connsiteY166" fmla="*/ 6811 h 10143"/>
              <a:gd name="connsiteX167" fmla="*/ 3584 w 10000"/>
              <a:gd name="connsiteY167" fmla="*/ 6516 h 10143"/>
              <a:gd name="connsiteX168" fmla="*/ 3104 w 10000"/>
              <a:gd name="connsiteY168" fmla="*/ 6460 h 10143"/>
              <a:gd name="connsiteX169" fmla="*/ 3200 w 10000"/>
              <a:gd name="connsiteY169" fmla="*/ 6257 h 10143"/>
              <a:gd name="connsiteX170" fmla="*/ 3344 w 10000"/>
              <a:gd name="connsiteY170" fmla="*/ 6201 h 10143"/>
              <a:gd name="connsiteX171" fmla="*/ 3728 w 10000"/>
              <a:gd name="connsiteY171" fmla="*/ 5905 h 10143"/>
              <a:gd name="connsiteX172" fmla="*/ 3968 w 10000"/>
              <a:gd name="connsiteY172" fmla="*/ 5628 h 10143"/>
              <a:gd name="connsiteX173" fmla="*/ 4224 w 10000"/>
              <a:gd name="connsiteY173" fmla="*/ 5332 h 10143"/>
              <a:gd name="connsiteX174" fmla="*/ 4368 w 10000"/>
              <a:gd name="connsiteY174" fmla="*/ 5056 h 10143"/>
              <a:gd name="connsiteX175" fmla="*/ 4352 w 10000"/>
              <a:gd name="connsiteY175" fmla="*/ 4741 h 10143"/>
              <a:gd name="connsiteX176" fmla="*/ 4336 w 10000"/>
              <a:gd name="connsiteY176" fmla="*/ 4463 h 10143"/>
              <a:gd name="connsiteX177" fmla="*/ 4176 w 10000"/>
              <a:gd name="connsiteY177" fmla="*/ 4296 h 10143"/>
              <a:gd name="connsiteX178" fmla="*/ 4016 w 10000"/>
              <a:gd name="connsiteY178" fmla="*/ 4316 h 10143"/>
              <a:gd name="connsiteX179" fmla="*/ 3856 w 10000"/>
              <a:gd name="connsiteY179" fmla="*/ 4611 h 10143"/>
              <a:gd name="connsiteX180" fmla="*/ 3808 w 10000"/>
              <a:gd name="connsiteY180" fmla="*/ 5146 h 10143"/>
              <a:gd name="connsiteX181" fmla="*/ 3536 w 10000"/>
              <a:gd name="connsiteY181" fmla="*/ 5500 h 10143"/>
              <a:gd name="connsiteX182" fmla="*/ 2992 w 10000"/>
              <a:gd name="connsiteY182" fmla="*/ 5813 h 10143"/>
              <a:gd name="connsiteX183" fmla="*/ 2415 w 10000"/>
              <a:gd name="connsiteY183" fmla="*/ 6053 h 10143"/>
              <a:gd name="connsiteX184" fmla="*/ 1951 w 10000"/>
              <a:gd name="connsiteY184" fmla="*/ 6384 h 10143"/>
              <a:gd name="connsiteX185" fmla="*/ 0 w 10000"/>
              <a:gd name="connsiteY185" fmla="*/ 6312 h 10143"/>
              <a:gd name="connsiteX186" fmla="*/ 3 w 10000"/>
              <a:gd name="connsiteY186" fmla="*/ 6077 h 10143"/>
              <a:gd name="connsiteX187" fmla="*/ 159 w 10000"/>
              <a:gd name="connsiteY187" fmla="*/ 6164 h 10143"/>
              <a:gd name="connsiteX188" fmla="*/ 368 w 10000"/>
              <a:gd name="connsiteY188" fmla="*/ 6077 h 10143"/>
              <a:gd name="connsiteX189" fmla="*/ 1462 w 10000"/>
              <a:gd name="connsiteY189" fmla="*/ 6077 h 10143"/>
              <a:gd name="connsiteX190" fmla="*/ 1617 w 10000"/>
              <a:gd name="connsiteY190" fmla="*/ 6035 h 10143"/>
              <a:gd name="connsiteX191" fmla="*/ 1669 w 10000"/>
              <a:gd name="connsiteY191" fmla="*/ 6035 h 10143"/>
              <a:gd name="connsiteX192" fmla="*/ 2189 w 10000"/>
              <a:gd name="connsiteY192" fmla="*/ 5475 h 10143"/>
              <a:gd name="connsiteX193" fmla="*/ 2294 w 10000"/>
              <a:gd name="connsiteY193" fmla="*/ 5387 h 10143"/>
              <a:gd name="connsiteX194" fmla="*/ 2762 w 10000"/>
              <a:gd name="connsiteY194" fmla="*/ 4957 h 10143"/>
              <a:gd name="connsiteX195" fmla="*/ 3023 w 10000"/>
              <a:gd name="connsiteY195" fmla="*/ 4698 h 10143"/>
              <a:gd name="connsiteX196" fmla="*/ 3179 w 10000"/>
              <a:gd name="connsiteY196" fmla="*/ 4569 h 10143"/>
              <a:gd name="connsiteX197" fmla="*/ 3596 w 10000"/>
              <a:gd name="connsiteY197" fmla="*/ 3922 h 10143"/>
              <a:gd name="connsiteX198" fmla="*/ 4116 w 10000"/>
              <a:gd name="connsiteY198" fmla="*/ 3663 h 10143"/>
              <a:gd name="connsiteX199" fmla="*/ 5001 w 10000"/>
              <a:gd name="connsiteY199" fmla="*/ 2931 h 10143"/>
              <a:gd name="connsiteX200" fmla="*/ 4845 w 10000"/>
              <a:gd name="connsiteY200" fmla="*/ 2672 h 10143"/>
              <a:gd name="connsiteX201" fmla="*/ 4794 w 10000"/>
              <a:gd name="connsiteY201" fmla="*/ 2500 h 10143"/>
              <a:gd name="connsiteX202" fmla="*/ 4794 w 10000"/>
              <a:gd name="connsiteY202" fmla="*/ 1292 h 10143"/>
              <a:gd name="connsiteX203" fmla="*/ 4116 w 10000"/>
              <a:gd name="connsiteY203" fmla="*/ 774 h 10143"/>
              <a:gd name="connsiteX204" fmla="*/ 4950 w 10000"/>
              <a:gd name="connsiteY204" fmla="*/ 774 h 10143"/>
              <a:gd name="connsiteX205" fmla="*/ 5782 w 10000"/>
              <a:gd name="connsiteY205" fmla="*/ 774 h 10143"/>
              <a:gd name="connsiteX206" fmla="*/ 5782 w 10000"/>
              <a:gd name="connsiteY206" fmla="*/ 732 h 10143"/>
              <a:gd name="connsiteX207" fmla="*/ 5782 w 10000"/>
              <a:gd name="connsiteY207" fmla="*/ 691 h 10143"/>
              <a:gd name="connsiteX208" fmla="*/ 5782 w 10000"/>
              <a:gd name="connsiteY208" fmla="*/ 650 h 10143"/>
              <a:gd name="connsiteX209" fmla="*/ 5782 w 10000"/>
              <a:gd name="connsiteY209" fmla="*/ 603 h 10143"/>
              <a:gd name="connsiteX210" fmla="*/ 5834 w 10000"/>
              <a:gd name="connsiteY210" fmla="*/ 557 h 10143"/>
              <a:gd name="connsiteX211" fmla="*/ 5834 w 10000"/>
              <a:gd name="connsiteY211" fmla="*/ 516 h 10143"/>
              <a:gd name="connsiteX212" fmla="*/ 5834 w 10000"/>
              <a:gd name="connsiteY212" fmla="*/ 475 h 10143"/>
              <a:gd name="connsiteX213" fmla="*/ 5834 w 10000"/>
              <a:gd name="connsiteY213" fmla="*/ 433 h 10143"/>
              <a:gd name="connsiteX214" fmla="*/ 5834 w 10000"/>
              <a:gd name="connsiteY214" fmla="*/ 392 h 10143"/>
              <a:gd name="connsiteX215" fmla="*/ 5834 w 10000"/>
              <a:gd name="connsiteY215" fmla="*/ 341 h 10143"/>
              <a:gd name="connsiteX216" fmla="*/ 5782 w 10000"/>
              <a:gd name="connsiteY216" fmla="*/ 341 h 10143"/>
              <a:gd name="connsiteX217" fmla="*/ 5782 w 10000"/>
              <a:gd name="connsiteY217" fmla="*/ 299 h 10143"/>
              <a:gd name="connsiteX218" fmla="*/ 5782 w 10000"/>
              <a:gd name="connsiteY218" fmla="*/ 258 h 10143"/>
              <a:gd name="connsiteX219" fmla="*/ 5782 w 10000"/>
              <a:gd name="connsiteY219" fmla="*/ 217 h 10143"/>
              <a:gd name="connsiteX220" fmla="*/ 5782 w 10000"/>
              <a:gd name="connsiteY220" fmla="*/ 175 h 10143"/>
              <a:gd name="connsiteX221" fmla="*/ 5782 w 10000"/>
              <a:gd name="connsiteY221" fmla="*/ 134 h 10143"/>
              <a:gd name="connsiteX222" fmla="*/ 5782 w 10000"/>
              <a:gd name="connsiteY222" fmla="*/ 83 h 10143"/>
              <a:gd name="connsiteX223" fmla="*/ 5782 w 10000"/>
              <a:gd name="connsiteY223" fmla="*/ 41 h 10143"/>
              <a:gd name="connsiteX224" fmla="*/ 5782 w 10000"/>
              <a:gd name="connsiteY224" fmla="*/ 0 h 10143"/>
              <a:gd name="connsiteX0" fmla="*/ 5782 w 10000"/>
              <a:gd name="connsiteY0" fmla="*/ 0 h 10000"/>
              <a:gd name="connsiteX1" fmla="*/ 7345 w 10000"/>
              <a:gd name="connsiteY1" fmla="*/ 41 h 10000"/>
              <a:gd name="connsiteX2" fmla="*/ 7501 w 10000"/>
              <a:gd name="connsiteY2" fmla="*/ 41 h 10000"/>
              <a:gd name="connsiteX3" fmla="*/ 7345 w 10000"/>
              <a:gd name="connsiteY3" fmla="*/ 175 h 10000"/>
              <a:gd name="connsiteX4" fmla="*/ 7293 w 10000"/>
              <a:gd name="connsiteY4" fmla="*/ 557 h 10000"/>
              <a:gd name="connsiteX5" fmla="*/ 7188 w 10000"/>
              <a:gd name="connsiteY5" fmla="*/ 1166 h 10000"/>
              <a:gd name="connsiteX6" fmla="*/ 7136 w 10000"/>
              <a:gd name="connsiteY6" fmla="*/ 1207 h 10000"/>
              <a:gd name="connsiteX7" fmla="*/ 6980 w 10000"/>
              <a:gd name="connsiteY7" fmla="*/ 1551 h 10000"/>
              <a:gd name="connsiteX8" fmla="*/ 7396 w 10000"/>
              <a:gd name="connsiteY8" fmla="*/ 3147 h 10000"/>
              <a:gd name="connsiteX9" fmla="*/ 7501 w 10000"/>
              <a:gd name="connsiteY9" fmla="*/ 3449 h 10000"/>
              <a:gd name="connsiteX10" fmla="*/ 7345 w 10000"/>
              <a:gd name="connsiteY10" fmla="*/ 3708 h 10000"/>
              <a:gd name="connsiteX11" fmla="*/ 8022 w 10000"/>
              <a:gd name="connsiteY11" fmla="*/ 3879 h 10000"/>
              <a:gd name="connsiteX12" fmla="*/ 8489 w 10000"/>
              <a:gd name="connsiteY12" fmla="*/ 4354 h 10000"/>
              <a:gd name="connsiteX13" fmla="*/ 8594 w 10000"/>
              <a:gd name="connsiteY13" fmla="*/ 4440 h 10000"/>
              <a:gd name="connsiteX14" fmla="*/ 8906 w 10000"/>
              <a:gd name="connsiteY14" fmla="*/ 4655 h 10000"/>
              <a:gd name="connsiteX15" fmla="*/ 9114 w 10000"/>
              <a:gd name="connsiteY15" fmla="*/ 4914 h 10000"/>
              <a:gd name="connsiteX16" fmla="*/ 9219 w 10000"/>
              <a:gd name="connsiteY16" fmla="*/ 5044 h 10000"/>
              <a:gd name="connsiteX17" fmla="*/ 9427 w 10000"/>
              <a:gd name="connsiteY17" fmla="*/ 5044 h 10000"/>
              <a:gd name="connsiteX18" fmla="*/ 9427 w 10000"/>
              <a:gd name="connsiteY18" fmla="*/ 5086 h 10000"/>
              <a:gd name="connsiteX19" fmla="*/ 9479 w 10000"/>
              <a:gd name="connsiteY19" fmla="*/ 5172 h 10000"/>
              <a:gd name="connsiteX20" fmla="*/ 9479 w 10000"/>
              <a:gd name="connsiteY20" fmla="*/ 5216 h 10000"/>
              <a:gd name="connsiteX21" fmla="*/ 9532 w 10000"/>
              <a:gd name="connsiteY21" fmla="*/ 5387 h 10000"/>
              <a:gd name="connsiteX22" fmla="*/ 9532 w 10000"/>
              <a:gd name="connsiteY22" fmla="*/ 5431 h 10000"/>
              <a:gd name="connsiteX23" fmla="*/ 9532 w 10000"/>
              <a:gd name="connsiteY23" fmla="*/ 5561 h 10000"/>
              <a:gd name="connsiteX24" fmla="*/ 9532 w 10000"/>
              <a:gd name="connsiteY24" fmla="*/ 5645 h 10000"/>
              <a:gd name="connsiteX25" fmla="*/ 9479 w 10000"/>
              <a:gd name="connsiteY25" fmla="*/ 5733 h 10000"/>
              <a:gd name="connsiteX26" fmla="*/ 9427 w 10000"/>
              <a:gd name="connsiteY26" fmla="*/ 5993 h 10000"/>
              <a:gd name="connsiteX27" fmla="*/ 9375 w 10000"/>
              <a:gd name="connsiteY27" fmla="*/ 6035 h 10000"/>
              <a:gd name="connsiteX28" fmla="*/ 9322 w 10000"/>
              <a:gd name="connsiteY28" fmla="*/ 6077 h 10000"/>
              <a:gd name="connsiteX29" fmla="*/ 9271 w 10000"/>
              <a:gd name="connsiteY29" fmla="*/ 6251 h 10000"/>
              <a:gd name="connsiteX30" fmla="*/ 9219 w 10000"/>
              <a:gd name="connsiteY30" fmla="*/ 6335 h 10000"/>
              <a:gd name="connsiteX31" fmla="*/ 9219 w 10000"/>
              <a:gd name="connsiteY31" fmla="*/ 6423 h 10000"/>
              <a:gd name="connsiteX32" fmla="*/ 9219 w 10000"/>
              <a:gd name="connsiteY32" fmla="*/ 6466 h 10000"/>
              <a:gd name="connsiteX33" fmla="*/ 9219 w 10000"/>
              <a:gd name="connsiteY33" fmla="*/ 6594 h 10000"/>
              <a:gd name="connsiteX34" fmla="*/ 9271 w 10000"/>
              <a:gd name="connsiteY34" fmla="*/ 6725 h 10000"/>
              <a:gd name="connsiteX35" fmla="*/ 9895 w 10000"/>
              <a:gd name="connsiteY35" fmla="*/ 6725 h 10000"/>
              <a:gd name="connsiteX36" fmla="*/ 9895 w 10000"/>
              <a:gd name="connsiteY36" fmla="*/ 6810 h 10000"/>
              <a:gd name="connsiteX37" fmla="*/ 9948 w 10000"/>
              <a:gd name="connsiteY37" fmla="*/ 7111 h 10000"/>
              <a:gd name="connsiteX38" fmla="*/ 9948 w 10000"/>
              <a:gd name="connsiteY38" fmla="*/ 7156 h 10000"/>
              <a:gd name="connsiteX39" fmla="*/ 9948 w 10000"/>
              <a:gd name="connsiteY39" fmla="*/ 7284 h 10000"/>
              <a:gd name="connsiteX40" fmla="*/ 9948 w 10000"/>
              <a:gd name="connsiteY40" fmla="*/ 7328 h 10000"/>
              <a:gd name="connsiteX41" fmla="*/ 9948 w 10000"/>
              <a:gd name="connsiteY41" fmla="*/ 7414 h 10000"/>
              <a:gd name="connsiteX42" fmla="*/ 9948 w 10000"/>
              <a:gd name="connsiteY42" fmla="*/ 7457 h 10000"/>
              <a:gd name="connsiteX43" fmla="*/ 9948 w 10000"/>
              <a:gd name="connsiteY43" fmla="*/ 7500 h 10000"/>
              <a:gd name="connsiteX44" fmla="*/ 9948 w 10000"/>
              <a:gd name="connsiteY44" fmla="*/ 7543 h 10000"/>
              <a:gd name="connsiteX45" fmla="*/ 10000 w 10000"/>
              <a:gd name="connsiteY45" fmla="*/ 7629 h 10000"/>
              <a:gd name="connsiteX46" fmla="*/ 10000 w 10000"/>
              <a:gd name="connsiteY46" fmla="*/ 7759 h 10000"/>
              <a:gd name="connsiteX47" fmla="*/ 10000 w 10000"/>
              <a:gd name="connsiteY47" fmla="*/ 7802 h 10000"/>
              <a:gd name="connsiteX48" fmla="*/ 10000 w 10000"/>
              <a:gd name="connsiteY48" fmla="*/ 7845 h 10000"/>
              <a:gd name="connsiteX49" fmla="*/ 10000 w 10000"/>
              <a:gd name="connsiteY49" fmla="*/ 7888 h 10000"/>
              <a:gd name="connsiteX50" fmla="*/ 10000 w 10000"/>
              <a:gd name="connsiteY50" fmla="*/ 7974 h 10000"/>
              <a:gd name="connsiteX51" fmla="*/ 10000 w 10000"/>
              <a:gd name="connsiteY51" fmla="*/ 8018 h 10000"/>
              <a:gd name="connsiteX52" fmla="*/ 10000 w 10000"/>
              <a:gd name="connsiteY52" fmla="*/ 8060 h 10000"/>
              <a:gd name="connsiteX53" fmla="*/ 10000 w 10000"/>
              <a:gd name="connsiteY53" fmla="*/ 8146 h 10000"/>
              <a:gd name="connsiteX54" fmla="*/ 10000 w 10000"/>
              <a:gd name="connsiteY54" fmla="*/ 8363 h 10000"/>
              <a:gd name="connsiteX55" fmla="*/ 10000 w 10000"/>
              <a:gd name="connsiteY55" fmla="*/ 8404 h 10000"/>
              <a:gd name="connsiteX56" fmla="*/ 10000 w 10000"/>
              <a:gd name="connsiteY56" fmla="*/ 8492 h 10000"/>
              <a:gd name="connsiteX57" fmla="*/ 10000 w 10000"/>
              <a:gd name="connsiteY57" fmla="*/ 8535 h 10000"/>
              <a:gd name="connsiteX58" fmla="*/ 10000 w 10000"/>
              <a:gd name="connsiteY58" fmla="*/ 8578 h 10000"/>
              <a:gd name="connsiteX59" fmla="*/ 10000 w 10000"/>
              <a:gd name="connsiteY59" fmla="*/ 8620 h 10000"/>
              <a:gd name="connsiteX60" fmla="*/ 10000 w 10000"/>
              <a:gd name="connsiteY60" fmla="*/ 8662 h 10000"/>
              <a:gd name="connsiteX61" fmla="*/ 10000 w 10000"/>
              <a:gd name="connsiteY61" fmla="*/ 8751 h 10000"/>
              <a:gd name="connsiteX62" fmla="*/ 10000 w 10000"/>
              <a:gd name="connsiteY62" fmla="*/ 8836 h 10000"/>
              <a:gd name="connsiteX63" fmla="*/ 10000 w 10000"/>
              <a:gd name="connsiteY63" fmla="*/ 8878 h 10000"/>
              <a:gd name="connsiteX64" fmla="*/ 10000 w 10000"/>
              <a:gd name="connsiteY64" fmla="*/ 8923 h 10000"/>
              <a:gd name="connsiteX65" fmla="*/ 9948 w 10000"/>
              <a:gd name="connsiteY65" fmla="*/ 8923 h 10000"/>
              <a:gd name="connsiteX66" fmla="*/ 9948 w 10000"/>
              <a:gd name="connsiteY66" fmla="*/ 8965 h 10000"/>
              <a:gd name="connsiteX67" fmla="*/ 9895 w 10000"/>
              <a:gd name="connsiteY67" fmla="*/ 9009 h 10000"/>
              <a:gd name="connsiteX68" fmla="*/ 9844 w 10000"/>
              <a:gd name="connsiteY68" fmla="*/ 9009 h 10000"/>
              <a:gd name="connsiteX69" fmla="*/ 9844 w 10000"/>
              <a:gd name="connsiteY69" fmla="*/ 9053 h 10000"/>
              <a:gd name="connsiteX70" fmla="*/ 9792 w 10000"/>
              <a:gd name="connsiteY70" fmla="*/ 9053 h 10000"/>
              <a:gd name="connsiteX71" fmla="*/ 9740 w 10000"/>
              <a:gd name="connsiteY71" fmla="*/ 9095 h 10000"/>
              <a:gd name="connsiteX72" fmla="*/ 9687 w 10000"/>
              <a:gd name="connsiteY72" fmla="*/ 9136 h 10000"/>
              <a:gd name="connsiteX73" fmla="*/ 9635 w 10000"/>
              <a:gd name="connsiteY73" fmla="*/ 9136 h 10000"/>
              <a:gd name="connsiteX74" fmla="*/ 9635 w 10000"/>
              <a:gd name="connsiteY74" fmla="*/ 9181 h 10000"/>
              <a:gd name="connsiteX75" fmla="*/ 9583 w 10000"/>
              <a:gd name="connsiteY75" fmla="*/ 9181 h 10000"/>
              <a:gd name="connsiteX76" fmla="*/ 9532 w 10000"/>
              <a:gd name="connsiteY76" fmla="*/ 9181 h 10000"/>
              <a:gd name="connsiteX77" fmla="*/ 9479 w 10000"/>
              <a:gd name="connsiteY77" fmla="*/ 9181 h 10000"/>
              <a:gd name="connsiteX78" fmla="*/ 9427 w 10000"/>
              <a:gd name="connsiteY78" fmla="*/ 9181 h 10000"/>
              <a:gd name="connsiteX79" fmla="*/ 9375 w 10000"/>
              <a:gd name="connsiteY79" fmla="*/ 9181 h 10000"/>
              <a:gd name="connsiteX80" fmla="*/ 9322 w 10000"/>
              <a:gd name="connsiteY80" fmla="*/ 9181 h 10000"/>
              <a:gd name="connsiteX81" fmla="*/ 9271 w 10000"/>
              <a:gd name="connsiteY81" fmla="*/ 9181 h 10000"/>
              <a:gd name="connsiteX82" fmla="*/ 9271 w 10000"/>
              <a:gd name="connsiteY82" fmla="*/ 9224 h 10000"/>
              <a:gd name="connsiteX83" fmla="*/ 9219 w 10000"/>
              <a:gd name="connsiteY83" fmla="*/ 9268 h 10000"/>
              <a:gd name="connsiteX84" fmla="*/ 9167 w 10000"/>
              <a:gd name="connsiteY84" fmla="*/ 9311 h 10000"/>
              <a:gd name="connsiteX85" fmla="*/ 9219 w 10000"/>
              <a:gd name="connsiteY85" fmla="*/ 9311 h 10000"/>
              <a:gd name="connsiteX86" fmla="*/ 9167 w 10000"/>
              <a:gd name="connsiteY86" fmla="*/ 9311 h 10000"/>
              <a:gd name="connsiteX87" fmla="*/ 9114 w 10000"/>
              <a:gd name="connsiteY87" fmla="*/ 9311 h 10000"/>
              <a:gd name="connsiteX88" fmla="*/ 9062 w 10000"/>
              <a:gd name="connsiteY88" fmla="*/ 9353 h 10000"/>
              <a:gd name="connsiteX89" fmla="*/ 9011 w 10000"/>
              <a:gd name="connsiteY89" fmla="*/ 9395 h 10000"/>
              <a:gd name="connsiteX90" fmla="*/ 8959 w 10000"/>
              <a:gd name="connsiteY90" fmla="*/ 9395 h 10000"/>
              <a:gd name="connsiteX91" fmla="*/ 8959 w 10000"/>
              <a:gd name="connsiteY91" fmla="*/ 9440 h 10000"/>
              <a:gd name="connsiteX92" fmla="*/ 8906 w 10000"/>
              <a:gd name="connsiteY92" fmla="*/ 9440 h 10000"/>
              <a:gd name="connsiteX93" fmla="*/ 8906 w 10000"/>
              <a:gd name="connsiteY93" fmla="*/ 9482 h 10000"/>
              <a:gd name="connsiteX94" fmla="*/ 8854 w 10000"/>
              <a:gd name="connsiteY94" fmla="*/ 9482 h 10000"/>
              <a:gd name="connsiteX95" fmla="*/ 8802 w 10000"/>
              <a:gd name="connsiteY95" fmla="*/ 9482 h 10000"/>
              <a:gd name="connsiteX96" fmla="*/ 8749 w 10000"/>
              <a:gd name="connsiteY96" fmla="*/ 9482 h 10000"/>
              <a:gd name="connsiteX97" fmla="*/ 8698 w 10000"/>
              <a:gd name="connsiteY97" fmla="*/ 9482 h 10000"/>
              <a:gd name="connsiteX98" fmla="*/ 8646 w 10000"/>
              <a:gd name="connsiteY98" fmla="*/ 9482 h 10000"/>
              <a:gd name="connsiteX99" fmla="*/ 8646 w 10000"/>
              <a:gd name="connsiteY99" fmla="*/ 9440 h 10000"/>
              <a:gd name="connsiteX100" fmla="*/ 8646 w 10000"/>
              <a:gd name="connsiteY100" fmla="*/ 9395 h 10000"/>
              <a:gd name="connsiteX101" fmla="*/ 8594 w 10000"/>
              <a:gd name="connsiteY101" fmla="*/ 9353 h 10000"/>
              <a:gd name="connsiteX102" fmla="*/ 8594 w 10000"/>
              <a:gd name="connsiteY102" fmla="*/ 9311 h 10000"/>
              <a:gd name="connsiteX103" fmla="*/ 8594 w 10000"/>
              <a:gd name="connsiteY103" fmla="*/ 9268 h 10000"/>
              <a:gd name="connsiteX104" fmla="*/ 8541 w 10000"/>
              <a:gd name="connsiteY104" fmla="*/ 9268 h 10000"/>
              <a:gd name="connsiteX105" fmla="*/ 8489 w 10000"/>
              <a:gd name="connsiteY105" fmla="*/ 9268 h 10000"/>
              <a:gd name="connsiteX106" fmla="*/ 8489 w 10000"/>
              <a:gd name="connsiteY106" fmla="*/ 9224 h 10000"/>
              <a:gd name="connsiteX107" fmla="*/ 8438 w 10000"/>
              <a:gd name="connsiteY107" fmla="*/ 9224 h 10000"/>
              <a:gd name="connsiteX108" fmla="*/ 8386 w 10000"/>
              <a:gd name="connsiteY108" fmla="*/ 9268 h 10000"/>
              <a:gd name="connsiteX109" fmla="*/ 8386 w 10000"/>
              <a:gd name="connsiteY109" fmla="*/ 9311 h 10000"/>
              <a:gd name="connsiteX110" fmla="*/ 8282 w 10000"/>
              <a:gd name="connsiteY110" fmla="*/ 9268 h 10000"/>
              <a:gd name="connsiteX111" fmla="*/ 8282 w 10000"/>
              <a:gd name="connsiteY111" fmla="*/ 9224 h 10000"/>
              <a:gd name="connsiteX112" fmla="*/ 8230 w 10000"/>
              <a:gd name="connsiteY112" fmla="*/ 9224 h 10000"/>
              <a:gd name="connsiteX113" fmla="*/ 8179 w 10000"/>
              <a:gd name="connsiteY113" fmla="*/ 9224 h 10000"/>
              <a:gd name="connsiteX114" fmla="*/ 8126 w 10000"/>
              <a:gd name="connsiteY114" fmla="*/ 9224 h 10000"/>
              <a:gd name="connsiteX115" fmla="*/ 8074 w 10000"/>
              <a:gd name="connsiteY115" fmla="*/ 9224 h 10000"/>
              <a:gd name="connsiteX116" fmla="*/ 8022 w 10000"/>
              <a:gd name="connsiteY116" fmla="*/ 9224 h 10000"/>
              <a:gd name="connsiteX117" fmla="*/ 8022 w 10000"/>
              <a:gd name="connsiteY117" fmla="*/ 9268 h 10000"/>
              <a:gd name="connsiteX118" fmla="*/ 7969 w 10000"/>
              <a:gd name="connsiteY118" fmla="*/ 9268 h 10000"/>
              <a:gd name="connsiteX119" fmla="*/ 7917 w 10000"/>
              <a:gd name="connsiteY119" fmla="*/ 9311 h 10000"/>
              <a:gd name="connsiteX120" fmla="*/ 7866 w 10000"/>
              <a:gd name="connsiteY120" fmla="*/ 9311 h 10000"/>
              <a:gd name="connsiteX121" fmla="*/ 7866 w 10000"/>
              <a:gd name="connsiteY121" fmla="*/ 9268 h 10000"/>
              <a:gd name="connsiteX122" fmla="*/ 7866 w 10000"/>
              <a:gd name="connsiteY122" fmla="*/ 9311 h 10000"/>
              <a:gd name="connsiteX123" fmla="*/ 7814 w 10000"/>
              <a:gd name="connsiteY123" fmla="*/ 9311 h 10000"/>
              <a:gd name="connsiteX124" fmla="*/ 7761 w 10000"/>
              <a:gd name="connsiteY124" fmla="*/ 9353 h 10000"/>
              <a:gd name="connsiteX125" fmla="*/ 7709 w 10000"/>
              <a:gd name="connsiteY125" fmla="*/ 9311 h 10000"/>
              <a:gd name="connsiteX126" fmla="*/ 7657 w 10000"/>
              <a:gd name="connsiteY126" fmla="*/ 9311 h 10000"/>
              <a:gd name="connsiteX127" fmla="*/ 7606 w 10000"/>
              <a:gd name="connsiteY127" fmla="*/ 9311 h 10000"/>
              <a:gd name="connsiteX128" fmla="*/ 7553 w 10000"/>
              <a:gd name="connsiteY128" fmla="*/ 9268 h 10000"/>
              <a:gd name="connsiteX129" fmla="*/ 7501 w 10000"/>
              <a:gd name="connsiteY129" fmla="*/ 9268 h 10000"/>
              <a:gd name="connsiteX130" fmla="*/ 7501 w 10000"/>
              <a:gd name="connsiteY130" fmla="*/ 9311 h 10000"/>
              <a:gd name="connsiteX131" fmla="*/ 7449 w 10000"/>
              <a:gd name="connsiteY131" fmla="*/ 9311 h 10000"/>
              <a:gd name="connsiteX132" fmla="*/ 7396 w 10000"/>
              <a:gd name="connsiteY132" fmla="*/ 9268 h 10000"/>
              <a:gd name="connsiteX133" fmla="*/ 7345 w 10000"/>
              <a:gd name="connsiteY133" fmla="*/ 9268 h 10000"/>
              <a:gd name="connsiteX134" fmla="*/ 7293 w 10000"/>
              <a:gd name="connsiteY134" fmla="*/ 9353 h 10000"/>
              <a:gd name="connsiteX135" fmla="*/ 7241 w 10000"/>
              <a:gd name="connsiteY135" fmla="*/ 9353 h 10000"/>
              <a:gd name="connsiteX136" fmla="*/ 7241 w 10000"/>
              <a:gd name="connsiteY136" fmla="*/ 9311 h 10000"/>
              <a:gd name="connsiteX137" fmla="*/ 7241 w 10000"/>
              <a:gd name="connsiteY137" fmla="*/ 9353 h 10000"/>
              <a:gd name="connsiteX138" fmla="*/ 7241 w 10000"/>
              <a:gd name="connsiteY138" fmla="*/ 9395 h 10000"/>
              <a:gd name="connsiteX139" fmla="*/ 7188 w 10000"/>
              <a:gd name="connsiteY139" fmla="*/ 9395 h 10000"/>
              <a:gd name="connsiteX140" fmla="*/ 7136 w 10000"/>
              <a:gd name="connsiteY140" fmla="*/ 9395 h 10000"/>
              <a:gd name="connsiteX141" fmla="*/ 7188 w 10000"/>
              <a:gd name="connsiteY141" fmla="*/ 9440 h 10000"/>
              <a:gd name="connsiteX142" fmla="*/ 7136 w 10000"/>
              <a:gd name="connsiteY142" fmla="*/ 9482 h 10000"/>
              <a:gd name="connsiteX143" fmla="*/ 7188 w 10000"/>
              <a:gd name="connsiteY143" fmla="*/ 9526 h 10000"/>
              <a:gd name="connsiteX144" fmla="*/ 7241 w 10000"/>
              <a:gd name="connsiteY144" fmla="*/ 9526 h 10000"/>
              <a:gd name="connsiteX145" fmla="*/ 7241 w 10000"/>
              <a:gd name="connsiteY145" fmla="*/ 9570 h 10000"/>
              <a:gd name="connsiteX146" fmla="*/ 7188 w 10000"/>
              <a:gd name="connsiteY146" fmla="*/ 9570 h 10000"/>
              <a:gd name="connsiteX147" fmla="*/ 7136 w 10000"/>
              <a:gd name="connsiteY147" fmla="*/ 9570 h 10000"/>
              <a:gd name="connsiteX148" fmla="*/ 7188 w 10000"/>
              <a:gd name="connsiteY148" fmla="*/ 9611 h 10000"/>
              <a:gd name="connsiteX149" fmla="*/ 7188 w 10000"/>
              <a:gd name="connsiteY149" fmla="*/ 9655 h 10000"/>
              <a:gd name="connsiteX150" fmla="*/ 7136 w 10000"/>
              <a:gd name="connsiteY150" fmla="*/ 9655 h 10000"/>
              <a:gd name="connsiteX151" fmla="*/ 7136 w 10000"/>
              <a:gd name="connsiteY151" fmla="*/ 9699 h 10000"/>
              <a:gd name="connsiteX152" fmla="*/ 7084 w 10000"/>
              <a:gd name="connsiteY152" fmla="*/ 9742 h 10000"/>
              <a:gd name="connsiteX153" fmla="*/ 7136 w 10000"/>
              <a:gd name="connsiteY153" fmla="*/ 9785 h 10000"/>
              <a:gd name="connsiteX154" fmla="*/ 7188 w 10000"/>
              <a:gd name="connsiteY154" fmla="*/ 9785 h 10000"/>
              <a:gd name="connsiteX155" fmla="*/ 7188 w 10000"/>
              <a:gd name="connsiteY155" fmla="*/ 9827 h 10000"/>
              <a:gd name="connsiteX156" fmla="*/ 7188 w 10000"/>
              <a:gd name="connsiteY156" fmla="*/ 9870 h 10000"/>
              <a:gd name="connsiteX157" fmla="*/ 7136 w 10000"/>
              <a:gd name="connsiteY157" fmla="*/ 10000 h 10000"/>
              <a:gd name="connsiteX158" fmla="*/ 7344 w 10000"/>
              <a:gd name="connsiteY158" fmla="*/ 7607 h 10000"/>
              <a:gd name="connsiteX159" fmla="*/ 7136 w 10000"/>
              <a:gd name="connsiteY159" fmla="*/ 7257 h 10000"/>
              <a:gd name="connsiteX160" fmla="*/ 6544 w 10000"/>
              <a:gd name="connsiteY160" fmla="*/ 7143 h 10000"/>
              <a:gd name="connsiteX161" fmla="*/ 5775 w 10000"/>
              <a:gd name="connsiteY161" fmla="*/ 7107 h 10000"/>
              <a:gd name="connsiteX162" fmla="*/ 5311 w 10000"/>
              <a:gd name="connsiteY162" fmla="*/ 6997 h 10000"/>
              <a:gd name="connsiteX163" fmla="*/ 5071 w 10000"/>
              <a:gd name="connsiteY163" fmla="*/ 6886 h 10000"/>
              <a:gd name="connsiteX164" fmla="*/ 4912 w 10000"/>
              <a:gd name="connsiteY164" fmla="*/ 6979 h 10000"/>
              <a:gd name="connsiteX165" fmla="*/ 4416 w 10000"/>
              <a:gd name="connsiteY165" fmla="*/ 6811 h 10000"/>
              <a:gd name="connsiteX166" fmla="*/ 3584 w 10000"/>
              <a:gd name="connsiteY166" fmla="*/ 6516 h 10000"/>
              <a:gd name="connsiteX167" fmla="*/ 3104 w 10000"/>
              <a:gd name="connsiteY167" fmla="*/ 6460 h 10000"/>
              <a:gd name="connsiteX168" fmla="*/ 3200 w 10000"/>
              <a:gd name="connsiteY168" fmla="*/ 6257 h 10000"/>
              <a:gd name="connsiteX169" fmla="*/ 3344 w 10000"/>
              <a:gd name="connsiteY169" fmla="*/ 6201 h 10000"/>
              <a:gd name="connsiteX170" fmla="*/ 3728 w 10000"/>
              <a:gd name="connsiteY170" fmla="*/ 5905 h 10000"/>
              <a:gd name="connsiteX171" fmla="*/ 3968 w 10000"/>
              <a:gd name="connsiteY171" fmla="*/ 5628 h 10000"/>
              <a:gd name="connsiteX172" fmla="*/ 4224 w 10000"/>
              <a:gd name="connsiteY172" fmla="*/ 5332 h 10000"/>
              <a:gd name="connsiteX173" fmla="*/ 4368 w 10000"/>
              <a:gd name="connsiteY173" fmla="*/ 5056 h 10000"/>
              <a:gd name="connsiteX174" fmla="*/ 4352 w 10000"/>
              <a:gd name="connsiteY174" fmla="*/ 4741 h 10000"/>
              <a:gd name="connsiteX175" fmla="*/ 4336 w 10000"/>
              <a:gd name="connsiteY175" fmla="*/ 4463 h 10000"/>
              <a:gd name="connsiteX176" fmla="*/ 4176 w 10000"/>
              <a:gd name="connsiteY176" fmla="*/ 4296 h 10000"/>
              <a:gd name="connsiteX177" fmla="*/ 4016 w 10000"/>
              <a:gd name="connsiteY177" fmla="*/ 4316 h 10000"/>
              <a:gd name="connsiteX178" fmla="*/ 3856 w 10000"/>
              <a:gd name="connsiteY178" fmla="*/ 4611 h 10000"/>
              <a:gd name="connsiteX179" fmla="*/ 3808 w 10000"/>
              <a:gd name="connsiteY179" fmla="*/ 5146 h 10000"/>
              <a:gd name="connsiteX180" fmla="*/ 3536 w 10000"/>
              <a:gd name="connsiteY180" fmla="*/ 5500 h 10000"/>
              <a:gd name="connsiteX181" fmla="*/ 2992 w 10000"/>
              <a:gd name="connsiteY181" fmla="*/ 5813 h 10000"/>
              <a:gd name="connsiteX182" fmla="*/ 2415 w 10000"/>
              <a:gd name="connsiteY182" fmla="*/ 6053 h 10000"/>
              <a:gd name="connsiteX183" fmla="*/ 1951 w 10000"/>
              <a:gd name="connsiteY183" fmla="*/ 6384 h 10000"/>
              <a:gd name="connsiteX184" fmla="*/ 0 w 10000"/>
              <a:gd name="connsiteY184" fmla="*/ 6312 h 10000"/>
              <a:gd name="connsiteX185" fmla="*/ 3 w 10000"/>
              <a:gd name="connsiteY185" fmla="*/ 6077 h 10000"/>
              <a:gd name="connsiteX186" fmla="*/ 159 w 10000"/>
              <a:gd name="connsiteY186" fmla="*/ 6164 h 10000"/>
              <a:gd name="connsiteX187" fmla="*/ 368 w 10000"/>
              <a:gd name="connsiteY187" fmla="*/ 6077 h 10000"/>
              <a:gd name="connsiteX188" fmla="*/ 1462 w 10000"/>
              <a:gd name="connsiteY188" fmla="*/ 6077 h 10000"/>
              <a:gd name="connsiteX189" fmla="*/ 1617 w 10000"/>
              <a:gd name="connsiteY189" fmla="*/ 6035 h 10000"/>
              <a:gd name="connsiteX190" fmla="*/ 1669 w 10000"/>
              <a:gd name="connsiteY190" fmla="*/ 6035 h 10000"/>
              <a:gd name="connsiteX191" fmla="*/ 2189 w 10000"/>
              <a:gd name="connsiteY191" fmla="*/ 5475 h 10000"/>
              <a:gd name="connsiteX192" fmla="*/ 2294 w 10000"/>
              <a:gd name="connsiteY192" fmla="*/ 5387 h 10000"/>
              <a:gd name="connsiteX193" fmla="*/ 2762 w 10000"/>
              <a:gd name="connsiteY193" fmla="*/ 4957 h 10000"/>
              <a:gd name="connsiteX194" fmla="*/ 3023 w 10000"/>
              <a:gd name="connsiteY194" fmla="*/ 4698 h 10000"/>
              <a:gd name="connsiteX195" fmla="*/ 3179 w 10000"/>
              <a:gd name="connsiteY195" fmla="*/ 4569 h 10000"/>
              <a:gd name="connsiteX196" fmla="*/ 3596 w 10000"/>
              <a:gd name="connsiteY196" fmla="*/ 3922 h 10000"/>
              <a:gd name="connsiteX197" fmla="*/ 4116 w 10000"/>
              <a:gd name="connsiteY197" fmla="*/ 3663 h 10000"/>
              <a:gd name="connsiteX198" fmla="*/ 5001 w 10000"/>
              <a:gd name="connsiteY198" fmla="*/ 2931 h 10000"/>
              <a:gd name="connsiteX199" fmla="*/ 4845 w 10000"/>
              <a:gd name="connsiteY199" fmla="*/ 2672 h 10000"/>
              <a:gd name="connsiteX200" fmla="*/ 4794 w 10000"/>
              <a:gd name="connsiteY200" fmla="*/ 2500 h 10000"/>
              <a:gd name="connsiteX201" fmla="*/ 4794 w 10000"/>
              <a:gd name="connsiteY201" fmla="*/ 1292 h 10000"/>
              <a:gd name="connsiteX202" fmla="*/ 4116 w 10000"/>
              <a:gd name="connsiteY202" fmla="*/ 774 h 10000"/>
              <a:gd name="connsiteX203" fmla="*/ 4950 w 10000"/>
              <a:gd name="connsiteY203" fmla="*/ 774 h 10000"/>
              <a:gd name="connsiteX204" fmla="*/ 5782 w 10000"/>
              <a:gd name="connsiteY204" fmla="*/ 774 h 10000"/>
              <a:gd name="connsiteX205" fmla="*/ 5782 w 10000"/>
              <a:gd name="connsiteY205" fmla="*/ 732 h 10000"/>
              <a:gd name="connsiteX206" fmla="*/ 5782 w 10000"/>
              <a:gd name="connsiteY206" fmla="*/ 691 h 10000"/>
              <a:gd name="connsiteX207" fmla="*/ 5782 w 10000"/>
              <a:gd name="connsiteY207" fmla="*/ 650 h 10000"/>
              <a:gd name="connsiteX208" fmla="*/ 5782 w 10000"/>
              <a:gd name="connsiteY208" fmla="*/ 603 h 10000"/>
              <a:gd name="connsiteX209" fmla="*/ 5834 w 10000"/>
              <a:gd name="connsiteY209" fmla="*/ 557 h 10000"/>
              <a:gd name="connsiteX210" fmla="*/ 5834 w 10000"/>
              <a:gd name="connsiteY210" fmla="*/ 516 h 10000"/>
              <a:gd name="connsiteX211" fmla="*/ 5834 w 10000"/>
              <a:gd name="connsiteY211" fmla="*/ 475 h 10000"/>
              <a:gd name="connsiteX212" fmla="*/ 5834 w 10000"/>
              <a:gd name="connsiteY212" fmla="*/ 433 h 10000"/>
              <a:gd name="connsiteX213" fmla="*/ 5834 w 10000"/>
              <a:gd name="connsiteY213" fmla="*/ 392 h 10000"/>
              <a:gd name="connsiteX214" fmla="*/ 5834 w 10000"/>
              <a:gd name="connsiteY214" fmla="*/ 341 h 10000"/>
              <a:gd name="connsiteX215" fmla="*/ 5782 w 10000"/>
              <a:gd name="connsiteY215" fmla="*/ 341 h 10000"/>
              <a:gd name="connsiteX216" fmla="*/ 5782 w 10000"/>
              <a:gd name="connsiteY216" fmla="*/ 299 h 10000"/>
              <a:gd name="connsiteX217" fmla="*/ 5782 w 10000"/>
              <a:gd name="connsiteY217" fmla="*/ 258 h 10000"/>
              <a:gd name="connsiteX218" fmla="*/ 5782 w 10000"/>
              <a:gd name="connsiteY218" fmla="*/ 217 h 10000"/>
              <a:gd name="connsiteX219" fmla="*/ 5782 w 10000"/>
              <a:gd name="connsiteY219" fmla="*/ 175 h 10000"/>
              <a:gd name="connsiteX220" fmla="*/ 5782 w 10000"/>
              <a:gd name="connsiteY220" fmla="*/ 134 h 10000"/>
              <a:gd name="connsiteX221" fmla="*/ 5782 w 10000"/>
              <a:gd name="connsiteY221" fmla="*/ 83 h 10000"/>
              <a:gd name="connsiteX222" fmla="*/ 5782 w 10000"/>
              <a:gd name="connsiteY222" fmla="*/ 41 h 10000"/>
              <a:gd name="connsiteX223" fmla="*/ 5782 w 10000"/>
              <a:gd name="connsiteY223" fmla="*/ 0 h 10000"/>
              <a:gd name="connsiteX0" fmla="*/ 5782 w 10000"/>
              <a:gd name="connsiteY0" fmla="*/ 0 h 9870"/>
              <a:gd name="connsiteX1" fmla="*/ 7345 w 10000"/>
              <a:gd name="connsiteY1" fmla="*/ 41 h 9870"/>
              <a:gd name="connsiteX2" fmla="*/ 7501 w 10000"/>
              <a:gd name="connsiteY2" fmla="*/ 41 h 9870"/>
              <a:gd name="connsiteX3" fmla="*/ 7345 w 10000"/>
              <a:gd name="connsiteY3" fmla="*/ 175 h 9870"/>
              <a:gd name="connsiteX4" fmla="*/ 7293 w 10000"/>
              <a:gd name="connsiteY4" fmla="*/ 557 h 9870"/>
              <a:gd name="connsiteX5" fmla="*/ 7188 w 10000"/>
              <a:gd name="connsiteY5" fmla="*/ 1166 h 9870"/>
              <a:gd name="connsiteX6" fmla="*/ 7136 w 10000"/>
              <a:gd name="connsiteY6" fmla="*/ 1207 h 9870"/>
              <a:gd name="connsiteX7" fmla="*/ 6980 w 10000"/>
              <a:gd name="connsiteY7" fmla="*/ 1551 h 9870"/>
              <a:gd name="connsiteX8" fmla="*/ 7396 w 10000"/>
              <a:gd name="connsiteY8" fmla="*/ 3147 h 9870"/>
              <a:gd name="connsiteX9" fmla="*/ 7501 w 10000"/>
              <a:gd name="connsiteY9" fmla="*/ 3449 h 9870"/>
              <a:gd name="connsiteX10" fmla="*/ 7345 w 10000"/>
              <a:gd name="connsiteY10" fmla="*/ 3708 h 9870"/>
              <a:gd name="connsiteX11" fmla="*/ 8022 w 10000"/>
              <a:gd name="connsiteY11" fmla="*/ 3879 h 9870"/>
              <a:gd name="connsiteX12" fmla="*/ 8489 w 10000"/>
              <a:gd name="connsiteY12" fmla="*/ 4354 h 9870"/>
              <a:gd name="connsiteX13" fmla="*/ 8594 w 10000"/>
              <a:gd name="connsiteY13" fmla="*/ 4440 h 9870"/>
              <a:gd name="connsiteX14" fmla="*/ 8906 w 10000"/>
              <a:gd name="connsiteY14" fmla="*/ 4655 h 9870"/>
              <a:gd name="connsiteX15" fmla="*/ 9114 w 10000"/>
              <a:gd name="connsiteY15" fmla="*/ 4914 h 9870"/>
              <a:gd name="connsiteX16" fmla="*/ 9219 w 10000"/>
              <a:gd name="connsiteY16" fmla="*/ 5044 h 9870"/>
              <a:gd name="connsiteX17" fmla="*/ 9427 w 10000"/>
              <a:gd name="connsiteY17" fmla="*/ 5044 h 9870"/>
              <a:gd name="connsiteX18" fmla="*/ 9427 w 10000"/>
              <a:gd name="connsiteY18" fmla="*/ 5086 h 9870"/>
              <a:gd name="connsiteX19" fmla="*/ 9479 w 10000"/>
              <a:gd name="connsiteY19" fmla="*/ 5172 h 9870"/>
              <a:gd name="connsiteX20" fmla="*/ 9479 w 10000"/>
              <a:gd name="connsiteY20" fmla="*/ 5216 h 9870"/>
              <a:gd name="connsiteX21" fmla="*/ 9532 w 10000"/>
              <a:gd name="connsiteY21" fmla="*/ 5387 h 9870"/>
              <a:gd name="connsiteX22" fmla="*/ 9532 w 10000"/>
              <a:gd name="connsiteY22" fmla="*/ 5431 h 9870"/>
              <a:gd name="connsiteX23" fmla="*/ 9532 w 10000"/>
              <a:gd name="connsiteY23" fmla="*/ 5561 h 9870"/>
              <a:gd name="connsiteX24" fmla="*/ 9532 w 10000"/>
              <a:gd name="connsiteY24" fmla="*/ 5645 h 9870"/>
              <a:gd name="connsiteX25" fmla="*/ 9479 w 10000"/>
              <a:gd name="connsiteY25" fmla="*/ 5733 h 9870"/>
              <a:gd name="connsiteX26" fmla="*/ 9427 w 10000"/>
              <a:gd name="connsiteY26" fmla="*/ 5993 h 9870"/>
              <a:gd name="connsiteX27" fmla="*/ 9375 w 10000"/>
              <a:gd name="connsiteY27" fmla="*/ 6035 h 9870"/>
              <a:gd name="connsiteX28" fmla="*/ 9322 w 10000"/>
              <a:gd name="connsiteY28" fmla="*/ 6077 h 9870"/>
              <a:gd name="connsiteX29" fmla="*/ 9271 w 10000"/>
              <a:gd name="connsiteY29" fmla="*/ 6251 h 9870"/>
              <a:gd name="connsiteX30" fmla="*/ 9219 w 10000"/>
              <a:gd name="connsiteY30" fmla="*/ 6335 h 9870"/>
              <a:gd name="connsiteX31" fmla="*/ 9219 w 10000"/>
              <a:gd name="connsiteY31" fmla="*/ 6423 h 9870"/>
              <a:gd name="connsiteX32" fmla="*/ 9219 w 10000"/>
              <a:gd name="connsiteY32" fmla="*/ 6466 h 9870"/>
              <a:gd name="connsiteX33" fmla="*/ 9219 w 10000"/>
              <a:gd name="connsiteY33" fmla="*/ 6594 h 9870"/>
              <a:gd name="connsiteX34" fmla="*/ 9271 w 10000"/>
              <a:gd name="connsiteY34" fmla="*/ 6725 h 9870"/>
              <a:gd name="connsiteX35" fmla="*/ 9895 w 10000"/>
              <a:gd name="connsiteY35" fmla="*/ 6725 h 9870"/>
              <a:gd name="connsiteX36" fmla="*/ 9895 w 10000"/>
              <a:gd name="connsiteY36" fmla="*/ 6810 h 9870"/>
              <a:gd name="connsiteX37" fmla="*/ 9948 w 10000"/>
              <a:gd name="connsiteY37" fmla="*/ 7111 h 9870"/>
              <a:gd name="connsiteX38" fmla="*/ 9948 w 10000"/>
              <a:gd name="connsiteY38" fmla="*/ 7156 h 9870"/>
              <a:gd name="connsiteX39" fmla="*/ 9948 w 10000"/>
              <a:gd name="connsiteY39" fmla="*/ 7284 h 9870"/>
              <a:gd name="connsiteX40" fmla="*/ 9948 w 10000"/>
              <a:gd name="connsiteY40" fmla="*/ 7328 h 9870"/>
              <a:gd name="connsiteX41" fmla="*/ 9948 w 10000"/>
              <a:gd name="connsiteY41" fmla="*/ 7414 h 9870"/>
              <a:gd name="connsiteX42" fmla="*/ 9948 w 10000"/>
              <a:gd name="connsiteY42" fmla="*/ 7457 h 9870"/>
              <a:gd name="connsiteX43" fmla="*/ 9948 w 10000"/>
              <a:gd name="connsiteY43" fmla="*/ 7500 h 9870"/>
              <a:gd name="connsiteX44" fmla="*/ 9948 w 10000"/>
              <a:gd name="connsiteY44" fmla="*/ 7543 h 9870"/>
              <a:gd name="connsiteX45" fmla="*/ 10000 w 10000"/>
              <a:gd name="connsiteY45" fmla="*/ 7629 h 9870"/>
              <a:gd name="connsiteX46" fmla="*/ 10000 w 10000"/>
              <a:gd name="connsiteY46" fmla="*/ 7759 h 9870"/>
              <a:gd name="connsiteX47" fmla="*/ 10000 w 10000"/>
              <a:gd name="connsiteY47" fmla="*/ 7802 h 9870"/>
              <a:gd name="connsiteX48" fmla="*/ 10000 w 10000"/>
              <a:gd name="connsiteY48" fmla="*/ 7845 h 9870"/>
              <a:gd name="connsiteX49" fmla="*/ 10000 w 10000"/>
              <a:gd name="connsiteY49" fmla="*/ 7888 h 9870"/>
              <a:gd name="connsiteX50" fmla="*/ 10000 w 10000"/>
              <a:gd name="connsiteY50" fmla="*/ 7974 h 9870"/>
              <a:gd name="connsiteX51" fmla="*/ 10000 w 10000"/>
              <a:gd name="connsiteY51" fmla="*/ 8018 h 9870"/>
              <a:gd name="connsiteX52" fmla="*/ 10000 w 10000"/>
              <a:gd name="connsiteY52" fmla="*/ 8060 h 9870"/>
              <a:gd name="connsiteX53" fmla="*/ 10000 w 10000"/>
              <a:gd name="connsiteY53" fmla="*/ 8146 h 9870"/>
              <a:gd name="connsiteX54" fmla="*/ 10000 w 10000"/>
              <a:gd name="connsiteY54" fmla="*/ 8363 h 9870"/>
              <a:gd name="connsiteX55" fmla="*/ 10000 w 10000"/>
              <a:gd name="connsiteY55" fmla="*/ 8404 h 9870"/>
              <a:gd name="connsiteX56" fmla="*/ 10000 w 10000"/>
              <a:gd name="connsiteY56" fmla="*/ 8492 h 9870"/>
              <a:gd name="connsiteX57" fmla="*/ 10000 w 10000"/>
              <a:gd name="connsiteY57" fmla="*/ 8535 h 9870"/>
              <a:gd name="connsiteX58" fmla="*/ 10000 w 10000"/>
              <a:gd name="connsiteY58" fmla="*/ 8578 h 9870"/>
              <a:gd name="connsiteX59" fmla="*/ 10000 w 10000"/>
              <a:gd name="connsiteY59" fmla="*/ 8620 h 9870"/>
              <a:gd name="connsiteX60" fmla="*/ 10000 w 10000"/>
              <a:gd name="connsiteY60" fmla="*/ 8662 h 9870"/>
              <a:gd name="connsiteX61" fmla="*/ 10000 w 10000"/>
              <a:gd name="connsiteY61" fmla="*/ 8751 h 9870"/>
              <a:gd name="connsiteX62" fmla="*/ 10000 w 10000"/>
              <a:gd name="connsiteY62" fmla="*/ 8836 h 9870"/>
              <a:gd name="connsiteX63" fmla="*/ 10000 w 10000"/>
              <a:gd name="connsiteY63" fmla="*/ 8878 h 9870"/>
              <a:gd name="connsiteX64" fmla="*/ 10000 w 10000"/>
              <a:gd name="connsiteY64" fmla="*/ 8923 h 9870"/>
              <a:gd name="connsiteX65" fmla="*/ 9948 w 10000"/>
              <a:gd name="connsiteY65" fmla="*/ 8923 h 9870"/>
              <a:gd name="connsiteX66" fmla="*/ 9948 w 10000"/>
              <a:gd name="connsiteY66" fmla="*/ 8965 h 9870"/>
              <a:gd name="connsiteX67" fmla="*/ 9895 w 10000"/>
              <a:gd name="connsiteY67" fmla="*/ 9009 h 9870"/>
              <a:gd name="connsiteX68" fmla="*/ 9844 w 10000"/>
              <a:gd name="connsiteY68" fmla="*/ 9009 h 9870"/>
              <a:gd name="connsiteX69" fmla="*/ 9844 w 10000"/>
              <a:gd name="connsiteY69" fmla="*/ 9053 h 9870"/>
              <a:gd name="connsiteX70" fmla="*/ 9792 w 10000"/>
              <a:gd name="connsiteY70" fmla="*/ 9053 h 9870"/>
              <a:gd name="connsiteX71" fmla="*/ 9740 w 10000"/>
              <a:gd name="connsiteY71" fmla="*/ 9095 h 9870"/>
              <a:gd name="connsiteX72" fmla="*/ 9687 w 10000"/>
              <a:gd name="connsiteY72" fmla="*/ 9136 h 9870"/>
              <a:gd name="connsiteX73" fmla="*/ 9635 w 10000"/>
              <a:gd name="connsiteY73" fmla="*/ 9136 h 9870"/>
              <a:gd name="connsiteX74" fmla="*/ 9635 w 10000"/>
              <a:gd name="connsiteY74" fmla="*/ 9181 h 9870"/>
              <a:gd name="connsiteX75" fmla="*/ 9583 w 10000"/>
              <a:gd name="connsiteY75" fmla="*/ 9181 h 9870"/>
              <a:gd name="connsiteX76" fmla="*/ 9532 w 10000"/>
              <a:gd name="connsiteY76" fmla="*/ 9181 h 9870"/>
              <a:gd name="connsiteX77" fmla="*/ 9479 w 10000"/>
              <a:gd name="connsiteY77" fmla="*/ 9181 h 9870"/>
              <a:gd name="connsiteX78" fmla="*/ 9427 w 10000"/>
              <a:gd name="connsiteY78" fmla="*/ 9181 h 9870"/>
              <a:gd name="connsiteX79" fmla="*/ 9375 w 10000"/>
              <a:gd name="connsiteY79" fmla="*/ 9181 h 9870"/>
              <a:gd name="connsiteX80" fmla="*/ 9322 w 10000"/>
              <a:gd name="connsiteY80" fmla="*/ 9181 h 9870"/>
              <a:gd name="connsiteX81" fmla="*/ 9271 w 10000"/>
              <a:gd name="connsiteY81" fmla="*/ 9181 h 9870"/>
              <a:gd name="connsiteX82" fmla="*/ 9271 w 10000"/>
              <a:gd name="connsiteY82" fmla="*/ 9224 h 9870"/>
              <a:gd name="connsiteX83" fmla="*/ 9219 w 10000"/>
              <a:gd name="connsiteY83" fmla="*/ 9268 h 9870"/>
              <a:gd name="connsiteX84" fmla="*/ 9167 w 10000"/>
              <a:gd name="connsiteY84" fmla="*/ 9311 h 9870"/>
              <a:gd name="connsiteX85" fmla="*/ 9219 w 10000"/>
              <a:gd name="connsiteY85" fmla="*/ 9311 h 9870"/>
              <a:gd name="connsiteX86" fmla="*/ 9167 w 10000"/>
              <a:gd name="connsiteY86" fmla="*/ 9311 h 9870"/>
              <a:gd name="connsiteX87" fmla="*/ 9114 w 10000"/>
              <a:gd name="connsiteY87" fmla="*/ 9311 h 9870"/>
              <a:gd name="connsiteX88" fmla="*/ 9062 w 10000"/>
              <a:gd name="connsiteY88" fmla="*/ 9353 h 9870"/>
              <a:gd name="connsiteX89" fmla="*/ 9011 w 10000"/>
              <a:gd name="connsiteY89" fmla="*/ 9395 h 9870"/>
              <a:gd name="connsiteX90" fmla="*/ 8959 w 10000"/>
              <a:gd name="connsiteY90" fmla="*/ 9395 h 9870"/>
              <a:gd name="connsiteX91" fmla="*/ 8959 w 10000"/>
              <a:gd name="connsiteY91" fmla="*/ 9440 h 9870"/>
              <a:gd name="connsiteX92" fmla="*/ 8906 w 10000"/>
              <a:gd name="connsiteY92" fmla="*/ 9440 h 9870"/>
              <a:gd name="connsiteX93" fmla="*/ 8906 w 10000"/>
              <a:gd name="connsiteY93" fmla="*/ 9482 h 9870"/>
              <a:gd name="connsiteX94" fmla="*/ 8854 w 10000"/>
              <a:gd name="connsiteY94" fmla="*/ 9482 h 9870"/>
              <a:gd name="connsiteX95" fmla="*/ 8802 w 10000"/>
              <a:gd name="connsiteY95" fmla="*/ 9482 h 9870"/>
              <a:gd name="connsiteX96" fmla="*/ 8749 w 10000"/>
              <a:gd name="connsiteY96" fmla="*/ 9482 h 9870"/>
              <a:gd name="connsiteX97" fmla="*/ 8698 w 10000"/>
              <a:gd name="connsiteY97" fmla="*/ 9482 h 9870"/>
              <a:gd name="connsiteX98" fmla="*/ 8646 w 10000"/>
              <a:gd name="connsiteY98" fmla="*/ 9482 h 9870"/>
              <a:gd name="connsiteX99" fmla="*/ 8646 w 10000"/>
              <a:gd name="connsiteY99" fmla="*/ 9440 h 9870"/>
              <a:gd name="connsiteX100" fmla="*/ 8646 w 10000"/>
              <a:gd name="connsiteY100" fmla="*/ 9395 h 9870"/>
              <a:gd name="connsiteX101" fmla="*/ 8594 w 10000"/>
              <a:gd name="connsiteY101" fmla="*/ 9353 h 9870"/>
              <a:gd name="connsiteX102" fmla="*/ 8594 w 10000"/>
              <a:gd name="connsiteY102" fmla="*/ 9311 h 9870"/>
              <a:gd name="connsiteX103" fmla="*/ 8594 w 10000"/>
              <a:gd name="connsiteY103" fmla="*/ 9268 h 9870"/>
              <a:gd name="connsiteX104" fmla="*/ 8541 w 10000"/>
              <a:gd name="connsiteY104" fmla="*/ 9268 h 9870"/>
              <a:gd name="connsiteX105" fmla="*/ 8489 w 10000"/>
              <a:gd name="connsiteY105" fmla="*/ 9268 h 9870"/>
              <a:gd name="connsiteX106" fmla="*/ 8489 w 10000"/>
              <a:gd name="connsiteY106" fmla="*/ 9224 h 9870"/>
              <a:gd name="connsiteX107" fmla="*/ 8438 w 10000"/>
              <a:gd name="connsiteY107" fmla="*/ 9224 h 9870"/>
              <a:gd name="connsiteX108" fmla="*/ 8386 w 10000"/>
              <a:gd name="connsiteY108" fmla="*/ 9268 h 9870"/>
              <a:gd name="connsiteX109" fmla="*/ 8386 w 10000"/>
              <a:gd name="connsiteY109" fmla="*/ 9311 h 9870"/>
              <a:gd name="connsiteX110" fmla="*/ 8282 w 10000"/>
              <a:gd name="connsiteY110" fmla="*/ 9268 h 9870"/>
              <a:gd name="connsiteX111" fmla="*/ 8282 w 10000"/>
              <a:gd name="connsiteY111" fmla="*/ 9224 h 9870"/>
              <a:gd name="connsiteX112" fmla="*/ 8230 w 10000"/>
              <a:gd name="connsiteY112" fmla="*/ 9224 h 9870"/>
              <a:gd name="connsiteX113" fmla="*/ 8179 w 10000"/>
              <a:gd name="connsiteY113" fmla="*/ 9224 h 9870"/>
              <a:gd name="connsiteX114" fmla="*/ 8126 w 10000"/>
              <a:gd name="connsiteY114" fmla="*/ 9224 h 9870"/>
              <a:gd name="connsiteX115" fmla="*/ 8074 w 10000"/>
              <a:gd name="connsiteY115" fmla="*/ 9224 h 9870"/>
              <a:gd name="connsiteX116" fmla="*/ 8022 w 10000"/>
              <a:gd name="connsiteY116" fmla="*/ 9224 h 9870"/>
              <a:gd name="connsiteX117" fmla="*/ 8022 w 10000"/>
              <a:gd name="connsiteY117" fmla="*/ 9268 h 9870"/>
              <a:gd name="connsiteX118" fmla="*/ 7969 w 10000"/>
              <a:gd name="connsiteY118" fmla="*/ 9268 h 9870"/>
              <a:gd name="connsiteX119" fmla="*/ 7917 w 10000"/>
              <a:gd name="connsiteY119" fmla="*/ 9311 h 9870"/>
              <a:gd name="connsiteX120" fmla="*/ 7866 w 10000"/>
              <a:gd name="connsiteY120" fmla="*/ 9311 h 9870"/>
              <a:gd name="connsiteX121" fmla="*/ 7866 w 10000"/>
              <a:gd name="connsiteY121" fmla="*/ 9268 h 9870"/>
              <a:gd name="connsiteX122" fmla="*/ 7866 w 10000"/>
              <a:gd name="connsiteY122" fmla="*/ 9311 h 9870"/>
              <a:gd name="connsiteX123" fmla="*/ 7814 w 10000"/>
              <a:gd name="connsiteY123" fmla="*/ 9311 h 9870"/>
              <a:gd name="connsiteX124" fmla="*/ 7761 w 10000"/>
              <a:gd name="connsiteY124" fmla="*/ 9353 h 9870"/>
              <a:gd name="connsiteX125" fmla="*/ 7709 w 10000"/>
              <a:gd name="connsiteY125" fmla="*/ 9311 h 9870"/>
              <a:gd name="connsiteX126" fmla="*/ 7657 w 10000"/>
              <a:gd name="connsiteY126" fmla="*/ 9311 h 9870"/>
              <a:gd name="connsiteX127" fmla="*/ 7606 w 10000"/>
              <a:gd name="connsiteY127" fmla="*/ 9311 h 9870"/>
              <a:gd name="connsiteX128" fmla="*/ 7553 w 10000"/>
              <a:gd name="connsiteY128" fmla="*/ 9268 h 9870"/>
              <a:gd name="connsiteX129" fmla="*/ 7501 w 10000"/>
              <a:gd name="connsiteY129" fmla="*/ 9268 h 9870"/>
              <a:gd name="connsiteX130" fmla="*/ 7501 w 10000"/>
              <a:gd name="connsiteY130" fmla="*/ 9311 h 9870"/>
              <a:gd name="connsiteX131" fmla="*/ 7449 w 10000"/>
              <a:gd name="connsiteY131" fmla="*/ 9311 h 9870"/>
              <a:gd name="connsiteX132" fmla="*/ 7396 w 10000"/>
              <a:gd name="connsiteY132" fmla="*/ 9268 h 9870"/>
              <a:gd name="connsiteX133" fmla="*/ 7345 w 10000"/>
              <a:gd name="connsiteY133" fmla="*/ 9268 h 9870"/>
              <a:gd name="connsiteX134" fmla="*/ 7293 w 10000"/>
              <a:gd name="connsiteY134" fmla="*/ 9353 h 9870"/>
              <a:gd name="connsiteX135" fmla="*/ 7241 w 10000"/>
              <a:gd name="connsiteY135" fmla="*/ 9353 h 9870"/>
              <a:gd name="connsiteX136" fmla="*/ 7241 w 10000"/>
              <a:gd name="connsiteY136" fmla="*/ 9311 h 9870"/>
              <a:gd name="connsiteX137" fmla="*/ 7241 w 10000"/>
              <a:gd name="connsiteY137" fmla="*/ 9353 h 9870"/>
              <a:gd name="connsiteX138" fmla="*/ 7241 w 10000"/>
              <a:gd name="connsiteY138" fmla="*/ 9395 h 9870"/>
              <a:gd name="connsiteX139" fmla="*/ 7188 w 10000"/>
              <a:gd name="connsiteY139" fmla="*/ 9395 h 9870"/>
              <a:gd name="connsiteX140" fmla="*/ 7136 w 10000"/>
              <a:gd name="connsiteY140" fmla="*/ 9395 h 9870"/>
              <a:gd name="connsiteX141" fmla="*/ 7188 w 10000"/>
              <a:gd name="connsiteY141" fmla="*/ 9440 h 9870"/>
              <a:gd name="connsiteX142" fmla="*/ 7136 w 10000"/>
              <a:gd name="connsiteY142" fmla="*/ 9482 h 9870"/>
              <a:gd name="connsiteX143" fmla="*/ 7188 w 10000"/>
              <a:gd name="connsiteY143" fmla="*/ 9526 h 9870"/>
              <a:gd name="connsiteX144" fmla="*/ 7241 w 10000"/>
              <a:gd name="connsiteY144" fmla="*/ 9526 h 9870"/>
              <a:gd name="connsiteX145" fmla="*/ 7241 w 10000"/>
              <a:gd name="connsiteY145" fmla="*/ 9570 h 9870"/>
              <a:gd name="connsiteX146" fmla="*/ 7188 w 10000"/>
              <a:gd name="connsiteY146" fmla="*/ 9570 h 9870"/>
              <a:gd name="connsiteX147" fmla="*/ 7136 w 10000"/>
              <a:gd name="connsiteY147" fmla="*/ 9570 h 9870"/>
              <a:gd name="connsiteX148" fmla="*/ 7188 w 10000"/>
              <a:gd name="connsiteY148" fmla="*/ 9611 h 9870"/>
              <a:gd name="connsiteX149" fmla="*/ 7188 w 10000"/>
              <a:gd name="connsiteY149" fmla="*/ 9655 h 9870"/>
              <a:gd name="connsiteX150" fmla="*/ 7136 w 10000"/>
              <a:gd name="connsiteY150" fmla="*/ 9655 h 9870"/>
              <a:gd name="connsiteX151" fmla="*/ 7136 w 10000"/>
              <a:gd name="connsiteY151" fmla="*/ 9699 h 9870"/>
              <a:gd name="connsiteX152" fmla="*/ 7084 w 10000"/>
              <a:gd name="connsiteY152" fmla="*/ 9742 h 9870"/>
              <a:gd name="connsiteX153" fmla="*/ 7136 w 10000"/>
              <a:gd name="connsiteY153" fmla="*/ 9785 h 9870"/>
              <a:gd name="connsiteX154" fmla="*/ 7188 w 10000"/>
              <a:gd name="connsiteY154" fmla="*/ 9785 h 9870"/>
              <a:gd name="connsiteX155" fmla="*/ 7188 w 10000"/>
              <a:gd name="connsiteY155" fmla="*/ 9827 h 9870"/>
              <a:gd name="connsiteX156" fmla="*/ 7188 w 10000"/>
              <a:gd name="connsiteY156" fmla="*/ 9870 h 9870"/>
              <a:gd name="connsiteX157" fmla="*/ 7344 w 10000"/>
              <a:gd name="connsiteY157" fmla="*/ 7607 h 9870"/>
              <a:gd name="connsiteX158" fmla="*/ 7136 w 10000"/>
              <a:gd name="connsiteY158" fmla="*/ 7257 h 9870"/>
              <a:gd name="connsiteX159" fmla="*/ 6544 w 10000"/>
              <a:gd name="connsiteY159" fmla="*/ 7143 h 9870"/>
              <a:gd name="connsiteX160" fmla="*/ 5775 w 10000"/>
              <a:gd name="connsiteY160" fmla="*/ 7107 h 9870"/>
              <a:gd name="connsiteX161" fmla="*/ 5311 w 10000"/>
              <a:gd name="connsiteY161" fmla="*/ 6997 h 9870"/>
              <a:gd name="connsiteX162" fmla="*/ 5071 w 10000"/>
              <a:gd name="connsiteY162" fmla="*/ 6886 h 9870"/>
              <a:gd name="connsiteX163" fmla="*/ 4912 w 10000"/>
              <a:gd name="connsiteY163" fmla="*/ 6979 h 9870"/>
              <a:gd name="connsiteX164" fmla="*/ 4416 w 10000"/>
              <a:gd name="connsiteY164" fmla="*/ 6811 h 9870"/>
              <a:gd name="connsiteX165" fmla="*/ 3584 w 10000"/>
              <a:gd name="connsiteY165" fmla="*/ 6516 h 9870"/>
              <a:gd name="connsiteX166" fmla="*/ 3104 w 10000"/>
              <a:gd name="connsiteY166" fmla="*/ 6460 h 9870"/>
              <a:gd name="connsiteX167" fmla="*/ 3200 w 10000"/>
              <a:gd name="connsiteY167" fmla="*/ 6257 h 9870"/>
              <a:gd name="connsiteX168" fmla="*/ 3344 w 10000"/>
              <a:gd name="connsiteY168" fmla="*/ 6201 h 9870"/>
              <a:gd name="connsiteX169" fmla="*/ 3728 w 10000"/>
              <a:gd name="connsiteY169" fmla="*/ 5905 h 9870"/>
              <a:gd name="connsiteX170" fmla="*/ 3968 w 10000"/>
              <a:gd name="connsiteY170" fmla="*/ 5628 h 9870"/>
              <a:gd name="connsiteX171" fmla="*/ 4224 w 10000"/>
              <a:gd name="connsiteY171" fmla="*/ 5332 h 9870"/>
              <a:gd name="connsiteX172" fmla="*/ 4368 w 10000"/>
              <a:gd name="connsiteY172" fmla="*/ 5056 h 9870"/>
              <a:gd name="connsiteX173" fmla="*/ 4352 w 10000"/>
              <a:gd name="connsiteY173" fmla="*/ 4741 h 9870"/>
              <a:gd name="connsiteX174" fmla="*/ 4336 w 10000"/>
              <a:gd name="connsiteY174" fmla="*/ 4463 h 9870"/>
              <a:gd name="connsiteX175" fmla="*/ 4176 w 10000"/>
              <a:gd name="connsiteY175" fmla="*/ 4296 h 9870"/>
              <a:gd name="connsiteX176" fmla="*/ 4016 w 10000"/>
              <a:gd name="connsiteY176" fmla="*/ 4316 h 9870"/>
              <a:gd name="connsiteX177" fmla="*/ 3856 w 10000"/>
              <a:gd name="connsiteY177" fmla="*/ 4611 h 9870"/>
              <a:gd name="connsiteX178" fmla="*/ 3808 w 10000"/>
              <a:gd name="connsiteY178" fmla="*/ 5146 h 9870"/>
              <a:gd name="connsiteX179" fmla="*/ 3536 w 10000"/>
              <a:gd name="connsiteY179" fmla="*/ 5500 h 9870"/>
              <a:gd name="connsiteX180" fmla="*/ 2992 w 10000"/>
              <a:gd name="connsiteY180" fmla="*/ 5813 h 9870"/>
              <a:gd name="connsiteX181" fmla="*/ 2415 w 10000"/>
              <a:gd name="connsiteY181" fmla="*/ 6053 h 9870"/>
              <a:gd name="connsiteX182" fmla="*/ 1951 w 10000"/>
              <a:gd name="connsiteY182" fmla="*/ 6384 h 9870"/>
              <a:gd name="connsiteX183" fmla="*/ 0 w 10000"/>
              <a:gd name="connsiteY183" fmla="*/ 6312 h 9870"/>
              <a:gd name="connsiteX184" fmla="*/ 3 w 10000"/>
              <a:gd name="connsiteY184" fmla="*/ 6077 h 9870"/>
              <a:gd name="connsiteX185" fmla="*/ 159 w 10000"/>
              <a:gd name="connsiteY185" fmla="*/ 6164 h 9870"/>
              <a:gd name="connsiteX186" fmla="*/ 368 w 10000"/>
              <a:gd name="connsiteY186" fmla="*/ 6077 h 9870"/>
              <a:gd name="connsiteX187" fmla="*/ 1462 w 10000"/>
              <a:gd name="connsiteY187" fmla="*/ 6077 h 9870"/>
              <a:gd name="connsiteX188" fmla="*/ 1617 w 10000"/>
              <a:gd name="connsiteY188" fmla="*/ 6035 h 9870"/>
              <a:gd name="connsiteX189" fmla="*/ 1669 w 10000"/>
              <a:gd name="connsiteY189" fmla="*/ 6035 h 9870"/>
              <a:gd name="connsiteX190" fmla="*/ 2189 w 10000"/>
              <a:gd name="connsiteY190" fmla="*/ 5475 h 9870"/>
              <a:gd name="connsiteX191" fmla="*/ 2294 w 10000"/>
              <a:gd name="connsiteY191" fmla="*/ 5387 h 9870"/>
              <a:gd name="connsiteX192" fmla="*/ 2762 w 10000"/>
              <a:gd name="connsiteY192" fmla="*/ 4957 h 9870"/>
              <a:gd name="connsiteX193" fmla="*/ 3023 w 10000"/>
              <a:gd name="connsiteY193" fmla="*/ 4698 h 9870"/>
              <a:gd name="connsiteX194" fmla="*/ 3179 w 10000"/>
              <a:gd name="connsiteY194" fmla="*/ 4569 h 9870"/>
              <a:gd name="connsiteX195" fmla="*/ 3596 w 10000"/>
              <a:gd name="connsiteY195" fmla="*/ 3922 h 9870"/>
              <a:gd name="connsiteX196" fmla="*/ 4116 w 10000"/>
              <a:gd name="connsiteY196" fmla="*/ 3663 h 9870"/>
              <a:gd name="connsiteX197" fmla="*/ 5001 w 10000"/>
              <a:gd name="connsiteY197" fmla="*/ 2931 h 9870"/>
              <a:gd name="connsiteX198" fmla="*/ 4845 w 10000"/>
              <a:gd name="connsiteY198" fmla="*/ 2672 h 9870"/>
              <a:gd name="connsiteX199" fmla="*/ 4794 w 10000"/>
              <a:gd name="connsiteY199" fmla="*/ 2500 h 9870"/>
              <a:gd name="connsiteX200" fmla="*/ 4794 w 10000"/>
              <a:gd name="connsiteY200" fmla="*/ 1292 h 9870"/>
              <a:gd name="connsiteX201" fmla="*/ 4116 w 10000"/>
              <a:gd name="connsiteY201" fmla="*/ 774 h 9870"/>
              <a:gd name="connsiteX202" fmla="*/ 4950 w 10000"/>
              <a:gd name="connsiteY202" fmla="*/ 774 h 9870"/>
              <a:gd name="connsiteX203" fmla="*/ 5782 w 10000"/>
              <a:gd name="connsiteY203" fmla="*/ 774 h 9870"/>
              <a:gd name="connsiteX204" fmla="*/ 5782 w 10000"/>
              <a:gd name="connsiteY204" fmla="*/ 732 h 9870"/>
              <a:gd name="connsiteX205" fmla="*/ 5782 w 10000"/>
              <a:gd name="connsiteY205" fmla="*/ 691 h 9870"/>
              <a:gd name="connsiteX206" fmla="*/ 5782 w 10000"/>
              <a:gd name="connsiteY206" fmla="*/ 650 h 9870"/>
              <a:gd name="connsiteX207" fmla="*/ 5782 w 10000"/>
              <a:gd name="connsiteY207" fmla="*/ 603 h 9870"/>
              <a:gd name="connsiteX208" fmla="*/ 5834 w 10000"/>
              <a:gd name="connsiteY208" fmla="*/ 557 h 9870"/>
              <a:gd name="connsiteX209" fmla="*/ 5834 w 10000"/>
              <a:gd name="connsiteY209" fmla="*/ 516 h 9870"/>
              <a:gd name="connsiteX210" fmla="*/ 5834 w 10000"/>
              <a:gd name="connsiteY210" fmla="*/ 475 h 9870"/>
              <a:gd name="connsiteX211" fmla="*/ 5834 w 10000"/>
              <a:gd name="connsiteY211" fmla="*/ 433 h 9870"/>
              <a:gd name="connsiteX212" fmla="*/ 5834 w 10000"/>
              <a:gd name="connsiteY212" fmla="*/ 392 h 9870"/>
              <a:gd name="connsiteX213" fmla="*/ 5834 w 10000"/>
              <a:gd name="connsiteY213" fmla="*/ 341 h 9870"/>
              <a:gd name="connsiteX214" fmla="*/ 5782 w 10000"/>
              <a:gd name="connsiteY214" fmla="*/ 341 h 9870"/>
              <a:gd name="connsiteX215" fmla="*/ 5782 w 10000"/>
              <a:gd name="connsiteY215" fmla="*/ 299 h 9870"/>
              <a:gd name="connsiteX216" fmla="*/ 5782 w 10000"/>
              <a:gd name="connsiteY216" fmla="*/ 258 h 9870"/>
              <a:gd name="connsiteX217" fmla="*/ 5782 w 10000"/>
              <a:gd name="connsiteY217" fmla="*/ 217 h 9870"/>
              <a:gd name="connsiteX218" fmla="*/ 5782 w 10000"/>
              <a:gd name="connsiteY218" fmla="*/ 175 h 9870"/>
              <a:gd name="connsiteX219" fmla="*/ 5782 w 10000"/>
              <a:gd name="connsiteY219" fmla="*/ 134 h 9870"/>
              <a:gd name="connsiteX220" fmla="*/ 5782 w 10000"/>
              <a:gd name="connsiteY220" fmla="*/ 83 h 9870"/>
              <a:gd name="connsiteX221" fmla="*/ 5782 w 10000"/>
              <a:gd name="connsiteY221" fmla="*/ 41 h 9870"/>
              <a:gd name="connsiteX222" fmla="*/ 5782 w 10000"/>
              <a:gd name="connsiteY222" fmla="*/ 0 h 9870"/>
              <a:gd name="connsiteX0" fmla="*/ 5782 w 10000"/>
              <a:gd name="connsiteY0" fmla="*/ 0 h 9956"/>
              <a:gd name="connsiteX1" fmla="*/ 7345 w 10000"/>
              <a:gd name="connsiteY1" fmla="*/ 42 h 9956"/>
              <a:gd name="connsiteX2" fmla="*/ 7501 w 10000"/>
              <a:gd name="connsiteY2" fmla="*/ 42 h 9956"/>
              <a:gd name="connsiteX3" fmla="*/ 7345 w 10000"/>
              <a:gd name="connsiteY3" fmla="*/ 177 h 9956"/>
              <a:gd name="connsiteX4" fmla="*/ 7293 w 10000"/>
              <a:gd name="connsiteY4" fmla="*/ 564 h 9956"/>
              <a:gd name="connsiteX5" fmla="*/ 7188 w 10000"/>
              <a:gd name="connsiteY5" fmla="*/ 1181 h 9956"/>
              <a:gd name="connsiteX6" fmla="*/ 7136 w 10000"/>
              <a:gd name="connsiteY6" fmla="*/ 1223 h 9956"/>
              <a:gd name="connsiteX7" fmla="*/ 6980 w 10000"/>
              <a:gd name="connsiteY7" fmla="*/ 1571 h 9956"/>
              <a:gd name="connsiteX8" fmla="*/ 7396 w 10000"/>
              <a:gd name="connsiteY8" fmla="*/ 3188 h 9956"/>
              <a:gd name="connsiteX9" fmla="*/ 7501 w 10000"/>
              <a:gd name="connsiteY9" fmla="*/ 3494 h 9956"/>
              <a:gd name="connsiteX10" fmla="*/ 7345 w 10000"/>
              <a:gd name="connsiteY10" fmla="*/ 3757 h 9956"/>
              <a:gd name="connsiteX11" fmla="*/ 8022 w 10000"/>
              <a:gd name="connsiteY11" fmla="*/ 3930 h 9956"/>
              <a:gd name="connsiteX12" fmla="*/ 8489 w 10000"/>
              <a:gd name="connsiteY12" fmla="*/ 4411 h 9956"/>
              <a:gd name="connsiteX13" fmla="*/ 8594 w 10000"/>
              <a:gd name="connsiteY13" fmla="*/ 4498 h 9956"/>
              <a:gd name="connsiteX14" fmla="*/ 8906 w 10000"/>
              <a:gd name="connsiteY14" fmla="*/ 4716 h 9956"/>
              <a:gd name="connsiteX15" fmla="*/ 9114 w 10000"/>
              <a:gd name="connsiteY15" fmla="*/ 4979 h 9956"/>
              <a:gd name="connsiteX16" fmla="*/ 9219 w 10000"/>
              <a:gd name="connsiteY16" fmla="*/ 5110 h 9956"/>
              <a:gd name="connsiteX17" fmla="*/ 9427 w 10000"/>
              <a:gd name="connsiteY17" fmla="*/ 5110 h 9956"/>
              <a:gd name="connsiteX18" fmla="*/ 9427 w 10000"/>
              <a:gd name="connsiteY18" fmla="*/ 5153 h 9956"/>
              <a:gd name="connsiteX19" fmla="*/ 9479 w 10000"/>
              <a:gd name="connsiteY19" fmla="*/ 5240 h 9956"/>
              <a:gd name="connsiteX20" fmla="*/ 9479 w 10000"/>
              <a:gd name="connsiteY20" fmla="*/ 5285 h 9956"/>
              <a:gd name="connsiteX21" fmla="*/ 9532 w 10000"/>
              <a:gd name="connsiteY21" fmla="*/ 5458 h 9956"/>
              <a:gd name="connsiteX22" fmla="*/ 9532 w 10000"/>
              <a:gd name="connsiteY22" fmla="*/ 5503 h 9956"/>
              <a:gd name="connsiteX23" fmla="*/ 9532 w 10000"/>
              <a:gd name="connsiteY23" fmla="*/ 5634 h 9956"/>
              <a:gd name="connsiteX24" fmla="*/ 9532 w 10000"/>
              <a:gd name="connsiteY24" fmla="*/ 5719 h 9956"/>
              <a:gd name="connsiteX25" fmla="*/ 9479 w 10000"/>
              <a:gd name="connsiteY25" fmla="*/ 5809 h 9956"/>
              <a:gd name="connsiteX26" fmla="*/ 9427 w 10000"/>
              <a:gd name="connsiteY26" fmla="*/ 6072 h 9956"/>
              <a:gd name="connsiteX27" fmla="*/ 9375 w 10000"/>
              <a:gd name="connsiteY27" fmla="*/ 6114 h 9956"/>
              <a:gd name="connsiteX28" fmla="*/ 9322 w 10000"/>
              <a:gd name="connsiteY28" fmla="*/ 6157 h 9956"/>
              <a:gd name="connsiteX29" fmla="*/ 9271 w 10000"/>
              <a:gd name="connsiteY29" fmla="*/ 6333 h 9956"/>
              <a:gd name="connsiteX30" fmla="*/ 9219 w 10000"/>
              <a:gd name="connsiteY30" fmla="*/ 6418 h 9956"/>
              <a:gd name="connsiteX31" fmla="*/ 9219 w 10000"/>
              <a:gd name="connsiteY31" fmla="*/ 6508 h 9956"/>
              <a:gd name="connsiteX32" fmla="*/ 9219 w 10000"/>
              <a:gd name="connsiteY32" fmla="*/ 6551 h 9956"/>
              <a:gd name="connsiteX33" fmla="*/ 9219 w 10000"/>
              <a:gd name="connsiteY33" fmla="*/ 6681 h 9956"/>
              <a:gd name="connsiteX34" fmla="*/ 9271 w 10000"/>
              <a:gd name="connsiteY34" fmla="*/ 6814 h 9956"/>
              <a:gd name="connsiteX35" fmla="*/ 9895 w 10000"/>
              <a:gd name="connsiteY35" fmla="*/ 6814 h 9956"/>
              <a:gd name="connsiteX36" fmla="*/ 9895 w 10000"/>
              <a:gd name="connsiteY36" fmla="*/ 6900 h 9956"/>
              <a:gd name="connsiteX37" fmla="*/ 9948 w 10000"/>
              <a:gd name="connsiteY37" fmla="*/ 7205 h 9956"/>
              <a:gd name="connsiteX38" fmla="*/ 9948 w 10000"/>
              <a:gd name="connsiteY38" fmla="*/ 7250 h 9956"/>
              <a:gd name="connsiteX39" fmla="*/ 9948 w 10000"/>
              <a:gd name="connsiteY39" fmla="*/ 7380 h 9956"/>
              <a:gd name="connsiteX40" fmla="*/ 9948 w 10000"/>
              <a:gd name="connsiteY40" fmla="*/ 7425 h 9956"/>
              <a:gd name="connsiteX41" fmla="*/ 9948 w 10000"/>
              <a:gd name="connsiteY41" fmla="*/ 7512 h 9956"/>
              <a:gd name="connsiteX42" fmla="*/ 9948 w 10000"/>
              <a:gd name="connsiteY42" fmla="*/ 7555 h 9956"/>
              <a:gd name="connsiteX43" fmla="*/ 9948 w 10000"/>
              <a:gd name="connsiteY43" fmla="*/ 7599 h 9956"/>
              <a:gd name="connsiteX44" fmla="*/ 9948 w 10000"/>
              <a:gd name="connsiteY44" fmla="*/ 7642 h 9956"/>
              <a:gd name="connsiteX45" fmla="*/ 10000 w 10000"/>
              <a:gd name="connsiteY45" fmla="*/ 7729 h 9956"/>
              <a:gd name="connsiteX46" fmla="*/ 10000 w 10000"/>
              <a:gd name="connsiteY46" fmla="*/ 7861 h 9956"/>
              <a:gd name="connsiteX47" fmla="*/ 10000 w 10000"/>
              <a:gd name="connsiteY47" fmla="*/ 7905 h 9956"/>
              <a:gd name="connsiteX48" fmla="*/ 10000 w 10000"/>
              <a:gd name="connsiteY48" fmla="*/ 7948 h 9956"/>
              <a:gd name="connsiteX49" fmla="*/ 10000 w 10000"/>
              <a:gd name="connsiteY49" fmla="*/ 7992 h 9956"/>
              <a:gd name="connsiteX50" fmla="*/ 10000 w 10000"/>
              <a:gd name="connsiteY50" fmla="*/ 8079 h 9956"/>
              <a:gd name="connsiteX51" fmla="*/ 10000 w 10000"/>
              <a:gd name="connsiteY51" fmla="*/ 8124 h 9956"/>
              <a:gd name="connsiteX52" fmla="*/ 10000 w 10000"/>
              <a:gd name="connsiteY52" fmla="*/ 8166 h 9956"/>
              <a:gd name="connsiteX53" fmla="*/ 10000 w 10000"/>
              <a:gd name="connsiteY53" fmla="*/ 8253 h 9956"/>
              <a:gd name="connsiteX54" fmla="*/ 10000 w 10000"/>
              <a:gd name="connsiteY54" fmla="*/ 8473 h 9956"/>
              <a:gd name="connsiteX55" fmla="*/ 10000 w 10000"/>
              <a:gd name="connsiteY55" fmla="*/ 8515 h 9956"/>
              <a:gd name="connsiteX56" fmla="*/ 10000 w 10000"/>
              <a:gd name="connsiteY56" fmla="*/ 8604 h 9956"/>
              <a:gd name="connsiteX57" fmla="*/ 10000 w 10000"/>
              <a:gd name="connsiteY57" fmla="*/ 8647 h 9956"/>
              <a:gd name="connsiteX58" fmla="*/ 10000 w 10000"/>
              <a:gd name="connsiteY58" fmla="*/ 8691 h 9956"/>
              <a:gd name="connsiteX59" fmla="*/ 10000 w 10000"/>
              <a:gd name="connsiteY59" fmla="*/ 8734 h 9956"/>
              <a:gd name="connsiteX60" fmla="*/ 10000 w 10000"/>
              <a:gd name="connsiteY60" fmla="*/ 8776 h 9956"/>
              <a:gd name="connsiteX61" fmla="*/ 10000 w 10000"/>
              <a:gd name="connsiteY61" fmla="*/ 8866 h 9956"/>
              <a:gd name="connsiteX62" fmla="*/ 10000 w 10000"/>
              <a:gd name="connsiteY62" fmla="*/ 8952 h 9956"/>
              <a:gd name="connsiteX63" fmla="*/ 10000 w 10000"/>
              <a:gd name="connsiteY63" fmla="*/ 8995 h 9956"/>
              <a:gd name="connsiteX64" fmla="*/ 10000 w 10000"/>
              <a:gd name="connsiteY64" fmla="*/ 9041 h 9956"/>
              <a:gd name="connsiteX65" fmla="*/ 9948 w 10000"/>
              <a:gd name="connsiteY65" fmla="*/ 9041 h 9956"/>
              <a:gd name="connsiteX66" fmla="*/ 9948 w 10000"/>
              <a:gd name="connsiteY66" fmla="*/ 9083 h 9956"/>
              <a:gd name="connsiteX67" fmla="*/ 9895 w 10000"/>
              <a:gd name="connsiteY67" fmla="*/ 9128 h 9956"/>
              <a:gd name="connsiteX68" fmla="*/ 9844 w 10000"/>
              <a:gd name="connsiteY68" fmla="*/ 9128 h 9956"/>
              <a:gd name="connsiteX69" fmla="*/ 9844 w 10000"/>
              <a:gd name="connsiteY69" fmla="*/ 9172 h 9956"/>
              <a:gd name="connsiteX70" fmla="*/ 9792 w 10000"/>
              <a:gd name="connsiteY70" fmla="*/ 9172 h 9956"/>
              <a:gd name="connsiteX71" fmla="*/ 9740 w 10000"/>
              <a:gd name="connsiteY71" fmla="*/ 9215 h 9956"/>
              <a:gd name="connsiteX72" fmla="*/ 9687 w 10000"/>
              <a:gd name="connsiteY72" fmla="*/ 9256 h 9956"/>
              <a:gd name="connsiteX73" fmla="*/ 9635 w 10000"/>
              <a:gd name="connsiteY73" fmla="*/ 9256 h 9956"/>
              <a:gd name="connsiteX74" fmla="*/ 9635 w 10000"/>
              <a:gd name="connsiteY74" fmla="*/ 9302 h 9956"/>
              <a:gd name="connsiteX75" fmla="*/ 9583 w 10000"/>
              <a:gd name="connsiteY75" fmla="*/ 9302 h 9956"/>
              <a:gd name="connsiteX76" fmla="*/ 9532 w 10000"/>
              <a:gd name="connsiteY76" fmla="*/ 9302 h 9956"/>
              <a:gd name="connsiteX77" fmla="*/ 9479 w 10000"/>
              <a:gd name="connsiteY77" fmla="*/ 9302 h 9956"/>
              <a:gd name="connsiteX78" fmla="*/ 9427 w 10000"/>
              <a:gd name="connsiteY78" fmla="*/ 9302 h 9956"/>
              <a:gd name="connsiteX79" fmla="*/ 9375 w 10000"/>
              <a:gd name="connsiteY79" fmla="*/ 9302 h 9956"/>
              <a:gd name="connsiteX80" fmla="*/ 9322 w 10000"/>
              <a:gd name="connsiteY80" fmla="*/ 9302 h 9956"/>
              <a:gd name="connsiteX81" fmla="*/ 9271 w 10000"/>
              <a:gd name="connsiteY81" fmla="*/ 9302 h 9956"/>
              <a:gd name="connsiteX82" fmla="*/ 9271 w 10000"/>
              <a:gd name="connsiteY82" fmla="*/ 9345 h 9956"/>
              <a:gd name="connsiteX83" fmla="*/ 9219 w 10000"/>
              <a:gd name="connsiteY83" fmla="*/ 9390 h 9956"/>
              <a:gd name="connsiteX84" fmla="*/ 9167 w 10000"/>
              <a:gd name="connsiteY84" fmla="*/ 9434 h 9956"/>
              <a:gd name="connsiteX85" fmla="*/ 9219 w 10000"/>
              <a:gd name="connsiteY85" fmla="*/ 9434 h 9956"/>
              <a:gd name="connsiteX86" fmla="*/ 9167 w 10000"/>
              <a:gd name="connsiteY86" fmla="*/ 9434 h 9956"/>
              <a:gd name="connsiteX87" fmla="*/ 9114 w 10000"/>
              <a:gd name="connsiteY87" fmla="*/ 9434 h 9956"/>
              <a:gd name="connsiteX88" fmla="*/ 9062 w 10000"/>
              <a:gd name="connsiteY88" fmla="*/ 9476 h 9956"/>
              <a:gd name="connsiteX89" fmla="*/ 9011 w 10000"/>
              <a:gd name="connsiteY89" fmla="*/ 9519 h 9956"/>
              <a:gd name="connsiteX90" fmla="*/ 8959 w 10000"/>
              <a:gd name="connsiteY90" fmla="*/ 9519 h 9956"/>
              <a:gd name="connsiteX91" fmla="*/ 8959 w 10000"/>
              <a:gd name="connsiteY91" fmla="*/ 9564 h 9956"/>
              <a:gd name="connsiteX92" fmla="*/ 8906 w 10000"/>
              <a:gd name="connsiteY92" fmla="*/ 9564 h 9956"/>
              <a:gd name="connsiteX93" fmla="*/ 8906 w 10000"/>
              <a:gd name="connsiteY93" fmla="*/ 9607 h 9956"/>
              <a:gd name="connsiteX94" fmla="*/ 8854 w 10000"/>
              <a:gd name="connsiteY94" fmla="*/ 9607 h 9956"/>
              <a:gd name="connsiteX95" fmla="*/ 8802 w 10000"/>
              <a:gd name="connsiteY95" fmla="*/ 9607 h 9956"/>
              <a:gd name="connsiteX96" fmla="*/ 8749 w 10000"/>
              <a:gd name="connsiteY96" fmla="*/ 9607 h 9956"/>
              <a:gd name="connsiteX97" fmla="*/ 8698 w 10000"/>
              <a:gd name="connsiteY97" fmla="*/ 9607 h 9956"/>
              <a:gd name="connsiteX98" fmla="*/ 8646 w 10000"/>
              <a:gd name="connsiteY98" fmla="*/ 9607 h 9956"/>
              <a:gd name="connsiteX99" fmla="*/ 8646 w 10000"/>
              <a:gd name="connsiteY99" fmla="*/ 9564 h 9956"/>
              <a:gd name="connsiteX100" fmla="*/ 8646 w 10000"/>
              <a:gd name="connsiteY100" fmla="*/ 9519 h 9956"/>
              <a:gd name="connsiteX101" fmla="*/ 8594 w 10000"/>
              <a:gd name="connsiteY101" fmla="*/ 9476 h 9956"/>
              <a:gd name="connsiteX102" fmla="*/ 8594 w 10000"/>
              <a:gd name="connsiteY102" fmla="*/ 9434 h 9956"/>
              <a:gd name="connsiteX103" fmla="*/ 8594 w 10000"/>
              <a:gd name="connsiteY103" fmla="*/ 9390 h 9956"/>
              <a:gd name="connsiteX104" fmla="*/ 8541 w 10000"/>
              <a:gd name="connsiteY104" fmla="*/ 9390 h 9956"/>
              <a:gd name="connsiteX105" fmla="*/ 8489 w 10000"/>
              <a:gd name="connsiteY105" fmla="*/ 9390 h 9956"/>
              <a:gd name="connsiteX106" fmla="*/ 8489 w 10000"/>
              <a:gd name="connsiteY106" fmla="*/ 9345 h 9956"/>
              <a:gd name="connsiteX107" fmla="*/ 8438 w 10000"/>
              <a:gd name="connsiteY107" fmla="*/ 9345 h 9956"/>
              <a:gd name="connsiteX108" fmla="*/ 8386 w 10000"/>
              <a:gd name="connsiteY108" fmla="*/ 9390 h 9956"/>
              <a:gd name="connsiteX109" fmla="*/ 8386 w 10000"/>
              <a:gd name="connsiteY109" fmla="*/ 9434 h 9956"/>
              <a:gd name="connsiteX110" fmla="*/ 8282 w 10000"/>
              <a:gd name="connsiteY110" fmla="*/ 9390 h 9956"/>
              <a:gd name="connsiteX111" fmla="*/ 8282 w 10000"/>
              <a:gd name="connsiteY111" fmla="*/ 9345 h 9956"/>
              <a:gd name="connsiteX112" fmla="*/ 8230 w 10000"/>
              <a:gd name="connsiteY112" fmla="*/ 9345 h 9956"/>
              <a:gd name="connsiteX113" fmla="*/ 8179 w 10000"/>
              <a:gd name="connsiteY113" fmla="*/ 9345 h 9956"/>
              <a:gd name="connsiteX114" fmla="*/ 8126 w 10000"/>
              <a:gd name="connsiteY114" fmla="*/ 9345 h 9956"/>
              <a:gd name="connsiteX115" fmla="*/ 8074 w 10000"/>
              <a:gd name="connsiteY115" fmla="*/ 9345 h 9956"/>
              <a:gd name="connsiteX116" fmla="*/ 8022 w 10000"/>
              <a:gd name="connsiteY116" fmla="*/ 9345 h 9956"/>
              <a:gd name="connsiteX117" fmla="*/ 8022 w 10000"/>
              <a:gd name="connsiteY117" fmla="*/ 9390 h 9956"/>
              <a:gd name="connsiteX118" fmla="*/ 7969 w 10000"/>
              <a:gd name="connsiteY118" fmla="*/ 9390 h 9956"/>
              <a:gd name="connsiteX119" fmla="*/ 7917 w 10000"/>
              <a:gd name="connsiteY119" fmla="*/ 9434 h 9956"/>
              <a:gd name="connsiteX120" fmla="*/ 7866 w 10000"/>
              <a:gd name="connsiteY120" fmla="*/ 9434 h 9956"/>
              <a:gd name="connsiteX121" fmla="*/ 7866 w 10000"/>
              <a:gd name="connsiteY121" fmla="*/ 9390 h 9956"/>
              <a:gd name="connsiteX122" fmla="*/ 7866 w 10000"/>
              <a:gd name="connsiteY122" fmla="*/ 9434 h 9956"/>
              <a:gd name="connsiteX123" fmla="*/ 7814 w 10000"/>
              <a:gd name="connsiteY123" fmla="*/ 9434 h 9956"/>
              <a:gd name="connsiteX124" fmla="*/ 7761 w 10000"/>
              <a:gd name="connsiteY124" fmla="*/ 9476 h 9956"/>
              <a:gd name="connsiteX125" fmla="*/ 7709 w 10000"/>
              <a:gd name="connsiteY125" fmla="*/ 9434 h 9956"/>
              <a:gd name="connsiteX126" fmla="*/ 7657 w 10000"/>
              <a:gd name="connsiteY126" fmla="*/ 9434 h 9956"/>
              <a:gd name="connsiteX127" fmla="*/ 7606 w 10000"/>
              <a:gd name="connsiteY127" fmla="*/ 9434 h 9956"/>
              <a:gd name="connsiteX128" fmla="*/ 7553 w 10000"/>
              <a:gd name="connsiteY128" fmla="*/ 9390 h 9956"/>
              <a:gd name="connsiteX129" fmla="*/ 7501 w 10000"/>
              <a:gd name="connsiteY129" fmla="*/ 9390 h 9956"/>
              <a:gd name="connsiteX130" fmla="*/ 7501 w 10000"/>
              <a:gd name="connsiteY130" fmla="*/ 9434 h 9956"/>
              <a:gd name="connsiteX131" fmla="*/ 7449 w 10000"/>
              <a:gd name="connsiteY131" fmla="*/ 9434 h 9956"/>
              <a:gd name="connsiteX132" fmla="*/ 7396 w 10000"/>
              <a:gd name="connsiteY132" fmla="*/ 9390 h 9956"/>
              <a:gd name="connsiteX133" fmla="*/ 7345 w 10000"/>
              <a:gd name="connsiteY133" fmla="*/ 9390 h 9956"/>
              <a:gd name="connsiteX134" fmla="*/ 7293 w 10000"/>
              <a:gd name="connsiteY134" fmla="*/ 9476 h 9956"/>
              <a:gd name="connsiteX135" fmla="*/ 7241 w 10000"/>
              <a:gd name="connsiteY135" fmla="*/ 9476 h 9956"/>
              <a:gd name="connsiteX136" fmla="*/ 7241 w 10000"/>
              <a:gd name="connsiteY136" fmla="*/ 9434 h 9956"/>
              <a:gd name="connsiteX137" fmla="*/ 7241 w 10000"/>
              <a:gd name="connsiteY137" fmla="*/ 9476 h 9956"/>
              <a:gd name="connsiteX138" fmla="*/ 7241 w 10000"/>
              <a:gd name="connsiteY138" fmla="*/ 9519 h 9956"/>
              <a:gd name="connsiteX139" fmla="*/ 7188 w 10000"/>
              <a:gd name="connsiteY139" fmla="*/ 9519 h 9956"/>
              <a:gd name="connsiteX140" fmla="*/ 7136 w 10000"/>
              <a:gd name="connsiteY140" fmla="*/ 9519 h 9956"/>
              <a:gd name="connsiteX141" fmla="*/ 7188 w 10000"/>
              <a:gd name="connsiteY141" fmla="*/ 9564 h 9956"/>
              <a:gd name="connsiteX142" fmla="*/ 7136 w 10000"/>
              <a:gd name="connsiteY142" fmla="*/ 9607 h 9956"/>
              <a:gd name="connsiteX143" fmla="*/ 7188 w 10000"/>
              <a:gd name="connsiteY143" fmla="*/ 9651 h 9956"/>
              <a:gd name="connsiteX144" fmla="*/ 7241 w 10000"/>
              <a:gd name="connsiteY144" fmla="*/ 9651 h 9956"/>
              <a:gd name="connsiteX145" fmla="*/ 7241 w 10000"/>
              <a:gd name="connsiteY145" fmla="*/ 9696 h 9956"/>
              <a:gd name="connsiteX146" fmla="*/ 7188 w 10000"/>
              <a:gd name="connsiteY146" fmla="*/ 9696 h 9956"/>
              <a:gd name="connsiteX147" fmla="*/ 7136 w 10000"/>
              <a:gd name="connsiteY147" fmla="*/ 9696 h 9956"/>
              <a:gd name="connsiteX148" fmla="*/ 7188 w 10000"/>
              <a:gd name="connsiteY148" fmla="*/ 9738 h 9956"/>
              <a:gd name="connsiteX149" fmla="*/ 7188 w 10000"/>
              <a:gd name="connsiteY149" fmla="*/ 9782 h 9956"/>
              <a:gd name="connsiteX150" fmla="*/ 7136 w 10000"/>
              <a:gd name="connsiteY150" fmla="*/ 9782 h 9956"/>
              <a:gd name="connsiteX151" fmla="*/ 7136 w 10000"/>
              <a:gd name="connsiteY151" fmla="*/ 9827 h 9956"/>
              <a:gd name="connsiteX152" fmla="*/ 7084 w 10000"/>
              <a:gd name="connsiteY152" fmla="*/ 9870 h 9956"/>
              <a:gd name="connsiteX153" fmla="*/ 7136 w 10000"/>
              <a:gd name="connsiteY153" fmla="*/ 9914 h 9956"/>
              <a:gd name="connsiteX154" fmla="*/ 7188 w 10000"/>
              <a:gd name="connsiteY154" fmla="*/ 9914 h 9956"/>
              <a:gd name="connsiteX155" fmla="*/ 7188 w 10000"/>
              <a:gd name="connsiteY155" fmla="*/ 9956 h 9956"/>
              <a:gd name="connsiteX156" fmla="*/ 7344 w 10000"/>
              <a:gd name="connsiteY156" fmla="*/ 7707 h 9956"/>
              <a:gd name="connsiteX157" fmla="*/ 7136 w 10000"/>
              <a:gd name="connsiteY157" fmla="*/ 7353 h 9956"/>
              <a:gd name="connsiteX158" fmla="*/ 6544 w 10000"/>
              <a:gd name="connsiteY158" fmla="*/ 7237 h 9956"/>
              <a:gd name="connsiteX159" fmla="*/ 5775 w 10000"/>
              <a:gd name="connsiteY159" fmla="*/ 7201 h 9956"/>
              <a:gd name="connsiteX160" fmla="*/ 5311 w 10000"/>
              <a:gd name="connsiteY160" fmla="*/ 7089 h 9956"/>
              <a:gd name="connsiteX161" fmla="*/ 5071 w 10000"/>
              <a:gd name="connsiteY161" fmla="*/ 6977 h 9956"/>
              <a:gd name="connsiteX162" fmla="*/ 4912 w 10000"/>
              <a:gd name="connsiteY162" fmla="*/ 7071 h 9956"/>
              <a:gd name="connsiteX163" fmla="*/ 4416 w 10000"/>
              <a:gd name="connsiteY163" fmla="*/ 6901 h 9956"/>
              <a:gd name="connsiteX164" fmla="*/ 3584 w 10000"/>
              <a:gd name="connsiteY164" fmla="*/ 6602 h 9956"/>
              <a:gd name="connsiteX165" fmla="*/ 3104 w 10000"/>
              <a:gd name="connsiteY165" fmla="*/ 6545 h 9956"/>
              <a:gd name="connsiteX166" fmla="*/ 3200 w 10000"/>
              <a:gd name="connsiteY166" fmla="*/ 6339 h 9956"/>
              <a:gd name="connsiteX167" fmla="*/ 3344 w 10000"/>
              <a:gd name="connsiteY167" fmla="*/ 6283 h 9956"/>
              <a:gd name="connsiteX168" fmla="*/ 3728 w 10000"/>
              <a:gd name="connsiteY168" fmla="*/ 5983 h 9956"/>
              <a:gd name="connsiteX169" fmla="*/ 3968 w 10000"/>
              <a:gd name="connsiteY169" fmla="*/ 5702 h 9956"/>
              <a:gd name="connsiteX170" fmla="*/ 4224 w 10000"/>
              <a:gd name="connsiteY170" fmla="*/ 5402 h 9956"/>
              <a:gd name="connsiteX171" fmla="*/ 4368 w 10000"/>
              <a:gd name="connsiteY171" fmla="*/ 5123 h 9956"/>
              <a:gd name="connsiteX172" fmla="*/ 4352 w 10000"/>
              <a:gd name="connsiteY172" fmla="*/ 4803 h 9956"/>
              <a:gd name="connsiteX173" fmla="*/ 4336 w 10000"/>
              <a:gd name="connsiteY173" fmla="*/ 4522 h 9956"/>
              <a:gd name="connsiteX174" fmla="*/ 4176 w 10000"/>
              <a:gd name="connsiteY174" fmla="*/ 4353 h 9956"/>
              <a:gd name="connsiteX175" fmla="*/ 4016 w 10000"/>
              <a:gd name="connsiteY175" fmla="*/ 4373 h 9956"/>
              <a:gd name="connsiteX176" fmla="*/ 3856 w 10000"/>
              <a:gd name="connsiteY176" fmla="*/ 4672 h 9956"/>
              <a:gd name="connsiteX177" fmla="*/ 3808 w 10000"/>
              <a:gd name="connsiteY177" fmla="*/ 5214 h 9956"/>
              <a:gd name="connsiteX178" fmla="*/ 3536 w 10000"/>
              <a:gd name="connsiteY178" fmla="*/ 5572 h 9956"/>
              <a:gd name="connsiteX179" fmla="*/ 2992 w 10000"/>
              <a:gd name="connsiteY179" fmla="*/ 5890 h 9956"/>
              <a:gd name="connsiteX180" fmla="*/ 2415 w 10000"/>
              <a:gd name="connsiteY180" fmla="*/ 6133 h 9956"/>
              <a:gd name="connsiteX181" fmla="*/ 1951 w 10000"/>
              <a:gd name="connsiteY181" fmla="*/ 6468 h 9956"/>
              <a:gd name="connsiteX182" fmla="*/ 0 w 10000"/>
              <a:gd name="connsiteY182" fmla="*/ 6395 h 9956"/>
              <a:gd name="connsiteX183" fmla="*/ 3 w 10000"/>
              <a:gd name="connsiteY183" fmla="*/ 6157 h 9956"/>
              <a:gd name="connsiteX184" fmla="*/ 159 w 10000"/>
              <a:gd name="connsiteY184" fmla="*/ 6245 h 9956"/>
              <a:gd name="connsiteX185" fmla="*/ 368 w 10000"/>
              <a:gd name="connsiteY185" fmla="*/ 6157 h 9956"/>
              <a:gd name="connsiteX186" fmla="*/ 1462 w 10000"/>
              <a:gd name="connsiteY186" fmla="*/ 6157 h 9956"/>
              <a:gd name="connsiteX187" fmla="*/ 1617 w 10000"/>
              <a:gd name="connsiteY187" fmla="*/ 6114 h 9956"/>
              <a:gd name="connsiteX188" fmla="*/ 1669 w 10000"/>
              <a:gd name="connsiteY188" fmla="*/ 6114 h 9956"/>
              <a:gd name="connsiteX189" fmla="*/ 2189 w 10000"/>
              <a:gd name="connsiteY189" fmla="*/ 5547 h 9956"/>
              <a:gd name="connsiteX190" fmla="*/ 2294 w 10000"/>
              <a:gd name="connsiteY190" fmla="*/ 5458 h 9956"/>
              <a:gd name="connsiteX191" fmla="*/ 2762 w 10000"/>
              <a:gd name="connsiteY191" fmla="*/ 5022 h 9956"/>
              <a:gd name="connsiteX192" fmla="*/ 3023 w 10000"/>
              <a:gd name="connsiteY192" fmla="*/ 4760 h 9956"/>
              <a:gd name="connsiteX193" fmla="*/ 3179 w 10000"/>
              <a:gd name="connsiteY193" fmla="*/ 4629 h 9956"/>
              <a:gd name="connsiteX194" fmla="*/ 3596 w 10000"/>
              <a:gd name="connsiteY194" fmla="*/ 3974 h 9956"/>
              <a:gd name="connsiteX195" fmla="*/ 4116 w 10000"/>
              <a:gd name="connsiteY195" fmla="*/ 3711 h 9956"/>
              <a:gd name="connsiteX196" fmla="*/ 5001 w 10000"/>
              <a:gd name="connsiteY196" fmla="*/ 2970 h 9956"/>
              <a:gd name="connsiteX197" fmla="*/ 4845 w 10000"/>
              <a:gd name="connsiteY197" fmla="*/ 2707 h 9956"/>
              <a:gd name="connsiteX198" fmla="*/ 4794 w 10000"/>
              <a:gd name="connsiteY198" fmla="*/ 2533 h 9956"/>
              <a:gd name="connsiteX199" fmla="*/ 4794 w 10000"/>
              <a:gd name="connsiteY199" fmla="*/ 1309 h 9956"/>
              <a:gd name="connsiteX200" fmla="*/ 4116 w 10000"/>
              <a:gd name="connsiteY200" fmla="*/ 784 h 9956"/>
              <a:gd name="connsiteX201" fmla="*/ 4950 w 10000"/>
              <a:gd name="connsiteY201" fmla="*/ 784 h 9956"/>
              <a:gd name="connsiteX202" fmla="*/ 5782 w 10000"/>
              <a:gd name="connsiteY202" fmla="*/ 784 h 9956"/>
              <a:gd name="connsiteX203" fmla="*/ 5782 w 10000"/>
              <a:gd name="connsiteY203" fmla="*/ 742 h 9956"/>
              <a:gd name="connsiteX204" fmla="*/ 5782 w 10000"/>
              <a:gd name="connsiteY204" fmla="*/ 700 h 9956"/>
              <a:gd name="connsiteX205" fmla="*/ 5782 w 10000"/>
              <a:gd name="connsiteY205" fmla="*/ 659 h 9956"/>
              <a:gd name="connsiteX206" fmla="*/ 5782 w 10000"/>
              <a:gd name="connsiteY206" fmla="*/ 611 h 9956"/>
              <a:gd name="connsiteX207" fmla="*/ 5834 w 10000"/>
              <a:gd name="connsiteY207" fmla="*/ 564 h 9956"/>
              <a:gd name="connsiteX208" fmla="*/ 5834 w 10000"/>
              <a:gd name="connsiteY208" fmla="*/ 523 h 9956"/>
              <a:gd name="connsiteX209" fmla="*/ 5834 w 10000"/>
              <a:gd name="connsiteY209" fmla="*/ 481 h 9956"/>
              <a:gd name="connsiteX210" fmla="*/ 5834 w 10000"/>
              <a:gd name="connsiteY210" fmla="*/ 439 h 9956"/>
              <a:gd name="connsiteX211" fmla="*/ 5834 w 10000"/>
              <a:gd name="connsiteY211" fmla="*/ 397 h 9956"/>
              <a:gd name="connsiteX212" fmla="*/ 5834 w 10000"/>
              <a:gd name="connsiteY212" fmla="*/ 345 h 9956"/>
              <a:gd name="connsiteX213" fmla="*/ 5782 w 10000"/>
              <a:gd name="connsiteY213" fmla="*/ 345 h 9956"/>
              <a:gd name="connsiteX214" fmla="*/ 5782 w 10000"/>
              <a:gd name="connsiteY214" fmla="*/ 303 h 9956"/>
              <a:gd name="connsiteX215" fmla="*/ 5782 w 10000"/>
              <a:gd name="connsiteY215" fmla="*/ 261 h 9956"/>
              <a:gd name="connsiteX216" fmla="*/ 5782 w 10000"/>
              <a:gd name="connsiteY216" fmla="*/ 220 h 9956"/>
              <a:gd name="connsiteX217" fmla="*/ 5782 w 10000"/>
              <a:gd name="connsiteY217" fmla="*/ 177 h 9956"/>
              <a:gd name="connsiteX218" fmla="*/ 5782 w 10000"/>
              <a:gd name="connsiteY218" fmla="*/ 136 h 9956"/>
              <a:gd name="connsiteX219" fmla="*/ 5782 w 10000"/>
              <a:gd name="connsiteY219" fmla="*/ 84 h 9956"/>
              <a:gd name="connsiteX220" fmla="*/ 5782 w 10000"/>
              <a:gd name="connsiteY220" fmla="*/ 42 h 9956"/>
              <a:gd name="connsiteX221" fmla="*/ 5782 w 10000"/>
              <a:gd name="connsiteY221" fmla="*/ 0 h 9956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78 h 10000"/>
              <a:gd name="connsiteX4" fmla="*/ 7293 w 10000"/>
              <a:gd name="connsiteY4" fmla="*/ 566 h 10000"/>
              <a:gd name="connsiteX5" fmla="*/ 7188 w 10000"/>
              <a:gd name="connsiteY5" fmla="*/ 1186 h 10000"/>
              <a:gd name="connsiteX6" fmla="*/ 7136 w 10000"/>
              <a:gd name="connsiteY6" fmla="*/ 1228 h 10000"/>
              <a:gd name="connsiteX7" fmla="*/ 6980 w 10000"/>
              <a:gd name="connsiteY7" fmla="*/ 1578 h 10000"/>
              <a:gd name="connsiteX8" fmla="*/ 7396 w 10000"/>
              <a:gd name="connsiteY8" fmla="*/ 3202 h 10000"/>
              <a:gd name="connsiteX9" fmla="*/ 7501 w 10000"/>
              <a:gd name="connsiteY9" fmla="*/ 3509 h 10000"/>
              <a:gd name="connsiteX10" fmla="*/ 7345 w 10000"/>
              <a:gd name="connsiteY10" fmla="*/ 3774 h 10000"/>
              <a:gd name="connsiteX11" fmla="*/ 8022 w 10000"/>
              <a:gd name="connsiteY11" fmla="*/ 3947 h 10000"/>
              <a:gd name="connsiteX12" fmla="*/ 8489 w 10000"/>
              <a:gd name="connsiteY12" fmla="*/ 4430 h 10000"/>
              <a:gd name="connsiteX13" fmla="*/ 8594 w 10000"/>
              <a:gd name="connsiteY13" fmla="*/ 4518 h 10000"/>
              <a:gd name="connsiteX14" fmla="*/ 8906 w 10000"/>
              <a:gd name="connsiteY14" fmla="*/ 4737 h 10000"/>
              <a:gd name="connsiteX15" fmla="*/ 9114 w 10000"/>
              <a:gd name="connsiteY15" fmla="*/ 5001 h 10000"/>
              <a:gd name="connsiteX16" fmla="*/ 9219 w 10000"/>
              <a:gd name="connsiteY16" fmla="*/ 5133 h 10000"/>
              <a:gd name="connsiteX17" fmla="*/ 9427 w 10000"/>
              <a:gd name="connsiteY17" fmla="*/ 5133 h 10000"/>
              <a:gd name="connsiteX18" fmla="*/ 9427 w 10000"/>
              <a:gd name="connsiteY18" fmla="*/ 5176 h 10000"/>
              <a:gd name="connsiteX19" fmla="*/ 9479 w 10000"/>
              <a:gd name="connsiteY19" fmla="*/ 5263 h 10000"/>
              <a:gd name="connsiteX20" fmla="*/ 9479 w 10000"/>
              <a:gd name="connsiteY20" fmla="*/ 5308 h 10000"/>
              <a:gd name="connsiteX21" fmla="*/ 9532 w 10000"/>
              <a:gd name="connsiteY21" fmla="*/ 5482 h 10000"/>
              <a:gd name="connsiteX22" fmla="*/ 9532 w 10000"/>
              <a:gd name="connsiteY22" fmla="*/ 5527 h 10000"/>
              <a:gd name="connsiteX23" fmla="*/ 9532 w 10000"/>
              <a:gd name="connsiteY23" fmla="*/ 5659 h 10000"/>
              <a:gd name="connsiteX24" fmla="*/ 9532 w 10000"/>
              <a:gd name="connsiteY24" fmla="*/ 5744 h 10000"/>
              <a:gd name="connsiteX25" fmla="*/ 9479 w 10000"/>
              <a:gd name="connsiteY25" fmla="*/ 5835 h 10000"/>
              <a:gd name="connsiteX26" fmla="*/ 9427 w 10000"/>
              <a:gd name="connsiteY26" fmla="*/ 6099 h 10000"/>
              <a:gd name="connsiteX27" fmla="*/ 9375 w 10000"/>
              <a:gd name="connsiteY27" fmla="*/ 6141 h 10000"/>
              <a:gd name="connsiteX28" fmla="*/ 9322 w 10000"/>
              <a:gd name="connsiteY28" fmla="*/ 6184 h 10000"/>
              <a:gd name="connsiteX29" fmla="*/ 9271 w 10000"/>
              <a:gd name="connsiteY29" fmla="*/ 6361 h 10000"/>
              <a:gd name="connsiteX30" fmla="*/ 9219 w 10000"/>
              <a:gd name="connsiteY30" fmla="*/ 6446 h 10000"/>
              <a:gd name="connsiteX31" fmla="*/ 9219 w 10000"/>
              <a:gd name="connsiteY31" fmla="*/ 6537 h 10000"/>
              <a:gd name="connsiteX32" fmla="*/ 9219 w 10000"/>
              <a:gd name="connsiteY32" fmla="*/ 6580 h 10000"/>
              <a:gd name="connsiteX33" fmla="*/ 9219 w 10000"/>
              <a:gd name="connsiteY33" fmla="*/ 6711 h 10000"/>
              <a:gd name="connsiteX34" fmla="*/ 9271 w 10000"/>
              <a:gd name="connsiteY34" fmla="*/ 6844 h 10000"/>
              <a:gd name="connsiteX35" fmla="*/ 9895 w 10000"/>
              <a:gd name="connsiteY35" fmla="*/ 6844 h 10000"/>
              <a:gd name="connsiteX36" fmla="*/ 9895 w 10000"/>
              <a:gd name="connsiteY36" fmla="*/ 6930 h 10000"/>
              <a:gd name="connsiteX37" fmla="*/ 9948 w 10000"/>
              <a:gd name="connsiteY37" fmla="*/ 7237 h 10000"/>
              <a:gd name="connsiteX38" fmla="*/ 9948 w 10000"/>
              <a:gd name="connsiteY38" fmla="*/ 7282 h 10000"/>
              <a:gd name="connsiteX39" fmla="*/ 9948 w 10000"/>
              <a:gd name="connsiteY39" fmla="*/ 7413 h 10000"/>
              <a:gd name="connsiteX40" fmla="*/ 9948 w 10000"/>
              <a:gd name="connsiteY40" fmla="*/ 7458 h 10000"/>
              <a:gd name="connsiteX41" fmla="*/ 9948 w 10000"/>
              <a:gd name="connsiteY41" fmla="*/ 7545 h 10000"/>
              <a:gd name="connsiteX42" fmla="*/ 9948 w 10000"/>
              <a:gd name="connsiteY42" fmla="*/ 7588 h 10000"/>
              <a:gd name="connsiteX43" fmla="*/ 9948 w 10000"/>
              <a:gd name="connsiteY43" fmla="*/ 7633 h 10000"/>
              <a:gd name="connsiteX44" fmla="*/ 9948 w 10000"/>
              <a:gd name="connsiteY44" fmla="*/ 7676 h 10000"/>
              <a:gd name="connsiteX45" fmla="*/ 10000 w 10000"/>
              <a:gd name="connsiteY45" fmla="*/ 7763 h 10000"/>
              <a:gd name="connsiteX46" fmla="*/ 10000 w 10000"/>
              <a:gd name="connsiteY46" fmla="*/ 7896 h 10000"/>
              <a:gd name="connsiteX47" fmla="*/ 10000 w 10000"/>
              <a:gd name="connsiteY47" fmla="*/ 7940 h 10000"/>
              <a:gd name="connsiteX48" fmla="*/ 10000 w 10000"/>
              <a:gd name="connsiteY48" fmla="*/ 7983 h 10000"/>
              <a:gd name="connsiteX49" fmla="*/ 10000 w 10000"/>
              <a:gd name="connsiteY49" fmla="*/ 8027 h 10000"/>
              <a:gd name="connsiteX50" fmla="*/ 10000 w 10000"/>
              <a:gd name="connsiteY50" fmla="*/ 8115 h 10000"/>
              <a:gd name="connsiteX51" fmla="*/ 10000 w 10000"/>
              <a:gd name="connsiteY51" fmla="*/ 8160 h 10000"/>
              <a:gd name="connsiteX52" fmla="*/ 10000 w 10000"/>
              <a:gd name="connsiteY52" fmla="*/ 8202 h 10000"/>
              <a:gd name="connsiteX53" fmla="*/ 10000 w 10000"/>
              <a:gd name="connsiteY53" fmla="*/ 8289 h 10000"/>
              <a:gd name="connsiteX54" fmla="*/ 10000 w 10000"/>
              <a:gd name="connsiteY54" fmla="*/ 8510 h 10000"/>
              <a:gd name="connsiteX55" fmla="*/ 10000 w 10000"/>
              <a:gd name="connsiteY55" fmla="*/ 8553 h 10000"/>
              <a:gd name="connsiteX56" fmla="*/ 10000 w 10000"/>
              <a:gd name="connsiteY56" fmla="*/ 8642 h 10000"/>
              <a:gd name="connsiteX57" fmla="*/ 10000 w 10000"/>
              <a:gd name="connsiteY57" fmla="*/ 8685 h 10000"/>
              <a:gd name="connsiteX58" fmla="*/ 10000 w 10000"/>
              <a:gd name="connsiteY58" fmla="*/ 8729 h 10000"/>
              <a:gd name="connsiteX59" fmla="*/ 10000 w 10000"/>
              <a:gd name="connsiteY59" fmla="*/ 8773 h 10000"/>
              <a:gd name="connsiteX60" fmla="*/ 10000 w 10000"/>
              <a:gd name="connsiteY60" fmla="*/ 8815 h 10000"/>
              <a:gd name="connsiteX61" fmla="*/ 10000 w 10000"/>
              <a:gd name="connsiteY61" fmla="*/ 8905 h 10000"/>
              <a:gd name="connsiteX62" fmla="*/ 10000 w 10000"/>
              <a:gd name="connsiteY62" fmla="*/ 8992 h 10000"/>
              <a:gd name="connsiteX63" fmla="*/ 10000 w 10000"/>
              <a:gd name="connsiteY63" fmla="*/ 9035 h 10000"/>
              <a:gd name="connsiteX64" fmla="*/ 10000 w 10000"/>
              <a:gd name="connsiteY64" fmla="*/ 9081 h 10000"/>
              <a:gd name="connsiteX65" fmla="*/ 9948 w 10000"/>
              <a:gd name="connsiteY65" fmla="*/ 9081 h 10000"/>
              <a:gd name="connsiteX66" fmla="*/ 9948 w 10000"/>
              <a:gd name="connsiteY66" fmla="*/ 9123 h 10000"/>
              <a:gd name="connsiteX67" fmla="*/ 9895 w 10000"/>
              <a:gd name="connsiteY67" fmla="*/ 9168 h 10000"/>
              <a:gd name="connsiteX68" fmla="*/ 9844 w 10000"/>
              <a:gd name="connsiteY68" fmla="*/ 9168 h 10000"/>
              <a:gd name="connsiteX69" fmla="*/ 9844 w 10000"/>
              <a:gd name="connsiteY69" fmla="*/ 9213 h 10000"/>
              <a:gd name="connsiteX70" fmla="*/ 9792 w 10000"/>
              <a:gd name="connsiteY70" fmla="*/ 9213 h 10000"/>
              <a:gd name="connsiteX71" fmla="*/ 9740 w 10000"/>
              <a:gd name="connsiteY71" fmla="*/ 9256 h 10000"/>
              <a:gd name="connsiteX72" fmla="*/ 9687 w 10000"/>
              <a:gd name="connsiteY72" fmla="*/ 9297 h 10000"/>
              <a:gd name="connsiteX73" fmla="*/ 9635 w 10000"/>
              <a:gd name="connsiteY73" fmla="*/ 9297 h 10000"/>
              <a:gd name="connsiteX74" fmla="*/ 9635 w 10000"/>
              <a:gd name="connsiteY74" fmla="*/ 9343 h 10000"/>
              <a:gd name="connsiteX75" fmla="*/ 9583 w 10000"/>
              <a:gd name="connsiteY75" fmla="*/ 9343 h 10000"/>
              <a:gd name="connsiteX76" fmla="*/ 9532 w 10000"/>
              <a:gd name="connsiteY76" fmla="*/ 9343 h 10000"/>
              <a:gd name="connsiteX77" fmla="*/ 9479 w 10000"/>
              <a:gd name="connsiteY77" fmla="*/ 9343 h 10000"/>
              <a:gd name="connsiteX78" fmla="*/ 9427 w 10000"/>
              <a:gd name="connsiteY78" fmla="*/ 9343 h 10000"/>
              <a:gd name="connsiteX79" fmla="*/ 9375 w 10000"/>
              <a:gd name="connsiteY79" fmla="*/ 9343 h 10000"/>
              <a:gd name="connsiteX80" fmla="*/ 9322 w 10000"/>
              <a:gd name="connsiteY80" fmla="*/ 9343 h 10000"/>
              <a:gd name="connsiteX81" fmla="*/ 9271 w 10000"/>
              <a:gd name="connsiteY81" fmla="*/ 9343 h 10000"/>
              <a:gd name="connsiteX82" fmla="*/ 9271 w 10000"/>
              <a:gd name="connsiteY82" fmla="*/ 9386 h 10000"/>
              <a:gd name="connsiteX83" fmla="*/ 9219 w 10000"/>
              <a:gd name="connsiteY83" fmla="*/ 9431 h 10000"/>
              <a:gd name="connsiteX84" fmla="*/ 9167 w 10000"/>
              <a:gd name="connsiteY84" fmla="*/ 9476 h 10000"/>
              <a:gd name="connsiteX85" fmla="*/ 9219 w 10000"/>
              <a:gd name="connsiteY85" fmla="*/ 9476 h 10000"/>
              <a:gd name="connsiteX86" fmla="*/ 9167 w 10000"/>
              <a:gd name="connsiteY86" fmla="*/ 9476 h 10000"/>
              <a:gd name="connsiteX87" fmla="*/ 9114 w 10000"/>
              <a:gd name="connsiteY87" fmla="*/ 9476 h 10000"/>
              <a:gd name="connsiteX88" fmla="*/ 9062 w 10000"/>
              <a:gd name="connsiteY88" fmla="*/ 9518 h 10000"/>
              <a:gd name="connsiteX89" fmla="*/ 9011 w 10000"/>
              <a:gd name="connsiteY89" fmla="*/ 9561 h 10000"/>
              <a:gd name="connsiteX90" fmla="*/ 8959 w 10000"/>
              <a:gd name="connsiteY90" fmla="*/ 9561 h 10000"/>
              <a:gd name="connsiteX91" fmla="*/ 8959 w 10000"/>
              <a:gd name="connsiteY91" fmla="*/ 9606 h 10000"/>
              <a:gd name="connsiteX92" fmla="*/ 8906 w 10000"/>
              <a:gd name="connsiteY92" fmla="*/ 9606 h 10000"/>
              <a:gd name="connsiteX93" fmla="*/ 8906 w 10000"/>
              <a:gd name="connsiteY93" fmla="*/ 9649 h 10000"/>
              <a:gd name="connsiteX94" fmla="*/ 8854 w 10000"/>
              <a:gd name="connsiteY94" fmla="*/ 9649 h 10000"/>
              <a:gd name="connsiteX95" fmla="*/ 8802 w 10000"/>
              <a:gd name="connsiteY95" fmla="*/ 9649 h 10000"/>
              <a:gd name="connsiteX96" fmla="*/ 8749 w 10000"/>
              <a:gd name="connsiteY96" fmla="*/ 9649 h 10000"/>
              <a:gd name="connsiteX97" fmla="*/ 8698 w 10000"/>
              <a:gd name="connsiteY97" fmla="*/ 9649 h 10000"/>
              <a:gd name="connsiteX98" fmla="*/ 8646 w 10000"/>
              <a:gd name="connsiteY98" fmla="*/ 9649 h 10000"/>
              <a:gd name="connsiteX99" fmla="*/ 8646 w 10000"/>
              <a:gd name="connsiteY99" fmla="*/ 9606 h 10000"/>
              <a:gd name="connsiteX100" fmla="*/ 8646 w 10000"/>
              <a:gd name="connsiteY100" fmla="*/ 9561 h 10000"/>
              <a:gd name="connsiteX101" fmla="*/ 8594 w 10000"/>
              <a:gd name="connsiteY101" fmla="*/ 9518 h 10000"/>
              <a:gd name="connsiteX102" fmla="*/ 8594 w 10000"/>
              <a:gd name="connsiteY102" fmla="*/ 9476 h 10000"/>
              <a:gd name="connsiteX103" fmla="*/ 8594 w 10000"/>
              <a:gd name="connsiteY103" fmla="*/ 9431 h 10000"/>
              <a:gd name="connsiteX104" fmla="*/ 8541 w 10000"/>
              <a:gd name="connsiteY104" fmla="*/ 9431 h 10000"/>
              <a:gd name="connsiteX105" fmla="*/ 8489 w 10000"/>
              <a:gd name="connsiteY105" fmla="*/ 9431 h 10000"/>
              <a:gd name="connsiteX106" fmla="*/ 8489 w 10000"/>
              <a:gd name="connsiteY106" fmla="*/ 9386 h 10000"/>
              <a:gd name="connsiteX107" fmla="*/ 8438 w 10000"/>
              <a:gd name="connsiteY107" fmla="*/ 9386 h 10000"/>
              <a:gd name="connsiteX108" fmla="*/ 8386 w 10000"/>
              <a:gd name="connsiteY108" fmla="*/ 9431 h 10000"/>
              <a:gd name="connsiteX109" fmla="*/ 8386 w 10000"/>
              <a:gd name="connsiteY109" fmla="*/ 9476 h 10000"/>
              <a:gd name="connsiteX110" fmla="*/ 8282 w 10000"/>
              <a:gd name="connsiteY110" fmla="*/ 9431 h 10000"/>
              <a:gd name="connsiteX111" fmla="*/ 8282 w 10000"/>
              <a:gd name="connsiteY111" fmla="*/ 9386 h 10000"/>
              <a:gd name="connsiteX112" fmla="*/ 8230 w 10000"/>
              <a:gd name="connsiteY112" fmla="*/ 9386 h 10000"/>
              <a:gd name="connsiteX113" fmla="*/ 8179 w 10000"/>
              <a:gd name="connsiteY113" fmla="*/ 9386 h 10000"/>
              <a:gd name="connsiteX114" fmla="*/ 8126 w 10000"/>
              <a:gd name="connsiteY114" fmla="*/ 9386 h 10000"/>
              <a:gd name="connsiteX115" fmla="*/ 8074 w 10000"/>
              <a:gd name="connsiteY115" fmla="*/ 9386 h 10000"/>
              <a:gd name="connsiteX116" fmla="*/ 8022 w 10000"/>
              <a:gd name="connsiteY116" fmla="*/ 9386 h 10000"/>
              <a:gd name="connsiteX117" fmla="*/ 8022 w 10000"/>
              <a:gd name="connsiteY117" fmla="*/ 9431 h 10000"/>
              <a:gd name="connsiteX118" fmla="*/ 7969 w 10000"/>
              <a:gd name="connsiteY118" fmla="*/ 9431 h 10000"/>
              <a:gd name="connsiteX119" fmla="*/ 7917 w 10000"/>
              <a:gd name="connsiteY119" fmla="*/ 9476 h 10000"/>
              <a:gd name="connsiteX120" fmla="*/ 7866 w 10000"/>
              <a:gd name="connsiteY120" fmla="*/ 9476 h 10000"/>
              <a:gd name="connsiteX121" fmla="*/ 7866 w 10000"/>
              <a:gd name="connsiteY121" fmla="*/ 9431 h 10000"/>
              <a:gd name="connsiteX122" fmla="*/ 7866 w 10000"/>
              <a:gd name="connsiteY122" fmla="*/ 9476 h 10000"/>
              <a:gd name="connsiteX123" fmla="*/ 7814 w 10000"/>
              <a:gd name="connsiteY123" fmla="*/ 9476 h 10000"/>
              <a:gd name="connsiteX124" fmla="*/ 7761 w 10000"/>
              <a:gd name="connsiteY124" fmla="*/ 9518 h 10000"/>
              <a:gd name="connsiteX125" fmla="*/ 7709 w 10000"/>
              <a:gd name="connsiteY125" fmla="*/ 9476 h 10000"/>
              <a:gd name="connsiteX126" fmla="*/ 7657 w 10000"/>
              <a:gd name="connsiteY126" fmla="*/ 9476 h 10000"/>
              <a:gd name="connsiteX127" fmla="*/ 7606 w 10000"/>
              <a:gd name="connsiteY127" fmla="*/ 9476 h 10000"/>
              <a:gd name="connsiteX128" fmla="*/ 7553 w 10000"/>
              <a:gd name="connsiteY128" fmla="*/ 9431 h 10000"/>
              <a:gd name="connsiteX129" fmla="*/ 7501 w 10000"/>
              <a:gd name="connsiteY129" fmla="*/ 9431 h 10000"/>
              <a:gd name="connsiteX130" fmla="*/ 7501 w 10000"/>
              <a:gd name="connsiteY130" fmla="*/ 9476 h 10000"/>
              <a:gd name="connsiteX131" fmla="*/ 7449 w 10000"/>
              <a:gd name="connsiteY131" fmla="*/ 9476 h 10000"/>
              <a:gd name="connsiteX132" fmla="*/ 7396 w 10000"/>
              <a:gd name="connsiteY132" fmla="*/ 9431 h 10000"/>
              <a:gd name="connsiteX133" fmla="*/ 7345 w 10000"/>
              <a:gd name="connsiteY133" fmla="*/ 9431 h 10000"/>
              <a:gd name="connsiteX134" fmla="*/ 7293 w 10000"/>
              <a:gd name="connsiteY134" fmla="*/ 9518 h 10000"/>
              <a:gd name="connsiteX135" fmla="*/ 7241 w 10000"/>
              <a:gd name="connsiteY135" fmla="*/ 9518 h 10000"/>
              <a:gd name="connsiteX136" fmla="*/ 7241 w 10000"/>
              <a:gd name="connsiteY136" fmla="*/ 9476 h 10000"/>
              <a:gd name="connsiteX137" fmla="*/ 7241 w 10000"/>
              <a:gd name="connsiteY137" fmla="*/ 9518 h 10000"/>
              <a:gd name="connsiteX138" fmla="*/ 7241 w 10000"/>
              <a:gd name="connsiteY138" fmla="*/ 9561 h 10000"/>
              <a:gd name="connsiteX139" fmla="*/ 7188 w 10000"/>
              <a:gd name="connsiteY139" fmla="*/ 9561 h 10000"/>
              <a:gd name="connsiteX140" fmla="*/ 7136 w 10000"/>
              <a:gd name="connsiteY140" fmla="*/ 9561 h 10000"/>
              <a:gd name="connsiteX141" fmla="*/ 7188 w 10000"/>
              <a:gd name="connsiteY141" fmla="*/ 9606 h 10000"/>
              <a:gd name="connsiteX142" fmla="*/ 7136 w 10000"/>
              <a:gd name="connsiteY142" fmla="*/ 9649 h 10000"/>
              <a:gd name="connsiteX143" fmla="*/ 7188 w 10000"/>
              <a:gd name="connsiteY143" fmla="*/ 9694 h 10000"/>
              <a:gd name="connsiteX144" fmla="*/ 7241 w 10000"/>
              <a:gd name="connsiteY144" fmla="*/ 9694 h 10000"/>
              <a:gd name="connsiteX145" fmla="*/ 7241 w 10000"/>
              <a:gd name="connsiteY145" fmla="*/ 9739 h 10000"/>
              <a:gd name="connsiteX146" fmla="*/ 7188 w 10000"/>
              <a:gd name="connsiteY146" fmla="*/ 9739 h 10000"/>
              <a:gd name="connsiteX147" fmla="*/ 7136 w 10000"/>
              <a:gd name="connsiteY147" fmla="*/ 9739 h 10000"/>
              <a:gd name="connsiteX148" fmla="*/ 7188 w 10000"/>
              <a:gd name="connsiteY148" fmla="*/ 9781 h 10000"/>
              <a:gd name="connsiteX149" fmla="*/ 7188 w 10000"/>
              <a:gd name="connsiteY149" fmla="*/ 9825 h 10000"/>
              <a:gd name="connsiteX150" fmla="*/ 7136 w 10000"/>
              <a:gd name="connsiteY150" fmla="*/ 9825 h 10000"/>
              <a:gd name="connsiteX151" fmla="*/ 7136 w 10000"/>
              <a:gd name="connsiteY151" fmla="*/ 9870 h 10000"/>
              <a:gd name="connsiteX152" fmla="*/ 7084 w 10000"/>
              <a:gd name="connsiteY152" fmla="*/ 9914 h 10000"/>
              <a:gd name="connsiteX153" fmla="*/ 7136 w 10000"/>
              <a:gd name="connsiteY153" fmla="*/ 9958 h 10000"/>
              <a:gd name="connsiteX154" fmla="*/ 7188 w 10000"/>
              <a:gd name="connsiteY154" fmla="*/ 10000 h 10000"/>
              <a:gd name="connsiteX155" fmla="*/ 7344 w 10000"/>
              <a:gd name="connsiteY155" fmla="*/ 7741 h 10000"/>
              <a:gd name="connsiteX156" fmla="*/ 7136 w 10000"/>
              <a:gd name="connsiteY156" fmla="*/ 7385 h 10000"/>
              <a:gd name="connsiteX157" fmla="*/ 6544 w 10000"/>
              <a:gd name="connsiteY157" fmla="*/ 7269 h 10000"/>
              <a:gd name="connsiteX158" fmla="*/ 5775 w 10000"/>
              <a:gd name="connsiteY158" fmla="*/ 7233 h 10000"/>
              <a:gd name="connsiteX159" fmla="*/ 5311 w 10000"/>
              <a:gd name="connsiteY159" fmla="*/ 7120 h 10000"/>
              <a:gd name="connsiteX160" fmla="*/ 5071 w 10000"/>
              <a:gd name="connsiteY160" fmla="*/ 7008 h 10000"/>
              <a:gd name="connsiteX161" fmla="*/ 4912 w 10000"/>
              <a:gd name="connsiteY161" fmla="*/ 7102 h 10000"/>
              <a:gd name="connsiteX162" fmla="*/ 4416 w 10000"/>
              <a:gd name="connsiteY162" fmla="*/ 6931 h 10000"/>
              <a:gd name="connsiteX163" fmla="*/ 3584 w 10000"/>
              <a:gd name="connsiteY163" fmla="*/ 6631 h 10000"/>
              <a:gd name="connsiteX164" fmla="*/ 3104 w 10000"/>
              <a:gd name="connsiteY164" fmla="*/ 6574 h 10000"/>
              <a:gd name="connsiteX165" fmla="*/ 3200 w 10000"/>
              <a:gd name="connsiteY165" fmla="*/ 6367 h 10000"/>
              <a:gd name="connsiteX166" fmla="*/ 3344 w 10000"/>
              <a:gd name="connsiteY166" fmla="*/ 6311 h 10000"/>
              <a:gd name="connsiteX167" fmla="*/ 3728 w 10000"/>
              <a:gd name="connsiteY167" fmla="*/ 6009 h 10000"/>
              <a:gd name="connsiteX168" fmla="*/ 3968 w 10000"/>
              <a:gd name="connsiteY168" fmla="*/ 5727 h 10000"/>
              <a:gd name="connsiteX169" fmla="*/ 4224 w 10000"/>
              <a:gd name="connsiteY169" fmla="*/ 5426 h 10000"/>
              <a:gd name="connsiteX170" fmla="*/ 4368 w 10000"/>
              <a:gd name="connsiteY170" fmla="*/ 5146 h 10000"/>
              <a:gd name="connsiteX171" fmla="*/ 4352 w 10000"/>
              <a:gd name="connsiteY171" fmla="*/ 4824 h 10000"/>
              <a:gd name="connsiteX172" fmla="*/ 4336 w 10000"/>
              <a:gd name="connsiteY172" fmla="*/ 4542 h 10000"/>
              <a:gd name="connsiteX173" fmla="*/ 4176 w 10000"/>
              <a:gd name="connsiteY173" fmla="*/ 4372 h 10000"/>
              <a:gd name="connsiteX174" fmla="*/ 4016 w 10000"/>
              <a:gd name="connsiteY174" fmla="*/ 4392 h 10000"/>
              <a:gd name="connsiteX175" fmla="*/ 3856 w 10000"/>
              <a:gd name="connsiteY175" fmla="*/ 4693 h 10000"/>
              <a:gd name="connsiteX176" fmla="*/ 3808 w 10000"/>
              <a:gd name="connsiteY176" fmla="*/ 5237 h 10000"/>
              <a:gd name="connsiteX177" fmla="*/ 3536 w 10000"/>
              <a:gd name="connsiteY177" fmla="*/ 5597 h 10000"/>
              <a:gd name="connsiteX178" fmla="*/ 2992 w 10000"/>
              <a:gd name="connsiteY178" fmla="*/ 5916 h 10000"/>
              <a:gd name="connsiteX179" fmla="*/ 2415 w 10000"/>
              <a:gd name="connsiteY179" fmla="*/ 6160 h 10000"/>
              <a:gd name="connsiteX180" fmla="*/ 1951 w 10000"/>
              <a:gd name="connsiteY180" fmla="*/ 6497 h 10000"/>
              <a:gd name="connsiteX181" fmla="*/ 0 w 10000"/>
              <a:gd name="connsiteY181" fmla="*/ 6423 h 10000"/>
              <a:gd name="connsiteX182" fmla="*/ 3 w 10000"/>
              <a:gd name="connsiteY182" fmla="*/ 6184 h 10000"/>
              <a:gd name="connsiteX183" fmla="*/ 159 w 10000"/>
              <a:gd name="connsiteY183" fmla="*/ 6273 h 10000"/>
              <a:gd name="connsiteX184" fmla="*/ 368 w 10000"/>
              <a:gd name="connsiteY184" fmla="*/ 6184 h 10000"/>
              <a:gd name="connsiteX185" fmla="*/ 1462 w 10000"/>
              <a:gd name="connsiteY185" fmla="*/ 6184 h 10000"/>
              <a:gd name="connsiteX186" fmla="*/ 1617 w 10000"/>
              <a:gd name="connsiteY186" fmla="*/ 6141 h 10000"/>
              <a:gd name="connsiteX187" fmla="*/ 1669 w 10000"/>
              <a:gd name="connsiteY187" fmla="*/ 6141 h 10000"/>
              <a:gd name="connsiteX188" fmla="*/ 2189 w 10000"/>
              <a:gd name="connsiteY188" fmla="*/ 5572 h 10000"/>
              <a:gd name="connsiteX189" fmla="*/ 2294 w 10000"/>
              <a:gd name="connsiteY189" fmla="*/ 5482 h 10000"/>
              <a:gd name="connsiteX190" fmla="*/ 2762 w 10000"/>
              <a:gd name="connsiteY190" fmla="*/ 5044 h 10000"/>
              <a:gd name="connsiteX191" fmla="*/ 3023 w 10000"/>
              <a:gd name="connsiteY191" fmla="*/ 4781 h 10000"/>
              <a:gd name="connsiteX192" fmla="*/ 3179 w 10000"/>
              <a:gd name="connsiteY192" fmla="*/ 4649 h 10000"/>
              <a:gd name="connsiteX193" fmla="*/ 3596 w 10000"/>
              <a:gd name="connsiteY193" fmla="*/ 3992 h 10000"/>
              <a:gd name="connsiteX194" fmla="*/ 4116 w 10000"/>
              <a:gd name="connsiteY194" fmla="*/ 3727 h 10000"/>
              <a:gd name="connsiteX195" fmla="*/ 5001 w 10000"/>
              <a:gd name="connsiteY195" fmla="*/ 2983 h 10000"/>
              <a:gd name="connsiteX196" fmla="*/ 4845 w 10000"/>
              <a:gd name="connsiteY196" fmla="*/ 2719 h 10000"/>
              <a:gd name="connsiteX197" fmla="*/ 4794 w 10000"/>
              <a:gd name="connsiteY197" fmla="*/ 2544 h 10000"/>
              <a:gd name="connsiteX198" fmla="*/ 4794 w 10000"/>
              <a:gd name="connsiteY198" fmla="*/ 1315 h 10000"/>
              <a:gd name="connsiteX199" fmla="*/ 4116 w 10000"/>
              <a:gd name="connsiteY199" fmla="*/ 787 h 10000"/>
              <a:gd name="connsiteX200" fmla="*/ 4950 w 10000"/>
              <a:gd name="connsiteY200" fmla="*/ 787 h 10000"/>
              <a:gd name="connsiteX201" fmla="*/ 5782 w 10000"/>
              <a:gd name="connsiteY201" fmla="*/ 787 h 10000"/>
              <a:gd name="connsiteX202" fmla="*/ 5782 w 10000"/>
              <a:gd name="connsiteY202" fmla="*/ 745 h 10000"/>
              <a:gd name="connsiteX203" fmla="*/ 5782 w 10000"/>
              <a:gd name="connsiteY203" fmla="*/ 703 h 10000"/>
              <a:gd name="connsiteX204" fmla="*/ 5782 w 10000"/>
              <a:gd name="connsiteY204" fmla="*/ 662 h 10000"/>
              <a:gd name="connsiteX205" fmla="*/ 5782 w 10000"/>
              <a:gd name="connsiteY205" fmla="*/ 614 h 10000"/>
              <a:gd name="connsiteX206" fmla="*/ 5834 w 10000"/>
              <a:gd name="connsiteY206" fmla="*/ 566 h 10000"/>
              <a:gd name="connsiteX207" fmla="*/ 5834 w 10000"/>
              <a:gd name="connsiteY207" fmla="*/ 525 h 10000"/>
              <a:gd name="connsiteX208" fmla="*/ 5834 w 10000"/>
              <a:gd name="connsiteY208" fmla="*/ 483 h 10000"/>
              <a:gd name="connsiteX209" fmla="*/ 5834 w 10000"/>
              <a:gd name="connsiteY209" fmla="*/ 441 h 10000"/>
              <a:gd name="connsiteX210" fmla="*/ 5834 w 10000"/>
              <a:gd name="connsiteY210" fmla="*/ 399 h 10000"/>
              <a:gd name="connsiteX211" fmla="*/ 5834 w 10000"/>
              <a:gd name="connsiteY211" fmla="*/ 347 h 10000"/>
              <a:gd name="connsiteX212" fmla="*/ 5782 w 10000"/>
              <a:gd name="connsiteY212" fmla="*/ 347 h 10000"/>
              <a:gd name="connsiteX213" fmla="*/ 5782 w 10000"/>
              <a:gd name="connsiteY213" fmla="*/ 304 h 10000"/>
              <a:gd name="connsiteX214" fmla="*/ 5782 w 10000"/>
              <a:gd name="connsiteY214" fmla="*/ 262 h 10000"/>
              <a:gd name="connsiteX215" fmla="*/ 5782 w 10000"/>
              <a:gd name="connsiteY215" fmla="*/ 221 h 10000"/>
              <a:gd name="connsiteX216" fmla="*/ 5782 w 10000"/>
              <a:gd name="connsiteY216" fmla="*/ 178 h 10000"/>
              <a:gd name="connsiteX217" fmla="*/ 5782 w 10000"/>
              <a:gd name="connsiteY217" fmla="*/ 137 h 10000"/>
              <a:gd name="connsiteX218" fmla="*/ 5782 w 10000"/>
              <a:gd name="connsiteY218" fmla="*/ 84 h 10000"/>
              <a:gd name="connsiteX219" fmla="*/ 5782 w 10000"/>
              <a:gd name="connsiteY219" fmla="*/ 42 h 10000"/>
              <a:gd name="connsiteX220" fmla="*/ 5782 w 10000"/>
              <a:gd name="connsiteY220" fmla="*/ 0 h 10000"/>
              <a:gd name="connsiteX0" fmla="*/ 5782 w 10000"/>
              <a:gd name="connsiteY0" fmla="*/ 0 h 10145"/>
              <a:gd name="connsiteX1" fmla="*/ 7345 w 10000"/>
              <a:gd name="connsiteY1" fmla="*/ 42 h 10145"/>
              <a:gd name="connsiteX2" fmla="*/ 7501 w 10000"/>
              <a:gd name="connsiteY2" fmla="*/ 42 h 10145"/>
              <a:gd name="connsiteX3" fmla="*/ 7345 w 10000"/>
              <a:gd name="connsiteY3" fmla="*/ 178 h 10145"/>
              <a:gd name="connsiteX4" fmla="*/ 7293 w 10000"/>
              <a:gd name="connsiteY4" fmla="*/ 566 h 10145"/>
              <a:gd name="connsiteX5" fmla="*/ 7188 w 10000"/>
              <a:gd name="connsiteY5" fmla="*/ 1186 h 10145"/>
              <a:gd name="connsiteX6" fmla="*/ 7136 w 10000"/>
              <a:gd name="connsiteY6" fmla="*/ 1228 h 10145"/>
              <a:gd name="connsiteX7" fmla="*/ 6980 w 10000"/>
              <a:gd name="connsiteY7" fmla="*/ 1578 h 10145"/>
              <a:gd name="connsiteX8" fmla="*/ 7396 w 10000"/>
              <a:gd name="connsiteY8" fmla="*/ 3202 h 10145"/>
              <a:gd name="connsiteX9" fmla="*/ 7501 w 10000"/>
              <a:gd name="connsiteY9" fmla="*/ 3509 h 10145"/>
              <a:gd name="connsiteX10" fmla="*/ 7345 w 10000"/>
              <a:gd name="connsiteY10" fmla="*/ 3774 h 10145"/>
              <a:gd name="connsiteX11" fmla="*/ 8022 w 10000"/>
              <a:gd name="connsiteY11" fmla="*/ 3947 h 10145"/>
              <a:gd name="connsiteX12" fmla="*/ 8489 w 10000"/>
              <a:gd name="connsiteY12" fmla="*/ 4430 h 10145"/>
              <a:gd name="connsiteX13" fmla="*/ 8594 w 10000"/>
              <a:gd name="connsiteY13" fmla="*/ 4518 h 10145"/>
              <a:gd name="connsiteX14" fmla="*/ 8906 w 10000"/>
              <a:gd name="connsiteY14" fmla="*/ 4737 h 10145"/>
              <a:gd name="connsiteX15" fmla="*/ 9114 w 10000"/>
              <a:gd name="connsiteY15" fmla="*/ 5001 h 10145"/>
              <a:gd name="connsiteX16" fmla="*/ 9219 w 10000"/>
              <a:gd name="connsiteY16" fmla="*/ 5133 h 10145"/>
              <a:gd name="connsiteX17" fmla="*/ 9427 w 10000"/>
              <a:gd name="connsiteY17" fmla="*/ 5133 h 10145"/>
              <a:gd name="connsiteX18" fmla="*/ 9427 w 10000"/>
              <a:gd name="connsiteY18" fmla="*/ 5176 h 10145"/>
              <a:gd name="connsiteX19" fmla="*/ 9479 w 10000"/>
              <a:gd name="connsiteY19" fmla="*/ 5263 h 10145"/>
              <a:gd name="connsiteX20" fmla="*/ 9479 w 10000"/>
              <a:gd name="connsiteY20" fmla="*/ 5308 h 10145"/>
              <a:gd name="connsiteX21" fmla="*/ 9532 w 10000"/>
              <a:gd name="connsiteY21" fmla="*/ 5482 h 10145"/>
              <a:gd name="connsiteX22" fmla="*/ 9532 w 10000"/>
              <a:gd name="connsiteY22" fmla="*/ 5527 h 10145"/>
              <a:gd name="connsiteX23" fmla="*/ 9532 w 10000"/>
              <a:gd name="connsiteY23" fmla="*/ 5659 h 10145"/>
              <a:gd name="connsiteX24" fmla="*/ 9532 w 10000"/>
              <a:gd name="connsiteY24" fmla="*/ 5744 h 10145"/>
              <a:gd name="connsiteX25" fmla="*/ 9479 w 10000"/>
              <a:gd name="connsiteY25" fmla="*/ 5835 h 10145"/>
              <a:gd name="connsiteX26" fmla="*/ 9427 w 10000"/>
              <a:gd name="connsiteY26" fmla="*/ 6099 h 10145"/>
              <a:gd name="connsiteX27" fmla="*/ 9375 w 10000"/>
              <a:gd name="connsiteY27" fmla="*/ 6141 h 10145"/>
              <a:gd name="connsiteX28" fmla="*/ 9322 w 10000"/>
              <a:gd name="connsiteY28" fmla="*/ 6184 h 10145"/>
              <a:gd name="connsiteX29" fmla="*/ 9271 w 10000"/>
              <a:gd name="connsiteY29" fmla="*/ 6361 h 10145"/>
              <a:gd name="connsiteX30" fmla="*/ 9219 w 10000"/>
              <a:gd name="connsiteY30" fmla="*/ 6446 h 10145"/>
              <a:gd name="connsiteX31" fmla="*/ 9219 w 10000"/>
              <a:gd name="connsiteY31" fmla="*/ 6537 h 10145"/>
              <a:gd name="connsiteX32" fmla="*/ 9219 w 10000"/>
              <a:gd name="connsiteY32" fmla="*/ 6580 h 10145"/>
              <a:gd name="connsiteX33" fmla="*/ 9219 w 10000"/>
              <a:gd name="connsiteY33" fmla="*/ 6711 h 10145"/>
              <a:gd name="connsiteX34" fmla="*/ 9271 w 10000"/>
              <a:gd name="connsiteY34" fmla="*/ 6844 h 10145"/>
              <a:gd name="connsiteX35" fmla="*/ 9895 w 10000"/>
              <a:gd name="connsiteY35" fmla="*/ 6844 h 10145"/>
              <a:gd name="connsiteX36" fmla="*/ 9895 w 10000"/>
              <a:gd name="connsiteY36" fmla="*/ 6930 h 10145"/>
              <a:gd name="connsiteX37" fmla="*/ 9948 w 10000"/>
              <a:gd name="connsiteY37" fmla="*/ 7237 h 10145"/>
              <a:gd name="connsiteX38" fmla="*/ 9948 w 10000"/>
              <a:gd name="connsiteY38" fmla="*/ 7282 h 10145"/>
              <a:gd name="connsiteX39" fmla="*/ 9948 w 10000"/>
              <a:gd name="connsiteY39" fmla="*/ 7413 h 10145"/>
              <a:gd name="connsiteX40" fmla="*/ 9948 w 10000"/>
              <a:gd name="connsiteY40" fmla="*/ 7458 h 10145"/>
              <a:gd name="connsiteX41" fmla="*/ 9948 w 10000"/>
              <a:gd name="connsiteY41" fmla="*/ 7545 h 10145"/>
              <a:gd name="connsiteX42" fmla="*/ 9948 w 10000"/>
              <a:gd name="connsiteY42" fmla="*/ 7588 h 10145"/>
              <a:gd name="connsiteX43" fmla="*/ 9948 w 10000"/>
              <a:gd name="connsiteY43" fmla="*/ 7633 h 10145"/>
              <a:gd name="connsiteX44" fmla="*/ 9948 w 10000"/>
              <a:gd name="connsiteY44" fmla="*/ 7676 h 10145"/>
              <a:gd name="connsiteX45" fmla="*/ 10000 w 10000"/>
              <a:gd name="connsiteY45" fmla="*/ 7763 h 10145"/>
              <a:gd name="connsiteX46" fmla="*/ 10000 w 10000"/>
              <a:gd name="connsiteY46" fmla="*/ 7896 h 10145"/>
              <a:gd name="connsiteX47" fmla="*/ 10000 w 10000"/>
              <a:gd name="connsiteY47" fmla="*/ 7940 h 10145"/>
              <a:gd name="connsiteX48" fmla="*/ 10000 w 10000"/>
              <a:gd name="connsiteY48" fmla="*/ 7983 h 10145"/>
              <a:gd name="connsiteX49" fmla="*/ 10000 w 10000"/>
              <a:gd name="connsiteY49" fmla="*/ 8027 h 10145"/>
              <a:gd name="connsiteX50" fmla="*/ 10000 w 10000"/>
              <a:gd name="connsiteY50" fmla="*/ 8115 h 10145"/>
              <a:gd name="connsiteX51" fmla="*/ 10000 w 10000"/>
              <a:gd name="connsiteY51" fmla="*/ 8160 h 10145"/>
              <a:gd name="connsiteX52" fmla="*/ 10000 w 10000"/>
              <a:gd name="connsiteY52" fmla="*/ 8202 h 10145"/>
              <a:gd name="connsiteX53" fmla="*/ 10000 w 10000"/>
              <a:gd name="connsiteY53" fmla="*/ 8289 h 10145"/>
              <a:gd name="connsiteX54" fmla="*/ 10000 w 10000"/>
              <a:gd name="connsiteY54" fmla="*/ 8510 h 10145"/>
              <a:gd name="connsiteX55" fmla="*/ 10000 w 10000"/>
              <a:gd name="connsiteY55" fmla="*/ 8553 h 10145"/>
              <a:gd name="connsiteX56" fmla="*/ 10000 w 10000"/>
              <a:gd name="connsiteY56" fmla="*/ 8642 h 10145"/>
              <a:gd name="connsiteX57" fmla="*/ 10000 w 10000"/>
              <a:gd name="connsiteY57" fmla="*/ 8685 h 10145"/>
              <a:gd name="connsiteX58" fmla="*/ 10000 w 10000"/>
              <a:gd name="connsiteY58" fmla="*/ 8729 h 10145"/>
              <a:gd name="connsiteX59" fmla="*/ 10000 w 10000"/>
              <a:gd name="connsiteY59" fmla="*/ 8773 h 10145"/>
              <a:gd name="connsiteX60" fmla="*/ 10000 w 10000"/>
              <a:gd name="connsiteY60" fmla="*/ 8815 h 10145"/>
              <a:gd name="connsiteX61" fmla="*/ 10000 w 10000"/>
              <a:gd name="connsiteY61" fmla="*/ 8905 h 10145"/>
              <a:gd name="connsiteX62" fmla="*/ 10000 w 10000"/>
              <a:gd name="connsiteY62" fmla="*/ 8992 h 10145"/>
              <a:gd name="connsiteX63" fmla="*/ 10000 w 10000"/>
              <a:gd name="connsiteY63" fmla="*/ 9035 h 10145"/>
              <a:gd name="connsiteX64" fmla="*/ 10000 w 10000"/>
              <a:gd name="connsiteY64" fmla="*/ 9081 h 10145"/>
              <a:gd name="connsiteX65" fmla="*/ 9948 w 10000"/>
              <a:gd name="connsiteY65" fmla="*/ 9081 h 10145"/>
              <a:gd name="connsiteX66" fmla="*/ 9948 w 10000"/>
              <a:gd name="connsiteY66" fmla="*/ 9123 h 10145"/>
              <a:gd name="connsiteX67" fmla="*/ 9895 w 10000"/>
              <a:gd name="connsiteY67" fmla="*/ 9168 h 10145"/>
              <a:gd name="connsiteX68" fmla="*/ 9844 w 10000"/>
              <a:gd name="connsiteY68" fmla="*/ 9168 h 10145"/>
              <a:gd name="connsiteX69" fmla="*/ 9844 w 10000"/>
              <a:gd name="connsiteY69" fmla="*/ 9213 h 10145"/>
              <a:gd name="connsiteX70" fmla="*/ 9792 w 10000"/>
              <a:gd name="connsiteY70" fmla="*/ 9213 h 10145"/>
              <a:gd name="connsiteX71" fmla="*/ 9740 w 10000"/>
              <a:gd name="connsiteY71" fmla="*/ 9256 h 10145"/>
              <a:gd name="connsiteX72" fmla="*/ 9687 w 10000"/>
              <a:gd name="connsiteY72" fmla="*/ 9297 h 10145"/>
              <a:gd name="connsiteX73" fmla="*/ 9635 w 10000"/>
              <a:gd name="connsiteY73" fmla="*/ 9297 h 10145"/>
              <a:gd name="connsiteX74" fmla="*/ 9635 w 10000"/>
              <a:gd name="connsiteY74" fmla="*/ 9343 h 10145"/>
              <a:gd name="connsiteX75" fmla="*/ 9583 w 10000"/>
              <a:gd name="connsiteY75" fmla="*/ 9343 h 10145"/>
              <a:gd name="connsiteX76" fmla="*/ 9532 w 10000"/>
              <a:gd name="connsiteY76" fmla="*/ 9343 h 10145"/>
              <a:gd name="connsiteX77" fmla="*/ 9479 w 10000"/>
              <a:gd name="connsiteY77" fmla="*/ 9343 h 10145"/>
              <a:gd name="connsiteX78" fmla="*/ 9427 w 10000"/>
              <a:gd name="connsiteY78" fmla="*/ 9343 h 10145"/>
              <a:gd name="connsiteX79" fmla="*/ 9375 w 10000"/>
              <a:gd name="connsiteY79" fmla="*/ 9343 h 10145"/>
              <a:gd name="connsiteX80" fmla="*/ 9322 w 10000"/>
              <a:gd name="connsiteY80" fmla="*/ 9343 h 10145"/>
              <a:gd name="connsiteX81" fmla="*/ 9271 w 10000"/>
              <a:gd name="connsiteY81" fmla="*/ 9343 h 10145"/>
              <a:gd name="connsiteX82" fmla="*/ 9271 w 10000"/>
              <a:gd name="connsiteY82" fmla="*/ 9386 h 10145"/>
              <a:gd name="connsiteX83" fmla="*/ 9219 w 10000"/>
              <a:gd name="connsiteY83" fmla="*/ 9431 h 10145"/>
              <a:gd name="connsiteX84" fmla="*/ 9167 w 10000"/>
              <a:gd name="connsiteY84" fmla="*/ 9476 h 10145"/>
              <a:gd name="connsiteX85" fmla="*/ 9219 w 10000"/>
              <a:gd name="connsiteY85" fmla="*/ 9476 h 10145"/>
              <a:gd name="connsiteX86" fmla="*/ 9167 w 10000"/>
              <a:gd name="connsiteY86" fmla="*/ 9476 h 10145"/>
              <a:gd name="connsiteX87" fmla="*/ 9114 w 10000"/>
              <a:gd name="connsiteY87" fmla="*/ 9476 h 10145"/>
              <a:gd name="connsiteX88" fmla="*/ 9062 w 10000"/>
              <a:gd name="connsiteY88" fmla="*/ 9518 h 10145"/>
              <a:gd name="connsiteX89" fmla="*/ 9011 w 10000"/>
              <a:gd name="connsiteY89" fmla="*/ 9561 h 10145"/>
              <a:gd name="connsiteX90" fmla="*/ 8959 w 10000"/>
              <a:gd name="connsiteY90" fmla="*/ 9561 h 10145"/>
              <a:gd name="connsiteX91" fmla="*/ 8959 w 10000"/>
              <a:gd name="connsiteY91" fmla="*/ 9606 h 10145"/>
              <a:gd name="connsiteX92" fmla="*/ 8906 w 10000"/>
              <a:gd name="connsiteY92" fmla="*/ 9606 h 10145"/>
              <a:gd name="connsiteX93" fmla="*/ 8906 w 10000"/>
              <a:gd name="connsiteY93" fmla="*/ 9649 h 10145"/>
              <a:gd name="connsiteX94" fmla="*/ 8854 w 10000"/>
              <a:gd name="connsiteY94" fmla="*/ 9649 h 10145"/>
              <a:gd name="connsiteX95" fmla="*/ 8802 w 10000"/>
              <a:gd name="connsiteY95" fmla="*/ 9649 h 10145"/>
              <a:gd name="connsiteX96" fmla="*/ 8749 w 10000"/>
              <a:gd name="connsiteY96" fmla="*/ 9649 h 10145"/>
              <a:gd name="connsiteX97" fmla="*/ 8698 w 10000"/>
              <a:gd name="connsiteY97" fmla="*/ 9649 h 10145"/>
              <a:gd name="connsiteX98" fmla="*/ 8646 w 10000"/>
              <a:gd name="connsiteY98" fmla="*/ 9649 h 10145"/>
              <a:gd name="connsiteX99" fmla="*/ 8646 w 10000"/>
              <a:gd name="connsiteY99" fmla="*/ 9606 h 10145"/>
              <a:gd name="connsiteX100" fmla="*/ 8646 w 10000"/>
              <a:gd name="connsiteY100" fmla="*/ 9561 h 10145"/>
              <a:gd name="connsiteX101" fmla="*/ 8594 w 10000"/>
              <a:gd name="connsiteY101" fmla="*/ 9518 h 10145"/>
              <a:gd name="connsiteX102" fmla="*/ 8594 w 10000"/>
              <a:gd name="connsiteY102" fmla="*/ 9476 h 10145"/>
              <a:gd name="connsiteX103" fmla="*/ 8594 w 10000"/>
              <a:gd name="connsiteY103" fmla="*/ 9431 h 10145"/>
              <a:gd name="connsiteX104" fmla="*/ 8541 w 10000"/>
              <a:gd name="connsiteY104" fmla="*/ 9431 h 10145"/>
              <a:gd name="connsiteX105" fmla="*/ 8489 w 10000"/>
              <a:gd name="connsiteY105" fmla="*/ 9431 h 10145"/>
              <a:gd name="connsiteX106" fmla="*/ 8489 w 10000"/>
              <a:gd name="connsiteY106" fmla="*/ 9386 h 10145"/>
              <a:gd name="connsiteX107" fmla="*/ 8438 w 10000"/>
              <a:gd name="connsiteY107" fmla="*/ 9386 h 10145"/>
              <a:gd name="connsiteX108" fmla="*/ 8386 w 10000"/>
              <a:gd name="connsiteY108" fmla="*/ 9431 h 10145"/>
              <a:gd name="connsiteX109" fmla="*/ 8386 w 10000"/>
              <a:gd name="connsiteY109" fmla="*/ 9476 h 10145"/>
              <a:gd name="connsiteX110" fmla="*/ 8282 w 10000"/>
              <a:gd name="connsiteY110" fmla="*/ 9431 h 10145"/>
              <a:gd name="connsiteX111" fmla="*/ 8282 w 10000"/>
              <a:gd name="connsiteY111" fmla="*/ 9386 h 10145"/>
              <a:gd name="connsiteX112" fmla="*/ 8230 w 10000"/>
              <a:gd name="connsiteY112" fmla="*/ 9386 h 10145"/>
              <a:gd name="connsiteX113" fmla="*/ 8179 w 10000"/>
              <a:gd name="connsiteY113" fmla="*/ 9386 h 10145"/>
              <a:gd name="connsiteX114" fmla="*/ 8126 w 10000"/>
              <a:gd name="connsiteY114" fmla="*/ 9386 h 10145"/>
              <a:gd name="connsiteX115" fmla="*/ 8074 w 10000"/>
              <a:gd name="connsiteY115" fmla="*/ 9386 h 10145"/>
              <a:gd name="connsiteX116" fmla="*/ 8022 w 10000"/>
              <a:gd name="connsiteY116" fmla="*/ 9386 h 10145"/>
              <a:gd name="connsiteX117" fmla="*/ 8022 w 10000"/>
              <a:gd name="connsiteY117" fmla="*/ 9431 h 10145"/>
              <a:gd name="connsiteX118" fmla="*/ 7969 w 10000"/>
              <a:gd name="connsiteY118" fmla="*/ 9431 h 10145"/>
              <a:gd name="connsiteX119" fmla="*/ 7917 w 10000"/>
              <a:gd name="connsiteY119" fmla="*/ 9476 h 10145"/>
              <a:gd name="connsiteX120" fmla="*/ 7866 w 10000"/>
              <a:gd name="connsiteY120" fmla="*/ 9476 h 10145"/>
              <a:gd name="connsiteX121" fmla="*/ 7866 w 10000"/>
              <a:gd name="connsiteY121" fmla="*/ 9431 h 10145"/>
              <a:gd name="connsiteX122" fmla="*/ 7866 w 10000"/>
              <a:gd name="connsiteY122" fmla="*/ 9476 h 10145"/>
              <a:gd name="connsiteX123" fmla="*/ 7814 w 10000"/>
              <a:gd name="connsiteY123" fmla="*/ 9476 h 10145"/>
              <a:gd name="connsiteX124" fmla="*/ 7761 w 10000"/>
              <a:gd name="connsiteY124" fmla="*/ 9518 h 10145"/>
              <a:gd name="connsiteX125" fmla="*/ 7709 w 10000"/>
              <a:gd name="connsiteY125" fmla="*/ 9476 h 10145"/>
              <a:gd name="connsiteX126" fmla="*/ 7657 w 10000"/>
              <a:gd name="connsiteY126" fmla="*/ 9476 h 10145"/>
              <a:gd name="connsiteX127" fmla="*/ 7606 w 10000"/>
              <a:gd name="connsiteY127" fmla="*/ 9476 h 10145"/>
              <a:gd name="connsiteX128" fmla="*/ 7553 w 10000"/>
              <a:gd name="connsiteY128" fmla="*/ 9431 h 10145"/>
              <a:gd name="connsiteX129" fmla="*/ 7501 w 10000"/>
              <a:gd name="connsiteY129" fmla="*/ 9431 h 10145"/>
              <a:gd name="connsiteX130" fmla="*/ 7501 w 10000"/>
              <a:gd name="connsiteY130" fmla="*/ 9476 h 10145"/>
              <a:gd name="connsiteX131" fmla="*/ 7449 w 10000"/>
              <a:gd name="connsiteY131" fmla="*/ 9476 h 10145"/>
              <a:gd name="connsiteX132" fmla="*/ 7396 w 10000"/>
              <a:gd name="connsiteY132" fmla="*/ 9431 h 10145"/>
              <a:gd name="connsiteX133" fmla="*/ 7345 w 10000"/>
              <a:gd name="connsiteY133" fmla="*/ 9431 h 10145"/>
              <a:gd name="connsiteX134" fmla="*/ 7293 w 10000"/>
              <a:gd name="connsiteY134" fmla="*/ 9518 h 10145"/>
              <a:gd name="connsiteX135" fmla="*/ 7241 w 10000"/>
              <a:gd name="connsiteY135" fmla="*/ 9518 h 10145"/>
              <a:gd name="connsiteX136" fmla="*/ 7241 w 10000"/>
              <a:gd name="connsiteY136" fmla="*/ 9476 h 10145"/>
              <a:gd name="connsiteX137" fmla="*/ 7241 w 10000"/>
              <a:gd name="connsiteY137" fmla="*/ 9518 h 10145"/>
              <a:gd name="connsiteX138" fmla="*/ 7241 w 10000"/>
              <a:gd name="connsiteY138" fmla="*/ 9561 h 10145"/>
              <a:gd name="connsiteX139" fmla="*/ 7188 w 10000"/>
              <a:gd name="connsiteY139" fmla="*/ 9561 h 10145"/>
              <a:gd name="connsiteX140" fmla="*/ 7136 w 10000"/>
              <a:gd name="connsiteY140" fmla="*/ 9561 h 10145"/>
              <a:gd name="connsiteX141" fmla="*/ 7188 w 10000"/>
              <a:gd name="connsiteY141" fmla="*/ 9606 h 10145"/>
              <a:gd name="connsiteX142" fmla="*/ 7136 w 10000"/>
              <a:gd name="connsiteY142" fmla="*/ 9649 h 10145"/>
              <a:gd name="connsiteX143" fmla="*/ 7188 w 10000"/>
              <a:gd name="connsiteY143" fmla="*/ 9694 h 10145"/>
              <a:gd name="connsiteX144" fmla="*/ 7241 w 10000"/>
              <a:gd name="connsiteY144" fmla="*/ 9694 h 10145"/>
              <a:gd name="connsiteX145" fmla="*/ 7241 w 10000"/>
              <a:gd name="connsiteY145" fmla="*/ 9739 h 10145"/>
              <a:gd name="connsiteX146" fmla="*/ 7188 w 10000"/>
              <a:gd name="connsiteY146" fmla="*/ 9739 h 10145"/>
              <a:gd name="connsiteX147" fmla="*/ 7136 w 10000"/>
              <a:gd name="connsiteY147" fmla="*/ 9739 h 10145"/>
              <a:gd name="connsiteX148" fmla="*/ 7188 w 10000"/>
              <a:gd name="connsiteY148" fmla="*/ 9781 h 10145"/>
              <a:gd name="connsiteX149" fmla="*/ 7188 w 10000"/>
              <a:gd name="connsiteY149" fmla="*/ 9825 h 10145"/>
              <a:gd name="connsiteX150" fmla="*/ 7136 w 10000"/>
              <a:gd name="connsiteY150" fmla="*/ 9825 h 10145"/>
              <a:gd name="connsiteX151" fmla="*/ 7136 w 10000"/>
              <a:gd name="connsiteY151" fmla="*/ 9870 h 10145"/>
              <a:gd name="connsiteX152" fmla="*/ 7084 w 10000"/>
              <a:gd name="connsiteY152" fmla="*/ 9914 h 10145"/>
              <a:gd name="connsiteX153" fmla="*/ 7188 w 10000"/>
              <a:gd name="connsiteY153" fmla="*/ 10000 h 10145"/>
              <a:gd name="connsiteX154" fmla="*/ 7344 w 10000"/>
              <a:gd name="connsiteY154" fmla="*/ 7741 h 10145"/>
              <a:gd name="connsiteX155" fmla="*/ 7136 w 10000"/>
              <a:gd name="connsiteY155" fmla="*/ 7385 h 10145"/>
              <a:gd name="connsiteX156" fmla="*/ 6544 w 10000"/>
              <a:gd name="connsiteY156" fmla="*/ 7269 h 10145"/>
              <a:gd name="connsiteX157" fmla="*/ 5775 w 10000"/>
              <a:gd name="connsiteY157" fmla="*/ 7233 h 10145"/>
              <a:gd name="connsiteX158" fmla="*/ 5311 w 10000"/>
              <a:gd name="connsiteY158" fmla="*/ 7120 h 10145"/>
              <a:gd name="connsiteX159" fmla="*/ 5071 w 10000"/>
              <a:gd name="connsiteY159" fmla="*/ 7008 h 10145"/>
              <a:gd name="connsiteX160" fmla="*/ 4912 w 10000"/>
              <a:gd name="connsiteY160" fmla="*/ 7102 h 10145"/>
              <a:gd name="connsiteX161" fmla="*/ 4416 w 10000"/>
              <a:gd name="connsiteY161" fmla="*/ 6931 h 10145"/>
              <a:gd name="connsiteX162" fmla="*/ 3584 w 10000"/>
              <a:gd name="connsiteY162" fmla="*/ 6631 h 10145"/>
              <a:gd name="connsiteX163" fmla="*/ 3104 w 10000"/>
              <a:gd name="connsiteY163" fmla="*/ 6574 h 10145"/>
              <a:gd name="connsiteX164" fmla="*/ 3200 w 10000"/>
              <a:gd name="connsiteY164" fmla="*/ 6367 h 10145"/>
              <a:gd name="connsiteX165" fmla="*/ 3344 w 10000"/>
              <a:gd name="connsiteY165" fmla="*/ 6311 h 10145"/>
              <a:gd name="connsiteX166" fmla="*/ 3728 w 10000"/>
              <a:gd name="connsiteY166" fmla="*/ 6009 h 10145"/>
              <a:gd name="connsiteX167" fmla="*/ 3968 w 10000"/>
              <a:gd name="connsiteY167" fmla="*/ 5727 h 10145"/>
              <a:gd name="connsiteX168" fmla="*/ 4224 w 10000"/>
              <a:gd name="connsiteY168" fmla="*/ 5426 h 10145"/>
              <a:gd name="connsiteX169" fmla="*/ 4368 w 10000"/>
              <a:gd name="connsiteY169" fmla="*/ 5146 h 10145"/>
              <a:gd name="connsiteX170" fmla="*/ 4352 w 10000"/>
              <a:gd name="connsiteY170" fmla="*/ 4824 h 10145"/>
              <a:gd name="connsiteX171" fmla="*/ 4336 w 10000"/>
              <a:gd name="connsiteY171" fmla="*/ 4542 h 10145"/>
              <a:gd name="connsiteX172" fmla="*/ 4176 w 10000"/>
              <a:gd name="connsiteY172" fmla="*/ 4372 h 10145"/>
              <a:gd name="connsiteX173" fmla="*/ 4016 w 10000"/>
              <a:gd name="connsiteY173" fmla="*/ 4392 h 10145"/>
              <a:gd name="connsiteX174" fmla="*/ 3856 w 10000"/>
              <a:gd name="connsiteY174" fmla="*/ 4693 h 10145"/>
              <a:gd name="connsiteX175" fmla="*/ 3808 w 10000"/>
              <a:gd name="connsiteY175" fmla="*/ 5237 h 10145"/>
              <a:gd name="connsiteX176" fmla="*/ 3536 w 10000"/>
              <a:gd name="connsiteY176" fmla="*/ 5597 h 10145"/>
              <a:gd name="connsiteX177" fmla="*/ 2992 w 10000"/>
              <a:gd name="connsiteY177" fmla="*/ 5916 h 10145"/>
              <a:gd name="connsiteX178" fmla="*/ 2415 w 10000"/>
              <a:gd name="connsiteY178" fmla="*/ 6160 h 10145"/>
              <a:gd name="connsiteX179" fmla="*/ 1951 w 10000"/>
              <a:gd name="connsiteY179" fmla="*/ 6497 h 10145"/>
              <a:gd name="connsiteX180" fmla="*/ 0 w 10000"/>
              <a:gd name="connsiteY180" fmla="*/ 6423 h 10145"/>
              <a:gd name="connsiteX181" fmla="*/ 3 w 10000"/>
              <a:gd name="connsiteY181" fmla="*/ 6184 h 10145"/>
              <a:gd name="connsiteX182" fmla="*/ 159 w 10000"/>
              <a:gd name="connsiteY182" fmla="*/ 6273 h 10145"/>
              <a:gd name="connsiteX183" fmla="*/ 368 w 10000"/>
              <a:gd name="connsiteY183" fmla="*/ 6184 h 10145"/>
              <a:gd name="connsiteX184" fmla="*/ 1462 w 10000"/>
              <a:gd name="connsiteY184" fmla="*/ 6184 h 10145"/>
              <a:gd name="connsiteX185" fmla="*/ 1617 w 10000"/>
              <a:gd name="connsiteY185" fmla="*/ 6141 h 10145"/>
              <a:gd name="connsiteX186" fmla="*/ 1669 w 10000"/>
              <a:gd name="connsiteY186" fmla="*/ 6141 h 10145"/>
              <a:gd name="connsiteX187" fmla="*/ 2189 w 10000"/>
              <a:gd name="connsiteY187" fmla="*/ 5572 h 10145"/>
              <a:gd name="connsiteX188" fmla="*/ 2294 w 10000"/>
              <a:gd name="connsiteY188" fmla="*/ 5482 h 10145"/>
              <a:gd name="connsiteX189" fmla="*/ 2762 w 10000"/>
              <a:gd name="connsiteY189" fmla="*/ 5044 h 10145"/>
              <a:gd name="connsiteX190" fmla="*/ 3023 w 10000"/>
              <a:gd name="connsiteY190" fmla="*/ 4781 h 10145"/>
              <a:gd name="connsiteX191" fmla="*/ 3179 w 10000"/>
              <a:gd name="connsiteY191" fmla="*/ 4649 h 10145"/>
              <a:gd name="connsiteX192" fmla="*/ 3596 w 10000"/>
              <a:gd name="connsiteY192" fmla="*/ 3992 h 10145"/>
              <a:gd name="connsiteX193" fmla="*/ 4116 w 10000"/>
              <a:gd name="connsiteY193" fmla="*/ 3727 h 10145"/>
              <a:gd name="connsiteX194" fmla="*/ 5001 w 10000"/>
              <a:gd name="connsiteY194" fmla="*/ 2983 h 10145"/>
              <a:gd name="connsiteX195" fmla="*/ 4845 w 10000"/>
              <a:gd name="connsiteY195" fmla="*/ 2719 h 10145"/>
              <a:gd name="connsiteX196" fmla="*/ 4794 w 10000"/>
              <a:gd name="connsiteY196" fmla="*/ 2544 h 10145"/>
              <a:gd name="connsiteX197" fmla="*/ 4794 w 10000"/>
              <a:gd name="connsiteY197" fmla="*/ 1315 h 10145"/>
              <a:gd name="connsiteX198" fmla="*/ 4116 w 10000"/>
              <a:gd name="connsiteY198" fmla="*/ 787 h 10145"/>
              <a:gd name="connsiteX199" fmla="*/ 4950 w 10000"/>
              <a:gd name="connsiteY199" fmla="*/ 787 h 10145"/>
              <a:gd name="connsiteX200" fmla="*/ 5782 w 10000"/>
              <a:gd name="connsiteY200" fmla="*/ 787 h 10145"/>
              <a:gd name="connsiteX201" fmla="*/ 5782 w 10000"/>
              <a:gd name="connsiteY201" fmla="*/ 745 h 10145"/>
              <a:gd name="connsiteX202" fmla="*/ 5782 w 10000"/>
              <a:gd name="connsiteY202" fmla="*/ 703 h 10145"/>
              <a:gd name="connsiteX203" fmla="*/ 5782 w 10000"/>
              <a:gd name="connsiteY203" fmla="*/ 662 h 10145"/>
              <a:gd name="connsiteX204" fmla="*/ 5782 w 10000"/>
              <a:gd name="connsiteY204" fmla="*/ 614 h 10145"/>
              <a:gd name="connsiteX205" fmla="*/ 5834 w 10000"/>
              <a:gd name="connsiteY205" fmla="*/ 566 h 10145"/>
              <a:gd name="connsiteX206" fmla="*/ 5834 w 10000"/>
              <a:gd name="connsiteY206" fmla="*/ 525 h 10145"/>
              <a:gd name="connsiteX207" fmla="*/ 5834 w 10000"/>
              <a:gd name="connsiteY207" fmla="*/ 483 h 10145"/>
              <a:gd name="connsiteX208" fmla="*/ 5834 w 10000"/>
              <a:gd name="connsiteY208" fmla="*/ 441 h 10145"/>
              <a:gd name="connsiteX209" fmla="*/ 5834 w 10000"/>
              <a:gd name="connsiteY209" fmla="*/ 399 h 10145"/>
              <a:gd name="connsiteX210" fmla="*/ 5834 w 10000"/>
              <a:gd name="connsiteY210" fmla="*/ 347 h 10145"/>
              <a:gd name="connsiteX211" fmla="*/ 5782 w 10000"/>
              <a:gd name="connsiteY211" fmla="*/ 347 h 10145"/>
              <a:gd name="connsiteX212" fmla="*/ 5782 w 10000"/>
              <a:gd name="connsiteY212" fmla="*/ 304 h 10145"/>
              <a:gd name="connsiteX213" fmla="*/ 5782 w 10000"/>
              <a:gd name="connsiteY213" fmla="*/ 262 h 10145"/>
              <a:gd name="connsiteX214" fmla="*/ 5782 w 10000"/>
              <a:gd name="connsiteY214" fmla="*/ 221 h 10145"/>
              <a:gd name="connsiteX215" fmla="*/ 5782 w 10000"/>
              <a:gd name="connsiteY215" fmla="*/ 178 h 10145"/>
              <a:gd name="connsiteX216" fmla="*/ 5782 w 10000"/>
              <a:gd name="connsiteY216" fmla="*/ 137 h 10145"/>
              <a:gd name="connsiteX217" fmla="*/ 5782 w 10000"/>
              <a:gd name="connsiteY217" fmla="*/ 84 h 10145"/>
              <a:gd name="connsiteX218" fmla="*/ 5782 w 10000"/>
              <a:gd name="connsiteY218" fmla="*/ 42 h 10145"/>
              <a:gd name="connsiteX219" fmla="*/ 5782 w 10000"/>
              <a:gd name="connsiteY219" fmla="*/ 0 h 10145"/>
              <a:gd name="connsiteX0" fmla="*/ 5782 w 10000"/>
              <a:gd name="connsiteY0" fmla="*/ 0 h 9914"/>
              <a:gd name="connsiteX1" fmla="*/ 7345 w 10000"/>
              <a:gd name="connsiteY1" fmla="*/ 42 h 9914"/>
              <a:gd name="connsiteX2" fmla="*/ 7501 w 10000"/>
              <a:gd name="connsiteY2" fmla="*/ 42 h 9914"/>
              <a:gd name="connsiteX3" fmla="*/ 7345 w 10000"/>
              <a:gd name="connsiteY3" fmla="*/ 178 h 9914"/>
              <a:gd name="connsiteX4" fmla="*/ 7293 w 10000"/>
              <a:gd name="connsiteY4" fmla="*/ 566 h 9914"/>
              <a:gd name="connsiteX5" fmla="*/ 7188 w 10000"/>
              <a:gd name="connsiteY5" fmla="*/ 1186 h 9914"/>
              <a:gd name="connsiteX6" fmla="*/ 7136 w 10000"/>
              <a:gd name="connsiteY6" fmla="*/ 1228 h 9914"/>
              <a:gd name="connsiteX7" fmla="*/ 6980 w 10000"/>
              <a:gd name="connsiteY7" fmla="*/ 1578 h 9914"/>
              <a:gd name="connsiteX8" fmla="*/ 7396 w 10000"/>
              <a:gd name="connsiteY8" fmla="*/ 3202 h 9914"/>
              <a:gd name="connsiteX9" fmla="*/ 7501 w 10000"/>
              <a:gd name="connsiteY9" fmla="*/ 3509 h 9914"/>
              <a:gd name="connsiteX10" fmla="*/ 7345 w 10000"/>
              <a:gd name="connsiteY10" fmla="*/ 3774 h 9914"/>
              <a:gd name="connsiteX11" fmla="*/ 8022 w 10000"/>
              <a:gd name="connsiteY11" fmla="*/ 3947 h 9914"/>
              <a:gd name="connsiteX12" fmla="*/ 8489 w 10000"/>
              <a:gd name="connsiteY12" fmla="*/ 4430 h 9914"/>
              <a:gd name="connsiteX13" fmla="*/ 8594 w 10000"/>
              <a:gd name="connsiteY13" fmla="*/ 4518 h 9914"/>
              <a:gd name="connsiteX14" fmla="*/ 8906 w 10000"/>
              <a:gd name="connsiteY14" fmla="*/ 4737 h 9914"/>
              <a:gd name="connsiteX15" fmla="*/ 9114 w 10000"/>
              <a:gd name="connsiteY15" fmla="*/ 5001 h 9914"/>
              <a:gd name="connsiteX16" fmla="*/ 9219 w 10000"/>
              <a:gd name="connsiteY16" fmla="*/ 5133 h 9914"/>
              <a:gd name="connsiteX17" fmla="*/ 9427 w 10000"/>
              <a:gd name="connsiteY17" fmla="*/ 5133 h 9914"/>
              <a:gd name="connsiteX18" fmla="*/ 9427 w 10000"/>
              <a:gd name="connsiteY18" fmla="*/ 5176 h 9914"/>
              <a:gd name="connsiteX19" fmla="*/ 9479 w 10000"/>
              <a:gd name="connsiteY19" fmla="*/ 5263 h 9914"/>
              <a:gd name="connsiteX20" fmla="*/ 9479 w 10000"/>
              <a:gd name="connsiteY20" fmla="*/ 5308 h 9914"/>
              <a:gd name="connsiteX21" fmla="*/ 9532 w 10000"/>
              <a:gd name="connsiteY21" fmla="*/ 5482 h 9914"/>
              <a:gd name="connsiteX22" fmla="*/ 9532 w 10000"/>
              <a:gd name="connsiteY22" fmla="*/ 5527 h 9914"/>
              <a:gd name="connsiteX23" fmla="*/ 9532 w 10000"/>
              <a:gd name="connsiteY23" fmla="*/ 5659 h 9914"/>
              <a:gd name="connsiteX24" fmla="*/ 9532 w 10000"/>
              <a:gd name="connsiteY24" fmla="*/ 5744 h 9914"/>
              <a:gd name="connsiteX25" fmla="*/ 9479 w 10000"/>
              <a:gd name="connsiteY25" fmla="*/ 5835 h 9914"/>
              <a:gd name="connsiteX26" fmla="*/ 9427 w 10000"/>
              <a:gd name="connsiteY26" fmla="*/ 6099 h 9914"/>
              <a:gd name="connsiteX27" fmla="*/ 9375 w 10000"/>
              <a:gd name="connsiteY27" fmla="*/ 6141 h 9914"/>
              <a:gd name="connsiteX28" fmla="*/ 9322 w 10000"/>
              <a:gd name="connsiteY28" fmla="*/ 6184 h 9914"/>
              <a:gd name="connsiteX29" fmla="*/ 9271 w 10000"/>
              <a:gd name="connsiteY29" fmla="*/ 6361 h 9914"/>
              <a:gd name="connsiteX30" fmla="*/ 9219 w 10000"/>
              <a:gd name="connsiteY30" fmla="*/ 6446 h 9914"/>
              <a:gd name="connsiteX31" fmla="*/ 9219 w 10000"/>
              <a:gd name="connsiteY31" fmla="*/ 6537 h 9914"/>
              <a:gd name="connsiteX32" fmla="*/ 9219 w 10000"/>
              <a:gd name="connsiteY32" fmla="*/ 6580 h 9914"/>
              <a:gd name="connsiteX33" fmla="*/ 9219 w 10000"/>
              <a:gd name="connsiteY33" fmla="*/ 6711 h 9914"/>
              <a:gd name="connsiteX34" fmla="*/ 9271 w 10000"/>
              <a:gd name="connsiteY34" fmla="*/ 6844 h 9914"/>
              <a:gd name="connsiteX35" fmla="*/ 9895 w 10000"/>
              <a:gd name="connsiteY35" fmla="*/ 6844 h 9914"/>
              <a:gd name="connsiteX36" fmla="*/ 9895 w 10000"/>
              <a:gd name="connsiteY36" fmla="*/ 6930 h 9914"/>
              <a:gd name="connsiteX37" fmla="*/ 9948 w 10000"/>
              <a:gd name="connsiteY37" fmla="*/ 7237 h 9914"/>
              <a:gd name="connsiteX38" fmla="*/ 9948 w 10000"/>
              <a:gd name="connsiteY38" fmla="*/ 7282 h 9914"/>
              <a:gd name="connsiteX39" fmla="*/ 9948 w 10000"/>
              <a:gd name="connsiteY39" fmla="*/ 7413 h 9914"/>
              <a:gd name="connsiteX40" fmla="*/ 9948 w 10000"/>
              <a:gd name="connsiteY40" fmla="*/ 7458 h 9914"/>
              <a:gd name="connsiteX41" fmla="*/ 9948 w 10000"/>
              <a:gd name="connsiteY41" fmla="*/ 7545 h 9914"/>
              <a:gd name="connsiteX42" fmla="*/ 9948 w 10000"/>
              <a:gd name="connsiteY42" fmla="*/ 7588 h 9914"/>
              <a:gd name="connsiteX43" fmla="*/ 9948 w 10000"/>
              <a:gd name="connsiteY43" fmla="*/ 7633 h 9914"/>
              <a:gd name="connsiteX44" fmla="*/ 9948 w 10000"/>
              <a:gd name="connsiteY44" fmla="*/ 7676 h 9914"/>
              <a:gd name="connsiteX45" fmla="*/ 10000 w 10000"/>
              <a:gd name="connsiteY45" fmla="*/ 7763 h 9914"/>
              <a:gd name="connsiteX46" fmla="*/ 10000 w 10000"/>
              <a:gd name="connsiteY46" fmla="*/ 7896 h 9914"/>
              <a:gd name="connsiteX47" fmla="*/ 10000 w 10000"/>
              <a:gd name="connsiteY47" fmla="*/ 7940 h 9914"/>
              <a:gd name="connsiteX48" fmla="*/ 10000 w 10000"/>
              <a:gd name="connsiteY48" fmla="*/ 7983 h 9914"/>
              <a:gd name="connsiteX49" fmla="*/ 10000 w 10000"/>
              <a:gd name="connsiteY49" fmla="*/ 8027 h 9914"/>
              <a:gd name="connsiteX50" fmla="*/ 10000 w 10000"/>
              <a:gd name="connsiteY50" fmla="*/ 8115 h 9914"/>
              <a:gd name="connsiteX51" fmla="*/ 10000 w 10000"/>
              <a:gd name="connsiteY51" fmla="*/ 8160 h 9914"/>
              <a:gd name="connsiteX52" fmla="*/ 10000 w 10000"/>
              <a:gd name="connsiteY52" fmla="*/ 8202 h 9914"/>
              <a:gd name="connsiteX53" fmla="*/ 10000 w 10000"/>
              <a:gd name="connsiteY53" fmla="*/ 8289 h 9914"/>
              <a:gd name="connsiteX54" fmla="*/ 10000 w 10000"/>
              <a:gd name="connsiteY54" fmla="*/ 8510 h 9914"/>
              <a:gd name="connsiteX55" fmla="*/ 10000 w 10000"/>
              <a:gd name="connsiteY55" fmla="*/ 8553 h 9914"/>
              <a:gd name="connsiteX56" fmla="*/ 10000 w 10000"/>
              <a:gd name="connsiteY56" fmla="*/ 8642 h 9914"/>
              <a:gd name="connsiteX57" fmla="*/ 10000 w 10000"/>
              <a:gd name="connsiteY57" fmla="*/ 8685 h 9914"/>
              <a:gd name="connsiteX58" fmla="*/ 10000 w 10000"/>
              <a:gd name="connsiteY58" fmla="*/ 8729 h 9914"/>
              <a:gd name="connsiteX59" fmla="*/ 10000 w 10000"/>
              <a:gd name="connsiteY59" fmla="*/ 8773 h 9914"/>
              <a:gd name="connsiteX60" fmla="*/ 10000 w 10000"/>
              <a:gd name="connsiteY60" fmla="*/ 8815 h 9914"/>
              <a:gd name="connsiteX61" fmla="*/ 10000 w 10000"/>
              <a:gd name="connsiteY61" fmla="*/ 8905 h 9914"/>
              <a:gd name="connsiteX62" fmla="*/ 10000 w 10000"/>
              <a:gd name="connsiteY62" fmla="*/ 8992 h 9914"/>
              <a:gd name="connsiteX63" fmla="*/ 10000 w 10000"/>
              <a:gd name="connsiteY63" fmla="*/ 9035 h 9914"/>
              <a:gd name="connsiteX64" fmla="*/ 10000 w 10000"/>
              <a:gd name="connsiteY64" fmla="*/ 9081 h 9914"/>
              <a:gd name="connsiteX65" fmla="*/ 9948 w 10000"/>
              <a:gd name="connsiteY65" fmla="*/ 9081 h 9914"/>
              <a:gd name="connsiteX66" fmla="*/ 9948 w 10000"/>
              <a:gd name="connsiteY66" fmla="*/ 9123 h 9914"/>
              <a:gd name="connsiteX67" fmla="*/ 9895 w 10000"/>
              <a:gd name="connsiteY67" fmla="*/ 9168 h 9914"/>
              <a:gd name="connsiteX68" fmla="*/ 9844 w 10000"/>
              <a:gd name="connsiteY68" fmla="*/ 9168 h 9914"/>
              <a:gd name="connsiteX69" fmla="*/ 9844 w 10000"/>
              <a:gd name="connsiteY69" fmla="*/ 9213 h 9914"/>
              <a:gd name="connsiteX70" fmla="*/ 9792 w 10000"/>
              <a:gd name="connsiteY70" fmla="*/ 9213 h 9914"/>
              <a:gd name="connsiteX71" fmla="*/ 9740 w 10000"/>
              <a:gd name="connsiteY71" fmla="*/ 9256 h 9914"/>
              <a:gd name="connsiteX72" fmla="*/ 9687 w 10000"/>
              <a:gd name="connsiteY72" fmla="*/ 9297 h 9914"/>
              <a:gd name="connsiteX73" fmla="*/ 9635 w 10000"/>
              <a:gd name="connsiteY73" fmla="*/ 9297 h 9914"/>
              <a:gd name="connsiteX74" fmla="*/ 9635 w 10000"/>
              <a:gd name="connsiteY74" fmla="*/ 9343 h 9914"/>
              <a:gd name="connsiteX75" fmla="*/ 9583 w 10000"/>
              <a:gd name="connsiteY75" fmla="*/ 9343 h 9914"/>
              <a:gd name="connsiteX76" fmla="*/ 9532 w 10000"/>
              <a:gd name="connsiteY76" fmla="*/ 9343 h 9914"/>
              <a:gd name="connsiteX77" fmla="*/ 9479 w 10000"/>
              <a:gd name="connsiteY77" fmla="*/ 9343 h 9914"/>
              <a:gd name="connsiteX78" fmla="*/ 9427 w 10000"/>
              <a:gd name="connsiteY78" fmla="*/ 9343 h 9914"/>
              <a:gd name="connsiteX79" fmla="*/ 9375 w 10000"/>
              <a:gd name="connsiteY79" fmla="*/ 9343 h 9914"/>
              <a:gd name="connsiteX80" fmla="*/ 9322 w 10000"/>
              <a:gd name="connsiteY80" fmla="*/ 9343 h 9914"/>
              <a:gd name="connsiteX81" fmla="*/ 9271 w 10000"/>
              <a:gd name="connsiteY81" fmla="*/ 9343 h 9914"/>
              <a:gd name="connsiteX82" fmla="*/ 9271 w 10000"/>
              <a:gd name="connsiteY82" fmla="*/ 9386 h 9914"/>
              <a:gd name="connsiteX83" fmla="*/ 9219 w 10000"/>
              <a:gd name="connsiteY83" fmla="*/ 9431 h 9914"/>
              <a:gd name="connsiteX84" fmla="*/ 9167 w 10000"/>
              <a:gd name="connsiteY84" fmla="*/ 9476 h 9914"/>
              <a:gd name="connsiteX85" fmla="*/ 9219 w 10000"/>
              <a:gd name="connsiteY85" fmla="*/ 9476 h 9914"/>
              <a:gd name="connsiteX86" fmla="*/ 9167 w 10000"/>
              <a:gd name="connsiteY86" fmla="*/ 9476 h 9914"/>
              <a:gd name="connsiteX87" fmla="*/ 9114 w 10000"/>
              <a:gd name="connsiteY87" fmla="*/ 9476 h 9914"/>
              <a:gd name="connsiteX88" fmla="*/ 9062 w 10000"/>
              <a:gd name="connsiteY88" fmla="*/ 9518 h 9914"/>
              <a:gd name="connsiteX89" fmla="*/ 9011 w 10000"/>
              <a:gd name="connsiteY89" fmla="*/ 9561 h 9914"/>
              <a:gd name="connsiteX90" fmla="*/ 8959 w 10000"/>
              <a:gd name="connsiteY90" fmla="*/ 9561 h 9914"/>
              <a:gd name="connsiteX91" fmla="*/ 8959 w 10000"/>
              <a:gd name="connsiteY91" fmla="*/ 9606 h 9914"/>
              <a:gd name="connsiteX92" fmla="*/ 8906 w 10000"/>
              <a:gd name="connsiteY92" fmla="*/ 9606 h 9914"/>
              <a:gd name="connsiteX93" fmla="*/ 8906 w 10000"/>
              <a:gd name="connsiteY93" fmla="*/ 9649 h 9914"/>
              <a:gd name="connsiteX94" fmla="*/ 8854 w 10000"/>
              <a:gd name="connsiteY94" fmla="*/ 9649 h 9914"/>
              <a:gd name="connsiteX95" fmla="*/ 8802 w 10000"/>
              <a:gd name="connsiteY95" fmla="*/ 9649 h 9914"/>
              <a:gd name="connsiteX96" fmla="*/ 8749 w 10000"/>
              <a:gd name="connsiteY96" fmla="*/ 9649 h 9914"/>
              <a:gd name="connsiteX97" fmla="*/ 8698 w 10000"/>
              <a:gd name="connsiteY97" fmla="*/ 9649 h 9914"/>
              <a:gd name="connsiteX98" fmla="*/ 8646 w 10000"/>
              <a:gd name="connsiteY98" fmla="*/ 9649 h 9914"/>
              <a:gd name="connsiteX99" fmla="*/ 8646 w 10000"/>
              <a:gd name="connsiteY99" fmla="*/ 9606 h 9914"/>
              <a:gd name="connsiteX100" fmla="*/ 8646 w 10000"/>
              <a:gd name="connsiteY100" fmla="*/ 9561 h 9914"/>
              <a:gd name="connsiteX101" fmla="*/ 8594 w 10000"/>
              <a:gd name="connsiteY101" fmla="*/ 9518 h 9914"/>
              <a:gd name="connsiteX102" fmla="*/ 8594 w 10000"/>
              <a:gd name="connsiteY102" fmla="*/ 9476 h 9914"/>
              <a:gd name="connsiteX103" fmla="*/ 8594 w 10000"/>
              <a:gd name="connsiteY103" fmla="*/ 9431 h 9914"/>
              <a:gd name="connsiteX104" fmla="*/ 8541 w 10000"/>
              <a:gd name="connsiteY104" fmla="*/ 9431 h 9914"/>
              <a:gd name="connsiteX105" fmla="*/ 8489 w 10000"/>
              <a:gd name="connsiteY105" fmla="*/ 9431 h 9914"/>
              <a:gd name="connsiteX106" fmla="*/ 8489 w 10000"/>
              <a:gd name="connsiteY106" fmla="*/ 9386 h 9914"/>
              <a:gd name="connsiteX107" fmla="*/ 8438 w 10000"/>
              <a:gd name="connsiteY107" fmla="*/ 9386 h 9914"/>
              <a:gd name="connsiteX108" fmla="*/ 8386 w 10000"/>
              <a:gd name="connsiteY108" fmla="*/ 9431 h 9914"/>
              <a:gd name="connsiteX109" fmla="*/ 8386 w 10000"/>
              <a:gd name="connsiteY109" fmla="*/ 9476 h 9914"/>
              <a:gd name="connsiteX110" fmla="*/ 8282 w 10000"/>
              <a:gd name="connsiteY110" fmla="*/ 9431 h 9914"/>
              <a:gd name="connsiteX111" fmla="*/ 8282 w 10000"/>
              <a:gd name="connsiteY111" fmla="*/ 9386 h 9914"/>
              <a:gd name="connsiteX112" fmla="*/ 8230 w 10000"/>
              <a:gd name="connsiteY112" fmla="*/ 9386 h 9914"/>
              <a:gd name="connsiteX113" fmla="*/ 8179 w 10000"/>
              <a:gd name="connsiteY113" fmla="*/ 9386 h 9914"/>
              <a:gd name="connsiteX114" fmla="*/ 8126 w 10000"/>
              <a:gd name="connsiteY114" fmla="*/ 9386 h 9914"/>
              <a:gd name="connsiteX115" fmla="*/ 8074 w 10000"/>
              <a:gd name="connsiteY115" fmla="*/ 9386 h 9914"/>
              <a:gd name="connsiteX116" fmla="*/ 8022 w 10000"/>
              <a:gd name="connsiteY116" fmla="*/ 9386 h 9914"/>
              <a:gd name="connsiteX117" fmla="*/ 8022 w 10000"/>
              <a:gd name="connsiteY117" fmla="*/ 9431 h 9914"/>
              <a:gd name="connsiteX118" fmla="*/ 7969 w 10000"/>
              <a:gd name="connsiteY118" fmla="*/ 9431 h 9914"/>
              <a:gd name="connsiteX119" fmla="*/ 7917 w 10000"/>
              <a:gd name="connsiteY119" fmla="*/ 9476 h 9914"/>
              <a:gd name="connsiteX120" fmla="*/ 7866 w 10000"/>
              <a:gd name="connsiteY120" fmla="*/ 9476 h 9914"/>
              <a:gd name="connsiteX121" fmla="*/ 7866 w 10000"/>
              <a:gd name="connsiteY121" fmla="*/ 9431 h 9914"/>
              <a:gd name="connsiteX122" fmla="*/ 7866 w 10000"/>
              <a:gd name="connsiteY122" fmla="*/ 9476 h 9914"/>
              <a:gd name="connsiteX123" fmla="*/ 7814 w 10000"/>
              <a:gd name="connsiteY123" fmla="*/ 9476 h 9914"/>
              <a:gd name="connsiteX124" fmla="*/ 7761 w 10000"/>
              <a:gd name="connsiteY124" fmla="*/ 9518 h 9914"/>
              <a:gd name="connsiteX125" fmla="*/ 7709 w 10000"/>
              <a:gd name="connsiteY125" fmla="*/ 9476 h 9914"/>
              <a:gd name="connsiteX126" fmla="*/ 7657 w 10000"/>
              <a:gd name="connsiteY126" fmla="*/ 9476 h 9914"/>
              <a:gd name="connsiteX127" fmla="*/ 7606 w 10000"/>
              <a:gd name="connsiteY127" fmla="*/ 9476 h 9914"/>
              <a:gd name="connsiteX128" fmla="*/ 7553 w 10000"/>
              <a:gd name="connsiteY128" fmla="*/ 9431 h 9914"/>
              <a:gd name="connsiteX129" fmla="*/ 7501 w 10000"/>
              <a:gd name="connsiteY129" fmla="*/ 9431 h 9914"/>
              <a:gd name="connsiteX130" fmla="*/ 7501 w 10000"/>
              <a:gd name="connsiteY130" fmla="*/ 9476 h 9914"/>
              <a:gd name="connsiteX131" fmla="*/ 7449 w 10000"/>
              <a:gd name="connsiteY131" fmla="*/ 9476 h 9914"/>
              <a:gd name="connsiteX132" fmla="*/ 7396 w 10000"/>
              <a:gd name="connsiteY132" fmla="*/ 9431 h 9914"/>
              <a:gd name="connsiteX133" fmla="*/ 7345 w 10000"/>
              <a:gd name="connsiteY133" fmla="*/ 9431 h 9914"/>
              <a:gd name="connsiteX134" fmla="*/ 7293 w 10000"/>
              <a:gd name="connsiteY134" fmla="*/ 9518 h 9914"/>
              <a:gd name="connsiteX135" fmla="*/ 7241 w 10000"/>
              <a:gd name="connsiteY135" fmla="*/ 9518 h 9914"/>
              <a:gd name="connsiteX136" fmla="*/ 7241 w 10000"/>
              <a:gd name="connsiteY136" fmla="*/ 9476 h 9914"/>
              <a:gd name="connsiteX137" fmla="*/ 7241 w 10000"/>
              <a:gd name="connsiteY137" fmla="*/ 9518 h 9914"/>
              <a:gd name="connsiteX138" fmla="*/ 7241 w 10000"/>
              <a:gd name="connsiteY138" fmla="*/ 9561 h 9914"/>
              <a:gd name="connsiteX139" fmla="*/ 7188 w 10000"/>
              <a:gd name="connsiteY139" fmla="*/ 9561 h 9914"/>
              <a:gd name="connsiteX140" fmla="*/ 7136 w 10000"/>
              <a:gd name="connsiteY140" fmla="*/ 9561 h 9914"/>
              <a:gd name="connsiteX141" fmla="*/ 7188 w 10000"/>
              <a:gd name="connsiteY141" fmla="*/ 9606 h 9914"/>
              <a:gd name="connsiteX142" fmla="*/ 7136 w 10000"/>
              <a:gd name="connsiteY142" fmla="*/ 9649 h 9914"/>
              <a:gd name="connsiteX143" fmla="*/ 7188 w 10000"/>
              <a:gd name="connsiteY143" fmla="*/ 9694 h 9914"/>
              <a:gd name="connsiteX144" fmla="*/ 7241 w 10000"/>
              <a:gd name="connsiteY144" fmla="*/ 9694 h 9914"/>
              <a:gd name="connsiteX145" fmla="*/ 7241 w 10000"/>
              <a:gd name="connsiteY145" fmla="*/ 9739 h 9914"/>
              <a:gd name="connsiteX146" fmla="*/ 7188 w 10000"/>
              <a:gd name="connsiteY146" fmla="*/ 9739 h 9914"/>
              <a:gd name="connsiteX147" fmla="*/ 7136 w 10000"/>
              <a:gd name="connsiteY147" fmla="*/ 9739 h 9914"/>
              <a:gd name="connsiteX148" fmla="*/ 7188 w 10000"/>
              <a:gd name="connsiteY148" fmla="*/ 9781 h 9914"/>
              <a:gd name="connsiteX149" fmla="*/ 7188 w 10000"/>
              <a:gd name="connsiteY149" fmla="*/ 9825 h 9914"/>
              <a:gd name="connsiteX150" fmla="*/ 7136 w 10000"/>
              <a:gd name="connsiteY150" fmla="*/ 9825 h 9914"/>
              <a:gd name="connsiteX151" fmla="*/ 7136 w 10000"/>
              <a:gd name="connsiteY151" fmla="*/ 9870 h 9914"/>
              <a:gd name="connsiteX152" fmla="*/ 7084 w 10000"/>
              <a:gd name="connsiteY152" fmla="*/ 9914 h 9914"/>
              <a:gd name="connsiteX153" fmla="*/ 7344 w 10000"/>
              <a:gd name="connsiteY153" fmla="*/ 7741 h 9914"/>
              <a:gd name="connsiteX154" fmla="*/ 7136 w 10000"/>
              <a:gd name="connsiteY154" fmla="*/ 7385 h 9914"/>
              <a:gd name="connsiteX155" fmla="*/ 6544 w 10000"/>
              <a:gd name="connsiteY155" fmla="*/ 7269 h 9914"/>
              <a:gd name="connsiteX156" fmla="*/ 5775 w 10000"/>
              <a:gd name="connsiteY156" fmla="*/ 7233 h 9914"/>
              <a:gd name="connsiteX157" fmla="*/ 5311 w 10000"/>
              <a:gd name="connsiteY157" fmla="*/ 7120 h 9914"/>
              <a:gd name="connsiteX158" fmla="*/ 5071 w 10000"/>
              <a:gd name="connsiteY158" fmla="*/ 7008 h 9914"/>
              <a:gd name="connsiteX159" fmla="*/ 4912 w 10000"/>
              <a:gd name="connsiteY159" fmla="*/ 7102 h 9914"/>
              <a:gd name="connsiteX160" fmla="*/ 4416 w 10000"/>
              <a:gd name="connsiteY160" fmla="*/ 6931 h 9914"/>
              <a:gd name="connsiteX161" fmla="*/ 3584 w 10000"/>
              <a:gd name="connsiteY161" fmla="*/ 6631 h 9914"/>
              <a:gd name="connsiteX162" fmla="*/ 3104 w 10000"/>
              <a:gd name="connsiteY162" fmla="*/ 6574 h 9914"/>
              <a:gd name="connsiteX163" fmla="*/ 3200 w 10000"/>
              <a:gd name="connsiteY163" fmla="*/ 6367 h 9914"/>
              <a:gd name="connsiteX164" fmla="*/ 3344 w 10000"/>
              <a:gd name="connsiteY164" fmla="*/ 6311 h 9914"/>
              <a:gd name="connsiteX165" fmla="*/ 3728 w 10000"/>
              <a:gd name="connsiteY165" fmla="*/ 6009 h 9914"/>
              <a:gd name="connsiteX166" fmla="*/ 3968 w 10000"/>
              <a:gd name="connsiteY166" fmla="*/ 5727 h 9914"/>
              <a:gd name="connsiteX167" fmla="*/ 4224 w 10000"/>
              <a:gd name="connsiteY167" fmla="*/ 5426 h 9914"/>
              <a:gd name="connsiteX168" fmla="*/ 4368 w 10000"/>
              <a:gd name="connsiteY168" fmla="*/ 5146 h 9914"/>
              <a:gd name="connsiteX169" fmla="*/ 4352 w 10000"/>
              <a:gd name="connsiteY169" fmla="*/ 4824 h 9914"/>
              <a:gd name="connsiteX170" fmla="*/ 4336 w 10000"/>
              <a:gd name="connsiteY170" fmla="*/ 4542 h 9914"/>
              <a:gd name="connsiteX171" fmla="*/ 4176 w 10000"/>
              <a:gd name="connsiteY171" fmla="*/ 4372 h 9914"/>
              <a:gd name="connsiteX172" fmla="*/ 4016 w 10000"/>
              <a:gd name="connsiteY172" fmla="*/ 4392 h 9914"/>
              <a:gd name="connsiteX173" fmla="*/ 3856 w 10000"/>
              <a:gd name="connsiteY173" fmla="*/ 4693 h 9914"/>
              <a:gd name="connsiteX174" fmla="*/ 3808 w 10000"/>
              <a:gd name="connsiteY174" fmla="*/ 5237 h 9914"/>
              <a:gd name="connsiteX175" fmla="*/ 3536 w 10000"/>
              <a:gd name="connsiteY175" fmla="*/ 5597 h 9914"/>
              <a:gd name="connsiteX176" fmla="*/ 2992 w 10000"/>
              <a:gd name="connsiteY176" fmla="*/ 5916 h 9914"/>
              <a:gd name="connsiteX177" fmla="*/ 2415 w 10000"/>
              <a:gd name="connsiteY177" fmla="*/ 6160 h 9914"/>
              <a:gd name="connsiteX178" fmla="*/ 1951 w 10000"/>
              <a:gd name="connsiteY178" fmla="*/ 6497 h 9914"/>
              <a:gd name="connsiteX179" fmla="*/ 0 w 10000"/>
              <a:gd name="connsiteY179" fmla="*/ 6423 h 9914"/>
              <a:gd name="connsiteX180" fmla="*/ 3 w 10000"/>
              <a:gd name="connsiteY180" fmla="*/ 6184 h 9914"/>
              <a:gd name="connsiteX181" fmla="*/ 159 w 10000"/>
              <a:gd name="connsiteY181" fmla="*/ 6273 h 9914"/>
              <a:gd name="connsiteX182" fmla="*/ 368 w 10000"/>
              <a:gd name="connsiteY182" fmla="*/ 6184 h 9914"/>
              <a:gd name="connsiteX183" fmla="*/ 1462 w 10000"/>
              <a:gd name="connsiteY183" fmla="*/ 6184 h 9914"/>
              <a:gd name="connsiteX184" fmla="*/ 1617 w 10000"/>
              <a:gd name="connsiteY184" fmla="*/ 6141 h 9914"/>
              <a:gd name="connsiteX185" fmla="*/ 1669 w 10000"/>
              <a:gd name="connsiteY185" fmla="*/ 6141 h 9914"/>
              <a:gd name="connsiteX186" fmla="*/ 2189 w 10000"/>
              <a:gd name="connsiteY186" fmla="*/ 5572 h 9914"/>
              <a:gd name="connsiteX187" fmla="*/ 2294 w 10000"/>
              <a:gd name="connsiteY187" fmla="*/ 5482 h 9914"/>
              <a:gd name="connsiteX188" fmla="*/ 2762 w 10000"/>
              <a:gd name="connsiteY188" fmla="*/ 5044 h 9914"/>
              <a:gd name="connsiteX189" fmla="*/ 3023 w 10000"/>
              <a:gd name="connsiteY189" fmla="*/ 4781 h 9914"/>
              <a:gd name="connsiteX190" fmla="*/ 3179 w 10000"/>
              <a:gd name="connsiteY190" fmla="*/ 4649 h 9914"/>
              <a:gd name="connsiteX191" fmla="*/ 3596 w 10000"/>
              <a:gd name="connsiteY191" fmla="*/ 3992 h 9914"/>
              <a:gd name="connsiteX192" fmla="*/ 4116 w 10000"/>
              <a:gd name="connsiteY192" fmla="*/ 3727 h 9914"/>
              <a:gd name="connsiteX193" fmla="*/ 5001 w 10000"/>
              <a:gd name="connsiteY193" fmla="*/ 2983 h 9914"/>
              <a:gd name="connsiteX194" fmla="*/ 4845 w 10000"/>
              <a:gd name="connsiteY194" fmla="*/ 2719 h 9914"/>
              <a:gd name="connsiteX195" fmla="*/ 4794 w 10000"/>
              <a:gd name="connsiteY195" fmla="*/ 2544 h 9914"/>
              <a:gd name="connsiteX196" fmla="*/ 4794 w 10000"/>
              <a:gd name="connsiteY196" fmla="*/ 1315 h 9914"/>
              <a:gd name="connsiteX197" fmla="*/ 4116 w 10000"/>
              <a:gd name="connsiteY197" fmla="*/ 787 h 9914"/>
              <a:gd name="connsiteX198" fmla="*/ 4950 w 10000"/>
              <a:gd name="connsiteY198" fmla="*/ 787 h 9914"/>
              <a:gd name="connsiteX199" fmla="*/ 5782 w 10000"/>
              <a:gd name="connsiteY199" fmla="*/ 787 h 9914"/>
              <a:gd name="connsiteX200" fmla="*/ 5782 w 10000"/>
              <a:gd name="connsiteY200" fmla="*/ 745 h 9914"/>
              <a:gd name="connsiteX201" fmla="*/ 5782 w 10000"/>
              <a:gd name="connsiteY201" fmla="*/ 703 h 9914"/>
              <a:gd name="connsiteX202" fmla="*/ 5782 w 10000"/>
              <a:gd name="connsiteY202" fmla="*/ 662 h 9914"/>
              <a:gd name="connsiteX203" fmla="*/ 5782 w 10000"/>
              <a:gd name="connsiteY203" fmla="*/ 614 h 9914"/>
              <a:gd name="connsiteX204" fmla="*/ 5834 w 10000"/>
              <a:gd name="connsiteY204" fmla="*/ 566 h 9914"/>
              <a:gd name="connsiteX205" fmla="*/ 5834 w 10000"/>
              <a:gd name="connsiteY205" fmla="*/ 525 h 9914"/>
              <a:gd name="connsiteX206" fmla="*/ 5834 w 10000"/>
              <a:gd name="connsiteY206" fmla="*/ 483 h 9914"/>
              <a:gd name="connsiteX207" fmla="*/ 5834 w 10000"/>
              <a:gd name="connsiteY207" fmla="*/ 441 h 9914"/>
              <a:gd name="connsiteX208" fmla="*/ 5834 w 10000"/>
              <a:gd name="connsiteY208" fmla="*/ 399 h 9914"/>
              <a:gd name="connsiteX209" fmla="*/ 5834 w 10000"/>
              <a:gd name="connsiteY209" fmla="*/ 347 h 9914"/>
              <a:gd name="connsiteX210" fmla="*/ 5782 w 10000"/>
              <a:gd name="connsiteY210" fmla="*/ 347 h 9914"/>
              <a:gd name="connsiteX211" fmla="*/ 5782 w 10000"/>
              <a:gd name="connsiteY211" fmla="*/ 304 h 9914"/>
              <a:gd name="connsiteX212" fmla="*/ 5782 w 10000"/>
              <a:gd name="connsiteY212" fmla="*/ 262 h 9914"/>
              <a:gd name="connsiteX213" fmla="*/ 5782 w 10000"/>
              <a:gd name="connsiteY213" fmla="*/ 221 h 9914"/>
              <a:gd name="connsiteX214" fmla="*/ 5782 w 10000"/>
              <a:gd name="connsiteY214" fmla="*/ 178 h 9914"/>
              <a:gd name="connsiteX215" fmla="*/ 5782 w 10000"/>
              <a:gd name="connsiteY215" fmla="*/ 137 h 9914"/>
              <a:gd name="connsiteX216" fmla="*/ 5782 w 10000"/>
              <a:gd name="connsiteY216" fmla="*/ 84 h 9914"/>
              <a:gd name="connsiteX217" fmla="*/ 5782 w 10000"/>
              <a:gd name="connsiteY217" fmla="*/ 42 h 9914"/>
              <a:gd name="connsiteX218" fmla="*/ 5782 w 10000"/>
              <a:gd name="connsiteY218" fmla="*/ 0 h 9914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0 h 10000"/>
              <a:gd name="connsiteX4" fmla="*/ 7293 w 10000"/>
              <a:gd name="connsiteY4" fmla="*/ 571 h 10000"/>
              <a:gd name="connsiteX5" fmla="*/ 7188 w 10000"/>
              <a:gd name="connsiteY5" fmla="*/ 1196 h 10000"/>
              <a:gd name="connsiteX6" fmla="*/ 7136 w 10000"/>
              <a:gd name="connsiteY6" fmla="*/ 1239 h 10000"/>
              <a:gd name="connsiteX7" fmla="*/ 6980 w 10000"/>
              <a:gd name="connsiteY7" fmla="*/ 1592 h 10000"/>
              <a:gd name="connsiteX8" fmla="*/ 7396 w 10000"/>
              <a:gd name="connsiteY8" fmla="*/ 3230 h 10000"/>
              <a:gd name="connsiteX9" fmla="*/ 7501 w 10000"/>
              <a:gd name="connsiteY9" fmla="*/ 3539 h 10000"/>
              <a:gd name="connsiteX10" fmla="*/ 7345 w 10000"/>
              <a:gd name="connsiteY10" fmla="*/ 3807 h 10000"/>
              <a:gd name="connsiteX11" fmla="*/ 8022 w 10000"/>
              <a:gd name="connsiteY11" fmla="*/ 3981 h 10000"/>
              <a:gd name="connsiteX12" fmla="*/ 8489 w 10000"/>
              <a:gd name="connsiteY12" fmla="*/ 4468 h 10000"/>
              <a:gd name="connsiteX13" fmla="*/ 8594 w 10000"/>
              <a:gd name="connsiteY13" fmla="*/ 4557 h 10000"/>
              <a:gd name="connsiteX14" fmla="*/ 8906 w 10000"/>
              <a:gd name="connsiteY14" fmla="*/ 4778 h 10000"/>
              <a:gd name="connsiteX15" fmla="*/ 9114 w 10000"/>
              <a:gd name="connsiteY15" fmla="*/ 5044 h 10000"/>
              <a:gd name="connsiteX16" fmla="*/ 9219 w 10000"/>
              <a:gd name="connsiteY16" fmla="*/ 5178 h 10000"/>
              <a:gd name="connsiteX17" fmla="*/ 9427 w 10000"/>
              <a:gd name="connsiteY17" fmla="*/ 5178 h 10000"/>
              <a:gd name="connsiteX18" fmla="*/ 9427 w 10000"/>
              <a:gd name="connsiteY18" fmla="*/ 5221 h 10000"/>
              <a:gd name="connsiteX19" fmla="*/ 9479 w 10000"/>
              <a:gd name="connsiteY19" fmla="*/ 5309 h 10000"/>
              <a:gd name="connsiteX20" fmla="*/ 9479 w 10000"/>
              <a:gd name="connsiteY20" fmla="*/ 5354 h 10000"/>
              <a:gd name="connsiteX21" fmla="*/ 9532 w 10000"/>
              <a:gd name="connsiteY21" fmla="*/ 5530 h 10000"/>
              <a:gd name="connsiteX22" fmla="*/ 9532 w 10000"/>
              <a:gd name="connsiteY22" fmla="*/ 5575 h 10000"/>
              <a:gd name="connsiteX23" fmla="*/ 9532 w 10000"/>
              <a:gd name="connsiteY23" fmla="*/ 5708 h 10000"/>
              <a:gd name="connsiteX24" fmla="*/ 9532 w 10000"/>
              <a:gd name="connsiteY24" fmla="*/ 5794 h 10000"/>
              <a:gd name="connsiteX25" fmla="*/ 9479 w 10000"/>
              <a:gd name="connsiteY25" fmla="*/ 5886 h 10000"/>
              <a:gd name="connsiteX26" fmla="*/ 9427 w 10000"/>
              <a:gd name="connsiteY26" fmla="*/ 6152 h 10000"/>
              <a:gd name="connsiteX27" fmla="*/ 9375 w 10000"/>
              <a:gd name="connsiteY27" fmla="*/ 6194 h 10000"/>
              <a:gd name="connsiteX28" fmla="*/ 9322 w 10000"/>
              <a:gd name="connsiteY28" fmla="*/ 6238 h 10000"/>
              <a:gd name="connsiteX29" fmla="*/ 9271 w 10000"/>
              <a:gd name="connsiteY29" fmla="*/ 6416 h 10000"/>
              <a:gd name="connsiteX30" fmla="*/ 9219 w 10000"/>
              <a:gd name="connsiteY30" fmla="*/ 6502 h 10000"/>
              <a:gd name="connsiteX31" fmla="*/ 9219 w 10000"/>
              <a:gd name="connsiteY31" fmla="*/ 6594 h 10000"/>
              <a:gd name="connsiteX32" fmla="*/ 9219 w 10000"/>
              <a:gd name="connsiteY32" fmla="*/ 6637 h 10000"/>
              <a:gd name="connsiteX33" fmla="*/ 9219 w 10000"/>
              <a:gd name="connsiteY33" fmla="*/ 6769 h 10000"/>
              <a:gd name="connsiteX34" fmla="*/ 9271 w 10000"/>
              <a:gd name="connsiteY34" fmla="*/ 6903 h 10000"/>
              <a:gd name="connsiteX35" fmla="*/ 9895 w 10000"/>
              <a:gd name="connsiteY35" fmla="*/ 6903 h 10000"/>
              <a:gd name="connsiteX36" fmla="*/ 9895 w 10000"/>
              <a:gd name="connsiteY36" fmla="*/ 6990 h 10000"/>
              <a:gd name="connsiteX37" fmla="*/ 9948 w 10000"/>
              <a:gd name="connsiteY37" fmla="*/ 7300 h 10000"/>
              <a:gd name="connsiteX38" fmla="*/ 9948 w 10000"/>
              <a:gd name="connsiteY38" fmla="*/ 7345 h 10000"/>
              <a:gd name="connsiteX39" fmla="*/ 9948 w 10000"/>
              <a:gd name="connsiteY39" fmla="*/ 7477 h 10000"/>
              <a:gd name="connsiteX40" fmla="*/ 9948 w 10000"/>
              <a:gd name="connsiteY40" fmla="*/ 7523 h 10000"/>
              <a:gd name="connsiteX41" fmla="*/ 9948 w 10000"/>
              <a:gd name="connsiteY41" fmla="*/ 7610 h 10000"/>
              <a:gd name="connsiteX42" fmla="*/ 9948 w 10000"/>
              <a:gd name="connsiteY42" fmla="*/ 7654 h 10000"/>
              <a:gd name="connsiteX43" fmla="*/ 9948 w 10000"/>
              <a:gd name="connsiteY43" fmla="*/ 7699 h 10000"/>
              <a:gd name="connsiteX44" fmla="*/ 9948 w 10000"/>
              <a:gd name="connsiteY44" fmla="*/ 7743 h 10000"/>
              <a:gd name="connsiteX45" fmla="*/ 10000 w 10000"/>
              <a:gd name="connsiteY45" fmla="*/ 7830 h 10000"/>
              <a:gd name="connsiteX46" fmla="*/ 10000 w 10000"/>
              <a:gd name="connsiteY46" fmla="*/ 7964 h 10000"/>
              <a:gd name="connsiteX47" fmla="*/ 10000 w 10000"/>
              <a:gd name="connsiteY47" fmla="*/ 8009 h 10000"/>
              <a:gd name="connsiteX48" fmla="*/ 10000 w 10000"/>
              <a:gd name="connsiteY48" fmla="*/ 8052 h 10000"/>
              <a:gd name="connsiteX49" fmla="*/ 10000 w 10000"/>
              <a:gd name="connsiteY49" fmla="*/ 8097 h 10000"/>
              <a:gd name="connsiteX50" fmla="*/ 10000 w 10000"/>
              <a:gd name="connsiteY50" fmla="*/ 8185 h 10000"/>
              <a:gd name="connsiteX51" fmla="*/ 10000 w 10000"/>
              <a:gd name="connsiteY51" fmla="*/ 8231 h 10000"/>
              <a:gd name="connsiteX52" fmla="*/ 10000 w 10000"/>
              <a:gd name="connsiteY52" fmla="*/ 8273 h 10000"/>
              <a:gd name="connsiteX53" fmla="*/ 10000 w 10000"/>
              <a:gd name="connsiteY53" fmla="*/ 8361 h 10000"/>
              <a:gd name="connsiteX54" fmla="*/ 10000 w 10000"/>
              <a:gd name="connsiteY54" fmla="*/ 8584 h 10000"/>
              <a:gd name="connsiteX55" fmla="*/ 10000 w 10000"/>
              <a:gd name="connsiteY55" fmla="*/ 8627 h 10000"/>
              <a:gd name="connsiteX56" fmla="*/ 10000 w 10000"/>
              <a:gd name="connsiteY56" fmla="*/ 8717 h 10000"/>
              <a:gd name="connsiteX57" fmla="*/ 10000 w 10000"/>
              <a:gd name="connsiteY57" fmla="*/ 8760 h 10000"/>
              <a:gd name="connsiteX58" fmla="*/ 10000 w 10000"/>
              <a:gd name="connsiteY58" fmla="*/ 8805 h 10000"/>
              <a:gd name="connsiteX59" fmla="*/ 10000 w 10000"/>
              <a:gd name="connsiteY59" fmla="*/ 8849 h 10000"/>
              <a:gd name="connsiteX60" fmla="*/ 10000 w 10000"/>
              <a:gd name="connsiteY60" fmla="*/ 8891 h 10000"/>
              <a:gd name="connsiteX61" fmla="*/ 10000 w 10000"/>
              <a:gd name="connsiteY61" fmla="*/ 8982 h 10000"/>
              <a:gd name="connsiteX62" fmla="*/ 10000 w 10000"/>
              <a:gd name="connsiteY62" fmla="*/ 9070 h 10000"/>
              <a:gd name="connsiteX63" fmla="*/ 10000 w 10000"/>
              <a:gd name="connsiteY63" fmla="*/ 9113 h 10000"/>
              <a:gd name="connsiteX64" fmla="*/ 10000 w 10000"/>
              <a:gd name="connsiteY64" fmla="*/ 9160 h 10000"/>
              <a:gd name="connsiteX65" fmla="*/ 9948 w 10000"/>
              <a:gd name="connsiteY65" fmla="*/ 9160 h 10000"/>
              <a:gd name="connsiteX66" fmla="*/ 9948 w 10000"/>
              <a:gd name="connsiteY66" fmla="*/ 9202 h 10000"/>
              <a:gd name="connsiteX67" fmla="*/ 9895 w 10000"/>
              <a:gd name="connsiteY67" fmla="*/ 9248 h 10000"/>
              <a:gd name="connsiteX68" fmla="*/ 9844 w 10000"/>
              <a:gd name="connsiteY68" fmla="*/ 9248 h 10000"/>
              <a:gd name="connsiteX69" fmla="*/ 9844 w 10000"/>
              <a:gd name="connsiteY69" fmla="*/ 9293 h 10000"/>
              <a:gd name="connsiteX70" fmla="*/ 9792 w 10000"/>
              <a:gd name="connsiteY70" fmla="*/ 9293 h 10000"/>
              <a:gd name="connsiteX71" fmla="*/ 9740 w 10000"/>
              <a:gd name="connsiteY71" fmla="*/ 9336 h 10000"/>
              <a:gd name="connsiteX72" fmla="*/ 9687 w 10000"/>
              <a:gd name="connsiteY72" fmla="*/ 9378 h 10000"/>
              <a:gd name="connsiteX73" fmla="*/ 9635 w 10000"/>
              <a:gd name="connsiteY73" fmla="*/ 9378 h 10000"/>
              <a:gd name="connsiteX74" fmla="*/ 9635 w 10000"/>
              <a:gd name="connsiteY74" fmla="*/ 9424 h 10000"/>
              <a:gd name="connsiteX75" fmla="*/ 9583 w 10000"/>
              <a:gd name="connsiteY75" fmla="*/ 9424 h 10000"/>
              <a:gd name="connsiteX76" fmla="*/ 9532 w 10000"/>
              <a:gd name="connsiteY76" fmla="*/ 9424 h 10000"/>
              <a:gd name="connsiteX77" fmla="*/ 9479 w 10000"/>
              <a:gd name="connsiteY77" fmla="*/ 9424 h 10000"/>
              <a:gd name="connsiteX78" fmla="*/ 9427 w 10000"/>
              <a:gd name="connsiteY78" fmla="*/ 9424 h 10000"/>
              <a:gd name="connsiteX79" fmla="*/ 9375 w 10000"/>
              <a:gd name="connsiteY79" fmla="*/ 9424 h 10000"/>
              <a:gd name="connsiteX80" fmla="*/ 9322 w 10000"/>
              <a:gd name="connsiteY80" fmla="*/ 9424 h 10000"/>
              <a:gd name="connsiteX81" fmla="*/ 9271 w 10000"/>
              <a:gd name="connsiteY81" fmla="*/ 9424 h 10000"/>
              <a:gd name="connsiteX82" fmla="*/ 9271 w 10000"/>
              <a:gd name="connsiteY82" fmla="*/ 9467 h 10000"/>
              <a:gd name="connsiteX83" fmla="*/ 9219 w 10000"/>
              <a:gd name="connsiteY83" fmla="*/ 9513 h 10000"/>
              <a:gd name="connsiteX84" fmla="*/ 9167 w 10000"/>
              <a:gd name="connsiteY84" fmla="*/ 9558 h 10000"/>
              <a:gd name="connsiteX85" fmla="*/ 9219 w 10000"/>
              <a:gd name="connsiteY85" fmla="*/ 9558 h 10000"/>
              <a:gd name="connsiteX86" fmla="*/ 9167 w 10000"/>
              <a:gd name="connsiteY86" fmla="*/ 9558 h 10000"/>
              <a:gd name="connsiteX87" fmla="*/ 9114 w 10000"/>
              <a:gd name="connsiteY87" fmla="*/ 9558 h 10000"/>
              <a:gd name="connsiteX88" fmla="*/ 9062 w 10000"/>
              <a:gd name="connsiteY88" fmla="*/ 9601 h 10000"/>
              <a:gd name="connsiteX89" fmla="*/ 9011 w 10000"/>
              <a:gd name="connsiteY89" fmla="*/ 9644 h 10000"/>
              <a:gd name="connsiteX90" fmla="*/ 8959 w 10000"/>
              <a:gd name="connsiteY90" fmla="*/ 9644 h 10000"/>
              <a:gd name="connsiteX91" fmla="*/ 8959 w 10000"/>
              <a:gd name="connsiteY91" fmla="*/ 9689 h 10000"/>
              <a:gd name="connsiteX92" fmla="*/ 8906 w 10000"/>
              <a:gd name="connsiteY92" fmla="*/ 9689 h 10000"/>
              <a:gd name="connsiteX93" fmla="*/ 8906 w 10000"/>
              <a:gd name="connsiteY93" fmla="*/ 9733 h 10000"/>
              <a:gd name="connsiteX94" fmla="*/ 8854 w 10000"/>
              <a:gd name="connsiteY94" fmla="*/ 9733 h 10000"/>
              <a:gd name="connsiteX95" fmla="*/ 8802 w 10000"/>
              <a:gd name="connsiteY95" fmla="*/ 9733 h 10000"/>
              <a:gd name="connsiteX96" fmla="*/ 8749 w 10000"/>
              <a:gd name="connsiteY96" fmla="*/ 9733 h 10000"/>
              <a:gd name="connsiteX97" fmla="*/ 8698 w 10000"/>
              <a:gd name="connsiteY97" fmla="*/ 9733 h 10000"/>
              <a:gd name="connsiteX98" fmla="*/ 8646 w 10000"/>
              <a:gd name="connsiteY98" fmla="*/ 9733 h 10000"/>
              <a:gd name="connsiteX99" fmla="*/ 8646 w 10000"/>
              <a:gd name="connsiteY99" fmla="*/ 9689 h 10000"/>
              <a:gd name="connsiteX100" fmla="*/ 8646 w 10000"/>
              <a:gd name="connsiteY100" fmla="*/ 9644 h 10000"/>
              <a:gd name="connsiteX101" fmla="*/ 8594 w 10000"/>
              <a:gd name="connsiteY101" fmla="*/ 9601 h 10000"/>
              <a:gd name="connsiteX102" fmla="*/ 8594 w 10000"/>
              <a:gd name="connsiteY102" fmla="*/ 9558 h 10000"/>
              <a:gd name="connsiteX103" fmla="*/ 8594 w 10000"/>
              <a:gd name="connsiteY103" fmla="*/ 9513 h 10000"/>
              <a:gd name="connsiteX104" fmla="*/ 8541 w 10000"/>
              <a:gd name="connsiteY104" fmla="*/ 9513 h 10000"/>
              <a:gd name="connsiteX105" fmla="*/ 8489 w 10000"/>
              <a:gd name="connsiteY105" fmla="*/ 9513 h 10000"/>
              <a:gd name="connsiteX106" fmla="*/ 8489 w 10000"/>
              <a:gd name="connsiteY106" fmla="*/ 9467 h 10000"/>
              <a:gd name="connsiteX107" fmla="*/ 8438 w 10000"/>
              <a:gd name="connsiteY107" fmla="*/ 9467 h 10000"/>
              <a:gd name="connsiteX108" fmla="*/ 8386 w 10000"/>
              <a:gd name="connsiteY108" fmla="*/ 9513 h 10000"/>
              <a:gd name="connsiteX109" fmla="*/ 8386 w 10000"/>
              <a:gd name="connsiteY109" fmla="*/ 9558 h 10000"/>
              <a:gd name="connsiteX110" fmla="*/ 8282 w 10000"/>
              <a:gd name="connsiteY110" fmla="*/ 9513 h 10000"/>
              <a:gd name="connsiteX111" fmla="*/ 8282 w 10000"/>
              <a:gd name="connsiteY111" fmla="*/ 9467 h 10000"/>
              <a:gd name="connsiteX112" fmla="*/ 8230 w 10000"/>
              <a:gd name="connsiteY112" fmla="*/ 9467 h 10000"/>
              <a:gd name="connsiteX113" fmla="*/ 8179 w 10000"/>
              <a:gd name="connsiteY113" fmla="*/ 9467 h 10000"/>
              <a:gd name="connsiteX114" fmla="*/ 8126 w 10000"/>
              <a:gd name="connsiteY114" fmla="*/ 9467 h 10000"/>
              <a:gd name="connsiteX115" fmla="*/ 8074 w 10000"/>
              <a:gd name="connsiteY115" fmla="*/ 9467 h 10000"/>
              <a:gd name="connsiteX116" fmla="*/ 8022 w 10000"/>
              <a:gd name="connsiteY116" fmla="*/ 9467 h 10000"/>
              <a:gd name="connsiteX117" fmla="*/ 8022 w 10000"/>
              <a:gd name="connsiteY117" fmla="*/ 9513 h 10000"/>
              <a:gd name="connsiteX118" fmla="*/ 7969 w 10000"/>
              <a:gd name="connsiteY118" fmla="*/ 9513 h 10000"/>
              <a:gd name="connsiteX119" fmla="*/ 7917 w 10000"/>
              <a:gd name="connsiteY119" fmla="*/ 9558 h 10000"/>
              <a:gd name="connsiteX120" fmla="*/ 7866 w 10000"/>
              <a:gd name="connsiteY120" fmla="*/ 9558 h 10000"/>
              <a:gd name="connsiteX121" fmla="*/ 7866 w 10000"/>
              <a:gd name="connsiteY121" fmla="*/ 9513 h 10000"/>
              <a:gd name="connsiteX122" fmla="*/ 7866 w 10000"/>
              <a:gd name="connsiteY122" fmla="*/ 9558 h 10000"/>
              <a:gd name="connsiteX123" fmla="*/ 7814 w 10000"/>
              <a:gd name="connsiteY123" fmla="*/ 9558 h 10000"/>
              <a:gd name="connsiteX124" fmla="*/ 7761 w 10000"/>
              <a:gd name="connsiteY124" fmla="*/ 9601 h 10000"/>
              <a:gd name="connsiteX125" fmla="*/ 7709 w 10000"/>
              <a:gd name="connsiteY125" fmla="*/ 9558 h 10000"/>
              <a:gd name="connsiteX126" fmla="*/ 7657 w 10000"/>
              <a:gd name="connsiteY126" fmla="*/ 9558 h 10000"/>
              <a:gd name="connsiteX127" fmla="*/ 7606 w 10000"/>
              <a:gd name="connsiteY127" fmla="*/ 9558 h 10000"/>
              <a:gd name="connsiteX128" fmla="*/ 7553 w 10000"/>
              <a:gd name="connsiteY128" fmla="*/ 9513 h 10000"/>
              <a:gd name="connsiteX129" fmla="*/ 7501 w 10000"/>
              <a:gd name="connsiteY129" fmla="*/ 9513 h 10000"/>
              <a:gd name="connsiteX130" fmla="*/ 7501 w 10000"/>
              <a:gd name="connsiteY130" fmla="*/ 9558 h 10000"/>
              <a:gd name="connsiteX131" fmla="*/ 7449 w 10000"/>
              <a:gd name="connsiteY131" fmla="*/ 9558 h 10000"/>
              <a:gd name="connsiteX132" fmla="*/ 7396 w 10000"/>
              <a:gd name="connsiteY132" fmla="*/ 9513 h 10000"/>
              <a:gd name="connsiteX133" fmla="*/ 7345 w 10000"/>
              <a:gd name="connsiteY133" fmla="*/ 9513 h 10000"/>
              <a:gd name="connsiteX134" fmla="*/ 7293 w 10000"/>
              <a:gd name="connsiteY134" fmla="*/ 9601 h 10000"/>
              <a:gd name="connsiteX135" fmla="*/ 7241 w 10000"/>
              <a:gd name="connsiteY135" fmla="*/ 9601 h 10000"/>
              <a:gd name="connsiteX136" fmla="*/ 7241 w 10000"/>
              <a:gd name="connsiteY136" fmla="*/ 9558 h 10000"/>
              <a:gd name="connsiteX137" fmla="*/ 7241 w 10000"/>
              <a:gd name="connsiteY137" fmla="*/ 9601 h 10000"/>
              <a:gd name="connsiteX138" fmla="*/ 7241 w 10000"/>
              <a:gd name="connsiteY138" fmla="*/ 9644 h 10000"/>
              <a:gd name="connsiteX139" fmla="*/ 7188 w 10000"/>
              <a:gd name="connsiteY139" fmla="*/ 9644 h 10000"/>
              <a:gd name="connsiteX140" fmla="*/ 7136 w 10000"/>
              <a:gd name="connsiteY140" fmla="*/ 9644 h 10000"/>
              <a:gd name="connsiteX141" fmla="*/ 7188 w 10000"/>
              <a:gd name="connsiteY141" fmla="*/ 9689 h 10000"/>
              <a:gd name="connsiteX142" fmla="*/ 7136 w 10000"/>
              <a:gd name="connsiteY142" fmla="*/ 9733 h 10000"/>
              <a:gd name="connsiteX143" fmla="*/ 7188 w 10000"/>
              <a:gd name="connsiteY143" fmla="*/ 9778 h 10000"/>
              <a:gd name="connsiteX144" fmla="*/ 7241 w 10000"/>
              <a:gd name="connsiteY144" fmla="*/ 9778 h 10000"/>
              <a:gd name="connsiteX145" fmla="*/ 7241 w 10000"/>
              <a:gd name="connsiteY145" fmla="*/ 9823 h 10000"/>
              <a:gd name="connsiteX146" fmla="*/ 7188 w 10000"/>
              <a:gd name="connsiteY146" fmla="*/ 9823 h 10000"/>
              <a:gd name="connsiteX147" fmla="*/ 7136 w 10000"/>
              <a:gd name="connsiteY147" fmla="*/ 9823 h 10000"/>
              <a:gd name="connsiteX148" fmla="*/ 7188 w 10000"/>
              <a:gd name="connsiteY148" fmla="*/ 9866 h 10000"/>
              <a:gd name="connsiteX149" fmla="*/ 7188 w 10000"/>
              <a:gd name="connsiteY149" fmla="*/ 9910 h 10000"/>
              <a:gd name="connsiteX150" fmla="*/ 7136 w 10000"/>
              <a:gd name="connsiteY150" fmla="*/ 9956 h 10000"/>
              <a:gd name="connsiteX151" fmla="*/ 7084 w 10000"/>
              <a:gd name="connsiteY151" fmla="*/ 10000 h 10000"/>
              <a:gd name="connsiteX152" fmla="*/ 7344 w 10000"/>
              <a:gd name="connsiteY152" fmla="*/ 7808 h 10000"/>
              <a:gd name="connsiteX153" fmla="*/ 7136 w 10000"/>
              <a:gd name="connsiteY153" fmla="*/ 7449 h 10000"/>
              <a:gd name="connsiteX154" fmla="*/ 6544 w 10000"/>
              <a:gd name="connsiteY154" fmla="*/ 7332 h 10000"/>
              <a:gd name="connsiteX155" fmla="*/ 5775 w 10000"/>
              <a:gd name="connsiteY155" fmla="*/ 7296 h 10000"/>
              <a:gd name="connsiteX156" fmla="*/ 5311 w 10000"/>
              <a:gd name="connsiteY156" fmla="*/ 7182 h 10000"/>
              <a:gd name="connsiteX157" fmla="*/ 5071 w 10000"/>
              <a:gd name="connsiteY157" fmla="*/ 7069 h 10000"/>
              <a:gd name="connsiteX158" fmla="*/ 4912 w 10000"/>
              <a:gd name="connsiteY158" fmla="*/ 7164 h 10000"/>
              <a:gd name="connsiteX159" fmla="*/ 4416 w 10000"/>
              <a:gd name="connsiteY159" fmla="*/ 6991 h 10000"/>
              <a:gd name="connsiteX160" fmla="*/ 3584 w 10000"/>
              <a:gd name="connsiteY160" fmla="*/ 6689 h 10000"/>
              <a:gd name="connsiteX161" fmla="*/ 3104 w 10000"/>
              <a:gd name="connsiteY161" fmla="*/ 6631 h 10000"/>
              <a:gd name="connsiteX162" fmla="*/ 3200 w 10000"/>
              <a:gd name="connsiteY162" fmla="*/ 6422 h 10000"/>
              <a:gd name="connsiteX163" fmla="*/ 3344 w 10000"/>
              <a:gd name="connsiteY163" fmla="*/ 6366 h 10000"/>
              <a:gd name="connsiteX164" fmla="*/ 3728 w 10000"/>
              <a:gd name="connsiteY164" fmla="*/ 6061 h 10000"/>
              <a:gd name="connsiteX165" fmla="*/ 3968 w 10000"/>
              <a:gd name="connsiteY165" fmla="*/ 5777 h 10000"/>
              <a:gd name="connsiteX166" fmla="*/ 4224 w 10000"/>
              <a:gd name="connsiteY166" fmla="*/ 5473 h 10000"/>
              <a:gd name="connsiteX167" fmla="*/ 4368 w 10000"/>
              <a:gd name="connsiteY167" fmla="*/ 5191 h 10000"/>
              <a:gd name="connsiteX168" fmla="*/ 4352 w 10000"/>
              <a:gd name="connsiteY168" fmla="*/ 4866 h 10000"/>
              <a:gd name="connsiteX169" fmla="*/ 4336 w 10000"/>
              <a:gd name="connsiteY169" fmla="*/ 4581 h 10000"/>
              <a:gd name="connsiteX170" fmla="*/ 4176 w 10000"/>
              <a:gd name="connsiteY170" fmla="*/ 4410 h 10000"/>
              <a:gd name="connsiteX171" fmla="*/ 4016 w 10000"/>
              <a:gd name="connsiteY171" fmla="*/ 4430 h 10000"/>
              <a:gd name="connsiteX172" fmla="*/ 3856 w 10000"/>
              <a:gd name="connsiteY172" fmla="*/ 4734 h 10000"/>
              <a:gd name="connsiteX173" fmla="*/ 3808 w 10000"/>
              <a:gd name="connsiteY173" fmla="*/ 5282 h 10000"/>
              <a:gd name="connsiteX174" fmla="*/ 3536 w 10000"/>
              <a:gd name="connsiteY174" fmla="*/ 5646 h 10000"/>
              <a:gd name="connsiteX175" fmla="*/ 2992 w 10000"/>
              <a:gd name="connsiteY175" fmla="*/ 5967 h 10000"/>
              <a:gd name="connsiteX176" fmla="*/ 2415 w 10000"/>
              <a:gd name="connsiteY176" fmla="*/ 6213 h 10000"/>
              <a:gd name="connsiteX177" fmla="*/ 1951 w 10000"/>
              <a:gd name="connsiteY177" fmla="*/ 6553 h 10000"/>
              <a:gd name="connsiteX178" fmla="*/ 0 w 10000"/>
              <a:gd name="connsiteY178" fmla="*/ 6479 h 10000"/>
              <a:gd name="connsiteX179" fmla="*/ 3 w 10000"/>
              <a:gd name="connsiteY179" fmla="*/ 6238 h 10000"/>
              <a:gd name="connsiteX180" fmla="*/ 159 w 10000"/>
              <a:gd name="connsiteY180" fmla="*/ 6327 h 10000"/>
              <a:gd name="connsiteX181" fmla="*/ 368 w 10000"/>
              <a:gd name="connsiteY181" fmla="*/ 6238 h 10000"/>
              <a:gd name="connsiteX182" fmla="*/ 1462 w 10000"/>
              <a:gd name="connsiteY182" fmla="*/ 6238 h 10000"/>
              <a:gd name="connsiteX183" fmla="*/ 1617 w 10000"/>
              <a:gd name="connsiteY183" fmla="*/ 6194 h 10000"/>
              <a:gd name="connsiteX184" fmla="*/ 1669 w 10000"/>
              <a:gd name="connsiteY184" fmla="*/ 6194 h 10000"/>
              <a:gd name="connsiteX185" fmla="*/ 2189 w 10000"/>
              <a:gd name="connsiteY185" fmla="*/ 5620 h 10000"/>
              <a:gd name="connsiteX186" fmla="*/ 2294 w 10000"/>
              <a:gd name="connsiteY186" fmla="*/ 5530 h 10000"/>
              <a:gd name="connsiteX187" fmla="*/ 2762 w 10000"/>
              <a:gd name="connsiteY187" fmla="*/ 5088 h 10000"/>
              <a:gd name="connsiteX188" fmla="*/ 3023 w 10000"/>
              <a:gd name="connsiteY188" fmla="*/ 4822 h 10000"/>
              <a:gd name="connsiteX189" fmla="*/ 3179 w 10000"/>
              <a:gd name="connsiteY189" fmla="*/ 4689 h 10000"/>
              <a:gd name="connsiteX190" fmla="*/ 3596 w 10000"/>
              <a:gd name="connsiteY190" fmla="*/ 4027 h 10000"/>
              <a:gd name="connsiteX191" fmla="*/ 4116 w 10000"/>
              <a:gd name="connsiteY191" fmla="*/ 3759 h 10000"/>
              <a:gd name="connsiteX192" fmla="*/ 5001 w 10000"/>
              <a:gd name="connsiteY192" fmla="*/ 3009 h 10000"/>
              <a:gd name="connsiteX193" fmla="*/ 4845 w 10000"/>
              <a:gd name="connsiteY193" fmla="*/ 2743 h 10000"/>
              <a:gd name="connsiteX194" fmla="*/ 4794 w 10000"/>
              <a:gd name="connsiteY194" fmla="*/ 2566 h 10000"/>
              <a:gd name="connsiteX195" fmla="*/ 4794 w 10000"/>
              <a:gd name="connsiteY195" fmla="*/ 1326 h 10000"/>
              <a:gd name="connsiteX196" fmla="*/ 4116 w 10000"/>
              <a:gd name="connsiteY196" fmla="*/ 794 h 10000"/>
              <a:gd name="connsiteX197" fmla="*/ 4950 w 10000"/>
              <a:gd name="connsiteY197" fmla="*/ 794 h 10000"/>
              <a:gd name="connsiteX198" fmla="*/ 5782 w 10000"/>
              <a:gd name="connsiteY198" fmla="*/ 794 h 10000"/>
              <a:gd name="connsiteX199" fmla="*/ 5782 w 10000"/>
              <a:gd name="connsiteY199" fmla="*/ 751 h 10000"/>
              <a:gd name="connsiteX200" fmla="*/ 5782 w 10000"/>
              <a:gd name="connsiteY200" fmla="*/ 709 h 10000"/>
              <a:gd name="connsiteX201" fmla="*/ 5782 w 10000"/>
              <a:gd name="connsiteY201" fmla="*/ 668 h 10000"/>
              <a:gd name="connsiteX202" fmla="*/ 5782 w 10000"/>
              <a:gd name="connsiteY202" fmla="*/ 619 h 10000"/>
              <a:gd name="connsiteX203" fmla="*/ 5834 w 10000"/>
              <a:gd name="connsiteY203" fmla="*/ 571 h 10000"/>
              <a:gd name="connsiteX204" fmla="*/ 5834 w 10000"/>
              <a:gd name="connsiteY204" fmla="*/ 530 h 10000"/>
              <a:gd name="connsiteX205" fmla="*/ 5834 w 10000"/>
              <a:gd name="connsiteY205" fmla="*/ 487 h 10000"/>
              <a:gd name="connsiteX206" fmla="*/ 5834 w 10000"/>
              <a:gd name="connsiteY206" fmla="*/ 445 h 10000"/>
              <a:gd name="connsiteX207" fmla="*/ 5834 w 10000"/>
              <a:gd name="connsiteY207" fmla="*/ 402 h 10000"/>
              <a:gd name="connsiteX208" fmla="*/ 5834 w 10000"/>
              <a:gd name="connsiteY208" fmla="*/ 350 h 10000"/>
              <a:gd name="connsiteX209" fmla="*/ 5782 w 10000"/>
              <a:gd name="connsiteY209" fmla="*/ 350 h 10000"/>
              <a:gd name="connsiteX210" fmla="*/ 5782 w 10000"/>
              <a:gd name="connsiteY210" fmla="*/ 307 h 10000"/>
              <a:gd name="connsiteX211" fmla="*/ 5782 w 10000"/>
              <a:gd name="connsiteY211" fmla="*/ 264 h 10000"/>
              <a:gd name="connsiteX212" fmla="*/ 5782 w 10000"/>
              <a:gd name="connsiteY212" fmla="*/ 223 h 10000"/>
              <a:gd name="connsiteX213" fmla="*/ 5782 w 10000"/>
              <a:gd name="connsiteY213" fmla="*/ 180 h 10000"/>
              <a:gd name="connsiteX214" fmla="*/ 5782 w 10000"/>
              <a:gd name="connsiteY214" fmla="*/ 138 h 10000"/>
              <a:gd name="connsiteX215" fmla="*/ 5782 w 10000"/>
              <a:gd name="connsiteY215" fmla="*/ 85 h 10000"/>
              <a:gd name="connsiteX216" fmla="*/ 5782 w 10000"/>
              <a:gd name="connsiteY216" fmla="*/ 42 h 10000"/>
              <a:gd name="connsiteX217" fmla="*/ 5782 w 10000"/>
              <a:gd name="connsiteY217" fmla="*/ 0 h 10000"/>
              <a:gd name="connsiteX0" fmla="*/ 5782 w 10000"/>
              <a:gd name="connsiteY0" fmla="*/ 0 h 9956"/>
              <a:gd name="connsiteX1" fmla="*/ 7345 w 10000"/>
              <a:gd name="connsiteY1" fmla="*/ 42 h 9956"/>
              <a:gd name="connsiteX2" fmla="*/ 7501 w 10000"/>
              <a:gd name="connsiteY2" fmla="*/ 42 h 9956"/>
              <a:gd name="connsiteX3" fmla="*/ 7345 w 10000"/>
              <a:gd name="connsiteY3" fmla="*/ 180 h 9956"/>
              <a:gd name="connsiteX4" fmla="*/ 7293 w 10000"/>
              <a:gd name="connsiteY4" fmla="*/ 571 h 9956"/>
              <a:gd name="connsiteX5" fmla="*/ 7188 w 10000"/>
              <a:gd name="connsiteY5" fmla="*/ 1196 h 9956"/>
              <a:gd name="connsiteX6" fmla="*/ 7136 w 10000"/>
              <a:gd name="connsiteY6" fmla="*/ 1239 h 9956"/>
              <a:gd name="connsiteX7" fmla="*/ 6980 w 10000"/>
              <a:gd name="connsiteY7" fmla="*/ 1592 h 9956"/>
              <a:gd name="connsiteX8" fmla="*/ 7396 w 10000"/>
              <a:gd name="connsiteY8" fmla="*/ 3230 h 9956"/>
              <a:gd name="connsiteX9" fmla="*/ 7501 w 10000"/>
              <a:gd name="connsiteY9" fmla="*/ 3539 h 9956"/>
              <a:gd name="connsiteX10" fmla="*/ 7345 w 10000"/>
              <a:gd name="connsiteY10" fmla="*/ 3807 h 9956"/>
              <a:gd name="connsiteX11" fmla="*/ 8022 w 10000"/>
              <a:gd name="connsiteY11" fmla="*/ 3981 h 9956"/>
              <a:gd name="connsiteX12" fmla="*/ 8489 w 10000"/>
              <a:gd name="connsiteY12" fmla="*/ 4468 h 9956"/>
              <a:gd name="connsiteX13" fmla="*/ 8594 w 10000"/>
              <a:gd name="connsiteY13" fmla="*/ 4557 h 9956"/>
              <a:gd name="connsiteX14" fmla="*/ 8906 w 10000"/>
              <a:gd name="connsiteY14" fmla="*/ 4778 h 9956"/>
              <a:gd name="connsiteX15" fmla="*/ 9114 w 10000"/>
              <a:gd name="connsiteY15" fmla="*/ 5044 h 9956"/>
              <a:gd name="connsiteX16" fmla="*/ 9219 w 10000"/>
              <a:gd name="connsiteY16" fmla="*/ 5178 h 9956"/>
              <a:gd name="connsiteX17" fmla="*/ 9427 w 10000"/>
              <a:gd name="connsiteY17" fmla="*/ 5178 h 9956"/>
              <a:gd name="connsiteX18" fmla="*/ 9427 w 10000"/>
              <a:gd name="connsiteY18" fmla="*/ 5221 h 9956"/>
              <a:gd name="connsiteX19" fmla="*/ 9479 w 10000"/>
              <a:gd name="connsiteY19" fmla="*/ 5309 h 9956"/>
              <a:gd name="connsiteX20" fmla="*/ 9479 w 10000"/>
              <a:gd name="connsiteY20" fmla="*/ 5354 h 9956"/>
              <a:gd name="connsiteX21" fmla="*/ 9532 w 10000"/>
              <a:gd name="connsiteY21" fmla="*/ 5530 h 9956"/>
              <a:gd name="connsiteX22" fmla="*/ 9532 w 10000"/>
              <a:gd name="connsiteY22" fmla="*/ 5575 h 9956"/>
              <a:gd name="connsiteX23" fmla="*/ 9532 w 10000"/>
              <a:gd name="connsiteY23" fmla="*/ 5708 h 9956"/>
              <a:gd name="connsiteX24" fmla="*/ 9532 w 10000"/>
              <a:gd name="connsiteY24" fmla="*/ 5794 h 9956"/>
              <a:gd name="connsiteX25" fmla="*/ 9479 w 10000"/>
              <a:gd name="connsiteY25" fmla="*/ 5886 h 9956"/>
              <a:gd name="connsiteX26" fmla="*/ 9427 w 10000"/>
              <a:gd name="connsiteY26" fmla="*/ 6152 h 9956"/>
              <a:gd name="connsiteX27" fmla="*/ 9375 w 10000"/>
              <a:gd name="connsiteY27" fmla="*/ 6194 h 9956"/>
              <a:gd name="connsiteX28" fmla="*/ 9322 w 10000"/>
              <a:gd name="connsiteY28" fmla="*/ 6238 h 9956"/>
              <a:gd name="connsiteX29" fmla="*/ 9271 w 10000"/>
              <a:gd name="connsiteY29" fmla="*/ 6416 h 9956"/>
              <a:gd name="connsiteX30" fmla="*/ 9219 w 10000"/>
              <a:gd name="connsiteY30" fmla="*/ 6502 h 9956"/>
              <a:gd name="connsiteX31" fmla="*/ 9219 w 10000"/>
              <a:gd name="connsiteY31" fmla="*/ 6594 h 9956"/>
              <a:gd name="connsiteX32" fmla="*/ 9219 w 10000"/>
              <a:gd name="connsiteY32" fmla="*/ 6637 h 9956"/>
              <a:gd name="connsiteX33" fmla="*/ 9219 w 10000"/>
              <a:gd name="connsiteY33" fmla="*/ 6769 h 9956"/>
              <a:gd name="connsiteX34" fmla="*/ 9271 w 10000"/>
              <a:gd name="connsiteY34" fmla="*/ 6903 h 9956"/>
              <a:gd name="connsiteX35" fmla="*/ 9895 w 10000"/>
              <a:gd name="connsiteY35" fmla="*/ 6903 h 9956"/>
              <a:gd name="connsiteX36" fmla="*/ 9895 w 10000"/>
              <a:gd name="connsiteY36" fmla="*/ 6990 h 9956"/>
              <a:gd name="connsiteX37" fmla="*/ 9948 w 10000"/>
              <a:gd name="connsiteY37" fmla="*/ 7300 h 9956"/>
              <a:gd name="connsiteX38" fmla="*/ 9948 w 10000"/>
              <a:gd name="connsiteY38" fmla="*/ 7345 h 9956"/>
              <a:gd name="connsiteX39" fmla="*/ 9948 w 10000"/>
              <a:gd name="connsiteY39" fmla="*/ 7477 h 9956"/>
              <a:gd name="connsiteX40" fmla="*/ 9948 w 10000"/>
              <a:gd name="connsiteY40" fmla="*/ 7523 h 9956"/>
              <a:gd name="connsiteX41" fmla="*/ 9948 w 10000"/>
              <a:gd name="connsiteY41" fmla="*/ 7610 h 9956"/>
              <a:gd name="connsiteX42" fmla="*/ 9948 w 10000"/>
              <a:gd name="connsiteY42" fmla="*/ 7654 h 9956"/>
              <a:gd name="connsiteX43" fmla="*/ 9948 w 10000"/>
              <a:gd name="connsiteY43" fmla="*/ 7699 h 9956"/>
              <a:gd name="connsiteX44" fmla="*/ 9948 w 10000"/>
              <a:gd name="connsiteY44" fmla="*/ 7743 h 9956"/>
              <a:gd name="connsiteX45" fmla="*/ 10000 w 10000"/>
              <a:gd name="connsiteY45" fmla="*/ 7830 h 9956"/>
              <a:gd name="connsiteX46" fmla="*/ 10000 w 10000"/>
              <a:gd name="connsiteY46" fmla="*/ 7964 h 9956"/>
              <a:gd name="connsiteX47" fmla="*/ 10000 w 10000"/>
              <a:gd name="connsiteY47" fmla="*/ 8009 h 9956"/>
              <a:gd name="connsiteX48" fmla="*/ 10000 w 10000"/>
              <a:gd name="connsiteY48" fmla="*/ 8052 h 9956"/>
              <a:gd name="connsiteX49" fmla="*/ 10000 w 10000"/>
              <a:gd name="connsiteY49" fmla="*/ 8097 h 9956"/>
              <a:gd name="connsiteX50" fmla="*/ 10000 w 10000"/>
              <a:gd name="connsiteY50" fmla="*/ 8185 h 9956"/>
              <a:gd name="connsiteX51" fmla="*/ 10000 w 10000"/>
              <a:gd name="connsiteY51" fmla="*/ 8231 h 9956"/>
              <a:gd name="connsiteX52" fmla="*/ 10000 w 10000"/>
              <a:gd name="connsiteY52" fmla="*/ 8273 h 9956"/>
              <a:gd name="connsiteX53" fmla="*/ 10000 w 10000"/>
              <a:gd name="connsiteY53" fmla="*/ 8361 h 9956"/>
              <a:gd name="connsiteX54" fmla="*/ 10000 w 10000"/>
              <a:gd name="connsiteY54" fmla="*/ 8584 h 9956"/>
              <a:gd name="connsiteX55" fmla="*/ 10000 w 10000"/>
              <a:gd name="connsiteY55" fmla="*/ 8627 h 9956"/>
              <a:gd name="connsiteX56" fmla="*/ 10000 w 10000"/>
              <a:gd name="connsiteY56" fmla="*/ 8717 h 9956"/>
              <a:gd name="connsiteX57" fmla="*/ 10000 w 10000"/>
              <a:gd name="connsiteY57" fmla="*/ 8760 h 9956"/>
              <a:gd name="connsiteX58" fmla="*/ 10000 w 10000"/>
              <a:gd name="connsiteY58" fmla="*/ 8805 h 9956"/>
              <a:gd name="connsiteX59" fmla="*/ 10000 w 10000"/>
              <a:gd name="connsiteY59" fmla="*/ 8849 h 9956"/>
              <a:gd name="connsiteX60" fmla="*/ 10000 w 10000"/>
              <a:gd name="connsiteY60" fmla="*/ 8891 h 9956"/>
              <a:gd name="connsiteX61" fmla="*/ 10000 w 10000"/>
              <a:gd name="connsiteY61" fmla="*/ 8982 h 9956"/>
              <a:gd name="connsiteX62" fmla="*/ 10000 w 10000"/>
              <a:gd name="connsiteY62" fmla="*/ 9070 h 9956"/>
              <a:gd name="connsiteX63" fmla="*/ 10000 w 10000"/>
              <a:gd name="connsiteY63" fmla="*/ 9113 h 9956"/>
              <a:gd name="connsiteX64" fmla="*/ 10000 w 10000"/>
              <a:gd name="connsiteY64" fmla="*/ 9160 h 9956"/>
              <a:gd name="connsiteX65" fmla="*/ 9948 w 10000"/>
              <a:gd name="connsiteY65" fmla="*/ 9160 h 9956"/>
              <a:gd name="connsiteX66" fmla="*/ 9948 w 10000"/>
              <a:gd name="connsiteY66" fmla="*/ 9202 h 9956"/>
              <a:gd name="connsiteX67" fmla="*/ 9895 w 10000"/>
              <a:gd name="connsiteY67" fmla="*/ 9248 h 9956"/>
              <a:gd name="connsiteX68" fmla="*/ 9844 w 10000"/>
              <a:gd name="connsiteY68" fmla="*/ 9248 h 9956"/>
              <a:gd name="connsiteX69" fmla="*/ 9844 w 10000"/>
              <a:gd name="connsiteY69" fmla="*/ 9293 h 9956"/>
              <a:gd name="connsiteX70" fmla="*/ 9792 w 10000"/>
              <a:gd name="connsiteY70" fmla="*/ 9293 h 9956"/>
              <a:gd name="connsiteX71" fmla="*/ 9740 w 10000"/>
              <a:gd name="connsiteY71" fmla="*/ 9336 h 9956"/>
              <a:gd name="connsiteX72" fmla="*/ 9687 w 10000"/>
              <a:gd name="connsiteY72" fmla="*/ 9378 h 9956"/>
              <a:gd name="connsiteX73" fmla="*/ 9635 w 10000"/>
              <a:gd name="connsiteY73" fmla="*/ 9378 h 9956"/>
              <a:gd name="connsiteX74" fmla="*/ 9635 w 10000"/>
              <a:gd name="connsiteY74" fmla="*/ 9424 h 9956"/>
              <a:gd name="connsiteX75" fmla="*/ 9583 w 10000"/>
              <a:gd name="connsiteY75" fmla="*/ 9424 h 9956"/>
              <a:gd name="connsiteX76" fmla="*/ 9532 w 10000"/>
              <a:gd name="connsiteY76" fmla="*/ 9424 h 9956"/>
              <a:gd name="connsiteX77" fmla="*/ 9479 w 10000"/>
              <a:gd name="connsiteY77" fmla="*/ 9424 h 9956"/>
              <a:gd name="connsiteX78" fmla="*/ 9427 w 10000"/>
              <a:gd name="connsiteY78" fmla="*/ 9424 h 9956"/>
              <a:gd name="connsiteX79" fmla="*/ 9375 w 10000"/>
              <a:gd name="connsiteY79" fmla="*/ 9424 h 9956"/>
              <a:gd name="connsiteX80" fmla="*/ 9322 w 10000"/>
              <a:gd name="connsiteY80" fmla="*/ 9424 h 9956"/>
              <a:gd name="connsiteX81" fmla="*/ 9271 w 10000"/>
              <a:gd name="connsiteY81" fmla="*/ 9424 h 9956"/>
              <a:gd name="connsiteX82" fmla="*/ 9271 w 10000"/>
              <a:gd name="connsiteY82" fmla="*/ 9467 h 9956"/>
              <a:gd name="connsiteX83" fmla="*/ 9219 w 10000"/>
              <a:gd name="connsiteY83" fmla="*/ 9513 h 9956"/>
              <a:gd name="connsiteX84" fmla="*/ 9167 w 10000"/>
              <a:gd name="connsiteY84" fmla="*/ 9558 h 9956"/>
              <a:gd name="connsiteX85" fmla="*/ 9219 w 10000"/>
              <a:gd name="connsiteY85" fmla="*/ 9558 h 9956"/>
              <a:gd name="connsiteX86" fmla="*/ 9167 w 10000"/>
              <a:gd name="connsiteY86" fmla="*/ 9558 h 9956"/>
              <a:gd name="connsiteX87" fmla="*/ 9114 w 10000"/>
              <a:gd name="connsiteY87" fmla="*/ 9558 h 9956"/>
              <a:gd name="connsiteX88" fmla="*/ 9062 w 10000"/>
              <a:gd name="connsiteY88" fmla="*/ 9601 h 9956"/>
              <a:gd name="connsiteX89" fmla="*/ 9011 w 10000"/>
              <a:gd name="connsiteY89" fmla="*/ 9644 h 9956"/>
              <a:gd name="connsiteX90" fmla="*/ 8959 w 10000"/>
              <a:gd name="connsiteY90" fmla="*/ 9644 h 9956"/>
              <a:gd name="connsiteX91" fmla="*/ 8959 w 10000"/>
              <a:gd name="connsiteY91" fmla="*/ 9689 h 9956"/>
              <a:gd name="connsiteX92" fmla="*/ 8906 w 10000"/>
              <a:gd name="connsiteY92" fmla="*/ 9689 h 9956"/>
              <a:gd name="connsiteX93" fmla="*/ 8906 w 10000"/>
              <a:gd name="connsiteY93" fmla="*/ 9733 h 9956"/>
              <a:gd name="connsiteX94" fmla="*/ 8854 w 10000"/>
              <a:gd name="connsiteY94" fmla="*/ 9733 h 9956"/>
              <a:gd name="connsiteX95" fmla="*/ 8802 w 10000"/>
              <a:gd name="connsiteY95" fmla="*/ 9733 h 9956"/>
              <a:gd name="connsiteX96" fmla="*/ 8749 w 10000"/>
              <a:gd name="connsiteY96" fmla="*/ 9733 h 9956"/>
              <a:gd name="connsiteX97" fmla="*/ 8698 w 10000"/>
              <a:gd name="connsiteY97" fmla="*/ 9733 h 9956"/>
              <a:gd name="connsiteX98" fmla="*/ 8646 w 10000"/>
              <a:gd name="connsiteY98" fmla="*/ 9733 h 9956"/>
              <a:gd name="connsiteX99" fmla="*/ 8646 w 10000"/>
              <a:gd name="connsiteY99" fmla="*/ 9689 h 9956"/>
              <a:gd name="connsiteX100" fmla="*/ 8646 w 10000"/>
              <a:gd name="connsiteY100" fmla="*/ 9644 h 9956"/>
              <a:gd name="connsiteX101" fmla="*/ 8594 w 10000"/>
              <a:gd name="connsiteY101" fmla="*/ 9601 h 9956"/>
              <a:gd name="connsiteX102" fmla="*/ 8594 w 10000"/>
              <a:gd name="connsiteY102" fmla="*/ 9558 h 9956"/>
              <a:gd name="connsiteX103" fmla="*/ 8594 w 10000"/>
              <a:gd name="connsiteY103" fmla="*/ 9513 h 9956"/>
              <a:gd name="connsiteX104" fmla="*/ 8541 w 10000"/>
              <a:gd name="connsiteY104" fmla="*/ 9513 h 9956"/>
              <a:gd name="connsiteX105" fmla="*/ 8489 w 10000"/>
              <a:gd name="connsiteY105" fmla="*/ 9513 h 9956"/>
              <a:gd name="connsiteX106" fmla="*/ 8489 w 10000"/>
              <a:gd name="connsiteY106" fmla="*/ 9467 h 9956"/>
              <a:gd name="connsiteX107" fmla="*/ 8438 w 10000"/>
              <a:gd name="connsiteY107" fmla="*/ 9467 h 9956"/>
              <a:gd name="connsiteX108" fmla="*/ 8386 w 10000"/>
              <a:gd name="connsiteY108" fmla="*/ 9513 h 9956"/>
              <a:gd name="connsiteX109" fmla="*/ 8386 w 10000"/>
              <a:gd name="connsiteY109" fmla="*/ 9558 h 9956"/>
              <a:gd name="connsiteX110" fmla="*/ 8282 w 10000"/>
              <a:gd name="connsiteY110" fmla="*/ 9513 h 9956"/>
              <a:gd name="connsiteX111" fmla="*/ 8282 w 10000"/>
              <a:gd name="connsiteY111" fmla="*/ 9467 h 9956"/>
              <a:gd name="connsiteX112" fmla="*/ 8230 w 10000"/>
              <a:gd name="connsiteY112" fmla="*/ 9467 h 9956"/>
              <a:gd name="connsiteX113" fmla="*/ 8179 w 10000"/>
              <a:gd name="connsiteY113" fmla="*/ 9467 h 9956"/>
              <a:gd name="connsiteX114" fmla="*/ 8126 w 10000"/>
              <a:gd name="connsiteY114" fmla="*/ 9467 h 9956"/>
              <a:gd name="connsiteX115" fmla="*/ 8074 w 10000"/>
              <a:gd name="connsiteY115" fmla="*/ 9467 h 9956"/>
              <a:gd name="connsiteX116" fmla="*/ 8022 w 10000"/>
              <a:gd name="connsiteY116" fmla="*/ 9467 h 9956"/>
              <a:gd name="connsiteX117" fmla="*/ 8022 w 10000"/>
              <a:gd name="connsiteY117" fmla="*/ 9513 h 9956"/>
              <a:gd name="connsiteX118" fmla="*/ 7969 w 10000"/>
              <a:gd name="connsiteY118" fmla="*/ 9513 h 9956"/>
              <a:gd name="connsiteX119" fmla="*/ 7917 w 10000"/>
              <a:gd name="connsiteY119" fmla="*/ 9558 h 9956"/>
              <a:gd name="connsiteX120" fmla="*/ 7866 w 10000"/>
              <a:gd name="connsiteY120" fmla="*/ 9558 h 9956"/>
              <a:gd name="connsiteX121" fmla="*/ 7866 w 10000"/>
              <a:gd name="connsiteY121" fmla="*/ 9513 h 9956"/>
              <a:gd name="connsiteX122" fmla="*/ 7866 w 10000"/>
              <a:gd name="connsiteY122" fmla="*/ 9558 h 9956"/>
              <a:gd name="connsiteX123" fmla="*/ 7814 w 10000"/>
              <a:gd name="connsiteY123" fmla="*/ 9558 h 9956"/>
              <a:gd name="connsiteX124" fmla="*/ 7761 w 10000"/>
              <a:gd name="connsiteY124" fmla="*/ 9601 h 9956"/>
              <a:gd name="connsiteX125" fmla="*/ 7709 w 10000"/>
              <a:gd name="connsiteY125" fmla="*/ 9558 h 9956"/>
              <a:gd name="connsiteX126" fmla="*/ 7657 w 10000"/>
              <a:gd name="connsiteY126" fmla="*/ 9558 h 9956"/>
              <a:gd name="connsiteX127" fmla="*/ 7606 w 10000"/>
              <a:gd name="connsiteY127" fmla="*/ 9558 h 9956"/>
              <a:gd name="connsiteX128" fmla="*/ 7553 w 10000"/>
              <a:gd name="connsiteY128" fmla="*/ 9513 h 9956"/>
              <a:gd name="connsiteX129" fmla="*/ 7501 w 10000"/>
              <a:gd name="connsiteY129" fmla="*/ 9513 h 9956"/>
              <a:gd name="connsiteX130" fmla="*/ 7501 w 10000"/>
              <a:gd name="connsiteY130" fmla="*/ 9558 h 9956"/>
              <a:gd name="connsiteX131" fmla="*/ 7449 w 10000"/>
              <a:gd name="connsiteY131" fmla="*/ 9558 h 9956"/>
              <a:gd name="connsiteX132" fmla="*/ 7396 w 10000"/>
              <a:gd name="connsiteY132" fmla="*/ 9513 h 9956"/>
              <a:gd name="connsiteX133" fmla="*/ 7345 w 10000"/>
              <a:gd name="connsiteY133" fmla="*/ 9513 h 9956"/>
              <a:gd name="connsiteX134" fmla="*/ 7293 w 10000"/>
              <a:gd name="connsiteY134" fmla="*/ 9601 h 9956"/>
              <a:gd name="connsiteX135" fmla="*/ 7241 w 10000"/>
              <a:gd name="connsiteY135" fmla="*/ 9601 h 9956"/>
              <a:gd name="connsiteX136" fmla="*/ 7241 w 10000"/>
              <a:gd name="connsiteY136" fmla="*/ 9558 h 9956"/>
              <a:gd name="connsiteX137" fmla="*/ 7241 w 10000"/>
              <a:gd name="connsiteY137" fmla="*/ 9601 h 9956"/>
              <a:gd name="connsiteX138" fmla="*/ 7241 w 10000"/>
              <a:gd name="connsiteY138" fmla="*/ 9644 h 9956"/>
              <a:gd name="connsiteX139" fmla="*/ 7188 w 10000"/>
              <a:gd name="connsiteY139" fmla="*/ 9644 h 9956"/>
              <a:gd name="connsiteX140" fmla="*/ 7136 w 10000"/>
              <a:gd name="connsiteY140" fmla="*/ 9644 h 9956"/>
              <a:gd name="connsiteX141" fmla="*/ 7188 w 10000"/>
              <a:gd name="connsiteY141" fmla="*/ 9689 h 9956"/>
              <a:gd name="connsiteX142" fmla="*/ 7136 w 10000"/>
              <a:gd name="connsiteY142" fmla="*/ 9733 h 9956"/>
              <a:gd name="connsiteX143" fmla="*/ 7188 w 10000"/>
              <a:gd name="connsiteY143" fmla="*/ 9778 h 9956"/>
              <a:gd name="connsiteX144" fmla="*/ 7241 w 10000"/>
              <a:gd name="connsiteY144" fmla="*/ 9778 h 9956"/>
              <a:gd name="connsiteX145" fmla="*/ 7241 w 10000"/>
              <a:gd name="connsiteY145" fmla="*/ 9823 h 9956"/>
              <a:gd name="connsiteX146" fmla="*/ 7188 w 10000"/>
              <a:gd name="connsiteY146" fmla="*/ 9823 h 9956"/>
              <a:gd name="connsiteX147" fmla="*/ 7136 w 10000"/>
              <a:gd name="connsiteY147" fmla="*/ 9823 h 9956"/>
              <a:gd name="connsiteX148" fmla="*/ 7188 w 10000"/>
              <a:gd name="connsiteY148" fmla="*/ 9866 h 9956"/>
              <a:gd name="connsiteX149" fmla="*/ 7188 w 10000"/>
              <a:gd name="connsiteY149" fmla="*/ 9910 h 9956"/>
              <a:gd name="connsiteX150" fmla="*/ 7136 w 10000"/>
              <a:gd name="connsiteY150" fmla="*/ 9956 h 9956"/>
              <a:gd name="connsiteX151" fmla="*/ 7344 w 10000"/>
              <a:gd name="connsiteY151" fmla="*/ 7808 h 9956"/>
              <a:gd name="connsiteX152" fmla="*/ 7136 w 10000"/>
              <a:gd name="connsiteY152" fmla="*/ 7449 h 9956"/>
              <a:gd name="connsiteX153" fmla="*/ 6544 w 10000"/>
              <a:gd name="connsiteY153" fmla="*/ 7332 h 9956"/>
              <a:gd name="connsiteX154" fmla="*/ 5775 w 10000"/>
              <a:gd name="connsiteY154" fmla="*/ 7296 h 9956"/>
              <a:gd name="connsiteX155" fmla="*/ 5311 w 10000"/>
              <a:gd name="connsiteY155" fmla="*/ 7182 h 9956"/>
              <a:gd name="connsiteX156" fmla="*/ 5071 w 10000"/>
              <a:gd name="connsiteY156" fmla="*/ 7069 h 9956"/>
              <a:gd name="connsiteX157" fmla="*/ 4912 w 10000"/>
              <a:gd name="connsiteY157" fmla="*/ 7164 h 9956"/>
              <a:gd name="connsiteX158" fmla="*/ 4416 w 10000"/>
              <a:gd name="connsiteY158" fmla="*/ 6991 h 9956"/>
              <a:gd name="connsiteX159" fmla="*/ 3584 w 10000"/>
              <a:gd name="connsiteY159" fmla="*/ 6689 h 9956"/>
              <a:gd name="connsiteX160" fmla="*/ 3104 w 10000"/>
              <a:gd name="connsiteY160" fmla="*/ 6631 h 9956"/>
              <a:gd name="connsiteX161" fmla="*/ 3200 w 10000"/>
              <a:gd name="connsiteY161" fmla="*/ 6422 h 9956"/>
              <a:gd name="connsiteX162" fmla="*/ 3344 w 10000"/>
              <a:gd name="connsiteY162" fmla="*/ 6366 h 9956"/>
              <a:gd name="connsiteX163" fmla="*/ 3728 w 10000"/>
              <a:gd name="connsiteY163" fmla="*/ 6061 h 9956"/>
              <a:gd name="connsiteX164" fmla="*/ 3968 w 10000"/>
              <a:gd name="connsiteY164" fmla="*/ 5777 h 9956"/>
              <a:gd name="connsiteX165" fmla="*/ 4224 w 10000"/>
              <a:gd name="connsiteY165" fmla="*/ 5473 h 9956"/>
              <a:gd name="connsiteX166" fmla="*/ 4368 w 10000"/>
              <a:gd name="connsiteY166" fmla="*/ 5191 h 9956"/>
              <a:gd name="connsiteX167" fmla="*/ 4352 w 10000"/>
              <a:gd name="connsiteY167" fmla="*/ 4866 h 9956"/>
              <a:gd name="connsiteX168" fmla="*/ 4336 w 10000"/>
              <a:gd name="connsiteY168" fmla="*/ 4581 h 9956"/>
              <a:gd name="connsiteX169" fmla="*/ 4176 w 10000"/>
              <a:gd name="connsiteY169" fmla="*/ 4410 h 9956"/>
              <a:gd name="connsiteX170" fmla="*/ 4016 w 10000"/>
              <a:gd name="connsiteY170" fmla="*/ 4430 h 9956"/>
              <a:gd name="connsiteX171" fmla="*/ 3856 w 10000"/>
              <a:gd name="connsiteY171" fmla="*/ 4734 h 9956"/>
              <a:gd name="connsiteX172" fmla="*/ 3808 w 10000"/>
              <a:gd name="connsiteY172" fmla="*/ 5282 h 9956"/>
              <a:gd name="connsiteX173" fmla="*/ 3536 w 10000"/>
              <a:gd name="connsiteY173" fmla="*/ 5646 h 9956"/>
              <a:gd name="connsiteX174" fmla="*/ 2992 w 10000"/>
              <a:gd name="connsiteY174" fmla="*/ 5967 h 9956"/>
              <a:gd name="connsiteX175" fmla="*/ 2415 w 10000"/>
              <a:gd name="connsiteY175" fmla="*/ 6213 h 9956"/>
              <a:gd name="connsiteX176" fmla="*/ 1951 w 10000"/>
              <a:gd name="connsiteY176" fmla="*/ 6553 h 9956"/>
              <a:gd name="connsiteX177" fmla="*/ 0 w 10000"/>
              <a:gd name="connsiteY177" fmla="*/ 6479 h 9956"/>
              <a:gd name="connsiteX178" fmla="*/ 3 w 10000"/>
              <a:gd name="connsiteY178" fmla="*/ 6238 h 9956"/>
              <a:gd name="connsiteX179" fmla="*/ 159 w 10000"/>
              <a:gd name="connsiteY179" fmla="*/ 6327 h 9956"/>
              <a:gd name="connsiteX180" fmla="*/ 368 w 10000"/>
              <a:gd name="connsiteY180" fmla="*/ 6238 h 9956"/>
              <a:gd name="connsiteX181" fmla="*/ 1462 w 10000"/>
              <a:gd name="connsiteY181" fmla="*/ 6238 h 9956"/>
              <a:gd name="connsiteX182" fmla="*/ 1617 w 10000"/>
              <a:gd name="connsiteY182" fmla="*/ 6194 h 9956"/>
              <a:gd name="connsiteX183" fmla="*/ 1669 w 10000"/>
              <a:gd name="connsiteY183" fmla="*/ 6194 h 9956"/>
              <a:gd name="connsiteX184" fmla="*/ 2189 w 10000"/>
              <a:gd name="connsiteY184" fmla="*/ 5620 h 9956"/>
              <a:gd name="connsiteX185" fmla="*/ 2294 w 10000"/>
              <a:gd name="connsiteY185" fmla="*/ 5530 h 9956"/>
              <a:gd name="connsiteX186" fmla="*/ 2762 w 10000"/>
              <a:gd name="connsiteY186" fmla="*/ 5088 h 9956"/>
              <a:gd name="connsiteX187" fmla="*/ 3023 w 10000"/>
              <a:gd name="connsiteY187" fmla="*/ 4822 h 9956"/>
              <a:gd name="connsiteX188" fmla="*/ 3179 w 10000"/>
              <a:gd name="connsiteY188" fmla="*/ 4689 h 9956"/>
              <a:gd name="connsiteX189" fmla="*/ 3596 w 10000"/>
              <a:gd name="connsiteY189" fmla="*/ 4027 h 9956"/>
              <a:gd name="connsiteX190" fmla="*/ 4116 w 10000"/>
              <a:gd name="connsiteY190" fmla="*/ 3759 h 9956"/>
              <a:gd name="connsiteX191" fmla="*/ 5001 w 10000"/>
              <a:gd name="connsiteY191" fmla="*/ 3009 h 9956"/>
              <a:gd name="connsiteX192" fmla="*/ 4845 w 10000"/>
              <a:gd name="connsiteY192" fmla="*/ 2743 h 9956"/>
              <a:gd name="connsiteX193" fmla="*/ 4794 w 10000"/>
              <a:gd name="connsiteY193" fmla="*/ 2566 h 9956"/>
              <a:gd name="connsiteX194" fmla="*/ 4794 w 10000"/>
              <a:gd name="connsiteY194" fmla="*/ 1326 h 9956"/>
              <a:gd name="connsiteX195" fmla="*/ 4116 w 10000"/>
              <a:gd name="connsiteY195" fmla="*/ 794 h 9956"/>
              <a:gd name="connsiteX196" fmla="*/ 4950 w 10000"/>
              <a:gd name="connsiteY196" fmla="*/ 794 h 9956"/>
              <a:gd name="connsiteX197" fmla="*/ 5782 w 10000"/>
              <a:gd name="connsiteY197" fmla="*/ 794 h 9956"/>
              <a:gd name="connsiteX198" fmla="*/ 5782 w 10000"/>
              <a:gd name="connsiteY198" fmla="*/ 751 h 9956"/>
              <a:gd name="connsiteX199" fmla="*/ 5782 w 10000"/>
              <a:gd name="connsiteY199" fmla="*/ 709 h 9956"/>
              <a:gd name="connsiteX200" fmla="*/ 5782 w 10000"/>
              <a:gd name="connsiteY200" fmla="*/ 668 h 9956"/>
              <a:gd name="connsiteX201" fmla="*/ 5782 w 10000"/>
              <a:gd name="connsiteY201" fmla="*/ 619 h 9956"/>
              <a:gd name="connsiteX202" fmla="*/ 5834 w 10000"/>
              <a:gd name="connsiteY202" fmla="*/ 571 h 9956"/>
              <a:gd name="connsiteX203" fmla="*/ 5834 w 10000"/>
              <a:gd name="connsiteY203" fmla="*/ 530 h 9956"/>
              <a:gd name="connsiteX204" fmla="*/ 5834 w 10000"/>
              <a:gd name="connsiteY204" fmla="*/ 487 h 9956"/>
              <a:gd name="connsiteX205" fmla="*/ 5834 w 10000"/>
              <a:gd name="connsiteY205" fmla="*/ 445 h 9956"/>
              <a:gd name="connsiteX206" fmla="*/ 5834 w 10000"/>
              <a:gd name="connsiteY206" fmla="*/ 402 h 9956"/>
              <a:gd name="connsiteX207" fmla="*/ 5834 w 10000"/>
              <a:gd name="connsiteY207" fmla="*/ 350 h 9956"/>
              <a:gd name="connsiteX208" fmla="*/ 5782 w 10000"/>
              <a:gd name="connsiteY208" fmla="*/ 350 h 9956"/>
              <a:gd name="connsiteX209" fmla="*/ 5782 w 10000"/>
              <a:gd name="connsiteY209" fmla="*/ 307 h 9956"/>
              <a:gd name="connsiteX210" fmla="*/ 5782 w 10000"/>
              <a:gd name="connsiteY210" fmla="*/ 264 h 9956"/>
              <a:gd name="connsiteX211" fmla="*/ 5782 w 10000"/>
              <a:gd name="connsiteY211" fmla="*/ 223 h 9956"/>
              <a:gd name="connsiteX212" fmla="*/ 5782 w 10000"/>
              <a:gd name="connsiteY212" fmla="*/ 180 h 9956"/>
              <a:gd name="connsiteX213" fmla="*/ 5782 w 10000"/>
              <a:gd name="connsiteY213" fmla="*/ 138 h 9956"/>
              <a:gd name="connsiteX214" fmla="*/ 5782 w 10000"/>
              <a:gd name="connsiteY214" fmla="*/ 85 h 9956"/>
              <a:gd name="connsiteX215" fmla="*/ 5782 w 10000"/>
              <a:gd name="connsiteY215" fmla="*/ 42 h 9956"/>
              <a:gd name="connsiteX216" fmla="*/ 5782 w 10000"/>
              <a:gd name="connsiteY216" fmla="*/ 0 h 9956"/>
              <a:gd name="connsiteX0" fmla="*/ 5782 w 10000"/>
              <a:gd name="connsiteY0" fmla="*/ 0 h 9954"/>
              <a:gd name="connsiteX1" fmla="*/ 7345 w 10000"/>
              <a:gd name="connsiteY1" fmla="*/ 42 h 9954"/>
              <a:gd name="connsiteX2" fmla="*/ 7501 w 10000"/>
              <a:gd name="connsiteY2" fmla="*/ 42 h 9954"/>
              <a:gd name="connsiteX3" fmla="*/ 7345 w 10000"/>
              <a:gd name="connsiteY3" fmla="*/ 181 h 9954"/>
              <a:gd name="connsiteX4" fmla="*/ 7293 w 10000"/>
              <a:gd name="connsiteY4" fmla="*/ 574 h 9954"/>
              <a:gd name="connsiteX5" fmla="*/ 7188 w 10000"/>
              <a:gd name="connsiteY5" fmla="*/ 1201 h 9954"/>
              <a:gd name="connsiteX6" fmla="*/ 7136 w 10000"/>
              <a:gd name="connsiteY6" fmla="*/ 1244 h 9954"/>
              <a:gd name="connsiteX7" fmla="*/ 6980 w 10000"/>
              <a:gd name="connsiteY7" fmla="*/ 1599 h 9954"/>
              <a:gd name="connsiteX8" fmla="*/ 7396 w 10000"/>
              <a:gd name="connsiteY8" fmla="*/ 3244 h 9954"/>
              <a:gd name="connsiteX9" fmla="*/ 7501 w 10000"/>
              <a:gd name="connsiteY9" fmla="*/ 3555 h 9954"/>
              <a:gd name="connsiteX10" fmla="*/ 7345 w 10000"/>
              <a:gd name="connsiteY10" fmla="*/ 3824 h 9954"/>
              <a:gd name="connsiteX11" fmla="*/ 8022 w 10000"/>
              <a:gd name="connsiteY11" fmla="*/ 3999 h 9954"/>
              <a:gd name="connsiteX12" fmla="*/ 8489 w 10000"/>
              <a:gd name="connsiteY12" fmla="*/ 4488 h 9954"/>
              <a:gd name="connsiteX13" fmla="*/ 8594 w 10000"/>
              <a:gd name="connsiteY13" fmla="*/ 4577 h 9954"/>
              <a:gd name="connsiteX14" fmla="*/ 8906 w 10000"/>
              <a:gd name="connsiteY14" fmla="*/ 4799 h 9954"/>
              <a:gd name="connsiteX15" fmla="*/ 9114 w 10000"/>
              <a:gd name="connsiteY15" fmla="*/ 5066 h 9954"/>
              <a:gd name="connsiteX16" fmla="*/ 9219 w 10000"/>
              <a:gd name="connsiteY16" fmla="*/ 5201 h 9954"/>
              <a:gd name="connsiteX17" fmla="*/ 9427 w 10000"/>
              <a:gd name="connsiteY17" fmla="*/ 5201 h 9954"/>
              <a:gd name="connsiteX18" fmla="*/ 9427 w 10000"/>
              <a:gd name="connsiteY18" fmla="*/ 5244 h 9954"/>
              <a:gd name="connsiteX19" fmla="*/ 9479 w 10000"/>
              <a:gd name="connsiteY19" fmla="*/ 5332 h 9954"/>
              <a:gd name="connsiteX20" fmla="*/ 9479 w 10000"/>
              <a:gd name="connsiteY20" fmla="*/ 5378 h 9954"/>
              <a:gd name="connsiteX21" fmla="*/ 9532 w 10000"/>
              <a:gd name="connsiteY21" fmla="*/ 5554 h 9954"/>
              <a:gd name="connsiteX22" fmla="*/ 9532 w 10000"/>
              <a:gd name="connsiteY22" fmla="*/ 5600 h 9954"/>
              <a:gd name="connsiteX23" fmla="*/ 9532 w 10000"/>
              <a:gd name="connsiteY23" fmla="*/ 5733 h 9954"/>
              <a:gd name="connsiteX24" fmla="*/ 9532 w 10000"/>
              <a:gd name="connsiteY24" fmla="*/ 5820 h 9954"/>
              <a:gd name="connsiteX25" fmla="*/ 9479 w 10000"/>
              <a:gd name="connsiteY25" fmla="*/ 5912 h 9954"/>
              <a:gd name="connsiteX26" fmla="*/ 9427 w 10000"/>
              <a:gd name="connsiteY26" fmla="*/ 6179 h 9954"/>
              <a:gd name="connsiteX27" fmla="*/ 9375 w 10000"/>
              <a:gd name="connsiteY27" fmla="*/ 6221 h 9954"/>
              <a:gd name="connsiteX28" fmla="*/ 9322 w 10000"/>
              <a:gd name="connsiteY28" fmla="*/ 6266 h 9954"/>
              <a:gd name="connsiteX29" fmla="*/ 9271 w 10000"/>
              <a:gd name="connsiteY29" fmla="*/ 6444 h 9954"/>
              <a:gd name="connsiteX30" fmla="*/ 9219 w 10000"/>
              <a:gd name="connsiteY30" fmla="*/ 6531 h 9954"/>
              <a:gd name="connsiteX31" fmla="*/ 9219 w 10000"/>
              <a:gd name="connsiteY31" fmla="*/ 6623 h 9954"/>
              <a:gd name="connsiteX32" fmla="*/ 9219 w 10000"/>
              <a:gd name="connsiteY32" fmla="*/ 6666 h 9954"/>
              <a:gd name="connsiteX33" fmla="*/ 9219 w 10000"/>
              <a:gd name="connsiteY33" fmla="*/ 6799 h 9954"/>
              <a:gd name="connsiteX34" fmla="*/ 9271 w 10000"/>
              <a:gd name="connsiteY34" fmla="*/ 6934 h 9954"/>
              <a:gd name="connsiteX35" fmla="*/ 9895 w 10000"/>
              <a:gd name="connsiteY35" fmla="*/ 6934 h 9954"/>
              <a:gd name="connsiteX36" fmla="*/ 9895 w 10000"/>
              <a:gd name="connsiteY36" fmla="*/ 7021 h 9954"/>
              <a:gd name="connsiteX37" fmla="*/ 9948 w 10000"/>
              <a:gd name="connsiteY37" fmla="*/ 7332 h 9954"/>
              <a:gd name="connsiteX38" fmla="*/ 9948 w 10000"/>
              <a:gd name="connsiteY38" fmla="*/ 7377 h 9954"/>
              <a:gd name="connsiteX39" fmla="*/ 9948 w 10000"/>
              <a:gd name="connsiteY39" fmla="*/ 7510 h 9954"/>
              <a:gd name="connsiteX40" fmla="*/ 9948 w 10000"/>
              <a:gd name="connsiteY40" fmla="*/ 7556 h 9954"/>
              <a:gd name="connsiteX41" fmla="*/ 9948 w 10000"/>
              <a:gd name="connsiteY41" fmla="*/ 7644 h 9954"/>
              <a:gd name="connsiteX42" fmla="*/ 9948 w 10000"/>
              <a:gd name="connsiteY42" fmla="*/ 7688 h 9954"/>
              <a:gd name="connsiteX43" fmla="*/ 9948 w 10000"/>
              <a:gd name="connsiteY43" fmla="*/ 7733 h 9954"/>
              <a:gd name="connsiteX44" fmla="*/ 9948 w 10000"/>
              <a:gd name="connsiteY44" fmla="*/ 7777 h 9954"/>
              <a:gd name="connsiteX45" fmla="*/ 10000 w 10000"/>
              <a:gd name="connsiteY45" fmla="*/ 7865 h 9954"/>
              <a:gd name="connsiteX46" fmla="*/ 10000 w 10000"/>
              <a:gd name="connsiteY46" fmla="*/ 7999 h 9954"/>
              <a:gd name="connsiteX47" fmla="*/ 10000 w 10000"/>
              <a:gd name="connsiteY47" fmla="*/ 8044 h 9954"/>
              <a:gd name="connsiteX48" fmla="*/ 10000 w 10000"/>
              <a:gd name="connsiteY48" fmla="*/ 8088 h 9954"/>
              <a:gd name="connsiteX49" fmla="*/ 10000 w 10000"/>
              <a:gd name="connsiteY49" fmla="*/ 8133 h 9954"/>
              <a:gd name="connsiteX50" fmla="*/ 10000 w 10000"/>
              <a:gd name="connsiteY50" fmla="*/ 8221 h 9954"/>
              <a:gd name="connsiteX51" fmla="*/ 10000 w 10000"/>
              <a:gd name="connsiteY51" fmla="*/ 8267 h 9954"/>
              <a:gd name="connsiteX52" fmla="*/ 10000 w 10000"/>
              <a:gd name="connsiteY52" fmla="*/ 8310 h 9954"/>
              <a:gd name="connsiteX53" fmla="*/ 10000 w 10000"/>
              <a:gd name="connsiteY53" fmla="*/ 8398 h 9954"/>
              <a:gd name="connsiteX54" fmla="*/ 10000 w 10000"/>
              <a:gd name="connsiteY54" fmla="*/ 8622 h 9954"/>
              <a:gd name="connsiteX55" fmla="*/ 10000 w 10000"/>
              <a:gd name="connsiteY55" fmla="*/ 8665 h 9954"/>
              <a:gd name="connsiteX56" fmla="*/ 10000 w 10000"/>
              <a:gd name="connsiteY56" fmla="*/ 8756 h 9954"/>
              <a:gd name="connsiteX57" fmla="*/ 10000 w 10000"/>
              <a:gd name="connsiteY57" fmla="*/ 8799 h 9954"/>
              <a:gd name="connsiteX58" fmla="*/ 10000 w 10000"/>
              <a:gd name="connsiteY58" fmla="*/ 8844 h 9954"/>
              <a:gd name="connsiteX59" fmla="*/ 10000 w 10000"/>
              <a:gd name="connsiteY59" fmla="*/ 8888 h 9954"/>
              <a:gd name="connsiteX60" fmla="*/ 10000 w 10000"/>
              <a:gd name="connsiteY60" fmla="*/ 8930 h 9954"/>
              <a:gd name="connsiteX61" fmla="*/ 10000 w 10000"/>
              <a:gd name="connsiteY61" fmla="*/ 9022 h 9954"/>
              <a:gd name="connsiteX62" fmla="*/ 10000 w 10000"/>
              <a:gd name="connsiteY62" fmla="*/ 9110 h 9954"/>
              <a:gd name="connsiteX63" fmla="*/ 10000 w 10000"/>
              <a:gd name="connsiteY63" fmla="*/ 9153 h 9954"/>
              <a:gd name="connsiteX64" fmla="*/ 10000 w 10000"/>
              <a:gd name="connsiteY64" fmla="*/ 9200 h 9954"/>
              <a:gd name="connsiteX65" fmla="*/ 9948 w 10000"/>
              <a:gd name="connsiteY65" fmla="*/ 9200 h 9954"/>
              <a:gd name="connsiteX66" fmla="*/ 9948 w 10000"/>
              <a:gd name="connsiteY66" fmla="*/ 9243 h 9954"/>
              <a:gd name="connsiteX67" fmla="*/ 9895 w 10000"/>
              <a:gd name="connsiteY67" fmla="*/ 9289 h 9954"/>
              <a:gd name="connsiteX68" fmla="*/ 9844 w 10000"/>
              <a:gd name="connsiteY68" fmla="*/ 9289 h 9954"/>
              <a:gd name="connsiteX69" fmla="*/ 9844 w 10000"/>
              <a:gd name="connsiteY69" fmla="*/ 9334 h 9954"/>
              <a:gd name="connsiteX70" fmla="*/ 9792 w 10000"/>
              <a:gd name="connsiteY70" fmla="*/ 9334 h 9954"/>
              <a:gd name="connsiteX71" fmla="*/ 9740 w 10000"/>
              <a:gd name="connsiteY71" fmla="*/ 9377 h 9954"/>
              <a:gd name="connsiteX72" fmla="*/ 9687 w 10000"/>
              <a:gd name="connsiteY72" fmla="*/ 9419 h 9954"/>
              <a:gd name="connsiteX73" fmla="*/ 9635 w 10000"/>
              <a:gd name="connsiteY73" fmla="*/ 9419 h 9954"/>
              <a:gd name="connsiteX74" fmla="*/ 9635 w 10000"/>
              <a:gd name="connsiteY74" fmla="*/ 9466 h 9954"/>
              <a:gd name="connsiteX75" fmla="*/ 9583 w 10000"/>
              <a:gd name="connsiteY75" fmla="*/ 9466 h 9954"/>
              <a:gd name="connsiteX76" fmla="*/ 9532 w 10000"/>
              <a:gd name="connsiteY76" fmla="*/ 9466 h 9954"/>
              <a:gd name="connsiteX77" fmla="*/ 9479 w 10000"/>
              <a:gd name="connsiteY77" fmla="*/ 9466 h 9954"/>
              <a:gd name="connsiteX78" fmla="*/ 9427 w 10000"/>
              <a:gd name="connsiteY78" fmla="*/ 9466 h 9954"/>
              <a:gd name="connsiteX79" fmla="*/ 9375 w 10000"/>
              <a:gd name="connsiteY79" fmla="*/ 9466 h 9954"/>
              <a:gd name="connsiteX80" fmla="*/ 9322 w 10000"/>
              <a:gd name="connsiteY80" fmla="*/ 9466 h 9954"/>
              <a:gd name="connsiteX81" fmla="*/ 9271 w 10000"/>
              <a:gd name="connsiteY81" fmla="*/ 9466 h 9954"/>
              <a:gd name="connsiteX82" fmla="*/ 9271 w 10000"/>
              <a:gd name="connsiteY82" fmla="*/ 9509 h 9954"/>
              <a:gd name="connsiteX83" fmla="*/ 9219 w 10000"/>
              <a:gd name="connsiteY83" fmla="*/ 9555 h 9954"/>
              <a:gd name="connsiteX84" fmla="*/ 9167 w 10000"/>
              <a:gd name="connsiteY84" fmla="*/ 9600 h 9954"/>
              <a:gd name="connsiteX85" fmla="*/ 9219 w 10000"/>
              <a:gd name="connsiteY85" fmla="*/ 9600 h 9954"/>
              <a:gd name="connsiteX86" fmla="*/ 9167 w 10000"/>
              <a:gd name="connsiteY86" fmla="*/ 9600 h 9954"/>
              <a:gd name="connsiteX87" fmla="*/ 9114 w 10000"/>
              <a:gd name="connsiteY87" fmla="*/ 9600 h 9954"/>
              <a:gd name="connsiteX88" fmla="*/ 9062 w 10000"/>
              <a:gd name="connsiteY88" fmla="*/ 9643 h 9954"/>
              <a:gd name="connsiteX89" fmla="*/ 9011 w 10000"/>
              <a:gd name="connsiteY89" fmla="*/ 9687 h 9954"/>
              <a:gd name="connsiteX90" fmla="*/ 8959 w 10000"/>
              <a:gd name="connsiteY90" fmla="*/ 9687 h 9954"/>
              <a:gd name="connsiteX91" fmla="*/ 8959 w 10000"/>
              <a:gd name="connsiteY91" fmla="*/ 9732 h 9954"/>
              <a:gd name="connsiteX92" fmla="*/ 8906 w 10000"/>
              <a:gd name="connsiteY92" fmla="*/ 9732 h 9954"/>
              <a:gd name="connsiteX93" fmla="*/ 8906 w 10000"/>
              <a:gd name="connsiteY93" fmla="*/ 9776 h 9954"/>
              <a:gd name="connsiteX94" fmla="*/ 8854 w 10000"/>
              <a:gd name="connsiteY94" fmla="*/ 9776 h 9954"/>
              <a:gd name="connsiteX95" fmla="*/ 8802 w 10000"/>
              <a:gd name="connsiteY95" fmla="*/ 9776 h 9954"/>
              <a:gd name="connsiteX96" fmla="*/ 8749 w 10000"/>
              <a:gd name="connsiteY96" fmla="*/ 9776 h 9954"/>
              <a:gd name="connsiteX97" fmla="*/ 8698 w 10000"/>
              <a:gd name="connsiteY97" fmla="*/ 9776 h 9954"/>
              <a:gd name="connsiteX98" fmla="*/ 8646 w 10000"/>
              <a:gd name="connsiteY98" fmla="*/ 9776 h 9954"/>
              <a:gd name="connsiteX99" fmla="*/ 8646 w 10000"/>
              <a:gd name="connsiteY99" fmla="*/ 9732 h 9954"/>
              <a:gd name="connsiteX100" fmla="*/ 8646 w 10000"/>
              <a:gd name="connsiteY100" fmla="*/ 9687 h 9954"/>
              <a:gd name="connsiteX101" fmla="*/ 8594 w 10000"/>
              <a:gd name="connsiteY101" fmla="*/ 9643 h 9954"/>
              <a:gd name="connsiteX102" fmla="*/ 8594 w 10000"/>
              <a:gd name="connsiteY102" fmla="*/ 9600 h 9954"/>
              <a:gd name="connsiteX103" fmla="*/ 8594 w 10000"/>
              <a:gd name="connsiteY103" fmla="*/ 9555 h 9954"/>
              <a:gd name="connsiteX104" fmla="*/ 8541 w 10000"/>
              <a:gd name="connsiteY104" fmla="*/ 9555 h 9954"/>
              <a:gd name="connsiteX105" fmla="*/ 8489 w 10000"/>
              <a:gd name="connsiteY105" fmla="*/ 9555 h 9954"/>
              <a:gd name="connsiteX106" fmla="*/ 8489 w 10000"/>
              <a:gd name="connsiteY106" fmla="*/ 9509 h 9954"/>
              <a:gd name="connsiteX107" fmla="*/ 8438 w 10000"/>
              <a:gd name="connsiteY107" fmla="*/ 9509 h 9954"/>
              <a:gd name="connsiteX108" fmla="*/ 8386 w 10000"/>
              <a:gd name="connsiteY108" fmla="*/ 9555 h 9954"/>
              <a:gd name="connsiteX109" fmla="*/ 8386 w 10000"/>
              <a:gd name="connsiteY109" fmla="*/ 9600 h 9954"/>
              <a:gd name="connsiteX110" fmla="*/ 8282 w 10000"/>
              <a:gd name="connsiteY110" fmla="*/ 9555 h 9954"/>
              <a:gd name="connsiteX111" fmla="*/ 8282 w 10000"/>
              <a:gd name="connsiteY111" fmla="*/ 9509 h 9954"/>
              <a:gd name="connsiteX112" fmla="*/ 8230 w 10000"/>
              <a:gd name="connsiteY112" fmla="*/ 9509 h 9954"/>
              <a:gd name="connsiteX113" fmla="*/ 8179 w 10000"/>
              <a:gd name="connsiteY113" fmla="*/ 9509 h 9954"/>
              <a:gd name="connsiteX114" fmla="*/ 8126 w 10000"/>
              <a:gd name="connsiteY114" fmla="*/ 9509 h 9954"/>
              <a:gd name="connsiteX115" fmla="*/ 8074 w 10000"/>
              <a:gd name="connsiteY115" fmla="*/ 9509 h 9954"/>
              <a:gd name="connsiteX116" fmla="*/ 8022 w 10000"/>
              <a:gd name="connsiteY116" fmla="*/ 9509 h 9954"/>
              <a:gd name="connsiteX117" fmla="*/ 8022 w 10000"/>
              <a:gd name="connsiteY117" fmla="*/ 9555 h 9954"/>
              <a:gd name="connsiteX118" fmla="*/ 7969 w 10000"/>
              <a:gd name="connsiteY118" fmla="*/ 9555 h 9954"/>
              <a:gd name="connsiteX119" fmla="*/ 7917 w 10000"/>
              <a:gd name="connsiteY119" fmla="*/ 9600 h 9954"/>
              <a:gd name="connsiteX120" fmla="*/ 7866 w 10000"/>
              <a:gd name="connsiteY120" fmla="*/ 9600 h 9954"/>
              <a:gd name="connsiteX121" fmla="*/ 7866 w 10000"/>
              <a:gd name="connsiteY121" fmla="*/ 9555 h 9954"/>
              <a:gd name="connsiteX122" fmla="*/ 7866 w 10000"/>
              <a:gd name="connsiteY122" fmla="*/ 9600 h 9954"/>
              <a:gd name="connsiteX123" fmla="*/ 7814 w 10000"/>
              <a:gd name="connsiteY123" fmla="*/ 9600 h 9954"/>
              <a:gd name="connsiteX124" fmla="*/ 7761 w 10000"/>
              <a:gd name="connsiteY124" fmla="*/ 9643 h 9954"/>
              <a:gd name="connsiteX125" fmla="*/ 7709 w 10000"/>
              <a:gd name="connsiteY125" fmla="*/ 9600 h 9954"/>
              <a:gd name="connsiteX126" fmla="*/ 7657 w 10000"/>
              <a:gd name="connsiteY126" fmla="*/ 9600 h 9954"/>
              <a:gd name="connsiteX127" fmla="*/ 7606 w 10000"/>
              <a:gd name="connsiteY127" fmla="*/ 9600 h 9954"/>
              <a:gd name="connsiteX128" fmla="*/ 7553 w 10000"/>
              <a:gd name="connsiteY128" fmla="*/ 9555 h 9954"/>
              <a:gd name="connsiteX129" fmla="*/ 7501 w 10000"/>
              <a:gd name="connsiteY129" fmla="*/ 9555 h 9954"/>
              <a:gd name="connsiteX130" fmla="*/ 7501 w 10000"/>
              <a:gd name="connsiteY130" fmla="*/ 9600 h 9954"/>
              <a:gd name="connsiteX131" fmla="*/ 7449 w 10000"/>
              <a:gd name="connsiteY131" fmla="*/ 9600 h 9954"/>
              <a:gd name="connsiteX132" fmla="*/ 7396 w 10000"/>
              <a:gd name="connsiteY132" fmla="*/ 9555 h 9954"/>
              <a:gd name="connsiteX133" fmla="*/ 7345 w 10000"/>
              <a:gd name="connsiteY133" fmla="*/ 9555 h 9954"/>
              <a:gd name="connsiteX134" fmla="*/ 7293 w 10000"/>
              <a:gd name="connsiteY134" fmla="*/ 9643 h 9954"/>
              <a:gd name="connsiteX135" fmla="*/ 7241 w 10000"/>
              <a:gd name="connsiteY135" fmla="*/ 9643 h 9954"/>
              <a:gd name="connsiteX136" fmla="*/ 7241 w 10000"/>
              <a:gd name="connsiteY136" fmla="*/ 9600 h 9954"/>
              <a:gd name="connsiteX137" fmla="*/ 7241 w 10000"/>
              <a:gd name="connsiteY137" fmla="*/ 9643 h 9954"/>
              <a:gd name="connsiteX138" fmla="*/ 7241 w 10000"/>
              <a:gd name="connsiteY138" fmla="*/ 9687 h 9954"/>
              <a:gd name="connsiteX139" fmla="*/ 7188 w 10000"/>
              <a:gd name="connsiteY139" fmla="*/ 9687 h 9954"/>
              <a:gd name="connsiteX140" fmla="*/ 7136 w 10000"/>
              <a:gd name="connsiteY140" fmla="*/ 9687 h 9954"/>
              <a:gd name="connsiteX141" fmla="*/ 7188 w 10000"/>
              <a:gd name="connsiteY141" fmla="*/ 9732 h 9954"/>
              <a:gd name="connsiteX142" fmla="*/ 7136 w 10000"/>
              <a:gd name="connsiteY142" fmla="*/ 9776 h 9954"/>
              <a:gd name="connsiteX143" fmla="*/ 7188 w 10000"/>
              <a:gd name="connsiteY143" fmla="*/ 9821 h 9954"/>
              <a:gd name="connsiteX144" fmla="*/ 7241 w 10000"/>
              <a:gd name="connsiteY144" fmla="*/ 9821 h 9954"/>
              <a:gd name="connsiteX145" fmla="*/ 7241 w 10000"/>
              <a:gd name="connsiteY145" fmla="*/ 9866 h 9954"/>
              <a:gd name="connsiteX146" fmla="*/ 7188 w 10000"/>
              <a:gd name="connsiteY146" fmla="*/ 9866 h 9954"/>
              <a:gd name="connsiteX147" fmla="*/ 7136 w 10000"/>
              <a:gd name="connsiteY147" fmla="*/ 9866 h 9954"/>
              <a:gd name="connsiteX148" fmla="*/ 7188 w 10000"/>
              <a:gd name="connsiteY148" fmla="*/ 9910 h 9954"/>
              <a:gd name="connsiteX149" fmla="*/ 7188 w 10000"/>
              <a:gd name="connsiteY149" fmla="*/ 9954 h 9954"/>
              <a:gd name="connsiteX150" fmla="*/ 7344 w 10000"/>
              <a:gd name="connsiteY150" fmla="*/ 7843 h 9954"/>
              <a:gd name="connsiteX151" fmla="*/ 7136 w 10000"/>
              <a:gd name="connsiteY151" fmla="*/ 7482 h 9954"/>
              <a:gd name="connsiteX152" fmla="*/ 6544 w 10000"/>
              <a:gd name="connsiteY152" fmla="*/ 7364 h 9954"/>
              <a:gd name="connsiteX153" fmla="*/ 5775 w 10000"/>
              <a:gd name="connsiteY153" fmla="*/ 7328 h 9954"/>
              <a:gd name="connsiteX154" fmla="*/ 5311 w 10000"/>
              <a:gd name="connsiteY154" fmla="*/ 7214 h 9954"/>
              <a:gd name="connsiteX155" fmla="*/ 5071 w 10000"/>
              <a:gd name="connsiteY155" fmla="*/ 7100 h 9954"/>
              <a:gd name="connsiteX156" fmla="*/ 4912 w 10000"/>
              <a:gd name="connsiteY156" fmla="*/ 7196 h 9954"/>
              <a:gd name="connsiteX157" fmla="*/ 4416 w 10000"/>
              <a:gd name="connsiteY157" fmla="*/ 7022 h 9954"/>
              <a:gd name="connsiteX158" fmla="*/ 3584 w 10000"/>
              <a:gd name="connsiteY158" fmla="*/ 6719 h 9954"/>
              <a:gd name="connsiteX159" fmla="*/ 3104 w 10000"/>
              <a:gd name="connsiteY159" fmla="*/ 6660 h 9954"/>
              <a:gd name="connsiteX160" fmla="*/ 3200 w 10000"/>
              <a:gd name="connsiteY160" fmla="*/ 6450 h 9954"/>
              <a:gd name="connsiteX161" fmla="*/ 3344 w 10000"/>
              <a:gd name="connsiteY161" fmla="*/ 6394 h 9954"/>
              <a:gd name="connsiteX162" fmla="*/ 3728 w 10000"/>
              <a:gd name="connsiteY162" fmla="*/ 6088 h 9954"/>
              <a:gd name="connsiteX163" fmla="*/ 3968 w 10000"/>
              <a:gd name="connsiteY163" fmla="*/ 5803 h 9954"/>
              <a:gd name="connsiteX164" fmla="*/ 4224 w 10000"/>
              <a:gd name="connsiteY164" fmla="*/ 5497 h 9954"/>
              <a:gd name="connsiteX165" fmla="*/ 4368 w 10000"/>
              <a:gd name="connsiteY165" fmla="*/ 5214 h 9954"/>
              <a:gd name="connsiteX166" fmla="*/ 4352 w 10000"/>
              <a:gd name="connsiteY166" fmla="*/ 4888 h 9954"/>
              <a:gd name="connsiteX167" fmla="*/ 4336 w 10000"/>
              <a:gd name="connsiteY167" fmla="*/ 4601 h 9954"/>
              <a:gd name="connsiteX168" fmla="*/ 4176 w 10000"/>
              <a:gd name="connsiteY168" fmla="*/ 4429 h 9954"/>
              <a:gd name="connsiteX169" fmla="*/ 4016 w 10000"/>
              <a:gd name="connsiteY169" fmla="*/ 4450 h 9954"/>
              <a:gd name="connsiteX170" fmla="*/ 3856 w 10000"/>
              <a:gd name="connsiteY170" fmla="*/ 4755 h 9954"/>
              <a:gd name="connsiteX171" fmla="*/ 3808 w 10000"/>
              <a:gd name="connsiteY171" fmla="*/ 5305 h 9954"/>
              <a:gd name="connsiteX172" fmla="*/ 3536 w 10000"/>
              <a:gd name="connsiteY172" fmla="*/ 5671 h 9954"/>
              <a:gd name="connsiteX173" fmla="*/ 2992 w 10000"/>
              <a:gd name="connsiteY173" fmla="*/ 5993 h 9954"/>
              <a:gd name="connsiteX174" fmla="*/ 2415 w 10000"/>
              <a:gd name="connsiteY174" fmla="*/ 6240 h 9954"/>
              <a:gd name="connsiteX175" fmla="*/ 1951 w 10000"/>
              <a:gd name="connsiteY175" fmla="*/ 6582 h 9954"/>
              <a:gd name="connsiteX176" fmla="*/ 0 w 10000"/>
              <a:gd name="connsiteY176" fmla="*/ 6508 h 9954"/>
              <a:gd name="connsiteX177" fmla="*/ 3 w 10000"/>
              <a:gd name="connsiteY177" fmla="*/ 6266 h 9954"/>
              <a:gd name="connsiteX178" fmla="*/ 159 w 10000"/>
              <a:gd name="connsiteY178" fmla="*/ 6355 h 9954"/>
              <a:gd name="connsiteX179" fmla="*/ 368 w 10000"/>
              <a:gd name="connsiteY179" fmla="*/ 6266 h 9954"/>
              <a:gd name="connsiteX180" fmla="*/ 1462 w 10000"/>
              <a:gd name="connsiteY180" fmla="*/ 6266 h 9954"/>
              <a:gd name="connsiteX181" fmla="*/ 1617 w 10000"/>
              <a:gd name="connsiteY181" fmla="*/ 6221 h 9954"/>
              <a:gd name="connsiteX182" fmla="*/ 1669 w 10000"/>
              <a:gd name="connsiteY182" fmla="*/ 6221 h 9954"/>
              <a:gd name="connsiteX183" fmla="*/ 2189 w 10000"/>
              <a:gd name="connsiteY183" fmla="*/ 5645 h 9954"/>
              <a:gd name="connsiteX184" fmla="*/ 2294 w 10000"/>
              <a:gd name="connsiteY184" fmla="*/ 5554 h 9954"/>
              <a:gd name="connsiteX185" fmla="*/ 2762 w 10000"/>
              <a:gd name="connsiteY185" fmla="*/ 5110 h 9954"/>
              <a:gd name="connsiteX186" fmla="*/ 3023 w 10000"/>
              <a:gd name="connsiteY186" fmla="*/ 4843 h 9954"/>
              <a:gd name="connsiteX187" fmla="*/ 3179 w 10000"/>
              <a:gd name="connsiteY187" fmla="*/ 4710 h 9954"/>
              <a:gd name="connsiteX188" fmla="*/ 3596 w 10000"/>
              <a:gd name="connsiteY188" fmla="*/ 4045 h 9954"/>
              <a:gd name="connsiteX189" fmla="*/ 4116 w 10000"/>
              <a:gd name="connsiteY189" fmla="*/ 3776 h 9954"/>
              <a:gd name="connsiteX190" fmla="*/ 5001 w 10000"/>
              <a:gd name="connsiteY190" fmla="*/ 3022 h 9954"/>
              <a:gd name="connsiteX191" fmla="*/ 4845 w 10000"/>
              <a:gd name="connsiteY191" fmla="*/ 2755 h 9954"/>
              <a:gd name="connsiteX192" fmla="*/ 4794 w 10000"/>
              <a:gd name="connsiteY192" fmla="*/ 2577 h 9954"/>
              <a:gd name="connsiteX193" fmla="*/ 4794 w 10000"/>
              <a:gd name="connsiteY193" fmla="*/ 1332 h 9954"/>
              <a:gd name="connsiteX194" fmla="*/ 4116 w 10000"/>
              <a:gd name="connsiteY194" fmla="*/ 798 h 9954"/>
              <a:gd name="connsiteX195" fmla="*/ 4950 w 10000"/>
              <a:gd name="connsiteY195" fmla="*/ 798 h 9954"/>
              <a:gd name="connsiteX196" fmla="*/ 5782 w 10000"/>
              <a:gd name="connsiteY196" fmla="*/ 798 h 9954"/>
              <a:gd name="connsiteX197" fmla="*/ 5782 w 10000"/>
              <a:gd name="connsiteY197" fmla="*/ 754 h 9954"/>
              <a:gd name="connsiteX198" fmla="*/ 5782 w 10000"/>
              <a:gd name="connsiteY198" fmla="*/ 712 h 9954"/>
              <a:gd name="connsiteX199" fmla="*/ 5782 w 10000"/>
              <a:gd name="connsiteY199" fmla="*/ 671 h 9954"/>
              <a:gd name="connsiteX200" fmla="*/ 5782 w 10000"/>
              <a:gd name="connsiteY200" fmla="*/ 622 h 9954"/>
              <a:gd name="connsiteX201" fmla="*/ 5834 w 10000"/>
              <a:gd name="connsiteY201" fmla="*/ 574 h 9954"/>
              <a:gd name="connsiteX202" fmla="*/ 5834 w 10000"/>
              <a:gd name="connsiteY202" fmla="*/ 532 h 9954"/>
              <a:gd name="connsiteX203" fmla="*/ 5834 w 10000"/>
              <a:gd name="connsiteY203" fmla="*/ 489 h 9954"/>
              <a:gd name="connsiteX204" fmla="*/ 5834 w 10000"/>
              <a:gd name="connsiteY204" fmla="*/ 447 h 9954"/>
              <a:gd name="connsiteX205" fmla="*/ 5834 w 10000"/>
              <a:gd name="connsiteY205" fmla="*/ 404 h 9954"/>
              <a:gd name="connsiteX206" fmla="*/ 5834 w 10000"/>
              <a:gd name="connsiteY206" fmla="*/ 352 h 9954"/>
              <a:gd name="connsiteX207" fmla="*/ 5782 w 10000"/>
              <a:gd name="connsiteY207" fmla="*/ 352 h 9954"/>
              <a:gd name="connsiteX208" fmla="*/ 5782 w 10000"/>
              <a:gd name="connsiteY208" fmla="*/ 308 h 9954"/>
              <a:gd name="connsiteX209" fmla="*/ 5782 w 10000"/>
              <a:gd name="connsiteY209" fmla="*/ 265 h 9954"/>
              <a:gd name="connsiteX210" fmla="*/ 5782 w 10000"/>
              <a:gd name="connsiteY210" fmla="*/ 224 h 9954"/>
              <a:gd name="connsiteX211" fmla="*/ 5782 w 10000"/>
              <a:gd name="connsiteY211" fmla="*/ 181 h 9954"/>
              <a:gd name="connsiteX212" fmla="*/ 5782 w 10000"/>
              <a:gd name="connsiteY212" fmla="*/ 139 h 9954"/>
              <a:gd name="connsiteX213" fmla="*/ 5782 w 10000"/>
              <a:gd name="connsiteY213" fmla="*/ 85 h 9954"/>
              <a:gd name="connsiteX214" fmla="*/ 5782 w 10000"/>
              <a:gd name="connsiteY214" fmla="*/ 42 h 9954"/>
              <a:gd name="connsiteX215" fmla="*/ 5782 w 10000"/>
              <a:gd name="connsiteY215" fmla="*/ 0 h 9954"/>
              <a:gd name="connsiteX0" fmla="*/ 5782 w 10000"/>
              <a:gd name="connsiteY0" fmla="*/ 0 h 9956"/>
              <a:gd name="connsiteX1" fmla="*/ 7345 w 10000"/>
              <a:gd name="connsiteY1" fmla="*/ 42 h 9956"/>
              <a:gd name="connsiteX2" fmla="*/ 7501 w 10000"/>
              <a:gd name="connsiteY2" fmla="*/ 42 h 9956"/>
              <a:gd name="connsiteX3" fmla="*/ 7345 w 10000"/>
              <a:gd name="connsiteY3" fmla="*/ 182 h 9956"/>
              <a:gd name="connsiteX4" fmla="*/ 7293 w 10000"/>
              <a:gd name="connsiteY4" fmla="*/ 577 h 9956"/>
              <a:gd name="connsiteX5" fmla="*/ 7188 w 10000"/>
              <a:gd name="connsiteY5" fmla="*/ 1207 h 9956"/>
              <a:gd name="connsiteX6" fmla="*/ 7136 w 10000"/>
              <a:gd name="connsiteY6" fmla="*/ 1250 h 9956"/>
              <a:gd name="connsiteX7" fmla="*/ 6980 w 10000"/>
              <a:gd name="connsiteY7" fmla="*/ 1606 h 9956"/>
              <a:gd name="connsiteX8" fmla="*/ 7396 w 10000"/>
              <a:gd name="connsiteY8" fmla="*/ 3259 h 9956"/>
              <a:gd name="connsiteX9" fmla="*/ 7501 w 10000"/>
              <a:gd name="connsiteY9" fmla="*/ 3571 h 9956"/>
              <a:gd name="connsiteX10" fmla="*/ 7345 w 10000"/>
              <a:gd name="connsiteY10" fmla="*/ 3842 h 9956"/>
              <a:gd name="connsiteX11" fmla="*/ 8022 w 10000"/>
              <a:gd name="connsiteY11" fmla="*/ 4017 h 9956"/>
              <a:gd name="connsiteX12" fmla="*/ 8489 w 10000"/>
              <a:gd name="connsiteY12" fmla="*/ 4509 h 9956"/>
              <a:gd name="connsiteX13" fmla="*/ 8594 w 10000"/>
              <a:gd name="connsiteY13" fmla="*/ 4598 h 9956"/>
              <a:gd name="connsiteX14" fmla="*/ 8906 w 10000"/>
              <a:gd name="connsiteY14" fmla="*/ 4821 h 9956"/>
              <a:gd name="connsiteX15" fmla="*/ 9114 w 10000"/>
              <a:gd name="connsiteY15" fmla="*/ 5089 h 9956"/>
              <a:gd name="connsiteX16" fmla="*/ 9219 w 10000"/>
              <a:gd name="connsiteY16" fmla="*/ 5225 h 9956"/>
              <a:gd name="connsiteX17" fmla="*/ 9427 w 10000"/>
              <a:gd name="connsiteY17" fmla="*/ 5225 h 9956"/>
              <a:gd name="connsiteX18" fmla="*/ 9427 w 10000"/>
              <a:gd name="connsiteY18" fmla="*/ 5268 h 9956"/>
              <a:gd name="connsiteX19" fmla="*/ 9479 w 10000"/>
              <a:gd name="connsiteY19" fmla="*/ 5357 h 9956"/>
              <a:gd name="connsiteX20" fmla="*/ 9479 w 10000"/>
              <a:gd name="connsiteY20" fmla="*/ 5403 h 9956"/>
              <a:gd name="connsiteX21" fmla="*/ 9532 w 10000"/>
              <a:gd name="connsiteY21" fmla="*/ 5580 h 9956"/>
              <a:gd name="connsiteX22" fmla="*/ 9532 w 10000"/>
              <a:gd name="connsiteY22" fmla="*/ 5626 h 9956"/>
              <a:gd name="connsiteX23" fmla="*/ 9532 w 10000"/>
              <a:gd name="connsiteY23" fmla="*/ 5759 h 9956"/>
              <a:gd name="connsiteX24" fmla="*/ 9532 w 10000"/>
              <a:gd name="connsiteY24" fmla="*/ 5847 h 9956"/>
              <a:gd name="connsiteX25" fmla="*/ 9479 w 10000"/>
              <a:gd name="connsiteY25" fmla="*/ 5939 h 9956"/>
              <a:gd name="connsiteX26" fmla="*/ 9427 w 10000"/>
              <a:gd name="connsiteY26" fmla="*/ 6208 h 9956"/>
              <a:gd name="connsiteX27" fmla="*/ 9375 w 10000"/>
              <a:gd name="connsiteY27" fmla="*/ 6250 h 9956"/>
              <a:gd name="connsiteX28" fmla="*/ 9322 w 10000"/>
              <a:gd name="connsiteY28" fmla="*/ 6295 h 9956"/>
              <a:gd name="connsiteX29" fmla="*/ 9271 w 10000"/>
              <a:gd name="connsiteY29" fmla="*/ 6474 h 9956"/>
              <a:gd name="connsiteX30" fmla="*/ 9219 w 10000"/>
              <a:gd name="connsiteY30" fmla="*/ 6561 h 9956"/>
              <a:gd name="connsiteX31" fmla="*/ 9219 w 10000"/>
              <a:gd name="connsiteY31" fmla="*/ 6654 h 9956"/>
              <a:gd name="connsiteX32" fmla="*/ 9219 w 10000"/>
              <a:gd name="connsiteY32" fmla="*/ 6697 h 9956"/>
              <a:gd name="connsiteX33" fmla="*/ 9219 w 10000"/>
              <a:gd name="connsiteY33" fmla="*/ 6830 h 9956"/>
              <a:gd name="connsiteX34" fmla="*/ 9271 w 10000"/>
              <a:gd name="connsiteY34" fmla="*/ 6966 h 9956"/>
              <a:gd name="connsiteX35" fmla="*/ 9895 w 10000"/>
              <a:gd name="connsiteY35" fmla="*/ 6966 h 9956"/>
              <a:gd name="connsiteX36" fmla="*/ 9895 w 10000"/>
              <a:gd name="connsiteY36" fmla="*/ 7053 h 9956"/>
              <a:gd name="connsiteX37" fmla="*/ 9948 w 10000"/>
              <a:gd name="connsiteY37" fmla="*/ 7366 h 9956"/>
              <a:gd name="connsiteX38" fmla="*/ 9948 w 10000"/>
              <a:gd name="connsiteY38" fmla="*/ 7411 h 9956"/>
              <a:gd name="connsiteX39" fmla="*/ 9948 w 10000"/>
              <a:gd name="connsiteY39" fmla="*/ 7545 h 9956"/>
              <a:gd name="connsiteX40" fmla="*/ 9948 w 10000"/>
              <a:gd name="connsiteY40" fmla="*/ 7591 h 9956"/>
              <a:gd name="connsiteX41" fmla="*/ 9948 w 10000"/>
              <a:gd name="connsiteY41" fmla="*/ 7679 h 9956"/>
              <a:gd name="connsiteX42" fmla="*/ 9948 w 10000"/>
              <a:gd name="connsiteY42" fmla="*/ 7724 h 9956"/>
              <a:gd name="connsiteX43" fmla="*/ 9948 w 10000"/>
              <a:gd name="connsiteY43" fmla="*/ 7769 h 9956"/>
              <a:gd name="connsiteX44" fmla="*/ 9948 w 10000"/>
              <a:gd name="connsiteY44" fmla="*/ 7813 h 9956"/>
              <a:gd name="connsiteX45" fmla="*/ 10000 w 10000"/>
              <a:gd name="connsiteY45" fmla="*/ 7901 h 9956"/>
              <a:gd name="connsiteX46" fmla="*/ 10000 w 10000"/>
              <a:gd name="connsiteY46" fmla="*/ 8036 h 9956"/>
              <a:gd name="connsiteX47" fmla="*/ 10000 w 10000"/>
              <a:gd name="connsiteY47" fmla="*/ 8081 h 9956"/>
              <a:gd name="connsiteX48" fmla="*/ 10000 w 10000"/>
              <a:gd name="connsiteY48" fmla="*/ 8125 h 9956"/>
              <a:gd name="connsiteX49" fmla="*/ 10000 w 10000"/>
              <a:gd name="connsiteY49" fmla="*/ 8171 h 9956"/>
              <a:gd name="connsiteX50" fmla="*/ 10000 w 10000"/>
              <a:gd name="connsiteY50" fmla="*/ 8259 h 9956"/>
              <a:gd name="connsiteX51" fmla="*/ 10000 w 10000"/>
              <a:gd name="connsiteY51" fmla="*/ 8305 h 9956"/>
              <a:gd name="connsiteX52" fmla="*/ 10000 w 10000"/>
              <a:gd name="connsiteY52" fmla="*/ 8348 h 9956"/>
              <a:gd name="connsiteX53" fmla="*/ 10000 w 10000"/>
              <a:gd name="connsiteY53" fmla="*/ 8437 h 9956"/>
              <a:gd name="connsiteX54" fmla="*/ 10000 w 10000"/>
              <a:gd name="connsiteY54" fmla="*/ 8662 h 9956"/>
              <a:gd name="connsiteX55" fmla="*/ 10000 w 10000"/>
              <a:gd name="connsiteY55" fmla="*/ 8705 h 9956"/>
              <a:gd name="connsiteX56" fmla="*/ 10000 w 10000"/>
              <a:gd name="connsiteY56" fmla="*/ 8796 h 9956"/>
              <a:gd name="connsiteX57" fmla="*/ 10000 w 10000"/>
              <a:gd name="connsiteY57" fmla="*/ 8840 h 9956"/>
              <a:gd name="connsiteX58" fmla="*/ 10000 w 10000"/>
              <a:gd name="connsiteY58" fmla="*/ 8885 h 9956"/>
              <a:gd name="connsiteX59" fmla="*/ 10000 w 10000"/>
              <a:gd name="connsiteY59" fmla="*/ 8929 h 9956"/>
              <a:gd name="connsiteX60" fmla="*/ 10000 w 10000"/>
              <a:gd name="connsiteY60" fmla="*/ 8971 h 9956"/>
              <a:gd name="connsiteX61" fmla="*/ 10000 w 10000"/>
              <a:gd name="connsiteY61" fmla="*/ 9064 h 9956"/>
              <a:gd name="connsiteX62" fmla="*/ 10000 w 10000"/>
              <a:gd name="connsiteY62" fmla="*/ 9152 h 9956"/>
              <a:gd name="connsiteX63" fmla="*/ 10000 w 10000"/>
              <a:gd name="connsiteY63" fmla="*/ 9195 h 9956"/>
              <a:gd name="connsiteX64" fmla="*/ 10000 w 10000"/>
              <a:gd name="connsiteY64" fmla="*/ 9243 h 9956"/>
              <a:gd name="connsiteX65" fmla="*/ 9948 w 10000"/>
              <a:gd name="connsiteY65" fmla="*/ 9243 h 9956"/>
              <a:gd name="connsiteX66" fmla="*/ 9948 w 10000"/>
              <a:gd name="connsiteY66" fmla="*/ 9286 h 9956"/>
              <a:gd name="connsiteX67" fmla="*/ 9895 w 10000"/>
              <a:gd name="connsiteY67" fmla="*/ 9332 h 9956"/>
              <a:gd name="connsiteX68" fmla="*/ 9844 w 10000"/>
              <a:gd name="connsiteY68" fmla="*/ 9332 h 9956"/>
              <a:gd name="connsiteX69" fmla="*/ 9844 w 10000"/>
              <a:gd name="connsiteY69" fmla="*/ 9377 h 9956"/>
              <a:gd name="connsiteX70" fmla="*/ 9792 w 10000"/>
              <a:gd name="connsiteY70" fmla="*/ 9377 h 9956"/>
              <a:gd name="connsiteX71" fmla="*/ 9740 w 10000"/>
              <a:gd name="connsiteY71" fmla="*/ 9420 h 9956"/>
              <a:gd name="connsiteX72" fmla="*/ 9687 w 10000"/>
              <a:gd name="connsiteY72" fmla="*/ 9463 h 9956"/>
              <a:gd name="connsiteX73" fmla="*/ 9635 w 10000"/>
              <a:gd name="connsiteY73" fmla="*/ 9463 h 9956"/>
              <a:gd name="connsiteX74" fmla="*/ 9635 w 10000"/>
              <a:gd name="connsiteY74" fmla="*/ 9510 h 9956"/>
              <a:gd name="connsiteX75" fmla="*/ 9583 w 10000"/>
              <a:gd name="connsiteY75" fmla="*/ 9510 h 9956"/>
              <a:gd name="connsiteX76" fmla="*/ 9532 w 10000"/>
              <a:gd name="connsiteY76" fmla="*/ 9510 h 9956"/>
              <a:gd name="connsiteX77" fmla="*/ 9479 w 10000"/>
              <a:gd name="connsiteY77" fmla="*/ 9510 h 9956"/>
              <a:gd name="connsiteX78" fmla="*/ 9427 w 10000"/>
              <a:gd name="connsiteY78" fmla="*/ 9510 h 9956"/>
              <a:gd name="connsiteX79" fmla="*/ 9375 w 10000"/>
              <a:gd name="connsiteY79" fmla="*/ 9510 h 9956"/>
              <a:gd name="connsiteX80" fmla="*/ 9322 w 10000"/>
              <a:gd name="connsiteY80" fmla="*/ 9510 h 9956"/>
              <a:gd name="connsiteX81" fmla="*/ 9271 w 10000"/>
              <a:gd name="connsiteY81" fmla="*/ 9510 h 9956"/>
              <a:gd name="connsiteX82" fmla="*/ 9271 w 10000"/>
              <a:gd name="connsiteY82" fmla="*/ 9553 h 9956"/>
              <a:gd name="connsiteX83" fmla="*/ 9219 w 10000"/>
              <a:gd name="connsiteY83" fmla="*/ 9599 h 9956"/>
              <a:gd name="connsiteX84" fmla="*/ 9167 w 10000"/>
              <a:gd name="connsiteY84" fmla="*/ 9644 h 9956"/>
              <a:gd name="connsiteX85" fmla="*/ 9219 w 10000"/>
              <a:gd name="connsiteY85" fmla="*/ 9644 h 9956"/>
              <a:gd name="connsiteX86" fmla="*/ 9167 w 10000"/>
              <a:gd name="connsiteY86" fmla="*/ 9644 h 9956"/>
              <a:gd name="connsiteX87" fmla="*/ 9114 w 10000"/>
              <a:gd name="connsiteY87" fmla="*/ 9644 h 9956"/>
              <a:gd name="connsiteX88" fmla="*/ 9062 w 10000"/>
              <a:gd name="connsiteY88" fmla="*/ 9688 h 9956"/>
              <a:gd name="connsiteX89" fmla="*/ 9011 w 10000"/>
              <a:gd name="connsiteY89" fmla="*/ 9732 h 9956"/>
              <a:gd name="connsiteX90" fmla="*/ 8959 w 10000"/>
              <a:gd name="connsiteY90" fmla="*/ 9732 h 9956"/>
              <a:gd name="connsiteX91" fmla="*/ 8959 w 10000"/>
              <a:gd name="connsiteY91" fmla="*/ 9777 h 9956"/>
              <a:gd name="connsiteX92" fmla="*/ 8906 w 10000"/>
              <a:gd name="connsiteY92" fmla="*/ 9777 h 9956"/>
              <a:gd name="connsiteX93" fmla="*/ 8906 w 10000"/>
              <a:gd name="connsiteY93" fmla="*/ 9821 h 9956"/>
              <a:gd name="connsiteX94" fmla="*/ 8854 w 10000"/>
              <a:gd name="connsiteY94" fmla="*/ 9821 h 9956"/>
              <a:gd name="connsiteX95" fmla="*/ 8802 w 10000"/>
              <a:gd name="connsiteY95" fmla="*/ 9821 h 9956"/>
              <a:gd name="connsiteX96" fmla="*/ 8749 w 10000"/>
              <a:gd name="connsiteY96" fmla="*/ 9821 h 9956"/>
              <a:gd name="connsiteX97" fmla="*/ 8698 w 10000"/>
              <a:gd name="connsiteY97" fmla="*/ 9821 h 9956"/>
              <a:gd name="connsiteX98" fmla="*/ 8646 w 10000"/>
              <a:gd name="connsiteY98" fmla="*/ 9821 h 9956"/>
              <a:gd name="connsiteX99" fmla="*/ 8646 w 10000"/>
              <a:gd name="connsiteY99" fmla="*/ 9777 h 9956"/>
              <a:gd name="connsiteX100" fmla="*/ 8646 w 10000"/>
              <a:gd name="connsiteY100" fmla="*/ 9732 h 9956"/>
              <a:gd name="connsiteX101" fmla="*/ 8594 w 10000"/>
              <a:gd name="connsiteY101" fmla="*/ 9688 h 9956"/>
              <a:gd name="connsiteX102" fmla="*/ 8594 w 10000"/>
              <a:gd name="connsiteY102" fmla="*/ 9644 h 9956"/>
              <a:gd name="connsiteX103" fmla="*/ 8594 w 10000"/>
              <a:gd name="connsiteY103" fmla="*/ 9599 h 9956"/>
              <a:gd name="connsiteX104" fmla="*/ 8541 w 10000"/>
              <a:gd name="connsiteY104" fmla="*/ 9599 h 9956"/>
              <a:gd name="connsiteX105" fmla="*/ 8489 w 10000"/>
              <a:gd name="connsiteY105" fmla="*/ 9599 h 9956"/>
              <a:gd name="connsiteX106" fmla="*/ 8489 w 10000"/>
              <a:gd name="connsiteY106" fmla="*/ 9553 h 9956"/>
              <a:gd name="connsiteX107" fmla="*/ 8438 w 10000"/>
              <a:gd name="connsiteY107" fmla="*/ 9553 h 9956"/>
              <a:gd name="connsiteX108" fmla="*/ 8386 w 10000"/>
              <a:gd name="connsiteY108" fmla="*/ 9599 h 9956"/>
              <a:gd name="connsiteX109" fmla="*/ 8386 w 10000"/>
              <a:gd name="connsiteY109" fmla="*/ 9644 h 9956"/>
              <a:gd name="connsiteX110" fmla="*/ 8282 w 10000"/>
              <a:gd name="connsiteY110" fmla="*/ 9599 h 9956"/>
              <a:gd name="connsiteX111" fmla="*/ 8282 w 10000"/>
              <a:gd name="connsiteY111" fmla="*/ 9553 h 9956"/>
              <a:gd name="connsiteX112" fmla="*/ 8230 w 10000"/>
              <a:gd name="connsiteY112" fmla="*/ 9553 h 9956"/>
              <a:gd name="connsiteX113" fmla="*/ 8179 w 10000"/>
              <a:gd name="connsiteY113" fmla="*/ 9553 h 9956"/>
              <a:gd name="connsiteX114" fmla="*/ 8126 w 10000"/>
              <a:gd name="connsiteY114" fmla="*/ 9553 h 9956"/>
              <a:gd name="connsiteX115" fmla="*/ 8074 w 10000"/>
              <a:gd name="connsiteY115" fmla="*/ 9553 h 9956"/>
              <a:gd name="connsiteX116" fmla="*/ 8022 w 10000"/>
              <a:gd name="connsiteY116" fmla="*/ 9553 h 9956"/>
              <a:gd name="connsiteX117" fmla="*/ 8022 w 10000"/>
              <a:gd name="connsiteY117" fmla="*/ 9599 h 9956"/>
              <a:gd name="connsiteX118" fmla="*/ 7969 w 10000"/>
              <a:gd name="connsiteY118" fmla="*/ 9599 h 9956"/>
              <a:gd name="connsiteX119" fmla="*/ 7917 w 10000"/>
              <a:gd name="connsiteY119" fmla="*/ 9644 h 9956"/>
              <a:gd name="connsiteX120" fmla="*/ 7866 w 10000"/>
              <a:gd name="connsiteY120" fmla="*/ 9644 h 9956"/>
              <a:gd name="connsiteX121" fmla="*/ 7866 w 10000"/>
              <a:gd name="connsiteY121" fmla="*/ 9599 h 9956"/>
              <a:gd name="connsiteX122" fmla="*/ 7866 w 10000"/>
              <a:gd name="connsiteY122" fmla="*/ 9644 h 9956"/>
              <a:gd name="connsiteX123" fmla="*/ 7814 w 10000"/>
              <a:gd name="connsiteY123" fmla="*/ 9644 h 9956"/>
              <a:gd name="connsiteX124" fmla="*/ 7761 w 10000"/>
              <a:gd name="connsiteY124" fmla="*/ 9688 h 9956"/>
              <a:gd name="connsiteX125" fmla="*/ 7709 w 10000"/>
              <a:gd name="connsiteY125" fmla="*/ 9644 h 9956"/>
              <a:gd name="connsiteX126" fmla="*/ 7657 w 10000"/>
              <a:gd name="connsiteY126" fmla="*/ 9644 h 9956"/>
              <a:gd name="connsiteX127" fmla="*/ 7606 w 10000"/>
              <a:gd name="connsiteY127" fmla="*/ 9644 h 9956"/>
              <a:gd name="connsiteX128" fmla="*/ 7553 w 10000"/>
              <a:gd name="connsiteY128" fmla="*/ 9599 h 9956"/>
              <a:gd name="connsiteX129" fmla="*/ 7501 w 10000"/>
              <a:gd name="connsiteY129" fmla="*/ 9599 h 9956"/>
              <a:gd name="connsiteX130" fmla="*/ 7501 w 10000"/>
              <a:gd name="connsiteY130" fmla="*/ 9644 h 9956"/>
              <a:gd name="connsiteX131" fmla="*/ 7449 w 10000"/>
              <a:gd name="connsiteY131" fmla="*/ 9644 h 9956"/>
              <a:gd name="connsiteX132" fmla="*/ 7396 w 10000"/>
              <a:gd name="connsiteY132" fmla="*/ 9599 h 9956"/>
              <a:gd name="connsiteX133" fmla="*/ 7345 w 10000"/>
              <a:gd name="connsiteY133" fmla="*/ 9599 h 9956"/>
              <a:gd name="connsiteX134" fmla="*/ 7293 w 10000"/>
              <a:gd name="connsiteY134" fmla="*/ 9688 h 9956"/>
              <a:gd name="connsiteX135" fmla="*/ 7241 w 10000"/>
              <a:gd name="connsiteY135" fmla="*/ 9688 h 9956"/>
              <a:gd name="connsiteX136" fmla="*/ 7241 w 10000"/>
              <a:gd name="connsiteY136" fmla="*/ 9644 h 9956"/>
              <a:gd name="connsiteX137" fmla="*/ 7241 w 10000"/>
              <a:gd name="connsiteY137" fmla="*/ 9688 h 9956"/>
              <a:gd name="connsiteX138" fmla="*/ 7241 w 10000"/>
              <a:gd name="connsiteY138" fmla="*/ 9732 h 9956"/>
              <a:gd name="connsiteX139" fmla="*/ 7188 w 10000"/>
              <a:gd name="connsiteY139" fmla="*/ 9732 h 9956"/>
              <a:gd name="connsiteX140" fmla="*/ 7136 w 10000"/>
              <a:gd name="connsiteY140" fmla="*/ 9732 h 9956"/>
              <a:gd name="connsiteX141" fmla="*/ 7188 w 10000"/>
              <a:gd name="connsiteY141" fmla="*/ 9777 h 9956"/>
              <a:gd name="connsiteX142" fmla="*/ 7136 w 10000"/>
              <a:gd name="connsiteY142" fmla="*/ 9821 h 9956"/>
              <a:gd name="connsiteX143" fmla="*/ 7188 w 10000"/>
              <a:gd name="connsiteY143" fmla="*/ 9866 h 9956"/>
              <a:gd name="connsiteX144" fmla="*/ 7241 w 10000"/>
              <a:gd name="connsiteY144" fmla="*/ 9866 h 9956"/>
              <a:gd name="connsiteX145" fmla="*/ 7241 w 10000"/>
              <a:gd name="connsiteY145" fmla="*/ 9912 h 9956"/>
              <a:gd name="connsiteX146" fmla="*/ 7188 w 10000"/>
              <a:gd name="connsiteY146" fmla="*/ 9912 h 9956"/>
              <a:gd name="connsiteX147" fmla="*/ 7136 w 10000"/>
              <a:gd name="connsiteY147" fmla="*/ 9912 h 9956"/>
              <a:gd name="connsiteX148" fmla="*/ 7188 w 10000"/>
              <a:gd name="connsiteY148" fmla="*/ 9956 h 9956"/>
              <a:gd name="connsiteX149" fmla="*/ 7344 w 10000"/>
              <a:gd name="connsiteY149" fmla="*/ 7879 h 9956"/>
              <a:gd name="connsiteX150" fmla="*/ 7136 w 10000"/>
              <a:gd name="connsiteY150" fmla="*/ 7517 h 9956"/>
              <a:gd name="connsiteX151" fmla="*/ 6544 w 10000"/>
              <a:gd name="connsiteY151" fmla="*/ 7398 h 9956"/>
              <a:gd name="connsiteX152" fmla="*/ 5775 w 10000"/>
              <a:gd name="connsiteY152" fmla="*/ 7362 h 9956"/>
              <a:gd name="connsiteX153" fmla="*/ 5311 w 10000"/>
              <a:gd name="connsiteY153" fmla="*/ 7247 h 9956"/>
              <a:gd name="connsiteX154" fmla="*/ 5071 w 10000"/>
              <a:gd name="connsiteY154" fmla="*/ 7133 h 9956"/>
              <a:gd name="connsiteX155" fmla="*/ 4912 w 10000"/>
              <a:gd name="connsiteY155" fmla="*/ 7229 h 9956"/>
              <a:gd name="connsiteX156" fmla="*/ 4416 w 10000"/>
              <a:gd name="connsiteY156" fmla="*/ 7054 h 9956"/>
              <a:gd name="connsiteX157" fmla="*/ 3584 w 10000"/>
              <a:gd name="connsiteY157" fmla="*/ 6750 h 9956"/>
              <a:gd name="connsiteX158" fmla="*/ 3104 w 10000"/>
              <a:gd name="connsiteY158" fmla="*/ 6691 h 9956"/>
              <a:gd name="connsiteX159" fmla="*/ 3200 w 10000"/>
              <a:gd name="connsiteY159" fmla="*/ 6480 h 9956"/>
              <a:gd name="connsiteX160" fmla="*/ 3344 w 10000"/>
              <a:gd name="connsiteY160" fmla="*/ 6424 h 9956"/>
              <a:gd name="connsiteX161" fmla="*/ 3728 w 10000"/>
              <a:gd name="connsiteY161" fmla="*/ 6116 h 9956"/>
              <a:gd name="connsiteX162" fmla="*/ 3968 w 10000"/>
              <a:gd name="connsiteY162" fmla="*/ 5830 h 9956"/>
              <a:gd name="connsiteX163" fmla="*/ 4224 w 10000"/>
              <a:gd name="connsiteY163" fmla="*/ 5522 h 9956"/>
              <a:gd name="connsiteX164" fmla="*/ 4368 w 10000"/>
              <a:gd name="connsiteY164" fmla="*/ 5238 h 9956"/>
              <a:gd name="connsiteX165" fmla="*/ 4352 w 10000"/>
              <a:gd name="connsiteY165" fmla="*/ 4911 h 9956"/>
              <a:gd name="connsiteX166" fmla="*/ 4336 w 10000"/>
              <a:gd name="connsiteY166" fmla="*/ 4622 h 9956"/>
              <a:gd name="connsiteX167" fmla="*/ 4176 w 10000"/>
              <a:gd name="connsiteY167" fmla="*/ 4449 h 9956"/>
              <a:gd name="connsiteX168" fmla="*/ 4016 w 10000"/>
              <a:gd name="connsiteY168" fmla="*/ 4471 h 9956"/>
              <a:gd name="connsiteX169" fmla="*/ 3856 w 10000"/>
              <a:gd name="connsiteY169" fmla="*/ 4777 h 9956"/>
              <a:gd name="connsiteX170" fmla="*/ 3808 w 10000"/>
              <a:gd name="connsiteY170" fmla="*/ 5330 h 9956"/>
              <a:gd name="connsiteX171" fmla="*/ 3536 w 10000"/>
              <a:gd name="connsiteY171" fmla="*/ 5697 h 9956"/>
              <a:gd name="connsiteX172" fmla="*/ 2992 w 10000"/>
              <a:gd name="connsiteY172" fmla="*/ 6021 h 9956"/>
              <a:gd name="connsiteX173" fmla="*/ 2415 w 10000"/>
              <a:gd name="connsiteY173" fmla="*/ 6269 h 9956"/>
              <a:gd name="connsiteX174" fmla="*/ 1951 w 10000"/>
              <a:gd name="connsiteY174" fmla="*/ 6612 h 9956"/>
              <a:gd name="connsiteX175" fmla="*/ 0 w 10000"/>
              <a:gd name="connsiteY175" fmla="*/ 6538 h 9956"/>
              <a:gd name="connsiteX176" fmla="*/ 3 w 10000"/>
              <a:gd name="connsiteY176" fmla="*/ 6295 h 9956"/>
              <a:gd name="connsiteX177" fmla="*/ 159 w 10000"/>
              <a:gd name="connsiteY177" fmla="*/ 6384 h 9956"/>
              <a:gd name="connsiteX178" fmla="*/ 368 w 10000"/>
              <a:gd name="connsiteY178" fmla="*/ 6295 h 9956"/>
              <a:gd name="connsiteX179" fmla="*/ 1462 w 10000"/>
              <a:gd name="connsiteY179" fmla="*/ 6295 h 9956"/>
              <a:gd name="connsiteX180" fmla="*/ 1617 w 10000"/>
              <a:gd name="connsiteY180" fmla="*/ 6250 h 9956"/>
              <a:gd name="connsiteX181" fmla="*/ 1669 w 10000"/>
              <a:gd name="connsiteY181" fmla="*/ 6250 h 9956"/>
              <a:gd name="connsiteX182" fmla="*/ 2189 w 10000"/>
              <a:gd name="connsiteY182" fmla="*/ 5671 h 9956"/>
              <a:gd name="connsiteX183" fmla="*/ 2294 w 10000"/>
              <a:gd name="connsiteY183" fmla="*/ 5580 h 9956"/>
              <a:gd name="connsiteX184" fmla="*/ 2762 w 10000"/>
              <a:gd name="connsiteY184" fmla="*/ 5134 h 9956"/>
              <a:gd name="connsiteX185" fmla="*/ 3023 w 10000"/>
              <a:gd name="connsiteY185" fmla="*/ 4865 h 9956"/>
              <a:gd name="connsiteX186" fmla="*/ 3179 w 10000"/>
              <a:gd name="connsiteY186" fmla="*/ 4732 h 9956"/>
              <a:gd name="connsiteX187" fmla="*/ 3596 w 10000"/>
              <a:gd name="connsiteY187" fmla="*/ 4064 h 9956"/>
              <a:gd name="connsiteX188" fmla="*/ 4116 w 10000"/>
              <a:gd name="connsiteY188" fmla="*/ 3793 h 9956"/>
              <a:gd name="connsiteX189" fmla="*/ 5001 w 10000"/>
              <a:gd name="connsiteY189" fmla="*/ 3036 h 9956"/>
              <a:gd name="connsiteX190" fmla="*/ 4845 w 10000"/>
              <a:gd name="connsiteY190" fmla="*/ 2768 h 9956"/>
              <a:gd name="connsiteX191" fmla="*/ 4794 w 10000"/>
              <a:gd name="connsiteY191" fmla="*/ 2589 h 9956"/>
              <a:gd name="connsiteX192" fmla="*/ 4794 w 10000"/>
              <a:gd name="connsiteY192" fmla="*/ 1338 h 9956"/>
              <a:gd name="connsiteX193" fmla="*/ 4116 w 10000"/>
              <a:gd name="connsiteY193" fmla="*/ 802 h 9956"/>
              <a:gd name="connsiteX194" fmla="*/ 4950 w 10000"/>
              <a:gd name="connsiteY194" fmla="*/ 802 h 9956"/>
              <a:gd name="connsiteX195" fmla="*/ 5782 w 10000"/>
              <a:gd name="connsiteY195" fmla="*/ 802 h 9956"/>
              <a:gd name="connsiteX196" fmla="*/ 5782 w 10000"/>
              <a:gd name="connsiteY196" fmla="*/ 757 h 9956"/>
              <a:gd name="connsiteX197" fmla="*/ 5782 w 10000"/>
              <a:gd name="connsiteY197" fmla="*/ 715 h 9956"/>
              <a:gd name="connsiteX198" fmla="*/ 5782 w 10000"/>
              <a:gd name="connsiteY198" fmla="*/ 674 h 9956"/>
              <a:gd name="connsiteX199" fmla="*/ 5782 w 10000"/>
              <a:gd name="connsiteY199" fmla="*/ 625 h 9956"/>
              <a:gd name="connsiteX200" fmla="*/ 5834 w 10000"/>
              <a:gd name="connsiteY200" fmla="*/ 577 h 9956"/>
              <a:gd name="connsiteX201" fmla="*/ 5834 w 10000"/>
              <a:gd name="connsiteY201" fmla="*/ 534 h 9956"/>
              <a:gd name="connsiteX202" fmla="*/ 5834 w 10000"/>
              <a:gd name="connsiteY202" fmla="*/ 491 h 9956"/>
              <a:gd name="connsiteX203" fmla="*/ 5834 w 10000"/>
              <a:gd name="connsiteY203" fmla="*/ 449 h 9956"/>
              <a:gd name="connsiteX204" fmla="*/ 5834 w 10000"/>
              <a:gd name="connsiteY204" fmla="*/ 406 h 9956"/>
              <a:gd name="connsiteX205" fmla="*/ 5834 w 10000"/>
              <a:gd name="connsiteY205" fmla="*/ 354 h 9956"/>
              <a:gd name="connsiteX206" fmla="*/ 5782 w 10000"/>
              <a:gd name="connsiteY206" fmla="*/ 354 h 9956"/>
              <a:gd name="connsiteX207" fmla="*/ 5782 w 10000"/>
              <a:gd name="connsiteY207" fmla="*/ 309 h 9956"/>
              <a:gd name="connsiteX208" fmla="*/ 5782 w 10000"/>
              <a:gd name="connsiteY208" fmla="*/ 266 h 9956"/>
              <a:gd name="connsiteX209" fmla="*/ 5782 w 10000"/>
              <a:gd name="connsiteY209" fmla="*/ 225 h 9956"/>
              <a:gd name="connsiteX210" fmla="*/ 5782 w 10000"/>
              <a:gd name="connsiteY210" fmla="*/ 182 h 9956"/>
              <a:gd name="connsiteX211" fmla="*/ 5782 w 10000"/>
              <a:gd name="connsiteY211" fmla="*/ 140 h 9956"/>
              <a:gd name="connsiteX212" fmla="*/ 5782 w 10000"/>
              <a:gd name="connsiteY212" fmla="*/ 85 h 9956"/>
              <a:gd name="connsiteX213" fmla="*/ 5782 w 10000"/>
              <a:gd name="connsiteY213" fmla="*/ 42 h 9956"/>
              <a:gd name="connsiteX214" fmla="*/ 5782 w 10000"/>
              <a:gd name="connsiteY214" fmla="*/ 0 h 9956"/>
              <a:gd name="connsiteX0" fmla="*/ 5782 w 10000"/>
              <a:gd name="connsiteY0" fmla="*/ 0 h 9956"/>
              <a:gd name="connsiteX1" fmla="*/ 7345 w 10000"/>
              <a:gd name="connsiteY1" fmla="*/ 42 h 9956"/>
              <a:gd name="connsiteX2" fmla="*/ 7501 w 10000"/>
              <a:gd name="connsiteY2" fmla="*/ 42 h 9956"/>
              <a:gd name="connsiteX3" fmla="*/ 7345 w 10000"/>
              <a:gd name="connsiteY3" fmla="*/ 183 h 9956"/>
              <a:gd name="connsiteX4" fmla="*/ 7293 w 10000"/>
              <a:gd name="connsiteY4" fmla="*/ 580 h 9956"/>
              <a:gd name="connsiteX5" fmla="*/ 7188 w 10000"/>
              <a:gd name="connsiteY5" fmla="*/ 1212 h 9956"/>
              <a:gd name="connsiteX6" fmla="*/ 7136 w 10000"/>
              <a:gd name="connsiteY6" fmla="*/ 1256 h 9956"/>
              <a:gd name="connsiteX7" fmla="*/ 6980 w 10000"/>
              <a:gd name="connsiteY7" fmla="*/ 1613 h 9956"/>
              <a:gd name="connsiteX8" fmla="*/ 7396 w 10000"/>
              <a:gd name="connsiteY8" fmla="*/ 3273 h 9956"/>
              <a:gd name="connsiteX9" fmla="*/ 7501 w 10000"/>
              <a:gd name="connsiteY9" fmla="*/ 3587 h 9956"/>
              <a:gd name="connsiteX10" fmla="*/ 7345 w 10000"/>
              <a:gd name="connsiteY10" fmla="*/ 3859 h 9956"/>
              <a:gd name="connsiteX11" fmla="*/ 8022 w 10000"/>
              <a:gd name="connsiteY11" fmla="*/ 4035 h 9956"/>
              <a:gd name="connsiteX12" fmla="*/ 8489 w 10000"/>
              <a:gd name="connsiteY12" fmla="*/ 4529 h 9956"/>
              <a:gd name="connsiteX13" fmla="*/ 8594 w 10000"/>
              <a:gd name="connsiteY13" fmla="*/ 4618 h 9956"/>
              <a:gd name="connsiteX14" fmla="*/ 8906 w 10000"/>
              <a:gd name="connsiteY14" fmla="*/ 4842 h 9956"/>
              <a:gd name="connsiteX15" fmla="*/ 9114 w 10000"/>
              <a:gd name="connsiteY15" fmla="*/ 5111 h 9956"/>
              <a:gd name="connsiteX16" fmla="*/ 9219 w 10000"/>
              <a:gd name="connsiteY16" fmla="*/ 5248 h 9956"/>
              <a:gd name="connsiteX17" fmla="*/ 9427 w 10000"/>
              <a:gd name="connsiteY17" fmla="*/ 5248 h 9956"/>
              <a:gd name="connsiteX18" fmla="*/ 9427 w 10000"/>
              <a:gd name="connsiteY18" fmla="*/ 5291 h 9956"/>
              <a:gd name="connsiteX19" fmla="*/ 9479 w 10000"/>
              <a:gd name="connsiteY19" fmla="*/ 5381 h 9956"/>
              <a:gd name="connsiteX20" fmla="*/ 9479 w 10000"/>
              <a:gd name="connsiteY20" fmla="*/ 5427 h 9956"/>
              <a:gd name="connsiteX21" fmla="*/ 9532 w 10000"/>
              <a:gd name="connsiteY21" fmla="*/ 5605 h 9956"/>
              <a:gd name="connsiteX22" fmla="*/ 9532 w 10000"/>
              <a:gd name="connsiteY22" fmla="*/ 5651 h 9956"/>
              <a:gd name="connsiteX23" fmla="*/ 9532 w 10000"/>
              <a:gd name="connsiteY23" fmla="*/ 5784 h 9956"/>
              <a:gd name="connsiteX24" fmla="*/ 9532 w 10000"/>
              <a:gd name="connsiteY24" fmla="*/ 5873 h 9956"/>
              <a:gd name="connsiteX25" fmla="*/ 9479 w 10000"/>
              <a:gd name="connsiteY25" fmla="*/ 5965 h 9956"/>
              <a:gd name="connsiteX26" fmla="*/ 9427 w 10000"/>
              <a:gd name="connsiteY26" fmla="*/ 6235 h 9956"/>
              <a:gd name="connsiteX27" fmla="*/ 9375 w 10000"/>
              <a:gd name="connsiteY27" fmla="*/ 6278 h 9956"/>
              <a:gd name="connsiteX28" fmla="*/ 9322 w 10000"/>
              <a:gd name="connsiteY28" fmla="*/ 6323 h 9956"/>
              <a:gd name="connsiteX29" fmla="*/ 9271 w 10000"/>
              <a:gd name="connsiteY29" fmla="*/ 6503 h 9956"/>
              <a:gd name="connsiteX30" fmla="*/ 9219 w 10000"/>
              <a:gd name="connsiteY30" fmla="*/ 6590 h 9956"/>
              <a:gd name="connsiteX31" fmla="*/ 9219 w 10000"/>
              <a:gd name="connsiteY31" fmla="*/ 6683 h 9956"/>
              <a:gd name="connsiteX32" fmla="*/ 9219 w 10000"/>
              <a:gd name="connsiteY32" fmla="*/ 6727 h 9956"/>
              <a:gd name="connsiteX33" fmla="*/ 9219 w 10000"/>
              <a:gd name="connsiteY33" fmla="*/ 6860 h 9956"/>
              <a:gd name="connsiteX34" fmla="*/ 9271 w 10000"/>
              <a:gd name="connsiteY34" fmla="*/ 6997 h 9956"/>
              <a:gd name="connsiteX35" fmla="*/ 9895 w 10000"/>
              <a:gd name="connsiteY35" fmla="*/ 6997 h 9956"/>
              <a:gd name="connsiteX36" fmla="*/ 9895 w 10000"/>
              <a:gd name="connsiteY36" fmla="*/ 7084 h 9956"/>
              <a:gd name="connsiteX37" fmla="*/ 9948 w 10000"/>
              <a:gd name="connsiteY37" fmla="*/ 7399 h 9956"/>
              <a:gd name="connsiteX38" fmla="*/ 9948 w 10000"/>
              <a:gd name="connsiteY38" fmla="*/ 7444 h 9956"/>
              <a:gd name="connsiteX39" fmla="*/ 9948 w 10000"/>
              <a:gd name="connsiteY39" fmla="*/ 7578 h 9956"/>
              <a:gd name="connsiteX40" fmla="*/ 9948 w 10000"/>
              <a:gd name="connsiteY40" fmla="*/ 7625 h 9956"/>
              <a:gd name="connsiteX41" fmla="*/ 9948 w 10000"/>
              <a:gd name="connsiteY41" fmla="*/ 7713 h 9956"/>
              <a:gd name="connsiteX42" fmla="*/ 9948 w 10000"/>
              <a:gd name="connsiteY42" fmla="*/ 7758 h 9956"/>
              <a:gd name="connsiteX43" fmla="*/ 9948 w 10000"/>
              <a:gd name="connsiteY43" fmla="*/ 7803 h 9956"/>
              <a:gd name="connsiteX44" fmla="*/ 9948 w 10000"/>
              <a:gd name="connsiteY44" fmla="*/ 7848 h 9956"/>
              <a:gd name="connsiteX45" fmla="*/ 10000 w 10000"/>
              <a:gd name="connsiteY45" fmla="*/ 7936 h 9956"/>
              <a:gd name="connsiteX46" fmla="*/ 10000 w 10000"/>
              <a:gd name="connsiteY46" fmla="*/ 8072 h 9956"/>
              <a:gd name="connsiteX47" fmla="*/ 10000 w 10000"/>
              <a:gd name="connsiteY47" fmla="*/ 8117 h 9956"/>
              <a:gd name="connsiteX48" fmla="*/ 10000 w 10000"/>
              <a:gd name="connsiteY48" fmla="*/ 8161 h 9956"/>
              <a:gd name="connsiteX49" fmla="*/ 10000 w 10000"/>
              <a:gd name="connsiteY49" fmla="*/ 8207 h 9956"/>
              <a:gd name="connsiteX50" fmla="*/ 10000 w 10000"/>
              <a:gd name="connsiteY50" fmla="*/ 8296 h 9956"/>
              <a:gd name="connsiteX51" fmla="*/ 10000 w 10000"/>
              <a:gd name="connsiteY51" fmla="*/ 8342 h 9956"/>
              <a:gd name="connsiteX52" fmla="*/ 10000 w 10000"/>
              <a:gd name="connsiteY52" fmla="*/ 8385 h 9956"/>
              <a:gd name="connsiteX53" fmla="*/ 10000 w 10000"/>
              <a:gd name="connsiteY53" fmla="*/ 8474 h 9956"/>
              <a:gd name="connsiteX54" fmla="*/ 10000 w 10000"/>
              <a:gd name="connsiteY54" fmla="*/ 8700 h 9956"/>
              <a:gd name="connsiteX55" fmla="*/ 10000 w 10000"/>
              <a:gd name="connsiteY55" fmla="*/ 8743 h 9956"/>
              <a:gd name="connsiteX56" fmla="*/ 10000 w 10000"/>
              <a:gd name="connsiteY56" fmla="*/ 8835 h 9956"/>
              <a:gd name="connsiteX57" fmla="*/ 10000 w 10000"/>
              <a:gd name="connsiteY57" fmla="*/ 8879 h 9956"/>
              <a:gd name="connsiteX58" fmla="*/ 10000 w 10000"/>
              <a:gd name="connsiteY58" fmla="*/ 8924 h 9956"/>
              <a:gd name="connsiteX59" fmla="*/ 10000 w 10000"/>
              <a:gd name="connsiteY59" fmla="*/ 8968 h 9956"/>
              <a:gd name="connsiteX60" fmla="*/ 10000 w 10000"/>
              <a:gd name="connsiteY60" fmla="*/ 9011 h 9956"/>
              <a:gd name="connsiteX61" fmla="*/ 10000 w 10000"/>
              <a:gd name="connsiteY61" fmla="*/ 9104 h 9956"/>
              <a:gd name="connsiteX62" fmla="*/ 10000 w 10000"/>
              <a:gd name="connsiteY62" fmla="*/ 9192 h 9956"/>
              <a:gd name="connsiteX63" fmla="*/ 10000 w 10000"/>
              <a:gd name="connsiteY63" fmla="*/ 9236 h 9956"/>
              <a:gd name="connsiteX64" fmla="*/ 10000 w 10000"/>
              <a:gd name="connsiteY64" fmla="*/ 9284 h 9956"/>
              <a:gd name="connsiteX65" fmla="*/ 9948 w 10000"/>
              <a:gd name="connsiteY65" fmla="*/ 9284 h 9956"/>
              <a:gd name="connsiteX66" fmla="*/ 9948 w 10000"/>
              <a:gd name="connsiteY66" fmla="*/ 9327 h 9956"/>
              <a:gd name="connsiteX67" fmla="*/ 9895 w 10000"/>
              <a:gd name="connsiteY67" fmla="*/ 9373 h 9956"/>
              <a:gd name="connsiteX68" fmla="*/ 9844 w 10000"/>
              <a:gd name="connsiteY68" fmla="*/ 9373 h 9956"/>
              <a:gd name="connsiteX69" fmla="*/ 9844 w 10000"/>
              <a:gd name="connsiteY69" fmla="*/ 9418 h 9956"/>
              <a:gd name="connsiteX70" fmla="*/ 9792 w 10000"/>
              <a:gd name="connsiteY70" fmla="*/ 9418 h 9956"/>
              <a:gd name="connsiteX71" fmla="*/ 9740 w 10000"/>
              <a:gd name="connsiteY71" fmla="*/ 9462 h 9956"/>
              <a:gd name="connsiteX72" fmla="*/ 9687 w 10000"/>
              <a:gd name="connsiteY72" fmla="*/ 9505 h 9956"/>
              <a:gd name="connsiteX73" fmla="*/ 9635 w 10000"/>
              <a:gd name="connsiteY73" fmla="*/ 9505 h 9956"/>
              <a:gd name="connsiteX74" fmla="*/ 9635 w 10000"/>
              <a:gd name="connsiteY74" fmla="*/ 9552 h 9956"/>
              <a:gd name="connsiteX75" fmla="*/ 9583 w 10000"/>
              <a:gd name="connsiteY75" fmla="*/ 9552 h 9956"/>
              <a:gd name="connsiteX76" fmla="*/ 9532 w 10000"/>
              <a:gd name="connsiteY76" fmla="*/ 9552 h 9956"/>
              <a:gd name="connsiteX77" fmla="*/ 9479 w 10000"/>
              <a:gd name="connsiteY77" fmla="*/ 9552 h 9956"/>
              <a:gd name="connsiteX78" fmla="*/ 9427 w 10000"/>
              <a:gd name="connsiteY78" fmla="*/ 9552 h 9956"/>
              <a:gd name="connsiteX79" fmla="*/ 9375 w 10000"/>
              <a:gd name="connsiteY79" fmla="*/ 9552 h 9956"/>
              <a:gd name="connsiteX80" fmla="*/ 9322 w 10000"/>
              <a:gd name="connsiteY80" fmla="*/ 9552 h 9956"/>
              <a:gd name="connsiteX81" fmla="*/ 9271 w 10000"/>
              <a:gd name="connsiteY81" fmla="*/ 9552 h 9956"/>
              <a:gd name="connsiteX82" fmla="*/ 9271 w 10000"/>
              <a:gd name="connsiteY82" fmla="*/ 9595 h 9956"/>
              <a:gd name="connsiteX83" fmla="*/ 9219 w 10000"/>
              <a:gd name="connsiteY83" fmla="*/ 9641 h 9956"/>
              <a:gd name="connsiteX84" fmla="*/ 9167 w 10000"/>
              <a:gd name="connsiteY84" fmla="*/ 9687 h 9956"/>
              <a:gd name="connsiteX85" fmla="*/ 9219 w 10000"/>
              <a:gd name="connsiteY85" fmla="*/ 9687 h 9956"/>
              <a:gd name="connsiteX86" fmla="*/ 9167 w 10000"/>
              <a:gd name="connsiteY86" fmla="*/ 9687 h 9956"/>
              <a:gd name="connsiteX87" fmla="*/ 9114 w 10000"/>
              <a:gd name="connsiteY87" fmla="*/ 9687 h 9956"/>
              <a:gd name="connsiteX88" fmla="*/ 9062 w 10000"/>
              <a:gd name="connsiteY88" fmla="*/ 9731 h 9956"/>
              <a:gd name="connsiteX89" fmla="*/ 9011 w 10000"/>
              <a:gd name="connsiteY89" fmla="*/ 9775 h 9956"/>
              <a:gd name="connsiteX90" fmla="*/ 8959 w 10000"/>
              <a:gd name="connsiteY90" fmla="*/ 9775 h 9956"/>
              <a:gd name="connsiteX91" fmla="*/ 8959 w 10000"/>
              <a:gd name="connsiteY91" fmla="*/ 9820 h 9956"/>
              <a:gd name="connsiteX92" fmla="*/ 8906 w 10000"/>
              <a:gd name="connsiteY92" fmla="*/ 9820 h 9956"/>
              <a:gd name="connsiteX93" fmla="*/ 8906 w 10000"/>
              <a:gd name="connsiteY93" fmla="*/ 9864 h 9956"/>
              <a:gd name="connsiteX94" fmla="*/ 8854 w 10000"/>
              <a:gd name="connsiteY94" fmla="*/ 9864 h 9956"/>
              <a:gd name="connsiteX95" fmla="*/ 8802 w 10000"/>
              <a:gd name="connsiteY95" fmla="*/ 9864 h 9956"/>
              <a:gd name="connsiteX96" fmla="*/ 8749 w 10000"/>
              <a:gd name="connsiteY96" fmla="*/ 9864 h 9956"/>
              <a:gd name="connsiteX97" fmla="*/ 8698 w 10000"/>
              <a:gd name="connsiteY97" fmla="*/ 9864 h 9956"/>
              <a:gd name="connsiteX98" fmla="*/ 8646 w 10000"/>
              <a:gd name="connsiteY98" fmla="*/ 9864 h 9956"/>
              <a:gd name="connsiteX99" fmla="*/ 8646 w 10000"/>
              <a:gd name="connsiteY99" fmla="*/ 9820 h 9956"/>
              <a:gd name="connsiteX100" fmla="*/ 8646 w 10000"/>
              <a:gd name="connsiteY100" fmla="*/ 9775 h 9956"/>
              <a:gd name="connsiteX101" fmla="*/ 8594 w 10000"/>
              <a:gd name="connsiteY101" fmla="*/ 9731 h 9956"/>
              <a:gd name="connsiteX102" fmla="*/ 8594 w 10000"/>
              <a:gd name="connsiteY102" fmla="*/ 9687 h 9956"/>
              <a:gd name="connsiteX103" fmla="*/ 8594 w 10000"/>
              <a:gd name="connsiteY103" fmla="*/ 9641 h 9956"/>
              <a:gd name="connsiteX104" fmla="*/ 8541 w 10000"/>
              <a:gd name="connsiteY104" fmla="*/ 9641 h 9956"/>
              <a:gd name="connsiteX105" fmla="*/ 8489 w 10000"/>
              <a:gd name="connsiteY105" fmla="*/ 9641 h 9956"/>
              <a:gd name="connsiteX106" fmla="*/ 8489 w 10000"/>
              <a:gd name="connsiteY106" fmla="*/ 9595 h 9956"/>
              <a:gd name="connsiteX107" fmla="*/ 8438 w 10000"/>
              <a:gd name="connsiteY107" fmla="*/ 9595 h 9956"/>
              <a:gd name="connsiteX108" fmla="*/ 8386 w 10000"/>
              <a:gd name="connsiteY108" fmla="*/ 9641 h 9956"/>
              <a:gd name="connsiteX109" fmla="*/ 8386 w 10000"/>
              <a:gd name="connsiteY109" fmla="*/ 9687 h 9956"/>
              <a:gd name="connsiteX110" fmla="*/ 8282 w 10000"/>
              <a:gd name="connsiteY110" fmla="*/ 9641 h 9956"/>
              <a:gd name="connsiteX111" fmla="*/ 8282 w 10000"/>
              <a:gd name="connsiteY111" fmla="*/ 9595 h 9956"/>
              <a:gd name="connsiteX112" fmla="*/ 8230 w 10000"/>
              <a:gd name="connsiteY112" fmla="*/ 9595 h 9956"/>
              <a:gd name="connsiteX113" fmla="*/ 8179 w 10000"/>
              <a:gd name="connsiteY113" fmla="*/ 9595 h 9956"/>
              <a:gd name="connsiteX114" fmla="*/ 8126 w 10000"/>
              <a:gd name="connsiteY114" fmla="*/ 9595 h 9956"/>
              <a:gd name="connsiteX115" fmla="*/ 8074 w 10000"/>
              <a:gd name="connsiteY115" fmla="*/ 9595 h 9956"/>
              <a:gd name="connsiteX116" fmla="*/ 8022 w 10000"/>
              <a:gd name="connsiteY116" fmla="*/ 9595 h 9956"/>
              <a:gd name="connsiteX117" fmla="*/ 8022 w 10000"/>
              <a:gd name="connsiteY117" fmla="*/ 9641 h 9956"/>
              <a:gd name="connsiteX118" fmla="*/ 7969 w 10000"/>
              <a:gd name="connsiteY118" fmla="*/ 9641 h 9956"/>
              <a:gd name="connsiteX119" fmla="*/ 7917 w 10000"/>
              <a:gd name="connsiteY119" fmla="*/ 9687 h 9956"/>
              <a:gd name="connsiteX120" fmla="*/ 7866 w 10000"/>
              <a:gd name="connsiteY120" fmla="*/ 9687 h 9956"/>
              <a:gd name="connsiteX121" fmla="*/ 7866 w 10000"/>
              <a:gd name="connsiteY121" fmla="*/ 9641 h 9956"/>
              <a:gd name="connsiteX122" fmla="*/ 7866 w 10000"/>
              <a:gd name="connsiteY122" fmla="*/ 9687 h 9956"/>
              <a:gd name="connsiteX123" fmla="*/ 7814 w 10000"/>
              <a:gd name="connsiteY123" fmla="*/ 9687 h 9956"/>
              <a:gd name="connsiteX124" fmla="*/ 7761 w 10000"/>
              <a:gd name="connsiteY124" fmla="*/ 9731 h 9956"/>
              <a:gd name="connsiteX125" fmla="*/ 7709 w 10000"/>
              <a:gd name="connsiteY125" fmla="*/ 9687 h 9956"/>
              <a:gd name="connsiteX126" fmla="*/ 7657 w 10000"/>
              <a:gd name="connsiteY126" fmla="*/ 9687 h 9956"/>
              <a:gd name="connsiteX127" fmla="*/ 7606 w 10000"/>
              <a:gd name="connsiteY127" fmla="*/ 9687 h 9956"/>
              <a:gd name="connsiteX128" fmla="*/ 7553 w 10000"/>
              <a:gd name="connsiteY128" fmla="*/ 9641 h 9956"/>
              <a:gd name="connsiteX129" fmla="*/ 7501 w 10000"/>
              <a:gd name="connsiteY129" fmla="*/ 9641 h 9956"/>
              <a:gd name="connsiteX130" fmla="*/ 7501 w 10000"/>
              <a:gd name="connsiteY130" fmla="*/ 9687 h 9956"/>
              <a:gd name="connsiteX131" fmla="*/ 7449 w 10000"/>
              <a:gd name="connsiteY131" fmla="*/ 9687 h 9956"/>
              <a:gd name="connsiteX132" fmla="*/ 7396 w 10000"/>
              <a:gd name="connsiteY132" fmla="*/ 9641 h 9956"/>
              <a:gd name="connsiteX133" fmla="*/ 7345 w 10000"/>
              <a:gd name="connsiteY133" fmla="*/ 9641 h 9956"/>
              <a:gd name="connsiteX134" fmla="*/ 7293 w 10000"/>
              <a:gd name="connsiteY134" fmla="*/ 9731 h 9956"/>
              <a:gd name="connsiteX135" fmla="*/ 7241 w 10000"/>
              <a:gd name="connsiteY135" fmla="*/ 9731 h 9956"/>
              <a:gd name="connsiteX136" fmla="*/ 7241 w 10000"/>
              <a:gd name="connsiteY136" fmla="*/ 9687 h 9956"/>
              <a:gd name="connsiteX137" fmla="*/ 7241 w 10000"/>
              <a:gd name="connsiteY137" fmla="*/ 9731 h 9956"/>
              <a:gd name="connsiteX138" fmla="*/ 7241 w 10000"/>
              <a:gd name="connsiteY138" fmla="*/ 9775 h 9956"/>
              <a:gd name="connsiteX139" fmla="*/ 7188 w 10000"/>
              <a:gd name="connsiteY139" fmla="*/ 9775 h 9956"/>
              <a:gd name="connsiteX140" fmla="*/ 7136 w 10000"/>
              <a:gd name="connsiteY140" fmla="*/ 9775 h 9956"/>
              <a:gd name="connsiteX141" fmla="*/ 7188 w 10000"/>
              <a:gd name="connsiteY141" fmla="*/ 9820 h 9956"/>
              <a:gd name="connsiteX142" fmla="*/ 7136 w 10000"/>
              <a:gd name="connsiteY142" fmla="*/ 9864 h 9956"/>
              <a:gd name="connsiteX143" fmla="*/ 7188 w 10000"/>
              <a:gd name="connsiteY143" fmla="*/ 9910 h 9956"/>
              <a:gd name="connsiteX144" fmla="*/ 7241 w 10000"/>
              <a:gd name="connsiteY144" fmla="*/ 9910 h 9956"/>
              <a:gd name="connsiteX145" fmla="*/ 7241 w 10000"/>
              <a:gd name="connsiteY145" fmla="*/ 9956 h 9956"/>
              <a:gd name="connsiteX146" fmla="*/ 7188 w 10000"/>
              <a:gd name="connsiteY146" fmla="*/ 9956 h 9956"/>
              <a:gd name="connsiteX147" fmla="*/ 7136 w 10000"/>
              <a:gd name="connsiteY147" fmla="*/ 9956 h 9956"/>
              <a:gd name="connsiteX148" fmla="*/ 7344 w 10000"/>
              <a:gd name="connsiteY148" fmla="*/ 7914 h 9956"/>
              <a:gd name="connsiteX149" fmla="*/ 7136 w 10000"/>
              <a:gd name="connsiteY149" fmla="*/ 7550 h 9956"/>
              <a:gd name="connsiteX150" fmla="*/ 6544 w 10000"/>
              <a:gd name="connsiteY150" fmla="*/ 7431 h 9956"/>
              <a:gd name="connsiteX151" fmla="*/ 5775 w 10000"/>
              <a:gd name="connsiteY151" fmla="*/ 7395 h 9956"/>
              <a:gd name="connsiteX152" fmla="*/ 5311 w 10000"/>
              <a:gd name="connsiteY152" fmla="*/ 7279 h 9956"/>
              <a:gd name="connsiteX153" fmla="*/ 5071 w 10000"/>
              <a:gd name="connsiteY153" fmla="*/ 7165 h 9956"/>
              <a:gd name="connsiteX154" fmla="*/ 4912 w 10000"/>
              <a:gd name="connsiteY154" fmla="*/ 7261 h 9956"/>
              <a:gd name="connsiteX155" fmla="*/ 4416 w 10000"/>
              <a:gd name="connsiteY155" fmla="*/ 7085 h 9956"/>
              <a:gd name="connsiteX156" fmla="*/ 3584 w 10000"/>
              <a:gd name="connsiteY156" fmla="*/ 6780 h 9956"/>
              <a:gd name="connsiteX157" fmla="*/ 3104 w 10000"/>
              <a:gd name="connsiteY157" fmla="*/ 6721 h 9956"/>
              <a:gd name="connsiteX158" fmla="*/ 3200 w 10000"/>
              <a:gd name="connsiteY158" fmla="*/ 6509 h 9956"/>
              <a:gd name="connsiteX159" fmla="*/ 3344 w 10000"/>
              <a:gd name="connsiteY159" fmla="*/ 6452 h 9956"/>
              <a:gd name="connsiteX160" fmla="*/ 3728 w 10000"/>
              <a:gd name="connsiteY160" fmla="*/ 6143 h 9956"/>
              <a:gd name="connsiteX161" fmla="*/ 3968 w 10000"/>
              <a:gd name="connsiteY161" fmla="*/ 5856 h 9956"/>
              <a:gd name="connsiteX162" fmla="*/ 4224 w 10000"/>
              <a:gd name="connsiteY162" fmla="*/ 5546 h 9956"/>
              <a:gd name="connsiteX163" fmla="*/ 4368 w 10000"/>
              <a:gd name="connsiteY163" fmla="*/ 5261 h 9956"/>
              <a:gd name="connsiteX164" fmla="*/ 4352 w 10000"/>
              <a:gd name="connsiteY164" fmla="*/ 4933 h 9956"/>
              <a:gd name="connsiteX165" fmla="*/ 4336 w 10000"/>
              <a:gd name="connsiteY165" fmla="*/ 4642 h 9956"/>
              <a:gd name="connsiteX166" fmla="*/ 4176 w 10000"/>
              <a:gd name="connsiteY166" fmla="*/ 4469 h 9956"/>
              <a:gd name="connsiteX167" fmla="*/ 4016 w 10000"/>
              <a:gd name="connsiteY167" fmla="*/ 4491 h 9956"/>
              <a:gd name="connsiteX168" fmla="*/ 3856 w 10000"/>
              <a:gd name="connsiteY168" fmla="*/ 4798 h 9956"/>
              <a:gd name="connsiteX169" fmla="*/ 3808 w 10000"/>
              <a:gd name="connsiteY169" fmla="*/ 5354 h 9956"/>
              <a:gd name="connsiteX170" fmla="*/ 3536 w 10000"/>
              <a:gd name="connsiteY170" fmla="*/ 5722 h 9956"/>
              <a:gd name="connsiteX171" fmla="*/ 2992 w 10000"/>
              <a:gd name="connsiteY171" fmla="*/ 6048 h 9956"/>
              <a:gd name="connsiteX172" fmla="*/ 2415 w 10000"/>
              <a:gd name="connsiteY172" fmla="*/ 6297 h 9956"/>
              <a:gd name="connsiteX173" fmla="*/ 1951 w 10000"/>
              <a:gd name="connsiteY173" fmla="*/ 6641 h 9956"/>
              <a:gd name="connsiteX174" fmla="*/ 0 w 10000"/>
              <a:gd name="connsiteY174" fmla="*/ 6567 h 9956"/>
              <a:gd name="connsiteX175" fmla="*/ 3 w 10000"/>
              <a:gd name="connsiteY175" fmla="*/ 6323 h 9956"/>
              <a:gd name="connsiteX176" fmla="*/ 159 w 10000"/>
              <a:gd name="connsiteY176" fmla="*/ 6412 h 9956"/>
              <a:gd name="connsiteX177" fmla="*/ 368 w 10000"/>
              <a:gd name="connsiteY177" fmla="*/ 6323 h 9956"/>
              <a:gd name="connsiteX178" fmla="*/ 1462 w 10000"/>
              <a:gd name="connsiteY178" fmla="*/ 6323 h 9956"/>
              <a:gd name="connsiteX179" fmla="*/ 1617 w 10000"/>
              <a:gd name="connsiteY179" fmla="*/ 6278 h 9956"/>
              <a:gd name="connsiteX180" fmla="*/ 1669 w 10000"/>
              <a:gd name="connsiteY180" fmla="*/ 6278 h 9956"/>
              <a:gd name="connsiteX181" fmla="*/ 2189 w 10000"/>
              <a:gd name="connsiteY181" fmla="*/ 5696 h 9956"/>
              <a:gd name="connsiteX182" fmla="*/ 2294 w 10000"/>
              <a:gd name="connsiteY182" fmla="*/ 5605 h 9956"/>
              <a:gd name="connsiteX183" fmla="*/ 2762 w 10000"/>
              <a:gd name="connsiteY183" fmla="*/ 5157 h 9956"/>
              <a:gd name="connsiteX184" fmla="*/ 3023 w 10000"/>
              <a:gd name="connsiteY184" fmla="*/ 4887 h 9956"/>
              <a:gd name="connsiteX185" fmla="*/ 3179 w 10000"/>
              <a:gd name="connsiteY185" fmla="*/ 4753 h 9956"/>
              <a:gd name="connsiteX186" fmla="*/ 3596 w 10000"/>
              <a:gd name="connsiteY186" fmla="*/ 4082 h 9956"/>
              <a:gd name="connsiteX187" fmla="*/ 4116 w 10000"/>
              <a:gd name="connsiteY187" fmla="*/ 3810 h 9956"/>
              <a:gd name="connsiteX188" fmla="*/ 5001 w 10000"/>
              <a:gd name="connsiteY188" fmla="*/ 3049 h 9956"/>
              <a:gd name="connsiteX189" fmla="*/ 4845 w 10000"/>
              <a:gd name="connsiteY189" fmla="*/ 2780 h 9956"/>
              <a:gd name="connsiteX190" fmla="*/ 4794 w 10000"/>
              <a:gd name="connsiteY190" fmla="*/ 2600 h 9956"/>
              <a:gd name="connsiteX191" fmla="*/ 4794 w 10000"/>
              <a:gd name="connsiteY191" fmla="*/ 1344 h 9956"/>
              <a:gd name="connsiteX192" fmla="*/ 4116 w 10000"/>
              <a:gd name="connsiteY192" fmla="*/ 806 h 9956"/>
              <a:gd name="connsiteX193" fmla="*/ 4950 w 10000"/>
              <a:gd name="connsiteY193" fmla="*/ 806 h 9956"/>
              <a:gd name="connsiteX194" fmla="*/ 5782 w 10000"/>
              <a:gd name="connsiteY194" fmla="*/ 806 h 9956"/>
              <a:gd name="connsiteX195" fmla="*/ 5782 w 10000"/>
              <a:gd name="connsiteY195" fmla="*/ 760 h 9956"/>
              <a:gd name="connsiteX196" fmla="*/ 5782 w 10000"/>
              <a:gd name="connsiteY196" fmla="*/ 718 h 9956"/>
              <a:gd name="connsiteX197" fmla="*/ 5782 w 10000"/>
              <a:gd name="connsiteY197" fmla="*/ 677 h 9956"/>
              <a:gd name="connsiteX198" fmla="*/ 5782 w 10000"/>
              <a:gd name="connsiteY198" fmla="*/ 628 h 9956"/>
              <a:gd name="connsiteX199" fmla="*/ 5834 w 10000"/>
              <a:gd name="connsiteY199" fmla="*/ 580 h 9956"/>
              <a:gd name="connsiteX200" fmla="*/ 5834 w 10000"/>
              <a:gd name="connsiteY200" fmla="*/ 536 h 9956"/>
              <a:gd name="connsiteX201" fmla="*/ 5834 w 10000"/>
              <a:gd name="connsiteY201" fmla="*/ 493 h 9956"/>
              <a:gd name="connsiteX202" fmla="*/ 5834 w 10000"/>
              <a:gd name="connsiteY202" fmla="*/ 451 h 9956"/>
              <a:gd name="connsiteX203" fmla="*/ 5834 w 10000"/>
              <a:gd name="connsiteY203" fmla="*/ 408 h 9956"/>
              <a:gd name="connsiteX204" fmla="*/ 5834 w 10000"/>
              <a:gd name="connsiteY204" fmla="*/ 356 h 9956"/>
              <a:gd name="connsiteX205" fmla="*/ 5782 w 10000"/>
              <a:gd name="connsiteY205" fmla="*/ 356 h 9956"/>
              <a:gd name="connsiteX206" fmla="*/ 5782 w 10000"/>
              <a:gd name="connsiteY206" fmla="*/ 310 h 9956"/>
              <a:gd name="connsiteX207" fmla="*/ 5782 w 10000"/>
              <a:gd name="connsiteY207" fmla="*/ 267 h 9956"/>
              <a:gd name="connsiteX208" fmla="*/ 5782 w 10000"/>
              <a:gd name="connsiteY208" fmla="*/ 226 h 9956"/>
              <a:gd name="connsiteX209" fmla="*/ 5782 w 10000"/>
              <a:gd name="connsiteY209" fmla="*/ 183 h 9956"/>
              <a:gd name="connsiteX210" fmla="*/ 5782 w 10000"/>
              <a:gd name="connsiteY210" fmla="*/ 141 h 9956"/>
              <a:gd name="connsiteX211" fmla="*/ 5782 w 10000"/>
              <a:gd name="connsiteY211" fmla="*/ 85 h 9956"/>
              <a:gd name="connsiteX212" fmla="*/ 5782 w 10000"/>
              <a:gd name="connsiteY212" fmla="*/ 42 h 9956"/>
              <a:gd name="connsiteX213" fmla="*/ 5782 w 10000"/>
              <a:gd name="connsiteY213" fmla="*/ 0 h 9956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241 w 10000"/>
              <a:gd name="connsiteY138" fmla="*/ 9818 h 10000"/>
              <a:gd name="connsiteX139" fmla="*/ 7188 w 10000"/>
              <a:gd name="connsiteY139" fmla="*/ 9818 h 10000"/>
              <a:gd name="connsiteX140" fmla="*/ 7136 w 10000"/>
              <a:gd name="connsiteY140" fmla="*/ 9818 h 10000"/>
              <a:gd name="connsiteX141" fmla="*/ 7188 w 10000"/>
              <a:gd name="connsiteY141" fmla="*/ 9863 h 10000"/>
              <a:gd name="connsiteX142" fmla="*/ 7188 w 10000"/>
              <a:gd name="connsiteY142" fmla="*/ 9954 h 10000"/>
              <a:gd name="connsiteX143" fmla="*/ 7241 w 10000"/>
              <a:gd name="connsiteY143" fmla="*/ 9954 h 10000"/>
              <a:gd name="connsiteX144" fmla="*/ 7241 w 10000"/>
              <a:gd name="connsiteY144" fmla="*/ 10000 h 10000"/>
              <a:gd name="connsiteX145" fmla="*/ 7188 w 10000"/>
              <a:gd name="connsiteY145" fmla="*/ 10000 h 10000"/>
              <a:gd name="connsiteX146" fmla="*/ 7136 w 10000"/>
              <a:gd name="connsiteY146" fmla="*/ 10000 h 10000"/>
              <a:gd name="connsiteX147" fmla="*/ 7344 w 10000"/>
              <a:gd name="connsiteY147" fmla="*/ 7949 h 10000"/>
              <a:gd name="connsiteX148" fmla="*/ 7136 w 10000"/>
              <a:gd name="connsiteY148" fmla="*/ 7583 h 10000"/>
              <a:gd name="connsiteX149" fmla="*/ 6544 w 10000"/>
              <a:gd name="connsiteY149" fmla="*/ 7464 h 10000"/>
              <a:gd name="connsiteX150" fmla="*/ 5775 w 10000"/>
              <a:gd name="connsiteY150" fmla="*/ 7428 h 10000"/>
              <a:gd name="connsiteX151" fmla="*/ 5311 w 10000"/>
              <a:gd name="connsiteY151" fmla="*/ 7311 h 10000"/>
              <a:gd name="connsiteX152" fmla="*/ 5071 w 10000"/>
              <a:gd name="connsiteY152" fmla="*/ 7197 h 10000"/>
              <a:gd name="connsiteX153" fmla="*/ 4912 w 10000"/>
              <a:gd name="connsiteY153" fmla="*/ 7293 h 10000"/>
              <a:gd name="connsiteX154" fmla="*/ 4416 w 10000"/>
              <a:gd name="connsiteY154" fmla="*/ 7116 h 10000"/>
              <a:gd name="connsiteX155" fmla="*/ 3584 w 10000"/>
              <a:gd name="connsiteY155" fmla="*/ 6810 h 10000"/>
              <a:gd name="connsiteX156" fmla="*/ 3104 w 10000"/>
              <a:gd name="connsiteY156" fmla="*/ 6751 h 10000"/>
              <a:gd name="connsiteX157" fmla="*/ 3200 w 10000"/>
              <a:gd name="connsiteY157" fmla="*/ 6538 h 10000"/>
              <a:gd name="connsiteX158" fmla="*/ 3344 w 10000"/>
              <a:gd name="connsiteY158" fmla="*/ 6481 h 10000"/>
              <a:gd name="connsiteX159" fmla="*/ 3728 w 10000"/>
              <a:gd name="connsiteY159" fmla="*/ 6170 h 10000"/>
              <a:gd name="connsiteX160" fmla="*/ 3968 w 10000"/>
              <a:gd name="connsiteY160" fmla="*/ 5882 h 10000"/>
              <a:gd name="connsiteX161" fmla="*/ 4224 w 10000"/>
              <a:gd name="connsiteY161" fmla="*/ 5571 h 10000"/>
              <a:gd name="connsiteX162" fmla="*/ 4368 w 10000"/>
              <a:gd name="connsiteY162" fmla="*/ 5284 h 10000"/>
              <a:gd name="connsiteX163" fmla="*/ 4352 w 10000"/>
              <a:gd name="connsiteY163" fmla="*/ 4955 h 10000"/>
              <a:gd name="connsiteX164" fmla="*/ 4336 w 10000"/>
              <a:gd name="connsiteY164" fmla="*/ 4663 h 10000"/>
              <a:gd name="connsiteX165" fmla="*/ 4176 w 10000"/>
              <a:gd name="connsiteY165" fmla="*/ 4489 h 10000"/>
              <a:gd name="connsiteX166" fmla="*/ 4016 w 10000"/>
              <a:gd name="connsiteY166" fmla="*/ 4511 h 10000"/>
              <a:gd name="connsiteX167" fmla="*/ 3856 w 10000"/>
              <a:gd name="connsiteY167" fmla="*/ 4819 h 10000"/>
              <a:gd name="connsiteX168" fmla="*/ 3808 w 10000"/>
              <a:gd name="connsiteY168" fmla="*/ 5378 h 10000"/>
              <a:gd name="connsiteX169" fmla="*/ 3536 w 10000"/>
              <a:gd name="connsiteY169" fmla="*/ 5747 h 10000"/>
              <a:gd name="connsiteX170" fmla="*/ 2992 w 10000"/>
              <a:gd name="connsiteY170" fmla="*/ 6075 h 10000"/>
              <a:gd name="connsiteX171" fmla="*/ 2415 w 10000"/>
              <a:gd name="connsiteY171" fmla="*/ 6325 h 10000"/>
              <a:gd name="connsiteX172" fmla="*/ 1951 w 10000"/>
              <a:gd name="connsiteY172" fmla="*/ 6670 h 10000"/>
              <a:gd name="connsiteX173" fmla="*/ 0 w 10000"/>
              <a:gd name="connsiteY173" fmla="*/ 6596 h 10000"/>
              <a:gd name="connsiteX174" fmla="*/ 3 w 10000"/>
              <a:gd name="connsiteY174" fmla="*/ 6351 h 10000"/>
              <a:gd name="connsiteX175" fmla="*/ 159 w 10000"/>
              <a:gd name="connsiteY175" fmla="*/ 6440 h 10000"/>
              <a:gd name="connsiteX176" fmla="*/ 368 w 10000"/>
              <a:gd name="connsiteY176" fmla="*/ 6351 h 10000"/>
              <a:gd name="connsiteX177" fmla="*/ 1462 w 10000"/>
              <a:gd name="connsiteY177" fmla="*/ 6351 h 10000"/>
              <a:gd name="connsiteX178" fmla="*/ 1617 w 10000"/>
              <a:gd name="connsiteY178" fmla="*/ 6306 h 10000"/>
              <a:gd name="connsiteX179" fmla="*/ 1669 w 10000"/>
              <a:gd name="connsiteY179" fmla="*/ 6306 h 10000"/>
              <a:gd name="connsiteX180" fmla="*/ 2189 w 10000"/>
              <a:gd name="connsiteY180" fmla="*/ 5721 h 10000"/>
              <a:gd name="connsiteX181" fmla="*/ 2294 w 10000"/>
              <a:gd name="connsiteY181" fmla="*/ 5630 h 10000"/>
              <a:gd name="connsiteX182" fmla="*/ 2762 w 10000"/>
              <a:gd name="connsiteY182" fmla="*/ 5180 h 10000"/>
              <a:gd name="connsiteX183" fmla="*/ 3023 w 10000"/>
              <a:gd name="connsiteY183" fmla="*/ 4909 h 10000"/>
              <a:gd name="connsiteX184" fmla="*/ 3179 w 10000"/>
              <a:gd name="connsiteY184" fmla="*/ 4774 h 10000"/>
              <a:gd name="connsiteX185" fmla="*/ 3596 w 10000"/>
              <a:gd name="connsiteY185" fmla="*/ 4100 h 10000"/>
              <a:gd name="connsiteX186" fmla="*/ 4116 w 10000"/>
              <a:gd name="connsiteY186" fmla="*/ 3827 h 10000"/>
              <a:gd name="connsiteX187" fmla="*/ 5001 w 10000"/>
              <a:gd name="connsiteY187" fmla="*/ 3062 h 10000"/>
              <a:gd name="connsiteX188" fmla="*/ 4845 w 10000"/>
              <a:gd name="connsiteY188" fmla="*/ 2792 h 10000"/>
              <a:gd name="connsiteX189" fmla="*/ 4794 w 10000"/>
              <a:gd name="connsiteY189" fmla="*/ 2611 h 10000"/>
              <a:gd name="connsiteX190" fmla="*/ 4794 w 10000"/>
              <a:gd name="connsiteY190" fmla="*/ 1350 h 10000"/>
              <a:gd name="connsiteX191" fmla="*/ 4116 w 10000"/>
              <a:gd name="connsiteY191" fmla="*/ 810 h 10000"/>
              <a:gd name="connsiteX192" fmla="*/ 4950 w 10000"/>
              <a:gd name="connsiteY192" fmla="*/ 810 h 10000"/>
              <a:gd name="connsiteX193" fmla="*/ 5782 w 10000"/>
              <a:gd name="connsiteY193" fmla="*/ 810 h 10000"/>
              <a:gd name="connsiteX194" fmla="*/ 5782 w 10000"/>
              <a:gd name="connsiteY194" fmla="*/ 763 h 10000"/>
              <a:gd name="connsiteX195" fmla="*/ 5782 w 10000"/>
              <a:gd name="connsiteY195" fmla="*/ 721 h 10000"/>
              <a:gd name="connsiteX196" fmla="*/ 5782 w 10000"/>
              <a:gd name="connsiteY196" fmla="*/ 680 h 10000"/>
              <a:gd name="connsiteX197" fmla="*/ 5782 w 10000"/>
              <a:gd name="connsiteY197" fmla="*/ 631 h 10000"/>
              <a:gd name="connsiteX198" fmla="*/ 5834 w 10000"/>
              <a:gd name="connsiteY198" fmla="*/ 583 h 10000"/>
              <a:gd name="connsiteX199" fmla="*/ 5834 w 10000"/>
              <a:gd name="connsiteY199" fmla="*/ 538 h 10000"/>
              <a:gd name="connsiteX200" fmla="*/ 5834 w 10000"/>
              <a:gd name="connsiteY200" fmla="*/ 495 h 10000"/>
              <a:gd name="connsiteX201" fmla="*/ 5834 w 10000"/>
              <a:gd name="connsiteY201" fmla="*/ 453 h 10000"/>
              <a:gd name="connsiteX202" fmla="*/ 5834 w 10000"/>
              <a:gd name="connsiteY202" fmla="*/ 410 h 10000"/>
              <a:gd name="connsiteX203" fmla="*/ 5834 w 10000"/>
              <a:gd name="connsiteY203" fmla="*/ 358 h 10000"/>
              <a:gd name="connsiteX204" fmla="*/ 5782 w 10000"/>
              <a:gd name="connsiteY204" fmla="*/ 358 h 10000"/>
              <a:gd name="connsiteX205" fmla="*/ 5782 w 10000"/>
              <a:gd name="connsiteY205" fmla="*/ 311 h 10000"/>
              <a:gd name="connsiteX206" fmla="*/ 5782 w 10000"/>
              <a:gd name="connsiteY206" fmla="*/ 268 h 10000"/>
              <a:gd name="connsiteX207" fmla="*/ 5782 w 10000"/>
              <a:gd name="connsiteY207" fmla="*/ 227 h 10000"/>
              <a:gd name="connsiteX208" fmla="*/ 5782 w 10000"/>
              <a:gd name="connsiteY208" fmla="*/ 184 h 10000"/>
              <a:gd name="connsiteX209" fmla="*/ 5782 w 10000"/>
              <a:gd name="connsiteY209" fmla="*/ 142 h 10000"/>
              <a:gd name="connsiteX210" fmla="*/ 5782 w 10000"/>
              <a:gd name="connsiteY210" fmla="*/ 85 h 10000"/>
              <a:gd name="connsiteX211" fmla="*/ 5782 w 10000"/>
              <a:gd name="connsiteY211" fmla="*/ 42 h 10000"/>
              <a:gd name="connsiteX212" fmla="*/ 5782 w 10000"/>
              <a:gd name="connsiteY212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241 w 10000"/>
              <a:gd name="connsiteY138" fmla="*/ 9818 h 10000"/>
              <a:gd name="connsiteX139" fmla="*/ 7188 w 10000"/>
              <a:gd name="connsiteY139" fmla="*/ 9818 h 10000"/>
              <a:gd name="connsiteX140" fmla="*/ 7188 w 10000"/>
              <a:gd name="connsiteY140" fmla="*/ 9863 h 10000"/>
              <a:gd name="connsiteX141" fmla="*/ 7188 w 10000"/>
              <a:gd name="connsiteY141" fmla="*/ 9954 h 10000"/>
              <a:gd name="connsiteX142" fmla="*/ 7241 w 10000"/>
              <a:gd name="connsiteY142" fmla="*/ 9954 h 10000"/>
              <a:gd name="connsiteX143" fmla="*/ 7241 w 10000"/>
              <a:gd name="connsiteY143" fmla="*/ 10000 h 10000"/>
              <a:gd name="connsiteX144" fmla="*/ 7188 w 10000"/>
              <a:gd name="connsiteY144" fmla="*/ 10000 h 10000"/>
              <a:gd name="connsiteX145" fmla="*/ 7136 w 10000"/>
              <a:gd name="connsiteY145" fmla="*/ 10000 h 10000"/>
              <a:gd name="connsiteX146" fmla="*/ 7344 w 10000"/>
              <a:gd name="connsiteY146" fmla="*/ 7949 h 10000"/>
              <a:gd name="connsiteX147" fmla="*/ 7136 w 10000"/>
              <a:gd name="connsiteY147" fmla="*/ 7583 h 10000"/>
              <a:gd name="connsiteX148" fmla="*/ 6544 w 10000"/>
              <a:gd name="connsiteY148" fmla="*/ 7464 h 10000"/>
              <a:gd name="connsiteX149" fmla="*/ 5775 w 10000"/>
              <a:gd name="connsiteY149" fmla="*/ 7428 h 10000"/>
              <a:gd name="connsiteX150" fmla="*/ 5311 w 10000"/>
              <a:gd name="connsiteY150" fmla="*/ 7311 h 10000"/>
              <a:gd name="connsiteX151" fmla="*/ 5071 w 10000"/>
              <a:gd name="connsiteY151" fmla="*/ 7197 h 10000"/>
              <a:gd name="connsiteX152" fmla="*/ 4912 w 10000"/>
              <a:gd name="connsiteY152" fmla="*/ 7293 h 10000"/>
              <a:gd name="connsiteX153" fmla="*/ 4416 w 10000"/>
              <a:gd name="connsiteY153" fmla="*/ 7116 h 10000"/>
              <a:gd name="connsiteX154" fmla="*/ 3584 w 10000"/>
              <a:gd name="connsiteY154" fmla="*/ 6810 h 10000"/>
              <a:gd name="connsiteX155" fmla="*/ 3104 w 10000"/>
              <a:gd name="connsiteY155" fmla="*/ 6751 h 10000"/>
              <a:gd name="connsiteX156" fmla="*/ 3200 w 10000"/>
              <a:gd name="connsiteY156" fmla="*/ 6538 h 10000"/>
              <a:gd name="connsiteX157" fmla="*/ 3344 w 10000"/>
              <a:gd name="connsiteY157" fmla="*/ 6481 h 10000"/>
              <a:gd name="connsiteX158" fmla="*/ 3728 w 10000"/>
              <a:gd name="connsiteY158" fmla="*/ 6170 h 10000"/>
              <a:gd name="connsiteX159" fmla="*/ 3968 w 10000"/>
              <a:gd name="connsiteY159" fmla="*/ 5882 h 10000"/>
              <a:gd name="connsiteX160" fmla="*/ 4224 w 10000"/>
              <a:gd name="connsiteY160" fmla="*/ 5571 h 10000"/>
              <a:gd name="connsiteX161" fmla="*/ 4368 w 10000"/>
              <a:gd name="connsiteY161" fmla="*/ 5284 h 10000"/>
              <a:gd name="connsiteX162" fmla="*/ 4352 w 10000"/>
              <a:gd name="connsiteY162" fmla="*/ 4955 h 10000"/>
              <a:gd name="connsiteX163" fmla="*/ 4336 w 10000"/>
              <a:gd name="connsiteY163" fmla="*/ 4663 h 10000"/>
              <a:gd name="connsiteX164" fmla="*/ 4176 w 10000"/>
              <a:gd name="connsiteY164" fmla="*/ 4489 h 10000"/>
              <a:gd name="connsiteX165" fmla="*/ 4016 w 10000"/>
              <a:gd name="connsiteY165" fmla="*/ 4511 h 10000"/>
              <a:gd name="connsiteX166" fmla="*/ 3856 w 10000"/>
              <a:gd name="connsiteY166" fmla="*/ 4819 h 10000"/>
              <a:gd name="connsiteX167" fmla="*/ 3808 w 10000"/>
              <a:gd name="connsiteY167" fmla="*/ 5378 h 10000"/>
              <a:gd name="connsiteX168" fmla="*/ 3536 w 10000"/>
              <a:gd name="connsiteY168" fmla="*/ 5747 h 10000"/>
              <a:gd name="connsiteX169" fmla="*/ 2992 w 10000"/>
              <a:gd name="connsiteY169" fmla="*/ 6075 h 10000"/>
              <a:gd name="connsiteX170" fmla="*/ 2415 w 10000"/>
              <a:gd name="connsiteY170" fmla="*/ 6325 h 10000"/>
              <a:gd name="connsiteX171" fmla="*/ 1951 w 10000"/>
              <a:gd name="connsiteY171" fmla="*/ 6670 h 10000"/>
              <a:gd name="connsiteX172" fmla="*/ 0 w 10000"/>
              <a:gd name="connsiteY172" fmla="*/ 6596 h 10000"/>
              <a:gd name="connsiteX173" fmla="*/ 3 w 10000"/>
              <a:gd name="connsiteY173" fmla="*/ 6351 h 10000"/>
              <a:gd name="connsiteX174" fmla="*/ 159 w 10000"/>
              <a:gd name="connsiteY174" fmla="*/ 6440 h 10000"/>
              <a:gd name="connsiteX175" fmla="*/ 368 w 10000"/>
              <a:gd name="connsiteY175" fmla="*/ 6351 h 10000"/>
              <a:gd name="connsiteX176" fmla="*/ 1462 w 10000"/>
              <a:gd name="connsiteY176" fmla="*/ 6351 h 10000"/>
              <a:gd name="connsiteX177" fmla="*/ 1617 w 10000"/>
              <a:gd name="connsiteY177" fmla="*/ 6306 h 10000"/>
              <a:gd name="connsiteX178" fmla="*/ 1669 w 10000"/>
              <a:gd name="connsiteY178" fmla="*/ 6306 h 10000"/>
              <a:gd name="connsiteX179" fmla="*/ 2189 w 10000"/>
              <a:gd name="connsiteY179" fmla="*/ 5721 h 10000"/>
              <a:gd name="connsiteX180" fmla="*/ 2294 w 10000"/>
              <a:gd name="connsiteY180" fmla="*/ 5630 h 10000"/>
              <a:gd name="connsiteX181" fmla="*/ 2762 w 10000"/>
              <a:gd name="connsiteY181" fmla="*/ 5180 h 10000"/>
              <a:gd name="connsiteX182" fmla="*/ 3023 w 10000"/>
              <a:gd name="connsiteY182" fmla="*/ 4909 h 10000"/>
              <a:gd name="connsiteX183" fmla="*/ 3179 w 10000"/>
              <a:gd name="connsiteY183" fmla="*/ 4774 h 10000"/>
              <a:gd name="connsiteX184" fmla="*/ 3596 w 10000"/>
              <a:gd name="connsiteY184" fmla="*/ 4100 h 10000"/>
              <a:gd name="connsiteX185" fmla="*/ 4116 w 10000"/>
              <a:gd name="connsiteY185" fmla="*/ 3827 h 10000"/>
              <a:gd name="connsiteX186" fmla="*/ 5001 w 10000"/>
              <a:gd name="connsiteY186" fmla="*/ 3062 h 10000"/>
              <a:gd name="connsiteX187" fmla="*/ 4845 w 10000"/>
              <a:gd name="connsiteY187" fmla="*/ 2792 h 10000"/>
              <a:gd name="connsiteX188" fmla="*/ 4794 w 10000"/>
              <a:gd name="connsiteY188" fmla="*/ 2611 h 10000"/>
              <a:gd name="connsiteX189" fmla="*/ 4794 w 10000"/>
              <a:gd name="connsiteY189" fmla="*/ 1350 h 10000"/>
              <a:gd name="connsiteX190" fmla="*/ 4116 w 10000"/>
              <a:gd name="connsiteY190" fmla="*/ 810 h 10000"/>
              <a:gd name="connsiteX191" fmla="*/ 4950 w 10000"/>
              <a:gd name="connsiteY191" fmla="*/ 810 h 10000"/>
              <a:gd name="connsiteX192" fmla="*/ 5782 w 10000"/>
              <a:gd name="connsiteY192" fmla="*/ 810 h 10000"/>
              <a:gd name="connsiteX193" fmla="*/ 5782 w 10000"/>
              <a:gd name="connsiteY193" fmla="*/ 763 h 10000"/>
              <a:gd name="connsiteX194" fmla="*/ 5782 w 10000"/>
              <a:gd name="connsiteY194" fmla="*/ 721 h 10000"/>
              <a:gd name="connsiteX195" fmla="*/ 5782 w 10000"/>
              <a:gd name="connsiteY195" fmla="*/ 680 h 10000"/>
              <a:gd name="connsiteX196" fmla="*/ 5782 w 10000"/>
              <a:gd name="connsiteY196" fmla="*/ 631 h 10000"/>
              <a:gd name="connsiteX197" fmla="*/ 5834 w 10000"/>
              <a:gd name="connsiteY197" fmla="*/ 583 h 10000"/>
              <a:gd name="connsiteX198" fmla="*/ 5834 w 10000"/>
              <a:gd name="connsiteY198" fmla="*/ 538 h 10000"/>
              <a:gd name="connsiteX199" fmla="*/ 5834 w 10000"/>
              <a:gd name="connsiteY199" fmla="*/ 495 h 10000"/>
              <a:gd name="connsiteX200" fmla="*/ 5834 w 10000"/>
              <a:gd name="connsiteY200" fmla="*/ 453 h 10000"/>
              <a:gd name="connsiteX201" fmla="*/ 5834 w 10000"/>
              <a:gd name="connsiteY201" fmla="*/ 410 h 10000"/>
              <a:gd name="connsiteX202" fmla="*/ 5834 w 10000"/>
              <a:gd name="connsiteY202" fmla="*/ 358 h 10000"/>
              <a:gd name="connsiteX203" fmla="*/ 5782 w 10000"/>
              <a:gd name="connsiteY203" fmla="*/ 358 h 10000"/>
              <a:gd name="connsiteX204" fmla="*/ 5782 w 10000"/>
              <a:gd name="connsiteY204" fmla="*/ 311 h 10000"/>
              <a:gd name="connsiteX205" fmla="*/ 5782 w 10000"/>
              <a:gd name="connsiteY205" fmla="*/ 268 h 10000"/>
              <a:gd name="connsiteX206" fmla="*/ 5782 w 10000"/>
              <a:gd name="connsiteY206" fmla="*/ 227 h 10000"/>
              <a:gd name="connsiteX207" fmla="*/ 5782 w 10000"/>
              <a:gd name="connsiteY207" fmla="*/ 184 h 10000"/>
              <a:gd name="connsiteX208" fmla="*/ 5782 w 10000"/>
              <a:gd name="connsiteY208" fmla="*/ 142 h 10000"/>
              <a:gd name="connsiteX209" fmla="*/ 5782 w 10000"/>
              <a:gd name="connsiteY209" fmla="*/ 85 h 10000"/>
              <a:gd name="connsiteX210" fmla="*/ 5782 w 10000"/>
              <a:gd name="connsiteY210" fmla="*/ 42 h 10000"/>
              <a:gd name="connsiteX211" fmla="*/ 5782 w 10000"/>
              <a:gd name="connsiteY21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241 w 10000"/>
              <a:gd name="connsiteY138" fmla="*/ 9818 h 10000"/>
              <a:gd name="connsiteX139" fmla="*/ 7188 w 10000"/>
              <a:gd name="connsiteY139" fmla="*/ 9818 h 10000"/>
              <a:gd name="connsiteX140" fmla="*/ 7188 w 10000"/>
              <a:gd name="connsiteY140" fmla="*/ 9863 h 10000"/>
              <a:gd name="connsiteX141" fmla="*/ 7188 w 10000"/>
              <a:gd name="connsiteY141" fmla="*/ 9954 h 10000"/>
              <a:gd name="connsiteX142" fmla="*/ 7241 w 10000"/>
              <a:gd name="connsiteY142" fmla="*/ 9954 h 10000"/>
              <a:gd name="connsiteX143" fmla="*/ 7241 w 10000"/>
              <a:gd name="connsiteY143" fmla="*/ 10000 h 10000"/>
              <a:gd name="connsiteX144" fmla="*/ 7188 w 10000"/>
              <a:gd name="connsiteY144" fmla="*/ 10000 h 10000"/>
              <a:gd name="connsiteX145" fmla="*/ 7344 w 10000"/>
              <a:gd name="connsiteY145" fmla="*/ 7949 h 10000"/>
              <a:gd name="connsiteX146" fmla="*/ 7136 w 10000"/>
              <a:gd name="connsiteY146" fmla="*/ 7583 h 10000"/>
              <a:gd name="connsiteX147" fmla="*/ 6544 w 10000"/>
              <a:gd name="connsiteY147" fmla="*/ 7464 h 10000"/>
              <a:gd name="connsiteX148" fmla="*/ 5775 w 10000"/>
              <a:gd name="connsiteY148" fmla="*/ 7428 h 10000"/>
              <a:gd name="connsiteX149" fmla="*/ 5311 w 10000"/>
              <a:gd name="connsiteY149" fmla="*/ 7311 h 10000"/>
              <a:gd name="connsiteX150" fmla="*/ 5071 w 10000"/>
              <a:gd name="connsiteY150" fmla="*/ 7197 h 10000"/>
              <a:gd name="connsiteX151" fmla="*/ 4912 w 10000"/>
              <a:gd name="connsiteY151" fmla="*/ 7293 h 10000"/>
              <a:gd name="connsiteX152" fmla="*/ 4416 w 10000"/>
              <a:gd name="connsiteY152" fmla="*/ 7116 h 10000"/>
              <a:gd name="connsiteX153" fmla="*/ 3584 w 10000"/>
              <a:gd name="connsiteY153" fmla="*/ 6810 h 10000"/>
              <a:gd name="connsiteX154" fmla="*/ 3104 w 10000"/>
              <a:gd name="connsiteY154" fmla="*/ 6751 h 10000"/>
              <a:gd name="connsiteX155" fmla="*/ 3200 w 10000"/>
              <a:gd name="connsiteY155" fmla="*/ 6538 h 10000"/>
              <a:gd name="connsiteX156" fmla="*/ 3344 w 10000"/>
              <a:gd name="connsiteY156" fmla="*/ 6481 h 10000"/>
              <a:gd name="connsiteX157" fmla="*/ 3728 w 10000"/>
              <a:gd name="connsiteY157" fmla="*/ 6170 h 10000"/>
              <a:gd name="connsiteX158" fmla="*/ 3968 w 10000"/>
              <a:gd name="connsiteY158" fmla="*/ 5882 h 10000"/>
              <a:gd name="connsiteX159" fmla="*/ 4224 w 10000"/>
              <a:gd name="connsiteY159" fmla="*/ 5571 h 10000"/>
              <a:gd name="connsiteX160" fmla="*/ 4368 w 10000"/>
              <a:gd name="connsiteY160" fmla="*/ 5284 h 10000"/>
              <a:gd name="connsiteX161" fmla="*/ 4352 w 10000"/>
              <a:gd name="connsiteY161" fmla="*/ 4955 h 10000"/>
              <a:gd name="connsiteX162" fmla="*/ 4336 w 10000"/>
              <a:gd name="connsiteY162" fmla="*/ 4663 h 10000"/>
              <a:gd name="connsiteX163" fmla="*/ 4176 w 10000"/>
              <a:gd name="connsiteY163" fmla="*/ 4489 h 10000"/>
              <a:gd name="connsiteX164" fmla="*/ 4016 w 10000"/>
              <a:gd name="connsiteY164" fmla="*/ 4511 h 10000"/>
              <a:gd name="connsiteX165" fmla="*/ 3856 w 10000"/>
              <a:gd name="connsiteY165" fmla="*/ 4819 h 10000"/>
              <a:gd name="connsiteX166" fmla="*/ 3808 w 10000"/>
              <a:gd name="connsiteY166" fmla="*/ 5378 h 10000"/>
              <a:gd name="connsiteX167" fmla="*/ 3536 w 10000"/>
              <a:gd name="connsiteY167" fmla="*/ 5747 h 10000"/>
              <a:gd name="connsiteX168" fmla="*/ 2992 w 10000"/>
              <a:gd name="connsiteY168" fmla="*/ 6075 h 10000"/>
              <a:gd name="connsiteX169" fmla="*/ 2415 w 10000"/>
              <a:gd name="connsiteY169" fmla="*/ 6325 h 10000"/>
              <a:gd name="connsiteX170" fmla="*/ 1951 w 10000"/>
              <a:gd name="connsiteY170" fmla="*/ 6670 h 10000"/>
              <a:gd name="connsiteX171" fmla="*/ 0 w 10000"/>
              <a:gd name="connsiteY171" fmla="*/ 6596 h 10000"/>
              <a:gd name="connsiteX172" fmla="*/ 3 w 10000"/>
              <a:gd name="connsiteY172" fmla="*/ 6351 h 10000"/>
              <a:gd name="connsiteX173" fmla="*/ 159 w 10000"/>
              <a:gd name="connsiteY173" fmla="*/ 6440 h 10000"/>
              <a:gd name="connsiteX174" fmla="*/ 368 w 10000"/>
              <a:gd name="connsiteY174" fmla="*/ 6351 h 10000"/>
              <a:gd name="connsiteX175" fmla="*/ 1462 w 10000"/>
              <a:gd name="connsiteY175" fmla="*/ 6351 h 10000"/>
              <a:gd name="connsiteX176" fmla="*/ 1617 w 10000"/>
              <a:gd name="connsiteY176" fmla="*/ 6306 h 10000"/>
              <a:gd name="connsiteX177" fmla="*/ 1669 w 10000"/>
              <a:gd name="connsiteY177" fmla="*/ 6306 h 10000"/>
              <a:gd name="connsiteX178" fmla="*/ 2189 w 10000"/>
              <a:gd name="connsiteY178" fmla="*/ 5721 h 10000"/>
              <a:gd name="connsiteX179" fmla="*/ 2294 w 10000"/>
              <a:gd name="connsiteY179" fmla="*/ 5630 h 10000"/>
              <a:gd name="connsiteX180" fmla="*/ 2762 w 10000"/>
              <a:gd name="connsiteY180" fmla="*/ 5180 h 10000"/>
              <a:gd name="connsiteX181" fmla="*/ 3023 w 10000"/>
              <a:gd name="connsiteY181" fmla="*/ 4909 h 10000"/>
              <a:gd name="connsiteX182" fmla="*/ 3179 w 10000"/>
              <a:gd name="connsiteY182" fmla="*/ 4774 h 10000"/>
              <a:gd name="connsiteX183" fmla="*/ 3596 w 10000"/>
              <a:gd name="connsiteY183" fmla="*/ 4100 h 10000"/>
              <a:gd name="connsiteX184" fmla="*/ 4116 w 10000"/>
              <a:gd name="connsiteY184" fmla="*/ 3827 h 10000"/>
              <a:gd name="connsiteX185" fmla="*/ 5001 w 10000"/>
              <a:gd name="connsiteY185" fmla="*/ 3062 h 10000"/>
              <a:gd name="connsiteX186" fmla="*/ 4845 w 10000"/>
              <a:gd name="connsiteY186" fmla="*/ 2792 h 10000"/>
              <a:gd name="connsiteX187" fmla="*/ 4794 w 10000"/>
              <a:gd name="connsiteY187" fmla="*/ 2611 h 10000"/>
              <a:gd name="connsiteX188" fmla="*/ 4794 w 10000"/>
              <a:gd name="connsiteY188" fmla="*/ 1350 h 10000"/>
              <a:gd name="connsiteX189" fmla="*/ 4116 w 10000"/>
              <a:gd name="connsiteY189" fmla="*/ 810 h 10000"/>
              <a:gd name="connsiteX190" fmla="*/ 4950 w 10000"/>
              <a:gd name="connsiteY190" fmla="*/ 810 h 10000"/>
              <a:gd name="connsiteX191" fmla="*/ 5782 w 10000"/>
              <a:gd name="connsiteY191" fmla="*/ 810 h 10000"/>
              <a:gd name="connsiteX192" fmla="*/ 5782 w 10000"/>
              <a:gd name="connsiteY192" fmla="*/ 763 h 10000"/>
              <a:gd name="connsiteX193" fmla="*/ 5782 w 10000"/>
              <a:gd name="connsiteY193" fmla="*/ 721 h 10000"/>
              <a:gd name="connsiteX194" fmla="*/ 5782 w 10000"/>
              <a:gd name="connsiteY194" fmla="*/ 680 h 10000"/>
              <a:gd name="connsiteX195" fmla="*/ 5782 w 10000"/>
              <a:gd name="connsiteY195" fmla="*/ 631 h 10000"/>
              <a:gd name="connsiteX196" fmla="*/ 5834 w 10000"/>
              <a:gd name="connsiteY196" fmla="*/ 583 h 10000"/>
              <a:gd name="connsiteX197" fmla="*/ 5834 w 10000"/>
              <a:gd name="connsiteY197" fmla="*/ 538 h 10000"/>
              <a:gd name="connsiteX198" fmla="*/ 5834 w 10000"/>
              <a:gd name="connsiteY198" fmla="*/ 495 h 10000"/>
              <a:gd name="connsiteX199" fmla="*/ 5834 w 10000"/>
              <a:gd name="connsiteY199" fmla="*/ 453 h 10000"/>
              <a:gd name="connsiteX200" fmla="*/ 5834 w 10000"/>
              <a:gd name="connsiteY200" fmla="*/ 410 h 10000"/>
              <a:gd name="connsiteX201" fmla="*/ 5834 w 10000"/>
              <a:gd name="connsiteY201" fmla="*/ 358 h 10000"/>
              <a:gd name="connsiteX202" fmla="*/ 5782 w 10000"/>
              <a:gd name="connsiteY202" fmla="*/ 358 h 10000"/>
              <a:gd name="connsiteX203" fmla="*/ 5782 w 10000"/>
              <a:gd name="connsiteY203" fmla="*/ 311 h 10000"/>
              <a:gd name="connsiteX204" fmla="*/ 5782 w 10000"/>
              <a:gd name="connsiteY204" fmla="*/ 268 h 10000"/>
              <a:gd name="connsiteX205" fmla="*/ 5782 w 10000"/>
              <a:gd name="connsiteY205" fmla="*/ 227 h 10000"/>
              <a:gd name="connsiteX206" fmla="*/ 5782 w 10000"/>
              <a:gd name="connsiteY206" fmla="*/ 184 h 10000"/>
              <a:gd name="connsiteX207" fmla="*/ 5782 w 10000"/>
              <a:gd name="connsiteY207" fmla="*/ 142 h 10000"/>
              <a:gd name="connsiteX208" fmla="*/ 5782 w 10000"/>
              <a:gd name="connsiteY208" fmla="*/ 85 h 10000"/>
              <a:gd name="connsiteX209" fmla="*/ 5782 w 10000"/>
              <a:gd name="connsiteY209" fmla="*/ 42 h 10000"/>
              <a:gd name="connsiteX210" fmla="*/ 5782 w 10000"/>
              <a:gd name="connsiteY210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241 w 10000"/>
              <a:gd name="connsiteY138" fmla="*/ 9818 h 10000"/>
              <a:gd name="connsiteX139" fmla="*/ 7188 w 10000"/>
              <a:gd name="connsiteY139" fmla="*/ 9818 h 10000"/>
              <a:gd name="connsiteX140" fmla="*/ 7188 w 10000"/>
              <a:gd name="connsiteY140" fmla="*/ 9863 h 10000"/>
              <a:gd name="connsiteX141" fmla="*/ 7188 w 10000"/>
              <a:gd name="connsiteY141" fmla="*/ 9954 h 10000"/>
              <a:gd name="connsiteX142" fmla="*/ 7241 w 10000"/>
              <a:gd name="connsiteY142" fmla="*/ 10000 h 10000"/>
              <a:gd name="connsiteX143" fmla="*/ 7188 w 10000"/>
              <a:gd name="connsiteY143" fmla="*/ 10000 h 10000"/>
              <a:gd name="connsiteX144" fmla="*/ 7344 w 10000"/>
              <a:gd name="connsiteY144" fmla="*/ 7949 h 10000"/>
              <a:gd name="connsiteX145" fmla="*/ 7136 w 10000"/>
              <a:gd name="connsiteY145" fmla="*/ 7583 h 10000"/>
              <a:gd name="connsiteX146" fmla="*/ 6544 w 10000"/>
              <a:gd name="connsiteY146" fmla="*/ 7464 h 10000"/>
              <a:gd name="connsiteX147" fmla="*/ 5775 w 10000"/>
              <a:gd name="connsiteY147" fmla="*/ 7428 h 10000"/>
              <a:gd name="connsiteX148" fmla="*/ 5311 w 10000"/>
              <a:gd name="connsiteY148" fmla="*/ 7311 h 10000"/>
              <a:gd name="connsiteX149" fmla="*/ 5071 w 10000"/>
              <a:gd name="connsiteY149" fmla="*/ 7197 h 10000"/>
              <a:gd name="connsiteX150" fmla="*/ 4912 w 10000"/>
              <a:gd name="connsiteY150" fmla="*/ 7293 h 10000"/>
              <a:gd name="connsiteX151" fmla="*/ 4416 w 10000"/>
              <a:gd name="connsiteY151" fmla="*/ 7116 h 10000"/>
              <a:gd name="connsiteX152" fmla="*/ 3584 w 10000"/>
              <a:gd name="connsiteY152" fmla="*/ 6810 h 10000"/>
              <a:gd name="connsiteX153" fmla="*/ 3104 w 10000"/>
              <a:gd name="connsiteY153" fmla="*/ 6751 h 10000"/>
              <a:gd name="connsiteX154" fmla="*/ 3200 w 10000"/>
              <a:gd name="connsiteY154" fmla="*/ 6538 h 10000"/>
              <a:gd name="connsiteX155" fmla="*/ 3344 w 10000"/>
              <a:gd name="connsiteY155" fmla="*/ 6481 h 10000"/>
              <a:gd name="connsiteX156" fmla="*/ 3728 w 10000"/>
              <a:gd name="connsiteY156" fmla="*/ 6170 h 10000"/>
              <a:gd name="connsiteX157" fmla="*/ 3968 w 10000"/>
              <a:gd name="connsiteY157" fmla="*/ 5882 h 10000"/>
              <a:gd name="connsiteX158" fmla="*/ 4224 w 10000"/>
              <a:gd name="connsiteY158" fmla="*/ 5571 h 10000"/>
              <a:gd name="connsiteX159" fmla="*/ 4368 w 10000"/>
              <a:gd name="connsiteY159" fmla="*/ 5284 h 10000"/>
              <a:gd name="connsiteX160" fmla="*/ 4352 w 10000"/>
              <a:gd name="connsiteY160" fmla="*/ 4955 h 10000"/>
              <a:gd name="connsiteX161" fmla="*/ 4336 w 10000"/>
              <a:gd name="connsiteY161" fmla="*/ 4663 h 10000"/>
              <a:gd name="connsiteX162" fmla="*/ 4176 w 10000"/>
              <a:gd name="connsiteY162" fmla="*/ 4489 h 10000"/>
              <a:gd name="connsiteX163" fmla="*/ 4016 w 10000"/>
              <a:gd name="connsiteY163" fmla="*/ 4511 h 10000"/>
              <a:gd name="connsiteX164" fmla="*/ 3856 w 10000"/>
              <a:gd name="connsiteY164" fmla="*/ 4819 h 10000"/>
              <a:gd name="connsiteX165" fmla="*/ 3808 w 10000"/>
              <a:gd name="connsiteY165" fmla="*/ 5378 h 10000"/>
              <a:gd name="connsiteX166" fmla="*/ 3536 w 10000"/>
              <a:gd name="connsiteY166" fmla="*/ 5747 h 10000"/>
              <a:gd name="connsiteX167" fmla="*/ 2992 w 10000"/>
              <a:gd name="connsiteY167" fmla="*/ 6075 h 10000"/>
              <a:gd name="connsiteX168" fmla="*/ 2415 w 10000"/>
              <a:gd name="connsiteY168" fmla="*/ 6325 h 10000"/>
              <a:gd name="connsiteX169" fmla="*/ 1951 w 10000"/>
              <a:gd name="connsiteY169" fmla="*/ 6670 h 10000"/>
              <a:gd name="connsiteX170" fmla="*/ 0 w 10000"/>
              <a:gd name="connsiteY170" fmla="*/ 6596 h 10000"/>
              <a:gd name="connsiteX171" fmla="*/ 3 w 10000"/>
              <a:gd name="connsiteY171" fmla="*/ 6351 h 10000"/>
              <a:gd name="connsiteX172" fmla="*/ 159 w 10000"/>
              <a:gd name="connsiteY172" fmla="*/ 6440 h 10000"/>
              <a:gd name="connsiteX173" fmla="*/ 368 w 10000"/>
              <a:gd name="connsiteY173" fmla="*/ 6351 h 10000"/>
              <a:gd name="connsiteX174" fmla="*/ 1462 w 10000"/>
              <a:gd name="connsiteY174" fmla="*/ 6351 h 10000"/>
              <a:gd name="connsiteX175" fmla="*/ 1617 w 10000"/>
              <a:gd name="connsiteY175" fmla="*/ 6306 h 10000"/>
              <a:gd name="connsiteX176" fmla="*/ 1669 w 10000"/>
              <a:gd name="connsiteY176" fmla="*/ 6306 h 10000"/>
              <a:gd name="connsiteX177" fmla="*/ 2189 w 10000"/>
              <a:gd name="connsiteY177" fmla="*/ 5721 h 10000"/>
              <a:gd name="connsiteX178" fmla="*/ 2294 w 10000"/>
              <a:gd name="connsiteY178" fmla="*/ 5630 h 10000"/>
              <a:gd name="connsiteX179" fmla="*/ 2762 w 10000"/>
              <a:gd name="connsiteY179" fmla="*/ 5180 h 10000"/>
              <a:gd name="connsiteX180" fmla="*/ 3023 w 10000"/>
              <a:gd name="connsiteY180" fmla="*/ 4909 h 10000"/>
              <a:gd name="connsiteX181" fmla="*/ 3179 w 10000"/>
              <a:gd name="connsiteY181" fmla="*/ 4774 h 10000"/>
              <a:gd name="connsiteX182" fmla="*/ 3596 w 10000"/>
              <a:gd name="connsiteY182" fmla="*/ 4100 h 10000"/>
              <a:gd name="connsiteX183" fmla="*/ 4116 w 10000"/>
              <a:gd name="connsiteY183" fmla="*/ 3827 h 10000"/>
              <a:gd name="connsiteX184" fmla="*/ 5001 w 10000"/>
              <a:gd name="connsiteY184" fmla="*/ 3062 h 10000"/>
              <a:gd name="connsiteX185" fmla="*/ 4845 w 10000"/>
              <a:gd name="connsiteY185" fmla="*/ 2792 h 10000"/>
              <a:gd name="connsiteX186" fmla="*/ 4794 w 10000"/>
              <a:gd name="connsiteY186" fmla="*/ 2611 h 10000"/>
              <a:gd name="connsiteX187" fmla="*/ 4794 w 10000"/>
              <a:gd name="connsiteY187" fmla="*/ 1350 h 10000"/>
              <a:gd name="connsiteX188" fmla="*/ 4116 w 10000"/>
              <a:gd name="connsiteY188" fmla="*/ 810 h 10000"/>
              <a:gd name="connsiteX189" fmla="*/ 4950 w 10000"/>
              <a:gd name="connsiteY189" fmla="*/ 810 h 10000"/>
              <a:gd name="connsiteX190" fmla="*/ 5782 w 10000"/>
              <a:gd name="connsiteY190" fmla="*/ 810 h 10000"/>
              <a:gd name="connsiteX191" fmla="*/ 5782 w 10000"/>
              <a:gd name="connsiteY191" fmla="*/ 763 h 10000"/>
              <a:gd name="connsiteX192" fmla="*/ 5782 w 10000"/>
              <a:gd name="connsiteY192" fmla="*/ 721 h 10000"/>
              <a:gd name="connsiteX193" fmla="*/ 5782 w 10000"/>
              <a:gd name="connsiteY193" fmla="*/ 680 h 10000"/>
              <a:gd name="connsiteX194" fmla="*/ 5782 w 10000"/>
              <a:gd name="connsiteY194" fmla="*/ 631 h 10000"/>
              <a:gd name="connsiteX195" fmla="*/ 5834 w 10000"/>
              <a:gd name="connsiteY195" fmla="*/ 583 h 10000"/>
              <a:gd name="connsiteX196" fmla="*/ 5834 w 10000"/>
              <a:gd name="connsiteY196" fmla="*/ 538 h 10000"/>
              <a:gd name="connsiteX197" fmla="*/ 5834 w 10000"/>
              <a:gd name="connsiteY197" fmla="*/ 495 h 10000"/>
              <a:gd name="connsiteX198" fmla="*/ 5834 w 10000"/>
              <a:gd name="connsiteY198" fmla="*/ 453 h 10000"/>
              <a:gd name="connsiteX199" fmla="*/ 5834 w 10000"/>
              <a:gd name="connsiteY199" fmla="*/ 410 h 10000"/>
              <a:gd name="connsiteX200" fmla="*/ 5834 w 10000"/>
              <a:gd name="connsiteY200" fmla="*/ 358 h 10000"/>
              <a:gd name="connsiteX201" fmla="*/ 5782 w 10000"/>
              <a:gd name="connsiteY201" fmla="*/ 358 h 10000"/>
              <a:gd name="connsiteX202" fmla="*/ 5782 w 10000"/>
              <a:gd name="connsiteY202" fmla="*/ 311 h 10000"/>
              <a:gd name="connsiteX203" fmla="*/ 5782 w 10000"/>
              <a:gd name="connsiteY203" fmla="*/ 268 h 10000"/>
              <a:gd name="connsiteX204" fmla="*/ 5782 w 10000"/>
              <a:gd name="connsiteY204" fmla="*/ 227 h 10000"/>
              <a:gd name="connsiteX205" fmla="*/ 5782 w 10000"/>
              <a:gd name="connsiteY205" fmla="*/ 184 h 10000"/>
              <a:gd name="connsiteX206" fmla="*/ 5782 w 10000"/>
              <a:gd name="connsiteY206" fmla="*/ 142 h 10000"/>
              <a:gd name="connsiteX207" fmla="*/ 5782 w 10000"/>
              <a:gd name="connsiteY207" fmla="*/ 85 h 10000"/>
              <a:gd name="connsiteX208" fmla="*/ 5782 w 10000"/>
              <a:gd name="connsiteY208" fmla="*/ 42 h 10000"/>
              <a:gd name="connsiteX209" fmla="*/ 5782 w 10000"/>
              <a:gd name="connsiteY209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241 w 10000"/>
              <a:gd name="connsiteY138" fmla="*/ 9818 h 10000"/>
              <a:gd name="connsiteX139" fmla="*/ 7188 w 10000"/>
              <a:gd name="connsiteY139" fmla="*/ 9863 h 10000"/>
              <a:gd name="connsiteX140" fmla="*/ 7188 w 10000"/>
              <a:gd name="connsiteY140" fmla="*/ 9954 h 10000"/>
              <a:gd name="connsiteX141" fmla="*/ 7241 w 10000"/>
              <a:gd name="connsiteY141" fmla="*/ 10000 h 10000"/>
              <a:gd name="connsiteX142" fmla="*/ 7188 w 10000"/>
              <a:gd name="connsiteY142" fmla="*/ 10000 h 10000"/>
              <a:gd name="connsiteX143" fmla="*/ 7344 w 10000"/>
              <a:gd name="connsiteY143" fmla="*/ 7949 h 10000"/>
              <a:gd name="connsiteX144" fmla="*/ 7136 w 10000"/>
              <a:gd name="connsiteY144" fmla="*/ 7583 h 10000"/>
              <a:gd name="connsiteX145" fmla="*/ 6544 w 10000"/>
              <a:gd name="connsiteY145" fmla="*/ 7464 h 10000"/>
              <a:gd name="connsiteX146" fmla="*/ 5775 w 10000"/>
              <a:gd name="connsiteY146" fmla="*/ 7428 h 10000"/>
              <a:gd name="connsiteX147" fmla="*/ 5311 w 10000"/>
              <a:gd name="connsiteY147" fmla="*/ 7311 h 10000"/>
              <a:gd name="connsiteX148" fmla="*/ 5071 w 10000"/>
              <a:gd name="connsiteY148" fmla="*/ 7197 h 10000"/>
              <a:gd name="connsiteX149" fmla="*/ 4912 w 10000"/>
              <a:gd name="connsiteY149" fmla="*/ 7293 h 10000"/>
              <a:gd name="connsiteX150" fmla="*/ 4416 w 10000"/>
              <a:gd name="connsiteY150" fmla="*/ 7116 h 10000"/>
              <a:gd name="connsiteX151" fmla="*/ 3584 w 10000"/>
              <a:gd name="connsiteY151" fmla="*/ 6810 h 10000"/>
              <a:gd name="connsiteX152" fmla="*/ 3104 w 10000"/>
              <a:gd name="connsiteY152" fmla="*/ 6751 h 10000"/>
              <a:gd name="connsiteX153" fmla="*/ 3200 w 10000"/>
              <a:gd name="connsiteY153" fmla="*/ 6538 h 10000"/>
              <a:gd name="connsiteX154" fmla="*/ 3344 w 10000"/>
              <a:gd name="connsiteY154" fmla="*/ 6481 h 10000"/>
              <a:gd name="connsiteX155" fmla="*/ 3728 w 10000"/>
              <a:gd name="connsiteY155" fmla="*/ 6170 h 10000"/>
              <a:gd name="connsiteX156" fmla="*/ 3968 w 10000"/>
              <a:gd name="connsiteY156" fmla="*/ 5882 h 10000"/>
              <a:gd name="connsiteX157" fmla="*/ 4224 w 10000"/>
              <a:gd name="connsiteY157" fmla="*/ 5571 h 10000"/>
              <a:gd name="connsiteX158" fmla="*/ 4368 w 10000"/>
              <a:gd name="connsiteY158" fmla="*/ 5284 h 10000"/>
              <a:gd name="connsiteX159" fmla="*/ 4352 w 10000"/>
              <a:gd name="connsiteY159" fmla="*/ 4955 h 10000"/>
              <a:gd name="connsiteX160" fmla="*/ 4336 w 10000"/>
              <a:gd name="connsiteY160" fmla="*/ 4663 h 10000"/>
              <a:gd name="connsiteX161" fmla="*/ 4176 w 10000"/>
              <a:gd name="connsiteY161" fmla="*/ 4489 h 10000"/>
              <a:gd name="connsiteX162" fmla="*/ 4016 w 10000"/>
              <a:gd name="connsiteY162" fmla="*/ 4511 h 10000"/>
              <a:gd name="connsiteX163" fmla="*/ 3856 w 10000"/>
              <a:gd name="connsiteY163" fmla="*/ 4819 h 10000"/>
              <a:gd name="connsiteX164" fmla="*/ 3808 w 10000"/>
              <a:gd name="connsiteY164" fmla="*/ 5378 h 10000"/>
              <a:gd name="connsiteX165" fmla="*/ 3536 w 10000"/>
              <a:gd name="connsiteY165" fmla="*/ 5747 h 10000"/>
              <a:gd name="connsiteX166" fmla="*/ 2992 w 10000"/>
              <a:gd name="connsiteY166" fmla="*/ 6075 h 10000"/>
              <a:gd name="connsiteX167" fmla="*/ 2415 w 10000"/>
              <a:gd name="connsiteY167" fmla="*/ 6325 h 10000"/>
              <a:gd name="connsiteX168" fmla="*/ 1951 w 10000"/>
              <a:gd name="connsiteY168" fmla="*/ 6670 h 10000"/>
              <a:gd name="connsiteX169" fmla="*/ 0 w 10000"/>
              <a:gd name="connsiteY169" fmla="*/ 6596 h 10000"/>
              <a:gd name="connsiteX170" fmla="*/ 3 w 10000"/>
              <a:gd name="connsiteY170" fmla="*/ 6351 h 10000"/>
              <a:gd name="connsiteX171" fmla="*/ 159 w 10000"/>
              <a:gd name="connsiteY171" fmla="*/ 6440 h 10000"/>
              <a:gd name="connsiteX172" fmla="*/ 368 w 10000"/>
              <a:gd name="connsiteY172" fmla="*/ 6351 h 10000"/>
              <a:gd name="connsiteX173" fmla="*/ 1462 w 10000"/>
              <a:gd name="connsiteY173" fmla="*/ 6351 h 10000"/>
              <a:gd name="connsiteX174" fmla="*/ 1617 w 10000"/>
              <a:gd name="connsiteY174" fmla="*/ 6306 h 10000"/>
              <a:gd name="connsiteX175" fmla="*/ 1669 w 10000"/>
              <a:gd name="connsiteY175" fmla="*/ 6306 h 10000"/>
              <a:gd name="connsiteX176" fmla="*/ 2189 w 10000"/>
              <a:gd name="connsiteY176" fmla="*/ 5721 h 10000"/>
              <a:gd name="connsiteX177" fmla="*/ 2294 w 10000"/>
              <a:gd name="connsiteY177" fmla="*/ 5630 h 10000"/>
              <a:gd name="connsiteX178" fmla="*/ 2762 w 10000"/>
              <a:gd name="connsiteY178" fmla="*/ 5180 h 10000"/>
              <a:gd name="connsiteX179" fmla="*/ 3023 w 10000"/>
              <a:gd name="connsiteY179" fmla="*/ 4909 h 10000"/>
              <a:gd name="connsiteX180" fmla="*/ 3179 w 10000"/>
              <a:gd name="connsiteY180" fmla="*/ 4774 h 10000"/>
              <a:gd name="connsiteX181" fmla="*/ 3596 w 10000"/>
              <a:gd name="connsiteY181" fmla="*/ 4100 h 10000"/>
              <a:gd name="connsiteX182" fmla="*/ 4116 w 10000"/>
              <a:gd name="connsiteY182" fmla="*/ 3827 h 10000"/>
              <a:gd name="connsiteX183" fmla="*/ 5001 w 10000"/>
              <a:gd name="connsiteY183" fmla="*/ 3062 h 10000"/>
              <a:gd name="connsiteX184" fmla="*/ 4845 w 10000"/>
              <a:gd name="connsiteY184" fmla="*/ 2792 h 10000"/>
              <a:gd name="connsiteX185" fmla="*/ 4794 w 10000"/>
              <a:gd name="connsiteY185" fmla="*/ 2611 h 10000"/>
              <a:gd name="connsiteX186" fmla="*/ 4794 w 10000"/>
              <a:gd name="connsiteY186" fmla="*/ 1350 h 10000"/>
              <a:gd name="connsiteX187" fmla="*/ 4116 w 10000"/>
              <a:gd name="connsiteY187" fmla="*/ 810 h 10000"/>
              <a:gd name="connsiteX188" fmla="*/ 4950 w 10000"/>
              <a:gd name="connsiteY188" fmla="*/ 810 h 10000"/>
              <a:gd name="connsiteX189" fmla="*/ 5782 w 10000"/>
              <a:gd name="connsiteY189" fmla="*/ 810 h 10000"/>
              <a:gd name="connsiteX190" fmla="*/ 5782 w 10000"/>
              <a:gd name="connsiteY190" fmla="*/ 763 h 10000"/>
              <a:gd name="connsiteX191" fmla="*/ 5782 w 10000"/>
              <a:gd name="connsiteY191" fmla="*/ 721 h 10000"/>
              <a:gd name="connsiteX192" fmla="*/ 5782 w 10000"/>
              <a:gd name="connsiteY192" fmla="*/ 680 h 10000"/>
              <a:gd name="connsiteX193" fmla="*/ 5782 w 10000"/>
              <a:gd name="connsiteY193" fmla="*/ 631 h 10000"/>
              <a:gd name="connsiteX194" fmla="*/ 5834 w 10000"/>
              <a:gd name="connsiteY194" fmla="*/ 583 h 10000"/>
              <a:gd name="connsiteX195" fmla="*/ 5834 w 10000"/>
              <a:gd name="connsiteY195" fmla="*/ 538 h 10000"/>
              <a:gd name="connsiteX196" fmla="*/ 5834 w 10000"/>
              <a:gd name="connsiteY196" fmla="*/ 495 h 10000"/>
              <a:gd name="connsiteX197" fmla="*/ 5834 w 10000"/>
              <a:gd name="connsiteY197" fmla="*/ 453 h 10000"/>
              <a:gd name="connsiteX198" fmla="*/ 5834 w 10000"/>
              <a:gd name="connsiteY198" fmla="*/ 410 h 10000"/>
              <a:gd name="connsiteX199" fmla="*/ 5834 w 10000"/>
              <a:gd name="connsiteY199" fmla="*/ 358 h 10000"/>
              <a:gd name="connsiteX200" fmla="*/ 5782 w 10000"/>
              <a:gd name="connsiteY200" fmla="*/ 358 h 10000"/>
              <a:gd name="connsiteX201" fmla="*/ 5782 w 10000"/>
              <a:gd name="connsiteY201" fmla="*/ 311 h 10000"/>
              <a:gd name="connsiteX202" fmla="*/ 5782 w 10000"/>
              <a:gd name="connsiteY202" fmla="*/ 268 h 10000"/>
              <a:gd name="connsiteX203" fmla="*/ 5782 w 10000"/>
              <a:gd name="connsiteY203" fmla="*/ 227 h 10000"/>
              <a:gd name="connsiteX204" fmla="*/ 5782 w 10000"/>
              <a:gd name="connsiteY204" fmla="*/ 184 h 10000"/>
              <a:gd name="connsiteX205" fmla="*/ 5782 w 10000"/>
              <a:gd name="connsiteY205" fmla="*/ 142 h 10000"/>
              <a:gd name="connsiteX206" fmla="*/ 5782 w 10000"/>
              <a:gd name="connsiteY206" fmla="*/ 85 h 10000"/>
              <a:gd name="connsiteX207" fmla="*/ 5782 w 10000"/>
              <a:gd name="connsiteY207" fmla="*/ 42 h 10000"/>
              <a:gd name="connsiteX208" fmla="*/ 5782 w 10000"/>
              <a:gd name="connsiteY208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188 w 10000"/>
              <a:gd name="connsiteY138" fmla="*/ 9863 h 10000"/>
              <a:gd name="connsiteX139" fmla="*/ 7188 w 10000"/>
              <a:gd name="connsiteY139" fmla="*/ 9954 h 10000"/>
              <a:gd name="connsiteX140" fmla="*/ 7241 w 10000"/>
              <a:gd name="connsiteY140" fmla="*/ 10000 h 10000"/>
              <a:gd name="connsiteX141" fmla="*/ 7188 w 10000"/>
              <a:gd name="connsiteY141" fmla="*/ 10000 h 10000"/>
              <a:gd name="connsiteX142" fmla="*/ 7344 w 10000"/>
              <a:gd name="connsiteY142" fmla="*/ 7949 h 10000"/>
              <a:gd name="connsiteX143" fmla="*/ 7136 w 10000"/>
              <a:gd name="connsiteY143" fmla="*/ 7583 h 10000"/>
              <a:gd name="connsiteX144" fmla="*/ 6544 w 10000"/>
              <a:gd name="connsiteY144" fmla="*/ 7464 h 10000"/>
              <a:gd name="connsiteX145" fmla="*/ 5775 w 10000"/>
              <a:gd name="connsiteY145" fmla="*/ 7428 h 10000"/>
              <a:gd name="connsiteX146" fmla="*/ 5311 w 10000"/>
              <a:gd name="connsiteY146" fmla="*/ 7311 h 10000"/>
              <a:gd name="connsiteX147" fmla="*/ 5071 w 10000"/>
              <a:gd name="connsiteY147" fmla="*/ 7197 h 10000"/>
              <a:gd name="connsiteX148" fmla="*/ 4912 w 10000"/>
              <a:gd name="connsiteY148" fmla="*/ 7293 h 10000"/>
              <a:gd name="connsiteX149" fmla="*/ 4416 w 10000"/>
              <a:gd name="connsiteY149" fmla="*/ 7116 h 10000"/>
              <a:gd name="connsiteX150" fmla="*/ 3584 w 10000"/>
              <a:gd name="connsiteY150" fmla="*/ 6810 h 10000"/>
              <a:gd name="connsiteX151" fmla="*/ 3104 w 10000"/>
              <a:gd name="connsiteY151" fmla="*/ 6751 h 10000"/>
              <a:gd name="connsiteX152" fmla="*/ 3200 w 10000"/>
              <a:gd name="connsiteY152" fmla="*/ 6538 h 10000"/>
              <a:gd name="connsiteX153" fmla="*/ 3344 w 10000"/>
              <a:gd name="connsiteY153" fmla="*/ 6481 h 10000"/>
              <a:gd name="connsiteX154" fmla="*/ 3728 w 10000"/>
              <a:gd name="connsiteY154" fmla="*/ 6170 h 10000"/>
              <a:gd name="connsiteX155" fmla="*/ 3968 w 10000"/>
              <a:gd name="connsiteY155" fmla="*/ 5882 h 10000"/>
              <a:gd name="connsiteX156" fmla="*/ 4224 w 10000"/>
              <a:gd name="connsiteY156" fmla="*/ 5571 h 10000"/>
              <a:gd name="connsiteX157" fmla="*/ 4368 w 10000"/>
              <a:gd name="connsiteY157" fmla="*/ 5284 h 10000"/>
              <a:gd name="connsiteX158" fmla="*/ 4352 w 10000"/>
              <a:gd name="connsiteY158" fmla="*/ 4955 h 10000"/>
              <a:gd name="connsiteX159" fmla="*/ 4336 w 10000"/>
              <a:gd name="connsiteY159" fmla="*/ 4663 h 10000"/>
              <a:gd name="connsiteX160" fmla="*/ 4176 w 10000"/>
              <a:gd name="connsiteY160" fmla="*/ 4489 h 10000"/>
              <a:gd name="connsiteX161" fmla="*/ 4016 w 10000"/>
              <a:gd name="connsiteY161" fmla="*/ 4511 h 10000"/>
              <a:gd name="connsiteX162" fmla="*/ 3856 w 10000"/>
              <a:gd name="connsiteY162" fmla="*/ 4819 h 10000"/>
              <a:gd name="connsiteX163" fmla="*/ 3808 w 10000"/>
              <a:gd name="connsiteY163" fmla="*/ 5378 h 10000"/>
              <a:gd name="connsiteX164" fmla="*/ 3536 w 10000"/>
              <a:gd name="connsiteY164" fmla="*/ 5747 h 10000"/>
              <a:gd name="connsiteX165" fmla="*/ 2992 w 10000"/>
              <a:gd name="connsiteY165" fmla="*/ 6075 h 10000"/>
              <a:gd name="connsiteX166" fmla="*/ 2415 w 10000"/>
              <a:gd name="connsiteY166" fmla="*/ 6325 h 10000"/>
              <a:gd name="connsiteX167" fmla="*/ 1951 w 10000"/>
              <a:gd name="connsiteY167" fmla="*/ 6670 h 10000"/>
              <a:gd name="connsiteX168" fmla="*/ 0 w 10000"/>
              <a:gd name="connsiteY168" fmla="*/ 6596 h 10000"/>
              <a:gd name="connsiteX169" fmla="*/ 3 w 10000"/>
              <a:gd name="connsiteY169" fmla="*/ 6351 h 10000"/>
              <a:gd name="connsiteX170" fmla="*/ 159 w 10000"/>
              <a:gd name="connsiteY170" fmla="*/ 6440 h 10000"/>
              <a:gd name="connsiteX171" fmla="*/ 368 w 10000"/>
              <a:gd name="connsiteY171" fmla="*/ 6351 h 10000"/>
              <a:gd name="connsiteX172" fmla="*/ 1462 w 10000"/>
              <a:gd name="connsiteY172" fmla="*/ 6351 h 10000"/>
              <a:gd name="connsiteX173" fmla="*/ 1617 w 10000"/>
              <a:gd name="connsiteY173" fmla="*/ 6306 h 10000"/>
              <a:gd name="connsiteX174" fmla="*/ 1669 w 10000"/>
              <a:gd name="connsiteY174" fmla="*/ 6306 h 10000"/>
              <a:gd name="connsiteX175" fmla="*/ 2189 w 10000"/>
              <a:gd name="connsiteY175" fmla="*/ 5721 h 10000"/>
              <a:gd name="connsiteX176" fmla="*/ 2294 w 10000"/>
              <a:gd name="connsiteY176" fmla="*/ 5630 h 10000"/>
              <a:gd name="connsiteX177" fmla="*/ 2762 w 10000"/>
              <a:gd name="connsiteY177" fmla="*/ 5180 h 10000"/>
              <a:gd name="connsiteX178" fmla="*/ 3023 w 10000"/>
              <a:gd name="connsiteY178" fmla="*/ 4909 h 10000"/>
              <a:gd name="connsiteX179" fmla="*/ 3179 w 10000"/>
              <a:gd name="connsiteY179" fmla="*/ 4774 h 10000"/>
              <a:gd name="connsiteX180" fmla="*/ 3596 w 10000"/>
              <a:gd name="connsiteY180" fmla="*/ 4100 h 10000"/>
              <a:gd name="connsiteX181" fmla="*/ 4116 w 10000"/>
              <a:gd name="connsiteY181" fmla="*/ 3827 h 10000"/>
              <a:gd name="connsiteX182" fmla="*/ 5001 w 10000"/>
              <a:gd name="connsiteY182" fmla="*/ 3062 h 10000"/>
              <a:gd name="connsiteX183" fmla="*/ 4845 w 10000"/>
              <a:gd name="connsiteY183" fmla="*/ 2792 h 10000"/>
              <a:gd name="connsiteX184" fmla="*/ 4794 w 10000"/>
              <a:gd name="connsiteY184" fmla="*/ 2611 h 10000"/>
              <a:gd name="connsiteX185" fmla="*/ 4794 w 10000"/>
              <a:gd name="connsiteY185" fmla="*/ 1350 h 10000"/>
              <a:gd name="connsiteX186" fmla="*/ 4116 w 10000"/>
              <a:gd name="connsiteY186" fmla="*/ 810 h 10000"/>
              <a:gd name="connsiteX187" fmla="*/ 4950 w 10000"/>
              <a:gd name="connsiteY187" fmla="*/ 810 h 10000"/>
              <a:gd name="connsiteX188" fmla="*/ 5782 w 10000"/>
              <a:gd name="connsiteY188" fmla="*/ 810 h 10000"/>
              <a:gd name="connsiteX189" fmla="*/ 5782 w 10000"/>
              <a:gd name="connsiteY189" fmla="*/ 763 h 10000"/>
              <a:gd name="connsiteX190" fmla="*/ 5782 w 10000"/>
              <a:gd name="connsiteY190" fmla="*/ 721 h 10000"/>
              <a:gd name="connsiteX191" fmla="*/ 5782 w 10000"/>
              <a:gd name="connsiteY191" fmla="*/ 680 h 10000"/>
              <a:gd name="connsiteX192" fmla="*/ 5782 w 10000"/>
              <a:gd name="connsiteY192" fmla="*/ 631 h 10000"/>
              <a:gd name="connsiteX193" fmla="*/ 5834 w 10000"/>
              <a:gd name="connsiteY193" fmla="*/ 583 h 10000"/>
              <a:gd name="connsiteX194" fmla="*/ 5834 w 10000"/>
              <a:gd name="connsiteY194" fmla="*/ 538 h 10000"/>
              <a:gd name="connsiteX195" fmla="*/ 5834 w 10000"/>
              <a:gd name="connsiteY195" fmla="*/ 495 h 10000"/>
              <a:gd name="connsiteX196" fmla="*/ 5834 w 10000"/>
              <a:gd name="connsiteY196" fmla="*/ 453 h 10000"/>
              <a:gd name="connsiteX197" fmla="*/ 5834 w 10000"/>
              <a:gd name="connsiteY197" fmla="*/ 410 h 10000"/>
              <a:gd name="connsiteX198" fmla="*/ 5834 w 10000"/>
              <a:gd name="connsiteY198" fmla="*/ 358 h 10000"/>
              <a:gd name="connsiteX199" fmla="*/ 5782 w 10000"/>
              <a:gd name="connsiteY199" fmla="*/ 358 h 10000"/>
              <a:gd name="connsiteX200" fmla="*/ 5782 w 10000"/>
              <a:gd name="connsiteY200" fmla="*/ 311 h 10000"/>
              <a:gd name="connsiteX201" fmla="*/ 5782 w 10000"/>
              <a:gd name="connsiteY201" fmla="*/ 268 h 10000"/>
              <a:gd name="connsiteX202" fmla="*/ 5782 w 10000"/>
              <a:gd name="connsiteY202" fmla="*/ 227 h 10000"/>
              <a:gd name="connsiteX203" fmla="*/ 5782 w 10000"/>
              <a:gd name="connsiteY203" fmla="*/ 184 h 10000"/>
              <a:gd name="connsiteX204" fmla="*/ 5782 w 10000"/>
              <a:gd name="connsiteY204" fmla="*/ 142 h 10000"/>
              <a:gd name="connsiteX205" fmla="*/ 5782 w 10000"/>
              <a:gd name="connsiteY205" fmla="*/ 85 h 10000"/>
              <a:gd name="connsiteX206" fmla="*/ 5782 w 10000"/>
              <a:gd name="connsiteY206" fmla="*/ 42 h 10000"/>
              <a:gd name="connsiteX207" fmla="*/ 5782 w 10000"/>
              <a:gd name="connsiteY207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4 h 10000"/>
              <a:gd name="connsiteX4" fmla="*/ 7293 w 10000"/>
              <a:gd name="connsiteY4" fmla="*/ 583 h 10000"/>
              <a:gd name="connsiteX5" fmla="*/ 7188 w 10000"/>
              <a:gd name="connsiteY5" fmla="*/ 1217 h 10000"/>
              <a:gd name="connsiteX6" fmla="*/ 7136 w 10000"/>
              <a:gd name="connsiteY6" fmla="*/ 1262 h 10000"/>
              <a:gd name="connsiteX7" fmla="*/ 6980 w 10000"/>
              <a:gd name="connsiteY7" fmla="*/ 1620 h 10000"/>
              <a:gd name="connsiteX8" fmla="*/ 7396 w 10000"/>
              <a:gd name="connsiteY8" fmla="*/ 3287 h 10000"/>
              <a:gd name="connsiteX9" fmla="*/ 7501 w 10000"/>
              <a:gd name="connsiteY9" fmla="*/ 3603 h 10000"/>
              <a:gd name="connsiteX10" fmla="*/ 7345 w 10000"/>
              <a:gd name="connsiteY10" fmla="*/ 3876 h 10000"/>
              <a:gd name="connsiteX11" fmla="*/ 8022 w 10000"/>
              <a:gd name="connsiteY11" fmla="*/ 4053 h 10000"/>
              <a:gd name="connsiteX12" fmla="*/ 8489 w 10000"/>
              <a:gd name="connsiteY12" fmla="*/ 4549 h 10000"/>
              <a:gd name="connsiteX13" fmla="*/ 8594 w 10000"/>
              <a:gd name="connsiteY13" fmla="*/ 4638 h 10000"/>
              <a:gd name="connsiteX14" fmla="*/ 8906 w 10000"/>
              <a:gd name="connsiteY14" fmla="*/ 4863 h 10000"/>
              <a:gd name="connsiteX15" fmla="*/ 9114 w 10000"/>
              <a:gd name="connsiteY15" fmla="*/ 5134 h 10000"/>
              <a:gd name="connsiteX16" fmla="*/ 9219 w 10000"/>
              <a:gd name="connsiteY16" fmla="*/ 5271 h 10000"/>
              <a:gd name="connsiteX17" fmla="*/ 9427 w 10000"/>
              <a:gd name="connsiteY17" fmla="*/ 5271 h 10000"/>
              <a:gd name="connsiteX18" fmla="*/ 9427 w 10000"/>
              <a:gd name="connsiteY18" fmla="*/ 5314 h 10000"/>
              <a:gd name="connsiteX19" fmla="*/ 9479 w 10000"/>
              <a:gd name="connsiteY19" fmla="*/ 5405 h 10000"/>
              <a:gd name="connsiteX20" fmla="*/ 9479 w 10000"/>
              <a:gd name="connsiteY20" fmla="*/ 5451 h 10000"/>
              <a:gd name="connsiteX21" fmla="*/ 9532 w 10000"/>
              <a:gd name="connsiteY21" fmla="*/ 5630 h 10000"/>
              <a:gd name="connsiteX22" fmla="*/ 9532 w 10000"/>
              <a:gd name="connsiteY22" fmla="*/ 5676 h 10000"/>
              <a:gd name="connsiteX23" fmla="*/ 9532 w 10000"/>
              <a:gd name="connsiteY23" fmla="*/ 5810 h 10000"/>
              <a:gd name="connsiteX24" fmla="*/ 9532 w 10000"/>
              <a:gd name="connsiteY24" fmla="*/ 5899 h 10000"/>
              <a:gd name="connsiteX25" fmla="*/ 9479 w 10000"/>
              <a:gd name="connsiteY25" fmla="*/ 5991 h 10000"/>
              <a:gd name="connsiteX26" fmla="*/ 9427 w 10000"/>
              <a:gd name="connsiteY26" fmla="*/ 6263 h 10000"/>
              <a:gd name="connsiteX27" fmla="*/ 9375 w 10000"/>
              <a:gd name="connsiteY27" fmla="*/ 6306 h 10000"/>
              <a:gd name="connsiteX28" fmla="*/ 9322 w 10000"/>
              <a:gd name="connsiteY28" fmla="*/ 6351 h 10000"/>
              <a:gd name="connsiteX29" fmla="*/ 9271 w 10000"/>
              <a:gd name="connsiteY29" fmla="*/ 6532 h 10000"/>
              <a:gd name="connsiteX30" fmla="*/ 9219 w 10000"/>
              <a:gd name="connsiteY30" fmla="*/ 6619 h 10000"/>
              <a:gd name="connsiteX31" fmla="*/ 9219 w 10000"/>
              <a:gd name="connsiteY31" fmla="*/ 6713 h 10000"/>
              <a:gd name="connsiteX32" fmla="*/ 9219 w 10000"/>
              <a:gd name="connsiteY32" fmla="*/ 6757 h 10000"/>
              <a:gd name="connsiteX33" fmla="*/ 9219 w 10000"/>
              <a:gd name="connsiteY33" fmla="*/ 6890 h 10000"/>
              <a:gd name="connsiteX34" fmla="*/ 9271 w 10000"/>
              <a:gd name="connsiteY34" fmla="*/ 7028 h 10000"/>
              <a:gd name="connsiteX35" fmla="*/ 9895 w 10000"/>
              <a:gd name="connsiteY35" fmla="*/ 7028 h 10000"/>
              <a:gd name="connsiteX36" fmla="*/ 9895 w 10000"/>
              <a:gd name="connsiteY36" fmla="*/ 7115 h 10000"/>
              <a:gd name="connsiteX37" fmla="*/ 9948 w 10000"/>
              <a:gd name="connsiteY37" fmla="*/ 7432 h 10000"/>
              <a:gd name="connsiteX38" fmla="*/ 9948 w 10000"/>
              <a:gd name="connsiteY38" fmla="*/ 7477 h 10000"/>
              <a:gd name="connsiteX39" fmla="*/ 9948 w 10000"/>
              <a:gd name="connsiteY39" fmla="*/ 7611 h 10000"/>
              <a:gd name="connsiteX40" fmla="*/ 9948 w 10000"/>
              <a:gd name="connsiteY40" fmla="*/ 7659 h 10000"/>
              <a:gd name="connsiteX41" fmla="*/ 9948 w 10000"/>
              <a:gd name="connsiteY41" fmla="*/ 7747 h 10000"/>
              <a:gd name="connsiteX42" fmla="*/ 9948 w 10000"/>
              <a:gd name="connsiteY42" fmla="*/ 7792 h 10000"/>
              <a:gd name="connsiteX43" fmla="*/ 9948 w 10000"/>
              <a:gd name="connsiteY43" fmla="*/ 7837 h 10000"/>
              <a:gd name="connsiteX44" fmla="*/ 9948 w 10000"/>
              <a:gd name="connsiteY44" fmla="*/ 7883 h 10000"/>
              <a:gd name="connsiteX45" fmla="*/ 10000 w 10000"/>
              <a:gd name="connsiteY45" fmla="*/ 7971 h 10000"/>
              <a:gd name="connsiteX46" fmla="*/ 10000 w 10000"/>
              <a:gd name="connsiteY46" fmla="*/ 8108 h 10000"/>
              <a:gd name="connsiteX47" fmla="*/ 10000 w 10000"/>
              <a:gd name="connsiteY47" fmla="*/ 8153 h 10000"/>
              <a:gd name="connsiteX48" fmla="*/ 10000 w 10000"/>
              <a:gd name="connsiteY48" fmla="*/ 8197 h 10000"/>
              <a:gd name="connsiteX49" fmla="*/ 10000 w 10000"/>
              <a:gd name="connsiteY49" fmla="*/ 8243 h 10000"/>
              <a:gd name="connsiteX50" fmla="*/ 10000 w 10000"/>
              <a:gd name="connsiteY50" fmla="*/ 8333 h 10000"/>
              <a:gd name="connsiteX51" fmla="*/ 10000 w 10000"/>
              <a:gd name="connsiteY51" fmla="*/ 8379 h 10000"/>
              <a:gd name="connsiteX52" fmla="*/ 10000 w 10000"/>
              <a:gd name="connsiteY52" fmla="*/ 8422 h 10000"/>
              <a:gd name="connsiteX53" fmla="*/ 10000 w 10000"/>
              <a:gd name="connsiteY53" fmla="*/ 8511 h 10000"/>
              <a:gd name="connsiteX54" fmla="*/ 10000 w 10000"/>
              <a:gd name="connsiteY54" fmla="*/ 8738 h 10000"/>
              <a:gd name="connsiteX55" fmla="*/ 10000 w 10000"/>
              <a:gd name="connsiteY55" fmla="*/ 8782 h 10000"/>
              <a:gd name="connsiteX56" fmla="*/ 10000 w 10000"/>
              <a:gd name="connsiteY56" fmla="*/ 8874 h 10000"/>
              <a:gd name="connsiteX57" fmla="*/ 10000 w 10000"/>
              <a:gd name="connsiteY57" fmla="*/ 8918 h 10000"/>
              <a:gd name="connsiteX58" fmla="*/ 10000 w 10000"/>
              <a:gd name="connsiteY58" fmla="*/ 8963 h 10000"/>
              <a:gd name="connsiteX59" fmla="*/ 10000 w 10000"/>
              <a:gd name="connsiteY59" fmla="*/ 9008 h 10000"/>
              <a:gd name="connsiteX60" fmla="*/ 10000 w 10000"/>
              <a:gd name="connsiteY60" fmla="*/ 9051 h 10000"/>
              <a:gd name="connsiteX61" fmla="*/ 10000 w 10000"/>
              <a:gd name="connsiteY61" fmla="*/ 9144 h 10000"/>
              <a:gd name="connsiteX62" fmla="*/ 10000 w 10000"/>
              <a:gd name="connsiteY62" fmla="*/ 9233 h 10000"/>
              <a:gd name="connsiteX63" fmla="*/ 10000 w 10000"/>
              <a:gd name="connsiteY63" fmla="*/ 9277 h 10000"/>
              <a:gd name="connsiteX64" fmla="*/ 10000 w 10000"/>
              <a:gd name="connsiteY64" fmla="*/ 9325 h 10000"/>
              <a:gd name="connsiteX65" fmla="*/ 9948 w 10000"/>
              <a:gd name="connsiteY65" fmla="*/ 9325 h 10000"/>
              <a:gd name="connsiteX66" fmla="*/ 9948 w 10000"/>
              <a:gd name="connsiteY66" fmla="*/ 9368 h 10000"/>
              <a:gd name="connsiteX67" fmla="*/ 9895 w 10000"/>
              <a:gd name="connsiteY67" fmla="*/ 9414 h 10000"/>
              <a:gd name="connsiteX68" fmla="*/ 9844 w 10000"/>
              <a:gd name="connsiteY68" fmla="*/ 9414 h 10000"/>
              <a:gd name="connsiteX69" fmla="*/ 9844 w 10000"/>
              <a:gd name="connsiteY69" fmla="*/ 9460 h 10000"/>
              <a:gd name="connsiteX70" fmla="*/ 9792 w 10000"/>
              <a:gd name="connsiteY70" fmla="*/ 9460 h 10000"/>
              <a:gd name="connsiteX71" fmla="*/ 9740 w 10000"/>
              <a:gd name="connsiteY71" fmla="*/ 9504 h 10000"/>
              <a:gd name="connsiteX72" fmla="*/ 9687 w 10000"/>
              <a:gd name="connsiteY72" fmla="*/ 9547 h 10000"/>
              <a:gd name="connsiteX73" fmla="*/ 9635 w 10000"/>
              <a:gd name="connsiteY73" fmla="*/ 9547 h 10000"/>
              <a:gd name="connsiteX74" fmla="*/ 9635 w 10000"/>
              <a:gd name="connsiteY74" fmla="*/ 9594 h 10000"/>
              <a:gd name="connsiteX75" fmla="*/ 9583 w 10000"/>
              <a:gd name="connsiteY75" fmla="*/ 9594 h 10000"/>
              <a:gd name="connsiteX76" fmla="*/ 9532 w 10000"/>
              <a:gd name="connsiteY76" fmla="*/ 9594 h 10000"/>
              <a:gd name="connsiteX77" fmla="*/ 9479 w 10000"/>
              <a:gd name="connsiteY77" fmla="*/ 9594 h 10000"/>
              <a:gd name="connsiteX78" fmla="*/ 9427 w 10000"/>
              <a:gd name="connsiteY78" fmla="*/ 9594 h 10000"/>
              <a:gd name="connsiteX79" fmla="*/ 9375 w 10000"/>
              <a:gd name="connsiteY79" fmla="*/ 9594 h 10000"/>
              <a:gd name="connsiteX80" fmla="*/ 9322 w 10000"/>
              <a:gd name="connsiteY80" fmla="*/ 9594 h 10000"/>
              <a:gd name="connsiteX81" fmla="*/ 9271 w 10000"/>
              <a:gd name="connsiteY81" fmla="*/ 9594 h 10000"/>
              <a:gd name="connsiteX82" fmla="*/ 9271 w 10000"/>
              <a:gd name="connsiteY82" fmla="*/ 9637 h 10000"/>
              <a:gd name="connsiteX83" fmla="*/ 9219 w 10000"/>
              <a:gd name="connsiteY83" fmla="*/ 9684 h 10000"/>
              <a:gd name="connsiteX84" fmla="*/ 9167 w 10000"/>
              <a:gd name="connsiteY84" fmla="*/ 9730 h 10000"/>
              <a:gd name="connsiteX85" fmla="*/ 9219 w 10000"/>
              <a:gd name="connsiteY85" fmla="*/ 9730 h 10000"/>
              <a:gd name="connsiteX86" fmla="*/ 9167 w 10000"/>
              <a:gd name="connsiteY86" fmla="*/ 9730 h 10000"/>
              <a:gd name="connsiteX87" fmla="*/ 9114 w 10000"/>
              <a:gd name="connsiteY87" fmla="*/ 9730 h 10000"/>
              <a:gd name="connsiteX88" fmla="*/ 9062 w 10000"/>
              <a:gd name="connsiteY88" fmla="*/ 9774 h 10000"/>
              <a:gd name="connsiteX89" fmla="*/ 9011 w 10000"/>
              <a:gd name="connsiteY89" fmla="*/ 9818 h 10000"/>
              <a:gd name="connsiteX90" fmla="*/ 8959 w 10000"/>
              <a:gd name="connsiteY90" fmla="*/ 9818 h 10000"/>
              <a:gd name="connsiteX91" fmla="*/ 8959 w 10000"/>
              <a:gd name="connsiteY91" fmla="*/ 9863 h 10000"/>
              <a:gd name="connsiteX92" fmla="*/ 8906 w 10000"/>
              <a:gd name="connsiteY92" fmla="*/ 9863 h 10000"/>
              <a:gd name="connsiteX93" fmla="*/ 8906 w 10000"/>
              <a:gd name="connsiteY93" fmla="*/ 9908 h 10000"/>
              <a:gd name="connsiteX94" fmla="*/ 8854 w 10000"/>
              <a:gd name="connsiteY94" fmla="*/ 9908 h 10000"/>
              <a:gd name="connsiteX95" fmla="*/ 8802 w 10000"/>
              <a:gd name="connsiteY95" fmla="*/ 9908 h 10000"/>
              <a:gd name="connsiteX96" fmla="*/ 8749 w 10000"/>
              <a:gd name="connsiteY96" fmla="*/ 9908 h 10000"/>
              <a:gd name="connsiteX97" fmla="*/ 8698 w 10000"/>
              <a:gd name="connsiteY97" fmla="*/ 9908 h 10000"/>
              <a:gd name="connsiteX98" fmla="*/ 8646 w 10000"/>
              <a:gd name="connsiteY98" fmla="*/ 9908 h 10000"/>
              <a:gd name="connsiteX99" fmla="*/ 8646 w 10000"/>
              <a:gd name="connsiteY99" fmla="*/ 9863 h 10000"/>
              <a:gd name="connsiteX100" fmla="*/ 8646 w 10000"/>
              <a:gd name="connsiteY100" fmla="*/ 9818 h 10000"/>
              <a:gd name="connsiteX101" fmla="*/ 8594 w 10000"/>
              <a:gd name="connsiteY101" fmla="*/ 9774 h 10000"/>
              <a:gd name="connsiteX102" fmla="*/ 8594 w 10000"/>
              <a:gd name="connsiteY102" fmla="*/ 9730 h 10000"/>
              <a:gd name="connsiteX103" fmla="*/ 8594 w 10000"/>
              <a:gd name="connsiteY103" fmla="*/ 9684 h 10000"/>
              <a:gd name="connsiteX104" fmla="*/ 8541 w 10000"/>
              <a:gd name="connsiteY104" fmla="*/ 9684 h 10000"/>
              <a:gd name="connsiteX105" fmla="*/ 8489 w 10000"/>
              <a:gd name="connsiteY105" fmla="*/ 9684 h 10000"/>
              <a:gd name="connsiteX106" fmla="*/ 8489 w 10000"/>
              <a:gd name="connsiteY106" fmla="*/ 9637 h 10000"/>
              <a:gd name="connsiteX107" fmla="*/ 8438 w 10000"/>
              <a:gd name="connsiteY107" fmla="*/ 9637 h 10000"/>
              <a:gd name="connsiteX108" fmla="*/ 8386 w 10000"/>
              <a:gd name="connsiteY108" fmla="*/ 9684 h 10000"/>
              <a:gd name="connsiteX109" fmla="*/ 8386 w 10000"/>
              <a:gd name="connsiteY109" fmla="*/ 9730 h 10000"/>
              <a:gd name="connsiteX110" fmla="*/ 8282 w 10000"/>
              <a:gd name="connsiteY110" fmla="*/ 9684 h 10000"/>
              <a:gd name="connsiteX111" fmla="*/ 8282 w 10000"/>
              <a:gd name="connsiteY111" fmla="*/ 9637 h 10000"/>
              <a:gd name="connsiteX112" fmla="*/ 8230 w 10000"/>
              <a:gd name="connsiteY112" fmla="*/ 9637 h 10000"/>
              <a:gd name="connsiteX113" fmla="*/ 8179 w 10000"/>
              <a:gd name="connsiteY113" fmla="*/ 9637 h 10000"/>
              <a:gd name="connsiteX114" fmla="*/ 8126 w 10000"/>
              <a:gd name="connsiteY114" fmla="*/ 9637 h 10000"/>
              <a:gd name="connsiteX115" fmla="*/ 8074 w 10000"/>
              <a:gd name="connsiteY115" fmla="*/ 9637 h 10000"/>
              <a:gd name="connsiteX116" fmla="*/ 8022 w 10000"/>
              <a:gd name="connsiteY116" fmla="*/ 9637 h 10000"/>
              <a:gd name="connsiteX117" fmla="*/ 8022 w 10000"/>
              <a:gd name="connsiteY117" fmla="*/ 9684 h 10000"/>
              <a:gd name="connsiteX118" fmla="*/ 7969 w 10000"/>
              <a:gd name="connsiteY118" fmla="*/ 9684 h 10000"/>
              <a:gd name="connsiteX119" fmla="*/ 7917 w 10000"/>
              <a:gd name="connsiteY119" fmla="*/ 9730 h 10000"/>
              <a:gd name="connsiteX120" fmla="*/ 7866 w 10000"/>
              <a:gd name="connsiteY120" fmla="*/ 9730 h 10000"/>
              <a:gd name="connsiteX121" fmla="*/ 7866 w 10000"/>
              <a:gd name="connsiteY121" fmla="*/ 9684 h 10000"/>
              <a:gd name="connsiteX122" fmla="*/ 7866 w 10000"/>
              <a:gd name="connsiteY122" fmla="*/ 9730 h 10000"/>
              <a:gd name="connsiteX123" fmla="*/ 7814 w 10000"/>
              <a:gd name="connsiteY123" fmla="*/ 9730 h 10000"/>
              <a:gd name="connsiteX124" fmla="*/ 7761 w 10000"/>
              <a:gd name="connsiteY124" fmla="*/ 9774 h 10000"/>
              <a:gd name="connsiteX125" fmla="*/ 7709 w 10000"/>
              <a:gd name="connsiteY125" fmla="*/ 9730 h 10000"/>
              <a:gd name="connsiteX126" fmla="*/ 7657 w 10000"/>
              <a:gd name="connsiteY126" fmla="*/ 9730 h 10000"/>
              <a:gd name="connsiteX127" fmla="*/ 7606 w 10000"/>
              <a:gd name="connsiteY127" fmla="*/ 9730 h 10000"/>
              <a:gd name="connsiteX128" fmla="*/ 7553 w 10000"/>
              <a:gd name="connsiteY128" fmla="*/ 9684 h 10000"/>
              <a:gd name="connsiteX129" fmla="*/ 7501 w 10000"/>
              <a:gd name="connsiteY129" fmla="*/ 9684 h 10000"/>
              <a:gd name="connsiteX130" fmla="*/ 7501 w 10000"/>
              <a:gd name="connsiteY130" fmla="*/ 9730 h 10000"/>
              <a:gd name="connsiteX131" fmla="*/ 7449 w 10000"/>
              <a:gd name="connsiteY131" fmla="*/ 9730 h 10000"/>
              <a:gd name="connsiteX132" fmla="*/ 7396 w 10000"/>
              <a:gd name="connsiteY132" fmla="*/ 9684 h 10000"/>
              <a:gd name="connsiteX133" fmla="*/ 7345 w 10000"/>
              <a:gd name="connsiteY133" fmla="*/ 9684 h 10000"/>
              <a:gd name="connsiteX134" fmla="*/ 7293 w 10000"/>
              <a:gd name="connsiteY134" fmla="*/ 9774 h 10000"/>
              <a:gd name="connsiteX135" fmla="*/ 7241 w 10000"/>
              <a:gd name="connsiteY135" fmla="*/ 9774 h 10000"/>
              <a:gd name="connsiteX136" fmla="*/ 7241 w 10000"/>
              <a:gd name="connsiteY136" fmla="*/ 9730 h 10000"/>
              <a:gd name="connsiteX137" fmla="*/ 7241 w 10000"/>
              <a:gd name="connsiteY137" fmla="*/ 9774 h 10000"/>
              <a:gd name="connsiteX138" fmla="*/ 7188 w 10000"/>
              <a:gd name="connsiteY138" fmla="*/ 9863 h 10000"/>
              <a:gd name="connsiteX139" fmla="*/ 7188 w 10000"/>
              <a:gd name="connsiteY139" fmla="*/ 9954 h 10000"/>
              <a:gd name="connsiteX140" fmla="*/ 7241 w 10000"/>
              <a:gd name="connsiteY140" fmla="*/ 10000 h 10000"/>
              <a:gd name="connsiteX141" fmla="*/ 7344 w 10000"/>
              <a:gd name="connsiteY141" fmla="*/ 7949 h 10000"/>
              <a:gd name="connsiteX142" fmla="*/ 7136 w 10000"/>
              <a:gd name="connsiteY142" fmla="*/ 7583 h 10000"/>
              <a:gd name="connsiteX143" fmla="*/ 6544 w 10000"/>
              <a:gd name="connsiteY143" fmla="*/ 7464 h 10000"/>
              <a:gd name="connsiteX144" fmla="*/ 5775 w 10000"/>
              <a:gd name="connsiteY144" fmla="*/ 7428 h 10000"/>
              <a:gd name="connsiteX145" fmla="*/ 5311 w 10000"/>
              <a:gd name="connsiteY145" fmla="*/ 7311 h 10000"/>
              <a:gd name="connsiteX146" fmla="*/ 5071 w 10000"/>
              <a:gd name="connsiteY146" fmla="*/ 7197 h 10000"/>
              <a:gd name="connsiteX147" fmla="*/ 4912 w 10000"/>
              <a:gd name="connsiteY147" fmla="*/ 7293 h 10000"/>
              <a:gd name="connsiteX148" fmla="*/ 4416 w 10000"/>
              <a:gd name="connsiteY148" fmla="*/ 7116 h 10000"/>
              <a:gd name="connsiteX149" fmla="*/ 3584 w 10000"/>
              <a:gd name="connsiteY149" fmla="*/ 6810 h 10000"/>
              <a:gd name="connsiteX150" fmla="*/ 3104 w 10000"/>
              <a:gd name="connsiteY150" fmla="*/ 6751 h 10000"/>
              <a:gd name="connsiteX151" fmla="*/ 3200 w 10000"/>
              <a:gd name="connsiteY151" fmla="*/ 6538 h 10000"/>
              <a:gd name="connsiteX152" fmla="*/ 3344 w 10000"/>
              <a:gd name="connsiteY152" fmla="*/ 6481 h 10000"/>
              <a:gd name="connsiteX153" fmla="*/ 3728 w 10000"/>
              <a:gd name="connsiteY153" fmla="*/ 6170 h 10000"/>
              <a:gd name="connsiteX154" fmla="*/ 3968 w 10000"/>
              <a:gd name="connsiteY154" fmla="*/ 5882 h 10000"/>
              <a:gd name="connsiteX155" fmla="*/ 4224 w 10000"/>
              <a:gd name="connsiteY155" fmla="*/ 5571 h 10000"/>
              <a:gd name="connsiteX156" fmla="*/ 4368 w 10000"/>
              <a:gd name="connsiteY156" fmla="*/ 5284 h 10000"/>
              <a:gd name="connsiteX157" fmla="*/ 4352 w 10000"/>
              <a:gd name="connsiteY157" fmla="*/ 4955 h 10000"/>
              <a:gd name="connsiteX158" fmla="*/ 4336 w 10000"/>
              <a:gd name="connsiteY158" fmla="*/ 4663 h 10000"/>
              <a:gd name="connsiteX159" fmla="*/ 4176 w 10000"/>
              <a:gd name="connsiteY159" fmla="*/ 4489 h 10000"/>
              <a:gd name="connsiteX160" fmla="*/ 4016 w 10000"/>
              <a:gd name="connsiteY160" fmla="*/ 4511 h 10000"/>
              <a:gd name="connsiteX161" fmla="*/ 3856 w 10000"/>
              <a:gd name="connsiteY161" fmla="*/ 4819 h 10000"/>
              <a:gd name="connsiteX162" fmla="*/ 3808 w 10000"/>
              <a:gd name="connsiteY162" fmla="*/ 5378 h 10000"/>
              <a:gd name="connsiteX163" fmla="*/ 3536 w 10000"/>
              <a:gd name="connsiteY163" fmla="*/ 5747 h 10000"/>
              <a:gd name="connsiteX164" fmla="*/ 2992 w 10000"/>
              <a:gd name="connsiteY164" fmla="*/ 6075 h 10000"/>
              <a:gd name="connsiteX165" fmla="*/ 2415 w 10000"/>
              <a:gd name="connsiteY165" fmla="*/ 6325 h 10000"/>
              <a:gd name="connsiteX166" fmla="*/ 1951 w 10000"/>
              <a:gd name="connsiteY166" fmla="*/ 6670 h 10000"/>
              <a:gd name="connsiteX167" fmla="*/ 0 w 10000"/>
              <a:gd name="connsiteY167" fmla="*/ 6596 h 10000"/>
              <a:gd name="connsiteX168" fmla="*/ 3 w 10000"/>
              <a:gd name="connsiteY168" fmla="*/ 6351 h 10000"/>
              <a:gd name="connsiteX169" fmla="*/ 159 w 10000"/>
              <a:gd name="connsiteY169" fmla="*/ 6440 h 10000"/>
              <a:gd name="connsiteX170" fmla="*/ 368 w 10000"/>
              <a:gd name="connsiteY170" fmla="*/ 6351 h 10000"/>
              <a:gd name="connsiteX171" fmla="*/ 1462 w 10000"/>
              <a:gd name="connsiteY171" fmla="*/ 6351 h 10000"/>
              <a:gd name="connsiteX172" fmla="*/ 1617 w 10000"/>
              <a:gd name="connsiteY172" fmla="*/ 6306 h 10000"/>
              <a:gd name="connsiteX173" fmla="*/ 1669 w 10000"/>
              <a:gd name="connsiteY173" fmla="*/ 6306 h 10000"/>
              <a:gd name="connsiteX174" fmla="*/ 2189 w 10000"/>
              <a:gd name="connsiteY174" fmla="*/ 5721 h 10000"/>
              <a:gd name="connsiteX175" fmla="*/ 2294 w 10000"/>
              <a:gd name="connsiteY175" fmla="*/ 5630 h 10000"/>
              <a:gd name="connsiteX176" fmla="*/ 2762 w 10000"/>
              <a:gd name="connsiteY176" fmla="*/ 5180 h 10000"/>
              <a:gd name="connsiteX177" fmla="*/ 3023 w 10000"/>
              <a:gd name="connsiteY177" fmla="*/ 4909 h 10000"/>
              <a:gd name="connsiteX178" fmla="*/ 3179 w 10000"/>
              <a:gd name="connsiteY178" fmla="*/ 4774 h 10000"/>
              <a:gd name="connsiteX179" fmla="*/ 3596 w 10000"/>
              <a:gd name="connsiteY179" fmla="*/ 4100 h 10000"/>
              <a:gd name="connsiteX180" fmla="*/ 4116 w 10000"/>
              <a:gd name="connsiteY180" fmla="*/ 3827 h 10000"/>
              <a:gd name="connsiteX181" fmla="*/ 5001 w 10000"/>
              <a:gd name="connsiteY181" fmla="*/ 3062 h 10000"/>
              <a:gd name="connsiteX182" fmla="*/ 4845 w 10000"/>
              <a:gd name="connsiteY182" fmla="*/ 2792 h 10000"/>
              <a:gd name="connsiteX183" fmla="*/ 4794 w 10000"/>
              <a:gd name="connsiteY183" fmla="*/ 2611 h 10000"/>
              <a:gd name="connsiteX184" fmla="*/ 4794 w 10000"/>
              <a:gd name="connsiteY184" fmla="*/ 1350 h 10000"/>
              <a:gd name="connsiteX185" fmla="*/ 4116 w 10000"/>
              <a:gd name="connsiteY185" fmla="*/ 810 h 10000"/>
              <a:gd name="connsiteX186" fmla="*/ 4950 w 10000"/>
              <a:gd name="connsiteY186" fmla="*/ 810 h 10000"/>
              <a:gd name="connsiteX187" fmla="*/ 5782 w 10000"/>
              <a:gd name="connsiteY187" fmla="*/ 810 h 10000"/>
              <a:gd name="connsiteX188" fmla="*/ 5782 w 10000"/>
              <a:gd name="connsiteY188" fmla="*/ 763 h 10000"/>
              <a:gd name="connsiteX189" fmla="*/ 5782 w 10000"/>
              <a:gd name="connsiteY189" fmla="*/ 721 h 10000"/>
              <a:gd name="connsiteX190" fmla="*/ 5782 w 10000"/>
              <a:gd name="connsiteY190" fmla="*/ 680 h 10000"/>
              <a:gd name="connsiteX191" fmla="*/ 5782 w 10000"/>
              <a:gd name="connsiteY191" fmla="*/ 631 h 10000"/>
              <a:gd name="connsiteX192" fmla="*/ 5834 w 10000"/>
              <a:gd name="connsiteY192" fmla="*/ 583 h 10000"/>
              <a:gd name="connsiteX193" fmla="*/ 5834 w 10000"/>
              <a:gd name="connsiteY193" fmla="*/ 538 h 10000"/>
              <a:gd name="connsiteX194" fmla="*/ 5834 w 10000"/>
              <a:gd name="connsiteY194" fmla="*/ 495 h 10000"/>
              <a:gd name="connsiteX195" fmla="*/ 5834 w 10000"/>
              <a:gd name="connsiteY195" fmla="*/ 453 h 10000"/>
              <a:gd name="connsiteX196" fmla="*/ 5834 w 10000"/>
              <a:gd name="connsiteY196" fmla="*/ 410 h 10000"/>
              <a:gd name="connsiteX197" fmla="*/ 5834 w 10000"/>
              <a:gd name="connsiteY197" fmla="*/ 358 h 10000"/>
              <a:gd name="connsiteX198" fmla="*/ 5782 w 10000"/>
              <a:gd name="connsiteY198" fmla="*/ 358 h 10000"/>
              <a:gd name="connsiteX199" fmla="*/ 5782 w 10000"/>
              <a:gd name="connsiteY199" fmla="*/ 311 h 10000"/>
              <a:gd name="connsiteX200" fmla="*/ 5782 w 10000"/>
              <a:gd name="connsiteY200" fmla="*/ 268 h 10000"/>
              <a:gd name="connsiteX201" fmla="*/ 5782 w 10000"/>
              <a:gd name="connsiteY201" fmla="*/ 227 h 10000"/>
              <a:gd name="connsiteX202" fmla="*/ 5782 w 10000"/>
              <a:gd name="connsiteY202" fmla="*/ 184 h 10000"/>
              <a:gd name="connsiteX203" fmla="*/ 5782 w 10000"/>
              <a:gd name="connsiteY203" fmla="*/ 142 h 10000"/>
              <a:gd name="connsiteX204" fmla="*/ 5782 w 10000"/>
              <a:gd name="connsiteY204" fmla="*/ 85 h 10000"/>
              <a:gd name="connsiteX205" fmla="*/ 5782 w 10000"/>
              <a:gd name="connsiteY205" fmla="*/ 42 h 10000"/>
              <a:gd name="connsiteX206" fmla="*/ 5782 w 10000"/>
              <a:gd name="connsiteY206" fmla="*/ 0 h 10000"/>
              <a:gd name="connsiteX0" fmla="*/ 5782 w 10000"/>
              <a:gd name="connsiteY0" fmla="*/ 0 h 9954"/>
              <a:gd name="connsiteX1" fmla="*/ 7345 w 10000"/>
              <a:gd name="connsiteY1" fmla="*/ 42 h 9954"/>
              <a:gd name="connsiteX2" fmla="*/ 7501 w 10000"/>
              <a:gd name="connsiteY2" fmla="*/ 42 h 9954"/>
              <a:gd name="connsiteX3" fmla="*/ 7345 w 10000"/>
              <a:gd name="connsiteY3" fmla="*/ 184 h 9954"/>
              <a:gd name="connsiteX4" fmla="*/ 7293 w 10000"/>
              <a:gd name="connsiteY4" fmla="*/ 583 h 9954"/>
              <a:gd name="connsiteX5" fmla="*/ 7188 w 10000"/>
              <a:gd name="connsiteY5" fmla="*/ 1217 h 9954"/>
              <a:gd name="connsiteX6" fmla="*/ 7136 w 10000"/>
              <a:gd name="connsiteY6" fmla="*/ 1262 h 9954"/>
              <a:gd name="connsiteX7" fmla="*/ 6980 w 10000"/>
              <a:gd name="connsiteY7" fmla="*/ 1620 h 9954"/>
              <a:gd name="connsiteX8" fmla="*/ 7396 w 10000"/>
              <a:gd name="connsiteY8" fmla="*/ 3287 h 9954"/>
              <a:gd name="connsiteX9" fmla="*/ 7501 w 10000"/>
              <a:gd name="connsiteY9" fmla="*/ 3603 h 9954"/>
              <a:gd name="connsiteX10" fmla="*/ 7345 w 10000"/>
              <a:gd name="connsiteY10" fmla="*/ 3876 h 9954"/>
              <a:gd name="connsiteX11" fmla="*/ 8022 w 10000"/>
              <a:gd name="connsiteY11" fmla="*/ 4053 h 9954"/>
              <a:gd name="connsiteX12" fmla="*/ 8489 w 10000"/>
              <a:gd name="connsiteY12" fmla="*/ 4549 h 9954"/>
              <a:gd name="connsiteX13" fmla="*/ 8594 w 10000"/>
              <a:gd name="connsiteY13" fmla="*/ 4638 h 9954"/>
              <a:gd name="connsiteX14" fmla="*/ 8906 w 10000"/>
              <a:gd name="connsiteY14" fmla="*/ 4863 h 9954"/>
              <a:gd name="connsiteX15" fmla="*/ 9114 w 10000"/>
              <a:gd name="connsiteY15" fmla="*/ 5134 h 9954"/>
              <a:gd name="connsiteX16" fmla="*/ 9219 w 10000"/>
              <a:gd name="connsiteY16" fmla="*/ 5271 h 9954"/>
              <a:gd name="connsiteX17" fmla="*/ 9427 w 10000"/>
              <a:gd name="connsiteY17" fmla="*/ 5271 h 9954"/>
              <a:gd name="connsiteX18" fmla="*/ 9427 w 10000"/>
              <a:gd name="connsiteY18" fmla="*/ 5314 h 9954"/>
              <a:gd name="connsiteX19" fmla="*/ 9479 w 10000"/>
              <a:gd name="connsiteY19" fmla="*/ 5405 h 9954"/>
              <a:gd name="connsiteX20" fmla="*/ 9479 w 10000"/>
              <a:gd name="connsiteY20" fmla="*/ 5451 h 9954"/>
              <a:gd name="connsiteX21" fmla="*/ 9532 w 10000"/>
              <a:gd name="connsiteY21" fmla="*/ 5630 h 9954"/>
              <a:gd name="connsiteX22" fmla="*/ 9532 w 10000"/>
              <a:gd name="connsiteY22" fmla="*/ 5676 h 9954"/>
              <a:gd name="connsiteX23" fmla="*/ 9532 w 10000"/>
              <a:gd name="connsiteY23" fmla="*/ 5810 h 9954"/>
              <a:gd name="connsiteX24" fmla="*/ 9532 w 10000"/>
              <a:gd name="connsiteY24" fmla="*/ 5899 h 9954"/>
              <a:gd name="connsiteX25" fmla="*/ 9479 w 10000"/>
              <a:gd name="connsiteY25" fmla="*/ 5991 h 9954"/>
              <a:gd name="connsiteX26" fmla="*/ 9427 w 10000"/>
              <a:gd name="connsiteY26" fmla="*/ 6263 h 9954"/>
              <a:gd name="connsiteX27" fmla="*/ 9375 w 10000"/>
              <a:gd name="connsiteY27" fmla="*/ 6306 h 9954"/>
              <a:gd name="connsiteX28" fmla="*/ 9322 w 10000"/>
              <a:gd name="connsiteY28" fmla="*/ 6351 h 9954"/>
              <a:gd name="connsiteX29" fmla="*/ 9271 w 10000"/>
              <a:gd name="connsiteY29" fmla="*/ 6532 h 9954"/>
              <a:gd name="connsiteX30" fmla="*/ 9219 w 10000"/>
              <a:gd name="connsiteY30" fmla="*/ 6619 h 9954"/>
              <a:gd name="connsiteX31" fmla="*/ 9219 w 10000"/>
              <a:gd name="connsiteY31" fmla="*/ 6713 h 9954"/>
              <a:gd name="connsiteX32" fmla="*/ 9219 w 10000"/>
              <a:gd name="connsiteY32" fmla="*/ 6757 h 9954"/>
              <a:gd name="connsiteX33" fmla="*/ 9219 w 10000"/>
              <a:gd name="connsiteY33" fmla="*/ 6890 h 9954"/>
              <a:gd name="connsiteX34" fmla="*/ 9271 w 10000"/>
              <a:gd name="connsiteY34" fmla="*/ 7028 h 9954"/>
              <a:gd name="connsiteX35" fmla="*/ 9895 w 10000"/>
              <a:gd name="connsiteY35" fmla="*/ 7028 h 9954"/>
              <a:gd name="connsiteX36" fmla="*/ 9895 w 10000"/>
              <a:gd name="connsiteY36" fmla="*/ 7115 h 9954"/>
              <a:gd name="connsiteX37" fmla="*/ 9948 w 10000"/>
              <a:gd name="connsiteY37" fmla="*/ 7432 h 9954"/>
              <a:gd name="connsiteX38" fmla="*/ 9948 w 10000"/>
              <a:gd name="connsiteY38" fmla="*/ 7477 h 9954"/>
              <a:gd name="connsiteX39" fmla="*/ 9948 w 10000"/>
              <a:gd name="connsiteY39" fmla="*/ 7611 h 9954"/>
              <a:gd name="connsiteX40" fmla="*/ 9948 w 10000"/>
              <a:gd name="connsiteY40" fmla="*/ 7659 h 9954"/>
              <a:gd name="connsiteX41" fmla="*/ 9948 w 10000"/>
              <a:gd name="connsiteY41" fmla="*/ 7747 h 9954"/>
              <a:gd name="connsiteX42" fmla="*/ 9948 w 10000"/>
              <a:gd name="connsiteY42" fmla="*/ 7792 h 9954"/>
              <a:gd name="connsiteX43" fmla="*/ 9948 w 10000"/>
              <a:gd name="connsiteY43" fmla="*/ 7837 h 9954"/>
              <a:gd name="connsiteX44" fmla="*/ 9948 w 10000"/>
              <a:gd name="connsiteY44" fmla="*/ 7883 h 9954"/>
              <a:gd name="connsiteX45" fmla="*/ 10000 w 10000"/>
              <a:gd name="connsiteY45" fmla="*/ 7971 h 9954"/>
              <a:gd name="connsiteX46" fmla="*/ 10000 w 10000"/>
              <a:gd name="connsiteY46" fmla="*/ 8108 h 9954"/>
              <a:gd name="connsiteX47" fmla="*/ 10000 w 10000"/>
              <a:gd name="connsiteY47" fmla="*/ 8153 h 9954"/>
              <a:gd name="connsiteX48" fmla="*/ 10000 w 10000"/>
              <a:gd name="connsiteY48" fmla="*/ 8197 h 9954"/>
              <a:gd name="connsiteX49" fmla="*/ 10000 w 10000"/>
              <a:gd name="connsiteY49" fmla="*/ 8243 h 9954"/>
              <a:gd name="connsiteX50" fmla="*/ 10000 w 10000"/>
              <a:gd name="connsiteY50" fmla="*/ 8333 h 9954"/>
              <a:gd name="connsiteX51" fmla="*/ 10000 w 10000"/>
              <a:gd name="connsiteY51" fmla="*/ 8379 h 9954"/>
              <a:gd name="connsiteX52" fmla="*/ 10000 w 10000"/>
              <a:gd name="connsiteY52" fmla="*/ 8422 h 9954"/>
              <a:gd name="connsiteX53" fmla="*/ 10000 w 10000"/>
              <a:gd name="connsiteY53" fmla="*/ 8511 h 9954"/>
              <a:gd name="connsiteX54" fmla="*/ 10000 w 10000"/>
              <a:gd name="connsiteY54" fmla="*/ 8738 h 9954"/>
              <a:gd name="connsiteX55" fmla="*/ 10000 w 10000"/>
              <a:gd name="connsiteY55" fmla="*/ 8782 h 9954"/>
              <a:gd name="connsiteX56" fmla="*/ 10000 w 10000"/>
              <a:gd name="connsiteY56" fmla="*/ 8874 h 9954"/>
              <a:gd name="connsiteX57" fmla="*/ 10000 w 10000"/>
              <a:gd name="connsiteY57" fmla="*/ 8918 h 9954"/>
              <a:gd name="connsiteX58" fmla="*/ 10000 w 10000"/>
              <a:gd name="connsiteY58" fmla="*/ 8963 h 9954"/>
              <a:gd name="connsiteX59" fmla="*/ 10000 w 10000"/>
              <a:gd name="connsiteY59" fmla="*/ 9008 h 9954"/>
              <a:gd name="connsiteX60" fmla="*/ 10000 w 10000"/>
              <a:gd name="connsiteY60" fmla="*/ 9051 h 9954"/>
              <a:gd name="connsiteX61" fmla="*/ 10000 w 10000"/>
              <a:gd name="connsiteY61" fmla="*/ 9144 h 9954"/>
              <a:gd name="connsiteX62" fmla="*/ 10000 w 10000"/>
              <a:gd name="connsiteY62" fmla="*/ 9233 h 9954"/>
              <a:gd name="connsiteX63" fmla="*/ 10000 w 10000"/>
              <a:gd name="connsiteY63" fmla="*/ 9277 h 9954"/>
              <a:gd name="connsiteX64" fmla="*/ 10000 w 10000"/>
              <a:gd name="connsiteY64" fmla="*/ 9325 h 9954"/>
              <a:gd name="connsiteX65" fmla="*/ 9948 w 10000"/>
              <a:gd name="connsiteY65" fmla="*/ 9325 h 9954"/>
              <a:gd name="connsiteX66" fmla="*/ 9948 w 10000"/>
              <a:gd name="connsiteY66" fmla="*/ 9368 h 9954"/>
              <a:gd name="connsiteX67" fmla="*/ 9895 w 10000"/>
              <a:gd name="connsiteY67" fmla="*/ 9414 h 9954"/>
              <a:gd name="connsiteX68" fmla="*/ 9844 w 10000"/>
              <a:gd name="connsiteY68" fmla="*/ 9414 h 9954"/>
              <a:gd name="connsiteX69" fmla="*/ 9844 w 10000"/>
              <a:gd name="connsiteY69" fmla="*/ 9460 h 9954"/>
              <a:gd name="connsiteX70" fmla="*/ 9792 w 10000"/>
              <a:gd name="connsiteY70" fmla="*/ 9460 h 9954"/>
              <a:gd name="connsiteX71" fmla="*/ 9740 w 10000"/>
              <a:gd name="connsiteY71" fmla="*/ 9504 h 9954"/>
              <a:gd name="connsiteX72" fmla="*/ 9687 w 10000"/>
              <a:gd name="connsiteY72" fmla="*/ 9547 h 9954"/>
              <a:gd name="connsiteX73" fmla="*/ 9635 w 10000"/>
              <a:gd name="connsiteY73" fmla="*/ 9547 h 9954"/>
              <a:gd name="connsiteX74" fmla="*/ 9635 w 10000"/>
              <a:gd name="connsiteY74" fmla="*/ 9594 h 9954"/>
              <a:gd name="connsiteX75" fmla="*/ 9583 w 10000"/>
              <a:gd name="connsiteY75" fmla="*/ 9594 h 9954"/>
              <a:gd name="connsiteX76" fmla="*/ 9532 w 10000"/>
              <a:gd name="connsiteY76" fmla="*/ 9594 h 9954"/>
              <a:gd name="connsiteX77" fmla="*/ 9479 w 10000"/>
              <a:gd name="connsiteY77" fmla="*/ 9594 h 9954"/>
              <a:gd name="connsiteX78" fmla="*/ 9427 w 10000"/>
              <a:gd name="connsiteY78" fmla="*/ 9594 h 9954"/>
              <a:gd name="connsiteX79" fmla="*/ 9375 w 10000"/>
              <a:gd name="connsiteY79" fmla="*/ 9594 h 9954"/>
              <a:gd name="connsiteX80" fmla="*/ 9322 w 10000"/>
              <a:gd name="connsiteY80" fmla="*/ 9594 h 9954"/>
              <a:gd name="connsiteX81" fmla="*/ 9271 w 10000"/>
              <a:gd name="connsiteY81" fmla="*/ 9594 h 9954"/>
              <a:gd name="connsiteX82" fmla="*/ 9271 w 10000"/>
              <a:gd name="connsiteY82" fmla="*/ 9637 h 9954"/>
              <a:gd name="connsiteX83" fmla="*/ 9219 w 10000"/>
              <a:gd name="connsiteY83" fmla="*/ 9684 h 9954"/>
              <a:gd name="connsiteX84" fmla="*/ 9167 w 10000"/>
              <a:gd name="connsiteY84" fmla="*/ 9730 h 9954"/>
              <a:gd name="connsiteX85" fmla="*/ 9219 w 10000"/>
              <a:gd name="connsiteY85" fmla="*/ 9730 h 9954"/>
              <a:gd name="connsiteX86" fmla="*/ 9167 w 10000"/>
              <a:gd name="connsiteY86" fmla="*/ 9730 h 9954"/>
              <a:gd name="connsiteX87" fmla="*/ 9114 w 10000"/>
              <a:gd name="connsiteY87" fmla="*/ 9730 h 9954"/>
              <a:gd name="connsiteX88" fmla="*/ 9062 w 10000"/>
              <a:gd name="connsiteY88" fmla="*/ 9774 h 9954"/>
              <a:gd name="connsiteX89" fmla="*/ 9011 w 10000"/>
              <a:gd name="connsiteY89" fmla="*/ 9818 h 9954"/>
              <a:gd name="connsiteX90" fmla="*/ 8959 w 10000"/>
              <a:gd name="connsiteY90" fmla="*/ 9818 h 9954"/>
              <a:gd name="connsiteX91" fmla="*/ 8959 w 10000"/>
              <a:gd name="connsiteY91" fmla="*/ 9863 h 9954"/>
              <a:gd name="connsiteX92" fmla="*/ 8906 w 10000"/>
              <a:gd name="connsiteY92" fmla="*/ 9863 h 9954"/>
              <a:gd name="connsiteX93" fmla="*/ 8906 w 10000"/>
              <a:gd name="connsiteY93" fmla="*/ 9908 h 9954"/>
              <a:gd name="connsiteX94" fmla="*/ 8854 w 10000"/>
              <a:gd name="connsiteY94" fmla="*/ 9908 h 9954"/>
              <a:gd name="connsiteX95" fmla="*/ 8802 w 10000"/>
              <a:gd name="connsiteY95" fmla="*/ 9908 h 9954"/>
              <a:gd name="connsiteX96" fmla="*/ 8749 w 10000"/>
              <a:gd name="connsiteY96" fmla="*/ 9908 h 9954"/>
              <a:gd name="connsiteX97" fmla="*/ 8698 w 10000"/>
              <a:gd name="connsiteY97" fmla="*/ 9908 h 9954"/>
              <a:gd name="connsiteX98" fmla="*/ 8646 w 10000"/>
              <a:gd name="connsiteY98" fmla="*/ 9908 h 9954"/>
              <a:gd name="connsiteX99" fmla="*/ 8646 w 10000"/>
              <a:gd name="connsiteY99" fmla="*/ 9863 h 9954"/>
              <a:gd name="connsiteX100" fmla="*/ 8646 w 10000"/>
              <a:gd name="connsiteY100" fmla="*/ 9818 h 9954"/>
              <a:gd name="connsiteX101" fmla="*/ 8594 w 10000"/>
              <a:gd name="connsiteY101" fmla="*/ 9774 h 9954"/>
              <a:gd name="connsiteX102" fmla="*/ 8594 w 10000"/>
              <a:gd name="connsiteY102" fmla="*/ 9730 h 9954"/>
              <a:gd name="connsiteX103" fmla="*/ 8594 w 10000"/>
              <a:gd name="connsiteY103" fmla="*/ 9684 h 9954"/>
              <a:gd name="connsiteX104" fmla="*/ 8541 w 10000"/>
              <a:gd name="connsiteY104" fmla="*/ 9684 h 9954"/>
              <a:gd name="connsiteX105" fmla="*/ 8489 w 10000"/>
              <a:gd name="connsiteY105" fmla="*/ 9684 h 9954"/>
              <a:gd name="connsiteX106" fmla="*/ 8489 w 10000"/>
              <a:gd name="connsiteY106" fmla="*/ 9637 h 9954"/>
              <a:gd name="connsiteX107" fmla="*/ 8438 w 10000"/>
              <a:gd name="connsiteY107" fmla="*/ 9637 h 9954"/>
              <a:gd name="connsiteX108" fmla="*/ 8386 w 10000"/>
              <a:gd name="connsiteY108" fmla="*/ 9684 h 9954"/>
              <a:gd name="connsiteX109" fmla="*/ 8386 w 10000"/>
              <a:gd name="connsiteY109" fmla="*/ 9730 h 9954"/>
              <a:gd name="connsiteX110" fmla="*/ 8282 w 10000"/>
              <a:gd name="connsiteY110" fmla="*/ 9684 h 9954"/>
              <a:gd name="connsiteX111" fmla="*/ 8282 w 10000"/>
              <a:gd name="connsiteY111" fmla="*/ 9637 h 9954"/>
              <a:gd name="connsiteX112" fmla="*/ 8230 w 10000"/>
              <a:gd name="connsiteY112" fmla="*/ 9637 h 9954"/>
              <a:gd name="connsiteX113" fmla="*/ 8179 w 10000"/>
              <a:gd name="connsiteY113" fmla="*/ 9637 h 9954"/>
              <a:gd name="connsiteX114" fmla="*/ 8126 w 10000"/>
              <a:gd name="connsiteY114" fmla="*/ 9637 h 9954"/>
              <a:gd name="connsiteX115" fmla="*/ 8074 w 10000"/>
              <a:gd name="connsiteY115" fmla="*/ 9637 h 9954"/>
              <a:gd name="connsiteX116" fmla="*/ 8022 w 10000"/>
              <a:gd name="connsiteY116" fmla="*/ 9637 h 9954"/>
              <a:gd name="connsiteX117" fmla="*/ 8022 w 10000"/>
              <a:gd name="connsiteY117" fmla="*/ 9684 h 9954"/>
              <a:gd name="connsiteX118" fmla="*/ 7969 w 10000"/>
              <a:gd name="connsiteY118" fmla="*/ 9684 h 9954"/>
              <a:gd name="connsiteX119" fmla="*/ 7917 w 10000"/>
              <a:gd name="connsiteY119" fmla="*/ 9730 h 9954"/>
              <a:gd name="connsiteX120" fmla="*/ 7866 w 10000"/>
              <a:gd name="connsiteY120" fmla="*/ 9730 h 9954"/>
              <a:gd name="connsiteX121" fmla="*/ 7866 w 10000"/>
              <a:gd name="connsiteY121" fmla="*/ 9684 h 9954"/>
              <a:gd name="connsiteX122" fmla="*/ 7866 w 10000"/>
              <a:gd name="connsiteY122" fmla="*/ 9730 h 9954"/>
              <a:gd name="connsiteX123" fmla="*/ 7814 w 10000"/>
              <a:gd name="connsiteY123" fmla="*/ 9730 h 9954"/>
              <a:gd name="connsiteX124" fmla="*/ 7761 w 10000"/>
              <a:gd name="connsiteY124" fmla="*/ 9774 h 9954"/>
              <a:gd name="connsiteX125" fmla="*/ 7709 w 10000"/>
              <a:gd name="connsiteY125" fmla="*/ 9730 h 9954"/>
              <a:gd name="connsiteX126" fmla="*/ 7657 w 10000"/>
              <a:gd name="connsiteY126" fmla="*/ 9730 h 9954"/>
              <a:gd name="connsiteX127" fmla="*/ 7606 w 10000"/>
              <a:gd name="connsiteY127" fmla="*/ 9730 h 9954"/>
              <a:gd name="connsiteX128" fmla="*/ 7553 w 10000"/>
              <a:gd name="connsiteY128" fmla="*/ 9684 h 9954"/>
              <a:gd name="connsiteX129" fmla="*/ 7501 w 10000"/>
              <a:gd name="connsiteY129" fmla="*/ 9684 h 9954"/>
              <a:gd name="connsiteX130" fmla="*/ 7501 w 10000"/>
              <a:gd name="connsiteY130" fmla="*/ 9730 h 9954"/>
              <a:gd name="connsiteX131" fmla="*/ 7449 w 10000"/>
              <a:gd name="connsiteY131" fmla="*/ 9730 h 9954"/>
              <a:gd name="connsiteX132" fmla="*/ 7396 w 10000"/>
              <a:gd name="connsiteY132" fmla="*/ 9684 h 9954"/>
              <a:gd name="connsiteX133" fmla="*/ 7345 w 10000"/>
              <a:gd name="connsiteY133" fmla="*/ 9684 h 9954"/>
              <a:gd name="connsiteX134" fmla="*/ 7293 w 10000"/>
              <a:gd name="connsiteY134" fmla="*/ 9774 h 9954"/>
              <a:gd name="connsiteX135" fmla="*/ 7241 w 10000"/>
              <a:gd name="connsiteY135" fmla="*/ 9774 h 9954"/>
              <a:gd name="connsiteX136" fmla="*/ 7241 w 10000"/>
              <a:gd name="connsiteY136" fmla="*/ 9730 h 9954"/>
              <a:gd name="connsiteX137" fmla="*/ 7241 w 10000"/>
              <a:gd name="connsiteY137" fmla="*/ 9774 h 9954"/>
              <a:gd name="connsiteX138" fmla="*/ 7188 w 10000"/>
              <a:gd name="connsiteY138" fmla="*/ 9863 h 9954"/>
              <a:gd name="connsiteX139" fmla="*/ 7188 w 10000"/>
              <a:gd name="connsiteY139" fmla="*/ 9954 h 9954"/>
              <a:gd name="connsiteX140" fmla="*/ 7344 w 10000"/>
              <a:gd name="connsiteY140" fmla="*/ 7949 h 9954"/>
              <a:gd name="connsiteX141" fmla="*/ 7136 w 10000"/>
              <a:gd name="connsiteY141" fmla="*/ 7583 h 9954"/>
              <a:gd name="connsiteX142" fmla="*/ 6544 w 10000"/>
              <a:gd name="connsiteY142" fmla="*/ 7464 h 9954"/>
              <a:gd name="connsiteX143" fmla="*/ 5775 w 10000"/>
              <a:gd name="connsiteY143" fmla="*/ 7428 h 9954"/>
              <a:gd name="connsiteX144" fmla="*/ 5311 w 10000"/>
              <a:gd name="connsiteY144" fmla="*/ 7311 h 9954"/>
              <a:gd name="connsiteX145" fmla="*/ 5071 w 10000"/>
              <a:gd name="connsiteY145" fmla="*/ 7197 h 9954"/>
              <a:gd name="connsiteX146" fmla="*/ 4912 w 10000"/>
              <a:gd name="connsiteY146" fmla="*/ 7293 h 9954"/>
              <a:gd name="connsiteX147" fmla="*/ 4416 w 10000"/>
              <a:gd name="connsiteY147" fmla="*/ 7116 h 9954"/>
              <a:gd name="connsiteX148" fmla="*/ 3584 w 10000"/>
              <a:gd name="connsiteY148" fmla="*/ 6810 h 9954"/>
              <a:gd name="connsiteX149" fmla="*/ 3104 w 10000"/>
              <a:gd name="connsiteY149" fmla="*/ 6751 h 9954"/>
              <a:gd name="connsiteX150" fmla="*/ 3200 w 10000"/>
              <a:gd name="connsiteY150" fmla="*/ 6538 h 9954"/>
              <a:gd name="connsiteX151" fmla="*/ 3344 w 10000"/>
              <a:gd name="connsiteY151" fmla="*/ 6481 h 9954"/>
              <a:gd name="connsiteX152" fmla="*/ 3728 w 10000"/>
              <a:gd name="connsiteY152" fmla="*/ 6170 h 9954"/>
              <a:gd name="connsiteX153" fmla="*/ 3968 w 10000"/>
              <a:gd name="connsiteY153" fmla="*/ 5882 h 9954"/>
              <a:gd name="connsiteX154" fmla="*/ 4224 w 10000"/>
              <a:gd name="connsiteY154" fmla="*/ 5571 h 9954"/>
              <a:gd name="connsiteX155" fmla="*/ 4368 w 10000"/>
              <a:gd name="connsiteY155" fmla="*/ 5284 h 9954"/>
              <a:gd name="connsiteX156" fmla="*/ 4352 w 10000"/>
              <a:gd name="connsiteY156" fmla="*/ 4955 h 9954"/>
              <a:gd name="connsiteX157" fmla="*/ 4336 w 10000"/>
              <a:gd name="connsiteY157" fmla="*/ 4663 h 9954"/>
              <a:gd name="connsiteX158" fmla="*/ 4176 w 10000"/>
              <a:gd name="connsiteY158" fmla="*/ 4489 h 9954"/>
              <a:gd name="connsiteX159" fmla="*/ 4016 w 10000"/>
              <a:gd name="connsiteY159" fmla="*/ 4511 h 9954"/>
              <a:gd name="connsiteX160" fmla="*/ 3856 w 10000"/>
              <a:gd name="connsiteY160" fmla="*/ 4819 h 9954"/>
              <a:gd name="connsiteX161" fmla="*/ 3808 w 10000"/>
              <a:gd name="connsiteY161" fmla="*/ 5378 h 9954"/>
              <a:gd name="connsiteX162" fmla="*/ 3536 w 10000"/>
              <a:gd name="connsiteY162" fmla="*/ 5747 h 9954"/>
              <a:gd name="connsiteX163" fmla="*/ 2992 w 10000"/>
              <a:gd name="connsiteY163" fmla="*/ 6075 h 9954"/>
              <a:gd name="connsiteX164" fmla="*/ 2415 w 10000"/>
              <a:gd name="connsiteY164" fmla="*/ 6325 h 9954"/>
              <a:gd name="connsiteX165" fmla="*/ 1951 w 10000"/>
              <a:gd name="connsiteY165" fmla="*/ 6670 h 9954"/>
              <a:gd name="connsiteX166" fmla="*/ 0 w 10000"/>
              <a:gd name="connsiteY166" fmla="*/ 6596 h 9954"/>
              <a:gd name="connsiteX167" fmla="*/ 3 w 10000"/>
              <a:gd name="connsiteY167" fmla="*/ 6351 h 9954"/>
              <a:gd name="connsiteX168" fmla="*/ 159 w 10000"/>
              <a:gd name="connsiteY168" fmla="*/ 6440 h 9954"/>
              <a:gd name="connsiteX169" fmla="*/ 368 w 10000"/>
              <a:gd name="connsiteY169" fmla="*/ 6351 h 9954"/>
              <a:gd name="connsiteX170" fmla="*/ 1462 w 10000"/>
              <a:gd name="connsiteY170" fmla="*/ 6351 h 9954"/>
              <a:gd name="connsiteX171" fmla="*/ 1617 w 10000"/>
              <a:gd name="connsiteY171" fmla="*/ 6306 h 9954"/>
              <a:gd name="connsiteX172" fmla="*/ 1669 w 10000"/>
              <a:gd name="connsiteY172" fmla="*/ 6306 h 9954"/>
              <a:gd name="connsiteX173" fmla="*/ 2189 w 10000"/>
              <a:gd name="connsiteY173" fmla="*/ 5721 h 9954"/>
              <a:gd name="connsiteX174" fmla="*/ 2294 w 10000"/>
              <a:gd name="connsiteY174" fmla="*/ 5630 h 9954"/>
              <a:gd name="connsiteX175" fmla="*/ 2762 w 10000"/>
              <a:gd name="connsiteY175" fmla="*/ 5180 h 9954"/>
              <a:gd name="connsiteX176" fmla="*/ 3023 w 10000"/>
              <a:gd name="connsiteY176" fmla="*/ 4909 h 9954"/>
              <a:gd name="connsiteX177" fmla="*/ 3179 w 10000"/>
              <a:gd name="connsiteY177" fmla="*/ 4774 h 9954"/>
              <a:gd name="connsiteX178" fmla="*/ 3596 w 10000"/>
              <a:gd name="connsiteY178" fmla="*/ 4100 h 9954"/>
              <a:gd name="connsiteX179" fmla="*/ 4116 w 10000"/>
              <a:gd name="connsiteY179" fmla="*/ 3827 h 9954"/>
              <a:gd name="connsiteX180" fmla="*/ 5001 w 10000"/>
              <a:gd name="connsiteY180" fmla="*/ 3062 h 9954"/>
              <a:gd name="connsiteX181" fmla="*/ 4845 w 10000"/>
              <a:gd name="connsiteY181" fmla="*/ 2792 h 9954"/>
              <a:gd name="connsiteX182" fmla="*/ 4794 w 10000"/>
              <a:gd name="connsiteY182" fmla="*/ 2611 h 9954"/>
              <a:gd name="connsiteX183" fmla="*/ 4794 w 10000"/>
              <a:gd name="connsiteY183" fmla="*/ 1350 h 9954"/>
              <a:gd name="connsiteX184" fmla="*/ 4116 w 10000"/>
              <a:gd name="connsiteY184" fmla="*/ 810 h 9954"/>
              <a:gd name="connsiteX185" fmla="*/ 4950 w 10000"/>
              <a:gd name="connsiteY185" fmla="*/ 810 h 9954"/>
              <a:gd name="connsiteX186" fmla="*/ 5782 w 10000"/>
              <a:gd name="connsiteY186" fmla="*/ 810 h 9954"/>
              <a:gd name="connsiteX187" fmla="*/ 5782 w 10000"/>
              <a:gd name="connsiteY187" fmla="*/ 763 h 9954"/>
              <a:gd name="connsiteX188" fmla="*/ 5782 w 10000"/>
              <a:gd name="connsiteY188" fmla="*/ 721 h 9954"/>
              <a:gd name="connsiteX189" fmla="*/ 5782 w 10000"/>
              <a:gd name="connsiteY189" fmla="*/ 680 h 9954"/>
              <a:gd name="connsiteX190" fmla="*/ 5782 w 10000"/>
              <a:gd name="connsiteY190" fmla="*/ 631 h 9954"/>
              <a:gd name="connsiteX191" fmla="*/ 5834 w 10000"/>
              <a:gd name="connsiteY191" fmla="*/ 583 h 9954"/>
              <a:gd name="connsiteX192" fmla="*/ 5834 w 10000"/>
              <a:gd name="connsiteY192" fmla="*/ 538 h 9954"/>
              <a:gd name="connsiteX193" fmla="*/ 5834 w 10000"/>
              <a:gd name="connsiteY193" fmla="*/ 495 h 9954"/>
              <a:gd name="connsiteX194" fmla="*/ 5834 w 10000"/>
              <a:gd name="connsiteY194" fmla="*/ 453 h 9954"/>
              <a:gd name="connsiteX195" fmla="*/ 5834 w 10000"/>
              <a:gd name="connsiteY195" fmla="*/ 410 h 9954"/>
              <a:gd name="connsiteX196" fmla="*/ 5834 w 10000"/>
              <a:gd name="connsiteY196" fmla="*/ 358 h 9954"/>
              <a:gd name="connsiteX197" fmla="*/ 5782 w 10000"/>
              <a:gd name="connsiteY197" fmla="*/ 358 h 9954"/>
              <a:gd name="connsiteX198" fmla="*/ 5782 w 10000"/>
              <a:gd name="connsiteY198" fmla="*/ 311 h 9954"/>
              <a:gd name="connsiteX199" fmla="*/ 5782 w 10000"/>
              <a:gd name="connsiteY199" fmla="*/ 268 h 9954"/>
              <a:gd name="connsiteX200" fmla="*/ 5782 w 10000"/>
              <a:gd name="connsiteY200" fmla="*/ 227 h 9954"/>
              <a:gd name="connsiteX201" fmla="*/ 5782 w 10000"/>
              <a:gd name="connsiteY201" fmla="*/ 184 h 9954"/>
              <a:gd name="connsiteX202" fmla="*/ 5782 w 10000"/>
              <a:gd name="connsiteY202" fmla="*/ 142 h 9954"/>
              <a:gd name="connsiteX203" fmla="*/ 5782 w 10000"/>
              <a:gd name="connsiteY203" fmla="*/ 85 h 9954"/>
              <a:gd name="connsiteX204" fmla="*/ 5782 w 10000"/>
              <a:gd name="connsiteY204" fmla="*/ 42 h 9954"/>
              <a:gd name="connsiteX205" fmla="*/ 5782 w 10000"/>
              <a:gd name="connsiteY205" fmla="*/ 0 h 9954"/>
              <a:gd name="connsiteX0" fmla="*/ 5782 w 10000"/>
              <a:gd name="connsiteY0" fmla="*/ 0 h 9954"/>
              <a:gd name="connsiteX1" fmla="*/ 7345 w 10000"/>
              <a:gd name="connsiteY1" fmla="*/ 42 h 9954"/>
              <a:gd name="connsiteX2" fmla="*/ 7501 w 10000"/>
              <a:gd name="connsiteY2" fmla="*/ 42 h 9954"/>
              <a:gd name="connsiteX3" fmla="*/ 7345 w 10000"/>
              <a:gd name="connsiteY3" fmla="*/ 185 h 9954"/>
              <a:gd name="connsiteX4" fmla="*/ 7293 w 10000"/>
              <a:gd name="connsiteY4" fmla="*/ 586 h 9954"/>
              <a:gd name="connsiteX5" fmla="*/ 7188 w 10000"/>
              <a:gd name="connsiteY5" fmla="*/ 1223 h 9954"/>
              <a:gd name="connsiteX6" fmla="*/ 7136 w 10000"/>
              <a:gd name="connsiteY6" fmla="*/ 1268 h 9954"/>
              <a:gd name="connsiteX7" fmla="*/ 6980 w 10000"/>
              <a:gd name="connsiteY7" fmla="*/ 1627 h 9954"/>
              <a:gd name="connsiteX8" fmla="*/ 7396 w 10000"/>
              <a:gd name="connsiteY8" fmla="*/ 3302 h 9954"/>
              <a:gd name="connsiteX9" fmla="*/ 7501 w 10000"/>
              <a:gd name="connsiteY9" fmla="*/ 3620 h 9954"/>
              <a:gd name="connsiteX10" fmla="*/ 7345 w 10000"/>
              <a:gd name="connsiteY10" fmla="*/ 3894 h 9954"/>
              <a:gd name="connsiteX11" fmla="*/ 8022 w 10000"/>
              <a:gd name="connsiteY11" fmla="*/ 4072 h 9954"/>
              <a:gd name="connsiteX12" fmla="*/ 8489 w 10000"/>
              <a:gd name="connsiteY12" fmla="*/ 4570 h 9954"/>
              <a:gd name="connsiteX13" fmla="*/ 8594 w 10000"/>
              <a:gd name="connsiteY13" fmla="*/ 4659 h 9954"/>
              <a:gd name="connsiteX14" fmla="*/ 8906 w 10000"/>
              <a:gd name="connsiteY14" fmla="*/ 4885 h 9954"/>
              <a:gd name="connsiteX15" fmla="*/ 9114 w 10000"/>
              <a:gd name="connsiteY15" fmla="*/ 5158 h 9954"/>
              <a:gd name="connsiteX16" fmla="*/ 9219 w 10000"/>
              <a:gd name="connsiteY16" fmla="*/ 5295 h 9954"/>
              <a:gd name="connsiteX17" fmla="*/ 9427 w 10000"/>
              <a:gd name="connsiteY17" fmla="*/ 5295 h 9954"/>
              <a:gd name="connsiteX18" fmla="*/ 9427 w 10000"/>
              <a:gd name="connsiteY18" fmla="*/ 5339 h 9954"/>
              <a:gd name="connsiteX19" fmla="*/ 9479 w 10000"/>
              <a:gd name="connsiteY19" fmla="*/ 5430 h 9954"/>
              <a:gd name="connsiteX20" fmla="*/ 9479 w 10000"/>
              <a:gd name="connsiteY20" fmla="*/ 5476 h 9954"/>
              <a:gd name="connsiteX21" fmla="*/ 9532 w 10000"/>
              <a:gd name="connsiteY21" fmla="*/ 5656 h 9954"/>
              <a:gd name="connsiteX22" fmla="*/ 9532 w 10000"/>
              <a:gd name="connsiteY22" fmla="*/ 5702 h 9954"/>
              <a:gd name="connsiteX23" fmla="*/ 9532 w 10000"/>
              <a:gd name="connsiteY23" fmla="*/ 5837 h 9954"/>
              <a:gd name="connsiteX24" fmla="*/ 9532 w 10000"/>
              <a:gd name="connsiteY24" fmla="*/ 5926 h 9954"/>
              <a:gd name="connsiteX25" fmla="*/ 9479 w 10000"/>
              <a:gd name="connsiteY25" fmla="*/ 6019 h 9954"/>
              <a:gd name="connsiteX26" fmla="*/ 9427 w 10000"/>
              <a:gd name="connsiteY26" fmla="*/ 6292 h 9954"/>
              <a:gd name="connsiteX27" fmla="*/ 9375 w 10000"/>
              <a:gd name="connsiteY27" fmla="*/ 6335 h 9954"/>
              <a:gd name="connsiteX28" fmla="*/ 9322 w 10000"/>
              <a:gd name="connsiteY28" fmla="*/ 6380 h 9954"/>
              <a:gd name="connsiteX29" fmla="*/ 9271 w 10000"/>
              <a:gd name="connsiteY29" fmla="*/ 6562 h 9954"/>
              <a:gd name="connsiteX30" fmla="*/ 9219 w 10000"/>
              <a:gd name="connsiteY30" fmla="*/ 6650 h 9954"/>
              <a:gd name="connsiteX31" fmla="*/ 9219 w 10000"/>
              <a:gd name="connsiteY31" fmla="*/ 6744 h 9954"/>
              <a:gd name="connsiteX32" fmla="*/ 9219 w 10000"/>
              <a:gd name="connsiteY32" fmla="*/ 6788 h 9954"/>
              <a:gd name="connsiteX33" fmla="*/ 9219 w 10000"/>
              <a:gd name="connsiteY33" fmla="*/ 6922 h 9954"/>
              <a:gd name="connsiteX34" fmla="*/ 9271 w 10000"/>
              <a:gd name="connsiteY34" fmla="*/ 7060 h 9954"/>
              <a:gd name="connsiteX35" fmla="*/ 9895 w 10000"/>
              <a:gd name="connsiteY35" fmla="*/ 7060 h 9954"/>
              <a:gd name="connsiteX36" fmla="*/ 9895 w 10000"/>
              <a:gd name="connsiteY36" fmla="*/ 7148 h 9954"/>
              <a:gd name="connsiteX37" fmla="*/ 9948 w 10000"/>
              <a:gd name="connsiteY37" fmla="*/ 7466 h 9954"/>
              <a:gd name="connsiteX38" fmla="*/ 9948 w 10000"/>
              <a:gd name="connsiteY38" fmla="*/ 7512 h 9954"/>
              <a:gd name="connsiteX39" fmla="*/ 9948 w 10000"/>
              <a:gd name="connsiteY39" fmla="*/ 7646 h 9954"/>
              <a:gd name="connsiteX40" fmla="*/ 9948 w 10000"/>
              <a:gd name="connsiteY40" fmla="*/ 7694 h 9954"/>
              <a:gd name="connsiteX41" fmla="*/ 9948 w 10000"/>
              <a:gd name="connsiteY41" fmla="*/ 7783 h 9954"/>
              <a:gd name="connsiteX42" fmla="*/ 9948 w 10000"/>
              <a:gd name="connsiteY42" fmla="*/ 7828 h 9954"/>
              <a:gd name="connsiteX43" fmla="*/ 9948 w 10000"/>
              <a:gd name="connsiteY43" fmla="*/ 7873 h 9954"/>
              <a:gd name="connsiteX44" fmla="*/ 9948 w 10000"/>
              <a:gd name="connsiteY44" fmla="*/ 7919 h 9954"/>
              <a:gd name="connsiteX45" fmla="*/ 10000 w 10000"/>
              <a:gd name="connsiteY45" fmla="*/ 8008 h 9954"/>
              <a:gd name="connsiteX46" fmla="*/ 10000 w 10000"/>
              <a:gd name="connsiteY46" fmla="*/ 8145 h 9954"/>
              <a:gd name="connsiteX47" fmla="*/ 10000 w 10000"/>
              <a:gd name="connsiteY47" fmla="*/ 8191 h 9954"/>
              <a:gd name="connsiteX48" fmla="*/ 10000 w 10000"/>
              <a:gd name="connsiteY48" fmla="*/ 8235 h 9954"/>
              <a:gd name="connsiteX49" fmla="*/ 10000 w 10000"/>
              <a:gd name="connsiteY49" fmla="*/ 8281 h 9954"/>
              <a:gd name="connsiteX50" fmla="*/ 10000 w 10000"/>
              <a:gd name="connsiteY50" fmla="*/ 8372 h 9954"/>
              <a:gd name="connsiteX51" fmla="*/ 10000 w 10000"/>
              <a:gd name="connsiteY51" fmla="*/ 8418 h 9954"/>
              <a:gd name="connsiteX52" fmla="*/ 10000 w 10000"/>
              <a:gd name="connsiteY52" fmla="*/ 8461 h 9954"/>
              <a:gd name="connsiteX53" fmla="*/ 10000 w 10000"/>
              <a:gd name="connsiteY53" fmla="*/ 8550 h 9954"/>
              <a:gd name="connsiteX54" fmla="*/ 10000 w 10000"/>
              <a:gd name="connsiteY54" fmla="*/ 8778 h 9954"/>
              <a:gd name="connsiteX55" fmla="*/ 10000 w 10000"/>
              <a:gd name="connsiteY55" fmla="*/ 8823 h 9954"/>
              <a:gd name="connsiteX56" fmla="*/ 10000 w 10000"/>
              <a:gd name="connsiteY56" fmla="*/ 8915 h 9954"/>
              <a:gd name="connsiteX57" fmla="*/ 10000 w 10000"/>
              <a:gd name="connsiteY57" fmla="*/ 8959 h 9954"/>
              <a:gd name="connsiteX58" fmla="*/ 10000 w 10000"/>
              <a:gd name="connsiteY58" fmla="*/ 9004 h 9954"/>
              <a:gd name="connsiteX59" fmla="*/ 10000 w 10000"/>
              <a:gd name="connsiteY59" fmla="*/ 9050 h 9954"/>
              <a:gd name="connsiteX60" fmla="*/ 10000 w 10000"/>
              <a:gd name="connsiteY60" fmla="*/ 9093 h 9954"/>
              <a:gd name="connsiteX61" fmla="*/ 10000 w 10000"/>
              <a:gd name="connsiteY61" fmla="*/ 9186 h 9954"/>
              <a:gd name="connsiteX62" fmla="*/ 10000 w 10000"/>
              <a:gd name="connsiteY62" fmla="*/ 9276 h 9954"/>
              <a:gd name="connsiteX63" fmla="*/ 10000 w 10000"/>
              <a:gd name="connsiteY63" fmla="*/ 9320 h 9954"/>
              <a:gd name="connsiteX64" fmla="*/ 10000 w 10000"/>
              <a:gd name="connsiteY64" fmla="*/ 9368 h 9954"/>
              <a:gd name="connsiteX65" fmla="*/ 9948 w 10000"/>
              <a:gd name="connsiteY65" fmla="*/ 9368 h 9954"/>
              <a:gd name="connsiteX66" fmla="*/ 9948 w 10000"/>
              <a:gd name="connsiteY66" fmla="*/ 9411 h 9954"/>
              <a:gd name="connsiteX67" fmla="*/ 9895 w 10000"/>
              <a:gd name="connsiteY67" fmla="*/ 9458 h 9954"/>
              <a:gd name="connsiteX68" fmla="*/ 9844 w 10000"/>
              <a:gd name="connsiteY68" fmla="*/ 9458 h 9954"/>
              <a:gd name="connsiteX69" fmla="*/ 9844 w 10000"/>
              <a:gd name="connsiteY69" fmla="*/ 9504 h 9954"/>
              <a:gd name="connsiteX70" fmla="*/ 9792 w 10000"/>
              <a:gd name="connsiteY70" fmla="*/ 9504 h 9954"/>
              <a:gd name="connsiteX71" fmla="*/ 9740 w 10000"/>
              <a:gd name="connsiteY71" fmla="*/ 9548 h 9954"/>
              <a:gd name="connsiteX72" fmla="*/ 9687 w 10000"/>
              <a:gd name="connsiteY72" fmla="*/ 9591 h 9954"/>
              <a:gd name="connsiteX73" fmla="*/ 9635 w 10000"/>
              <a:gd name="connsiteY73" fmla="*/ 9591 h 9954"/>
              <a:gd name="connsiteX74" fmla="*/ 9635 w 10000"/>
              <a:gd name="connsiteY74" fmla="*/ 9638 h 9954"/>
              <a:gd name="connsiteX75" fmla="*/ 9583 w 10000"/>
              <a:gd name="connsiteY75" fmla="*/ 9638 h 9954"/>
              <a:gd name="connsiteX76" fmla="*/ 9532 w 10000"/>
              <a:gd name="connsiteY76" fmla="*/ 9638 h 9954"/>
              <a:gd name="connsiteX77" fmla="*/ 9479 w 10000"/>
              <a:gd name="connsiteY77" fmla="*/ 9638 h 9954"/>
              <a:gd name="connsiteX78" fmla="*/ 9427 w 10000"/>
              <a:gd name="connsiteY78" fmla="*/ 9638 h 9954"/>
              <a:gd name="connsiteX79" fmla="*/ 9375 w 10000"/>
              <a:gd name="connsiteY79" fmla="*/ 9638 h 9954"/>
              <a:gd name="connsiteX80" fmla="*/ 9322 w 10000"/>
              <a:gd name="connsiteY80" fmla="*/ 9638 h 9954"/>
              <a:gd name="connsiteX81" fmla="*/ 9271 w 10000"/>
              <a:gd name="connsiteY81" fmla="*/ 9638 h 9954"/>
              <a:gd name="connsiteX82" fmla="*/ 9271 w 10000"/>
              <a:gd name="connsiteY82" fmla="*/ 9682 h 9954"/>
              <a:gd name="connsiteX83" fmla="*/ 9219 w 10000"/>
              <a:gd name="connsiteY83" fmla="*/ 9729 h 9954"/>
              <a:gd name="connsiteX84" fmla="*/ 9167 w 10000"/>
              <a:gd name="connsiteY84" fmla="*/ 9775 h 9954"/>
              <a:gd name="connsiteX85" fmla="*/ 9219 w 10000"/>
              <a:gd name="connsiteY85" fmla="*/ 9775 h 9954"/>
              <a:gd name="connsiteX86" fmla="*/ 9167 w 10000"/>
              <a:gd name="connsiteY86" fmla="*/ 9775 h 9954"/>
              <a:gd name="connsiteX87" fmla="*/ 9114 w 10000"/>
              <a:gd name="connsiteY87" fmla="*/ 9775 h 9954"/>
              <a:gd name="connsiteX88" fmla="*/ 9062 w 10000"/>
              <a:gd name="connsiteY88" fmla="*/ 9819 h 9954"/>
              <a:gd name="connsiteX89" fmla="*/ 9011 w 10000"/>
              <a:gd name="connsiteY89" fmla="*/ 9863 h 9954"/>
              <a:gd name="connsiteX90" fmla="*/ 8959 w 10000"/>
              <a:gd name="connsiteY90" fmla="*/ 9863 h 9954"/>
              <a:gd name="connsiteX91" fmla="*/ 8959 w 10000"/>
              <a:gd name="connsiteY91" fmla="*/ 9909 h 9954"/>
              <a:gd name="connsiteX92" fmla="*/ 8906 w 10000"/>
              <a:gd name="connsiteY92" fmla="*/ 9909 h 9954"/>
              <a:gd name="connsiteX93" fmla="*/ 8906 w 10000"/>
              <a:gd name="connsiteY93" fmla="*/ 9954 h 9954"/>
              <a:gd name="connsiteX94" fmla="*/ 8854 w 10000"/>
              <a:gd name="connsiteY94" fmla="*/ 9954 h 9954"/>
              <a:gd name="connsiteX95" fmla="*/ 8802 w 10000"/>
              <a:gd name="connsiteY95" fmla="*/ 9954 h 9954"/>
              <a:gd name="connsiteX96" fmla="*/ 8749 w 10000"/>
              <a:gd name="connsiteY96" fmla="*/ 9954 h 9954"/>
              <a:gd name="connsiteX97" fmla="*/ 8698 w 10000"/>
              <a:gd name="connsiteY97" fmla="*/ 9954 h 9954"/>
              <a:gd name="connsiteX98" fmla="*/ 8646 w 10000"/>
              <a:gd name="connsiteY98" fmla="*/ 9954 h 9954"/>
              <a:gd name="connsiteX99" fmla="*/ 8646 w 10000"/>
              <a:gd name="connsiteY99" fmla="*/ 9909 h 9954"/>
              <a:gd name="connsiteX100" fmla="*/ 8646 w 10000"/>
              <a:gd name="connsiteY100" fmla="*/ 9863 h 9954"/>
              <a:gd name="connsiteX101" fmla="*/ 8594 w 10000"/>
              <a:gd name="connsiteY101" fmla="*/ 9819 h 9954"/>
              <a:gd name="connsiteX102" fmla="*/ 8594 w 10000"/>
              <a:gd name="connsiteY102" fmla="*/ 9775 h 9954"/>
              <a:gd name="connsiteX103" fmla="*/ 8594 w 10000"/>
              <a:gd name="connsiteY103" fmla="*/ 9729 h 9954"/>
              <a:gd name="connsiteX104" fmla="*/ 8541 w 10000"/>
              <a:gd name="connsiteY104" fmla="*/ 9729 h 9954"/>
              <a:gd name="connsiteX105" fmla="*/ 8489 w 10000"/>
              <a:gd name="connsiteY105" fmla="*/ 9729 h 9954"/>
              <a:gd name="connsiteX106" fmla="*/ 8489 w 10000"/>
              <a:gd name="connsiteY106" fmla="*/ 9682 h 9954"/>
              <a:gd name="connsiteX107" fmla="*/ 8438 w 10000"/>
              <a:gd name="connsiteY107" fmla="*/ 9682 h 9954"/>
              <a:gd name="connsiteX108" fmla="*/ 8386 w 10000"/>
              <a:gd name="connsiteY108" fmla="*/ 9729 h 9954"/>
              <a:gd name="connsiteX109" fmla="*/ 8386 w 10000"/>
              <a:gd name="connsiteY109" fmla="*/ 9775 h 9954"/>
              <a:gd name="connsiteX110" fmla="*/ 8282 w 10000"/>
              <a:gd name="connsiteY110" fmla="*/ 9729 h 9954"/>
              <a:gd name="connsiteX111" fmla="*/ 8282 w 10000"/>
              <a:gd name="connsiteY111" fmla="*/ 9682 h 9954"/>
              <a:gd name="connsiteX112" fmla="*/ 8230 w 10000"/>
              <a:gd name="connsiteY112" fmla="*/ 9682 h 9954"/>
              <a:gd name="connsiteX113" fmla="*/ 8179 w 10000"/>
              <a:gd name="connsiteY113" fmla="*/ 9682 h 9954"/>
              <a:gd name="connsiteX114" fmla="*/ 8126 w 10000"/>
              <a:gd name="connsiteY114" fmla="*/ 9682 h 9954"/>
              <a:gd name="connsiteX115" fmla="*/ 8074 w 10000"/>
              <a:gd name="connsiteY115" fmla="*/ 9682 h 9954"/>
              <a:gd name="connsiteX116" fmla="*/ 8022 w 10000"/>
              <a:gd name="connsiteY116" fmla="*/ 9682 h 9954"/>
              <a:gd name="connsiteX117" fmla="*/ 8022 w 10000"/>
              <a:gd name="connsiteY117" fmla="*/ 9729 h 9954"/>
              <a:gd name="connsiteX118" fmla="*/ 7969 w 10000"/>
              <a:gd name="connsiteY118" fmla="*/ 9729 h 9954"/>
              <a:gd name="connsiteX119" fmla="*/ 7917 w 10000"/>
              <a:gd name="connsiteY119" fmla="*/ 9775 h 9954"/>
              <a:gd name="connsiteX120" fmla="*/ 7866 w 10000"/>
              <a:gd name="connsiteY120" fmla="*/ 9775 h 9954"/>
              <a:gd name="connsiteX121" fmla="*/ 7866 w 10000"/>
              <a:gd name="connsiteY121" fmla="*/ 9729 h 9954"/>
              <a:gd name="connsiteX122" fmla="*/ 7866 w 10000"/>
              <a:gd name="connsiteY122" fmla="*/ 9775 h 9954"/>
              <a:gd name="connsiteX123" fmla="*/ 7814 w 10000"/>
              <a:gd name="connsiteY123" fmla="*/ 9775 h 9954"/>
              <a:gd name="connsiteX124" fmla="*/ 7761 w 10000"/>
              <a:gd name="connsiteY124" fmla="*/ 9819 h 9954"/>
              <a:gd name="connsiteX125" fmla="*/ 7709 w 10000"/>
              <a:gd name="connsiteY125" fmla="*/ 9775 h 9954"/>
              <a:gd name="connsiteX126" fmla="*/ 7657 w 10000"/>
              <a:gd name="connsiteY126" fmla="*/ 9775 h 9954"/>
              <a:gd name="connsiteX127" fmla="*/ 7606 w 10000"/>
              <a:gd name="connsiteY127" fmla="*/ 9775 h 9954"/>
              <a:gd name="connsiteX128" fmla="*/ 7553 w 10000"/>
              <a:gd name="connsiteY128" fmla="*/ 9729 h 9954"/>
              <a:gd name="connsiteX129" fmla="*/ 7501 w 10000"/>
              <a:gd name="connsiteY129" fmla="*/ 9729 h 9954"/>
              <a:gd name="connsiteX130" fmla="*/ 7501 w 10000"/>
              <a:gd name="connsiteY130" fmla="*/ 9775 h 9954"/>
              <a:gd name="connsiteX131" fmla="*/ 7449 w 10000"/>
              <a:gd name="connsiteY131" fmla="*/ 9775 h 9954"/>
              <a:gd name="connsiteX132" fmla="*/ 7396 w 10000"/>
              <a:gd name="connsiteY132" fmla="*/ 9729 h 9954"/>
              <a:gd name="connsiteX133" fmla="*/ 7345 w 10000"/>
              <a:gd name="connsiteY133" fmla="*/ 9729 h 9954"/>
              <a:gd name="connsiteX134" fmla="*/ 7293 w 10000"/>
              <a:gd name="connsiteY134" fmla="*/ 9819 h 9954"/>
              <a:gd name="connsiteX135" fmla="*/ 7241 w 10000"/>
              <a:gd name="connsiteY135" fmla="*/ 9819 h 9954"/>
              <a:gd name="connsiteX136" fmla="*/ 7241 w 10000"/>
              <a:gd name="connsiteY136" fmla="*/ 9775 h 9954"/>
              <a:gd name="connsiteX137" fmla="*/ 7241 w 10000"/>
              <a:gd name="connsiteY137" fmla="*/ 9819 h 9954"/>
              <a:gd name="connsiteX138" fmla="*/ 7188 w 10000"/>
              <a:gd name="connsiteY138" fmla="*/ 9909 h 9954"/>
              <a:gd name="connsiteX139" fmla="*/ 7344 w 10000"/>
              <a:gd name="connsiteY139" fmla="*/ 7986 h 9954"/>
              <a:gd name="connsiteX140" fmla="*/ 7136 w 10000"/>
              <a:gd name="connsiteY140" fmla="*/ 7618 h 9954"/>
              <a:gd name="connsiteX141" fmla="*/ 6544 w 10000"/>
              <a:gd name="connsiteY141" fmla="*/ 7498 h 9954"/>
              <a:gd name="connsiteX142" fmla="*/ 5775 w 10000"/>
              <a:gd name="connsiteY142" fmla="*/ 7462 h 9954"/>
              <a:gd name="connsiteX143" fmla="*/ 5311 w 10000"/>
              <a:gd name="connsiteY143" fmla="*/ 7345 h 9954"/>
              <a:gd name="connsiteX144" fmla="*/ 5071 w 10000"/>
              <a:gd name="connsiteY144" fmla="*/ 7230 h 9954"/>
              <a:gd name="connsiteX145" fmla="*/ 4912 w 10000"/>
              <a:gd name="connsiteY145" fmla="*/ 7327 h 9954"/>
              <a:gd name="connsiteX146" fmla="*/ 4416 w 10000"/>
              <a:gd name="connsiteY146" fmla="*/ 7149 h 9954"/>
              <a:gd name="connsiteX147" fmla="*/ 3584 w 10000"/>
              <a:gd name="connsiteY147" fmla="*/ 6841 h 9954"/>
              <a:gd name="connsiteX148" fmla="*/ 3104 w 10000"/>
              <a:gd name="connsiteY148" fmla="*/ 6782 h 9954"/>
              <a:gd name="connsiteX149" fmla="*/ 3200 w 10000"/>
              <a:gd name="connsiteY149" fmla="*/ 6568 h 9954"/>
              <a:gd name="connsiteX150" fmla="*/ 3344 w 10000"/>
              <a:gd name="connsiteY150" fmla="*/ 6511 h 9954"/>
              <a:gd name="connsiteX151" fmla="*/ 3728 w 10000"/>
              <a:gd name="connsiteY151" fmla="*/ 6199 h 9954"/>
              <a:gd name="connsiteX152" fmla="*/ 3968 w 10000"/>
              <a:gd name="connsiteY152" fmla="*/ 5909 h 9954"/>
              <a:gd name="connsiteX153" fmla="*/ 4224 w 10000"/>
              <a:gd name="connsiteY153" fmla="*/ 5597 h 9954"/>
              <a:gd name="connsiteX154" fmla="*/ 4368 w 10000"/>
              <a:gd name="connsiteY154" fmla="*/ 5308 h 9954"/>
              <a:gd name="connsiteX155" fmla="*/ 4352 w 10000"/>
              <a:gd name="connsiteY155" fmla="*/ 4978 h 9954"/>
              <a:gd name="connsiteX156" fmla="*/ 4336 w 10000"/>
              <a:gd name="connsiteY156" fmla="*/ 4685 h 9954"/>
              <a:gd name="connsiteX157" fmla="*/ 4176 w 10000"/>
              <a:gd name="connsiteY157" fmla="*/ 4510 h 9954"/>
              <a:gd name="connsiteX158" fmla="*/ 4016 w 10000"/>
              <a:gd name="connsiteY158" fmla="*/ 4532 h 9954"/>
              <a:gd name="connsiteX159" fmla="*/ 3856 w 10000"/>
              <a:gd name="connsiteY159" fmla="*/ 4841 h 9954"/>
              <a:gd name="connsiteX160" fmla="*/ 3808 w 10000"/>
              <a:gd name="connsiteY160" fmla="*/ 5403 h 9954"/>
              <a:gd name="connsiteX161" fmla="*/ 3536 w 10000"/>
              <a:gd name="connsiteY161" fmla="*/ 5774 h 9954"/>
              <a:gd name="connsiteX162" fmla="*/ 2992 w 10000"/>
              <a:gd name="connsiteY162" fmla="*/ 6103 h 9954"/>
              <a:gd name="connsiteX163" fmla="*/ 2415 w 10000"/>
              <a:gd name="connsiteY163" fmla="*/ 6354 h 9954"/>
              <a:gd name="connsiteX164" fmla="*/ 1951 w 10000"/>
              <a:gd name="connsiteY164" fmla="*/ 6701 h 9954"/>
              <a:gd name="connsiteX165" fmla="*/ 0 w 10000"/>
              <a:gd name="connsiteY165" fmla="*/ 6626 h 9954"/>
              <a:gd name="connsiteX166" fmla="*/ 3 w 10000"/>
              <a:gd name="connsiteY166" fmla="*/ 6380 h 9954"/>
              <a:gd name="connsiteX167" fmla="*/ 159 w 10000"/>
              <a:gd name="connsiteY167" fmla="*/ 6470 h 9954"/>
              <a:gd name="connsiteX168" fmla="*/ 368 w 10000"/>
              <a:gd name="connsiteY168" fmla="*/ 6380 h 9954"/>
              <a:gd name="connsiteX169" fmla="*/ 1462 w 10000"/>
              <a:gd name="connsiteY169" fmla="*/ 6380 h 9954"/>
              <a:gd name="connsiteX170" fmla="*/ 1617 w 10000"/>
              <a:gd name="connsiteY170" fmla="*/ 6335 h 9954"/>
              <a:gd name="connsiteX171" fmla="*/ 1669 w 10000"/>
              <a:gd name="connsiteY171" fmla="*/ 6335 h 9954"/>
              <a:gd name="connsiteX172" fmla="*/ 2189 w 10000"/>
              <a:gd name="connsiteY172" fmla="*/ 5747 h 9954"/>
              <a:gd name="connsiteX173" fmla="*/ 2294 w 10000"/>
              <a:gd name="connsiteY173" fmla="*/ 5656 h 9954"/>
              <a:gd name="connsiteX174" fmla="*/ 2762 w 10000"/>
              <a:gd name="connsiteY174" fmla="*/ 5204 h 9954"/>
              <a:gd name="connsiteX175" fmla="*/ 3023 w 10000"/>
              <a:gd name="connsiteY175" fmla="*/ 4932 h 9954"/>
              <a:gd name="connsiteX176" fmla="*/ 3179 w 10000"/>
              <a:gd name="connsiteY176" fmla="*/ 4796 h 9954"/>
              <a:gd name="connsiteX177" fmla="*/ 3596 w 10000"/>
              <a:gd name="connsiteY177" fmla="*/ 4119 h 9954"/>
              <a:gd name="connsiteX178" fmla="*/ 4116 w 10000"/>
              <a:gd name="connsiteY178" fmla="*/ 3845 h 9954"/>
              <a:gd name="connsiteX179" fmla="*/ 5001 w 10000"/>
              <a:gd name="connsiteY179" fmla="*/ 3076 h 9954"/>
              <a:gd name="connsiteX180" fmla="*/ 4845 w 10000"/>
              <a:gd name="connsiteY180" fmla="*/ 2805 h 9954"/>
              <a:gd name="connsiteX181" fmla="*/ 4794 w 10000"/>
              <a:gd name="connsiteY181" fmla="*/ 2623 h 9954"/>
              <a:gd name="connsiteX182" fmla="*/ 4794 w 10000"/>
              <a:gd name="connsiteY182" fmla="*/ 1356 h 9954"/>
              <a:gd name="connsiteX183" fmla="*/ 4116 w 10000"/>
              <a:gd name="connsiteY183" fmla="*/ 814 h 9954"/>
              <a:gd name="connsiteX184" fmla="*/ 4950 w 10000"/>
              <a:gd name="connsiteY184" fmla="*/ 814 h 9954"/>
              <a:gd name="connsiteX185" fmla="*/ 5782 w 10000"/>
              <a:gd name="connsiteY185" fmla="*/ 814 h 9954"/>
              <a:gd name="connsiteX186" fmla="*/ 5782 w 10000"/>
              <a:gd name="connsiteY186" fmla="*/ 767 h 9954"/>
              <a:gd name="connsiteX187" fmla="*/ 5782 w 10000"/>
              <a:gd name="connsiteY187" fmla="*/ 724 h 9954"/>
              <a:gd name="connsiteX188" fmla="*/ 5782 w 10000"/>
              <a:gd name="connsiteY188" fmla="*/ 683 h 9954"/>
              <a:gd name="connsiteX189" fmla="*/ 5782 w 10000"/>
              <a:gd name="connsiteY189" fmla="*/ 634 h 9954"/>
              <a:gd name="connsiteX190" fmla="*/ 5834 w 10000"/>
              <a:gd name="connsiteY190" fmla="*/ 586 h 9954"/>
              <a:gd name="connsiteX191" fmla="*/ 5834 w 10000"/>
              <a:gd name="connsiteY191" fmla="*/ 540 h 9954"/>
              <a:gd name="connsiteX192" fmla="*/ 5834 w 10000"/>
              <a:gd name="connsiteY192" fmla="*/ 497 h 9954"/>
              <a:gd name="connsiteX193" fmla="*/ 5834 w 10000"/>
              <a:gd name="connsiteY193" fmla="*/ 455 h 9954"/>
              <a:gd name="connsiteX194" fmla="*/ 5834 w 10000"/>
              <a:gd name="connsiteY194" fmla="*/ 412 h 9954"/>
              <a:gd name="connsiteX195" fmla="*/ 5834 w 10000"/>
              <a:gd name="connsiteY195" fmla="*/ 360 h 9954"/>
              <a:gd name="connsiteX196" fmla="*/ 5782 w 10000"/>
              <a:gd name="connsiteY196" fmla="*/ 360 h 9954"/>
              <a:gd name="connsiteX197" fmla="*/ 5782 w 10000"/>
              <a:gd name="connsiteY197" fmla="*/ 312 h 9954"/>
              <a:gd name="connsiteX198" fmla="*/ 5782 w 10000"/>
              <a:gd name="connsiteY198" fmla="*/ 269 h 9954"/>
              <a:gd name="connsiteX199" fmla="*/ 5782 w 10000"/>
              <a:gd name="connsiteY199" fmla="*/ 228 h 9954"/>
              <a:gd name="connsiteX200" fmla="*/ 5782 w 10000"/>
              <a:gd name="connsiteY200" fmla="*/ 185 h 9954"/>
              <a:gd name="connsiteX201" fmla="*/ 5782 w 10000"/>
              <a:gd name="connsiteY201" fmla="*/ 143 h 9954"/>
              <a:gd name="connsiteX202" fmla="*/ 5782 w 10000"/>
              <a:gd name="connsiteY202" fmla="*/ 85 h 9954"/>
              <a:gd name="connsiteX203" fmla="*/ 5782 w 10000"/>
              <a:gd name="connsiteY203" fmla="*/ 42 h 9954"/>
              <a:gd name="connsiteX204" fmla="*/ 5782 w 10000"/>
              <a:gd name="connsiteY204" fmla="*/ 0 h 9954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241 w 10000"/>
              <a:gd name="connsiteY135" fmla="*/ 9864 h 10000"/>
              <a:gd name="connsiteX136" fmla="*/ 7241 w 10000"/>
              <a:gd name="connsiteY136" fmla="*/ 9820 h 10000"/>
              <a:gd name="connsiteX137" fmla="*/ 7241 w 10000"/>
              <a:gd name="connsiteY137" fmla="*/ 9864 h 10000"/>
              <a:gd name="connsiteX138" fmla="*/ 7344 w 10000"/>
              <a:gd name="connsiteY138" fmla="*/ 8023 h 10000"/>
              <a:gd name="connsiteX139" fmla="*/ 7136 w 10000"/>
              <a:gd name="connsiteY139" fmla="*/ 7653 h 10000"/>
              <a:gd name="connsiteX140" fmla="*/ 6544 w 10000"/>
              <a:gd name="connsiteY140" fmla="*/ 7533 h 10000"/>
              <a:gd name="connsiteX141" fmla="*/ 5775 w 10000"/>
              <a:gd name="connsiteY141" fmla="*/ 7496 h 10000"/>
              <a:gd name="connsiteX142" fmla="*/ 5311 w 10000"/>
              <a:gd name="connsiteY142" fmla="*/ 7379 h 10000"/>
              <a:gd name="connsiteX143" fmla="*/ 5071 w 10000"/>
              <a:gd name="connsiteY143" fmla="*/ 7263 h 10000"/>
              <a:gd name="connsiteX144" fmla="*/ 4912 w 10000"/>
              <a:gd name="connsiteY144" fmla="*/ 7361 h 10000"/>
              <a:gd name="connsiteX145" fmla="*/ 4416 w 10000"/>
              <a:gd name="connsiteY145" fmla="*/ 7182 h 10000"/>
              <a:gd name="connsiteX146" fmla="*/ 3584 w 10000"/>
              <a:gd name="connsiteY146" fmla="*/ 6873 h 10000"/>
              <a:gd name="connsiteX147" fmla="*/ 3104 w 10000"/>
              <a:gd name="connsiteY147" fmla="*/ 6813 h 10000"/>
              <a:gd name="connsiteX148" fmla="*/ 3200 w 10000"/>
              <a:gd name="connsiteY148" fmla="*/ 6598 h 10000"/>
              <a:gd name="connsiteX149" fmla="*/ 3344 w 10000"/>
              <a:gd name="connsiteY149" fmla="*/ 6541 h 10000"/>
              <a:gd name="connsiteX150" fmla="*/ 3728 w 10000"/>
              <a:gd name="connsiteY150" fmla="*/ 6228 h 10000"/>
              <a:gd name="connsiteX151" fmla="*/ 3968 w 10000"/>
              <a:gd name="connsiteY151" fmla="*/ 5936 h 10000"/>
              <a:gd name="connsiteX152" fmla="*/ 4224 w 10000"/>
              <a:gd name="connsiteY152" fmla="*/ 5623 h 10000"/>
              <a:gd name="connsiteX153" fmla="*/ 4368 w 10000"/>
              <a:gd name="connsiteY153" fmla="*/ 5333 h 10000"/>
              <a:gd name="connsiteX154" fmla="*/ 4352 w 10000"/>
              <a:gd name="connsiteY154" fmla="*/ 5001 h 10000"/>
              <a:gd name="connsiteX155" fmla="*/ 4336 w 10000"/>
              <a:gd name="connsiteY155" fmla="*/ 4707 h 10000"/>
              <a:gd name="connsiteX156" fmla="*/ 4176 w 10000"/>
              <a:gd name="connsiteY156" fmla="*/ 4531 h 10000"/>
              <a:gd name="connsiteX157" fmla="*/ 4016 w 10000"/>
              <a:gd name="connsiteY157" fmla="*/ 4553 h 10000"/>
              <a:gd name="connsiteX158" fmla="*/ 3856 w 10000"/>
              <a:gd name="connsiteY158" fmla="*/ 4863 h 10000"/>
              <a:gd name="connsiteX159" fmla="*/ 3808 w 10000"/>
              <a:gd name="connsiteY159" fmla="*/ 5428 h 10000"/>
              <a:gd name="connsiteX160" fmla="*/ 3536 w 10000"/>
              <a:gd name="connsiteY160" fmla="*/ 5801 h 10000"/>
              <a:gd name="connsiteX161" fmla="*/ 2992 w 10000"/>
              <a:gd name="connsiteY161" fmla="*/ 6131 h 10000"/>
              <a:gd name="connsiteX162" fmla="*/ 2415 w 10000"/>
              <a:gd name="connsiteY162" fmla="*/ 6383 h 10000"/>
              <a:gd name="connsiteX163" fmla="*/ 1951 w 10000"/>
              <a:gd name="connsiteY163" fmla="*/ 6732 h 10000"/>
              <a:gd name="connsiteX164" fmla="*/ 0 w 10000"/>
              <a:gd name="connsiteY164" fmla="*/ 6657 h 10000"/>
              <a:gd name="connsiteX165" fmla="*/ 3 w 10000"/>
              <a:gd name="connsiteY165" fmla="*/ 6409 h 10000"/>
              <a:gd name="connsiteX166" fmla="*/ 159 w 10000"/>
              <a:gd name="connsiteY166" fmla="*/ 6500 h 10000"/>
              <a:gd name="connsiteX167" fmla="*/ 368 w 10000"/>
              <a:gd name="connsiteY167" fmla="*/ 6409 h 10000"/>
              <a:gd name="connsiteX168" fmla="*/ 1462 w 10000"/>
              <a:gd name="connsiteY168" fmla="*/ 6409 h 10000"/>
              <a:gd name="connsiteX169" fmla="*/ 1617 w 10000"/>
              <a:gd name="connsiteY169" fmla="*/ 6364 h 10000"/>
              <a:gd name="connsiteX170" fmla="*/ 1669 w 10000"/>
              <a:gd name="connsiteY170" fmla="*/ 6364 h 10000"/>
              <a:gd name="connsiteX171" fmla="*/ 2189 w 10000"/>
              <a:gd name="connsiteY171" fmla="*/ 5774 h 10000"/>
              <a:gd name="connsiteX172" fmla="*/ 2294 w 10000"/>
              <a:gd name="connsiteY172" fmla="*/ 5682 h 10000"/>
              <a:gd name="connsiteX173" fmla="*/ 2762 w 10000"/>
              <a:gd name="connsiteY173" fmla="*/ 5228 h 10000"/>
              <a:gd name="connsiteX174" fmla="*/ 3023 w 10000"/>
              <a:gd name="connsiteY174" fmla="*/ 4955 h 10000"/>
              <a:gd name="connsiteX175" fmla="*/ 3179 w 10000"/>
              <a:gd name="connsiteY175" fmla="*/ 4818 h 10000"/>
              <a:gd name="connsiteX176" fmla="*/ 3596 w 10000"/>
              <a:gd name="connsiteY176" fmla="*/ 4138 h 10000"/>
              <a:gd name="connsiteX177" fmla="*/ 4116 w 10000"/>
              <a:gd name="connsiteY177" fmla="*/ 3863 h 10000"/>
              <a:gd name="connsiteX178" fmla="*/ 5001 w 10000"/>
              <a:gd name="connsiteY178" fmla="*/ 3090 h 10000"/>
              <a:gd name="connsiteX179" fmla="*/ 4845 w 10000"/>
              <a:gd name="connsiteY179" fmla="*/ 2818 h 10000"/>
              <a:gd name="connsiteX180" fmla="*/ 4794 w 10000"/>
              <a:gd name="connsiteY180" fmla="*/ 2635 h 10000"/>
              <a:gd name="connsiteX181" fmla="*/ 4794 w 10000"/>
              <a:gd name="connsiteY181" fmla="*/ 1362 h 10000"/>
              <a:gd name="connsiteX182" fmla="*/ 4116 w 10000"/>
              <a:gd name="connsiteY182" fmla="*/ 818 h 10000"/>
              <a:gd name="connsiteX183" fmla="*/ 4950 w 10000"/>
              <a:gd name="connsiteY183" fmla="*/ 818 h 10000"/>
              <a:gd name="connsiteX184" fmla="*/ 5782 w 10000"/>
              <a:gd name="connsiteY184" fmla="*/ 818 h 10000"/>
              <a:gd name="connsiteX185" fmla="*/ 5782 w 10000"/>
              <a:gd name="connsiteY185" fmla="*/ 771 h 10000"/>
              <a:gd name="connsiteX186" fmla="*/ 5782 w 10000"/>
              <a:gd name="connsiteY186" fmla="*/ 727 h 10000"/>
              <a:gd name="connsiteX187" fmla="*/ 5782 w 10000"/>
              <a:gd name="connsiteY187" fmla="*/ 686 h 10000"/>
              <a:gd name="connsiteX188" fmla="*/ 5782 w 10000"/>
              <a:gd name="connsiteY188" fmla="*/ 637 h 10000"/>
              <a:gd name="connsiteX189" fmla="*/ 5834 w 10000"/>
              <a:gd name="connsiteY189" fmla="*/ 589 h 10000"/>
              <a:gd name="connsiteX190" fmla="*/ 5834 w 10000"/>
              <a:gd name="connsiteY190" fmla="*/ 542 h 10000"/>
              <a:gd name="connsiteX191" fmla="*/ 5834 w 10000"/>
              <a:gd name="connsiteY191" fmla="*/ 499 h 10000"/>
              <a:gd name="connsiteX192" fmla="*/ 5834 w 10000"/>
              <a:gd name="connsiteY192" fmla="*/ 457 h 10000"/>
              <a:gd name="connsiteX193" fmla="*/ 5834 w 10000"/>
              <a:gd name="connsiteY193" fmla="*/ 414 h 10000"/>
              <a:gd name="connsiteX194" fmla="*/ 5834 w 10000"/>
              <a:gd name="connsiteY194" fmla="*/ 362 h 10000"/>
              <a:gd name="connsiteX195" fmla="*/ 5782 w 10000"/>
              <a:gd name="connsiteY195" fmla="*/ 362 h 10000"/>
              <a:gd name="connsiteX196" fmla="*/ 5782 w 10000"/>
              <a:gd name="connsiteY196" fmla="*/ 313 h 10000"/>
              <a:gd name="connsiteX197" fmla="*/ 5782 w 10000"/>
              <a:gd name="connsiteY197" fmla="*/ 270 h 10000"/>
              <a:gd name="connsiteX198" fmla="*/ 5782 w 10000"/>
              <a:gd name="connsiteY198" fmla="*/ 229 h 10000"/>
              <a:gd name="connsiteX199" fmla="*/ 5782 w 10000"/>
              <a:gd name="connsiteY199" fmla="*/ 186 h 10000"/>
              <a:gd name="connsiteX200" fmla="*/ 5782 w 10000"/>
              <a:gd name="connsiteY200" fmla="*/ 144 h 10000"/>
              <a:gd name="connsiteX201" fmla="*/ 5782 w 10000"/>
              <a:gd name="connsiteY201" fmla="*/ 85 h 10000"/>
              <a:gd name="connsiteX202" fmla="*/ 5782 w 10000"/>
              <a:gd name="connsiteY202" fmla="*/ 42 h 10000"/>
              <a:gd name="connsiteX203" fmla="*/ 5782 w 10000"/>
              <a:gd name="connsiteY203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241 w 10000"/>
              <a:gd name="connsiteY135" fmla="*/ 9864 h 10000"/>
              <a:gd name="connsiteX136" fmla="*/ 7241 w 10000"/>
              <a:gd name="connsiteY136" fmla="*/ 9820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3536 w 10000"/>
              <a:gd name="connsiteY159" fmla="*/ 5801 h 10000"/>
              <a:gd name="connsiteX160" fmla="*/ 2992 w 10000"/>
              <a:gd name="connsiteY160" fmla="*/ 6131 h 10000"/>
              <a:gd name="connsiteX161" fmla="*/ 2415 w 10000"/>
              <a:gd name="connsiteY161" fmla="*/ 6383 h 10000"/>
              <a:gd name="connsiteX162" fmla="*/ 1951 w 10000"/>
              <a:gd name="connsiteY162" fmla="*/ 6732 h 10000"/>
              <a:gd name="connsiteX163" fmla="*/ 0 w 10000"/>
              <a:gd name="connsiteY163" fmla="*/ 6657 h 10000"/>
              <a:gd name="connsiteX164" fmla="*/ 3 w 10000"/>
              <a:gd name="connsiteY164" fmla="*/ 6409 h 10000"/>
              <a:gd name="connsiteX165" fmla="*/ 159 w 10000"/>
              <a:gd name="connsiteY165" fmla="*/ 6500 h 10000"/>
              <a:gd name="connsiteX166" fmla="*/ 368 w 10000"/>
              <a:gd name="connsiteY166" fmla="*/ 6409 h 10000"/>
              <a:gd name="connsiteX167" fmla="*/ 1462 w 10000"/>
              <a:gd name="connsiteY167" fmla="*/ 6409 h 10000"/>
              <a:gd name="connsiteX168" fmla="*/ 1617 w 10000"/>
              <a:gd name="connsiteY168" fmla="*/ 6364 h 10000"/>
              <a:gd name="connsiteX169" fmla="*/ 1669 w 10000"/>
              <a:gd name="connsiteY169" fmla="*/ 6364 h 10000"/>
              <a:gd name="connsiteX170" fmla="*/ 2189 w 10000"/>
              <a:gd name="connsiteY170" fmla="*/ 5774 h 10000"/>
              <a:gd name="connsiteX171" fmla="*/ 2294 w 10000"/>
              <a:gd name="connsiteY171" fmla="*/ 5682 h 10000"/>
              <a:gd name="connsiteX172" fmla="*/ 2762 w 10000"/>
              <a:gd name="connsiteY172" fmla="*/ 5228 h 10000"/>
              <a:gd name="connsiteX173" fmla="*/ 3023 w 10000"/>
              <a:gd name="connsiteY173" fmla="*/ 4955 h 10000"/>
              <a:gd name="connsiteX174" fmla="*/ 3179 w 10000"/>
              <a:gd name="connsiteY174" fmla="*/ 4818 h 10000"/>
              <a:gd name="connsiteX175" fmla="*/ 3596 w 10000"/>
              <a:gd name="connsiteY175" fmla="*/ 4138 h 10000"/>
              <a:gd name="connsiteX176" fmla="*/ 4116 w 10000"/>
              <a:gd name="connsiteY176" fmla="*/ 3863 h 10000"/>
              <a:gd name="connsiteX177" fmla="*/ 5001 w 10000"/>
              <a:gd name="connsiteY177" fmla="*/ 3090 h 10000"/>
              <a:gd name="connsiteX178" fmla="*/ 4845 w 10000"/>
              <a:gd name="connsiteY178" fmla="*/ 2818 h 10000"/>
              <a:gd name="connsiteX179" fmla="*/ 4794 w 10000"/>
              <a:gd name="connsiteY179" fmla="*/ 2635 h 10000"/>
              <a:gd name="connsiteX180" fmla="*/ 4794 w 10000"/>
              <a:gd name="connsiteY180" fmla="*/ 1362 h 10000"/>
              <a:gd name="connsiteX181" fmla="*/ 4116 w 10000"/>
              <a:gd name="connsiteY181" fmla="*/ 818 h 10000"/>
              <a:gd name="connsiteX182" fmla="*/ 4950 w 10000"/>
              <a:gd name="connsiteY182" fmla="*/ 818 h 10000"/>
              <a:gd name="connsiteX183" fmla="*/ 5782 w 10000"/>
              <a:gd name="connsiteY183" fmla="*/ 818 h 10000"/>
              <a:gd name="connsiteX184" fmla="*/ 5782 w 10000"/>
              <a:gd name="connsiteY184" fmla="*/ 771 h 10000"/>
              <a:gd name="connsiteX185" fmla="*/ 5782 w 10000"/>
              <a:gd name="connsiteY185" fmla="*/ 727 h 10000"/>
              <a:gd name="connsiteX186" fmla="*/ 5782 w 10000"/>
              <a:gd name="connsiteY186" fmla="*/ 686 h 10000"/>
              <a:gd name="connsiteX187" fmla="*/ 5782 w 10000"/>
              <a:gd name="connsiteY187" fmla="*/ 637 h 10000"/>
              <a:gd name="connsiteX188" fmla="*/ 5834 w 10000"/>
              <a:gd name="connsiteY188" fmla="*/ 589 h 10000"/>
              <a:gd name="connsiteX189" fmla="*/ 5834 w 10000"/>
              <a:gd name="connsiteY189" fmla="*/ 542 h 10000"/>
              <a:gd name="connsiteX190" fmla="*/ 5834 w 10000"/>
              <a:gd name="connsiteY190" fmla="*/ 499 h 10000"/>
              <a:gd name="connsiteX191" fmla="*/ 5834 w 10000"/>
              <a:gd name="connsiteY191" fmla="*/ 457 h 10000"/>
              <a:gd name="connsiteX192" fmla="*/ 5834 w 10000"/>
              <a:gd name="connsiteY192" fmla="*/ 414 h 10000"/>
              <a:gd name="connsiteX193" fmla="*/ 5834 w 10000"/>
              <a:gd name="connsiteY193" fmla="*/ 362 h 10000"/>
              <a:gd name="connsiteX194" fmla="*/ 5782 w 10000"/>
              <a:gd name="connsiteY194" fmla="*/ 362 h 10000"/>
              <a:gd name="connsiteX195" fmla="*/ 5782 w 10000"/>
              <a:gd name="connsiteY195" fmla="*/ 313 h 10000"/>
              <a:gd name="connsiteX196" fmla="*/ 5782 w 10000"/>
              <a:gd name="connsiteY196" fmla="*/ 270 h 10000"/>
              <a:gd name="connsiteX197" fmla="*/ 5782 w 10000"/>
              <a:gd name="connsiteY197" fmla="*/ 229 h 10000"/>
              <a:gd name="connsiteX198" fmla="*/ 5782 w 10000"/>
              <a:gd name="connsiteY198" fmla="*/ 186 h 10000"/>
              <a:gd name="connsiteX199" fmla="*/ 5782 w 10000"/>
              <a:gd name="connsiteY199" fmla="*/ 144 h 10000"/>
              <a:gd name="connsiteX200" fmla="*/ 5782 w 10000"/>
              <a:gd name="connsiteY200" fmla="*/ 85 h 10000"/>
              <a:gd name="connsiteX201" fmla="*/ 5782 w 10000"/>
              <a:gd name="connsiteY201" fmla="*/ 42 h 10000"/>
              <a:gd name="connsiteX202" fmla="*/ 5782 w 10000"/>
              <a:gd name="connsiteY202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241 w 10000"/>
              <a:gd name="connsiteY135" fmla="*/ 9864 h 10000"/>
              <a:gd name="connsiteX136" fmla="*/ 7344 w 10000"/>
              <a:gd name="connsiteY136" fmla="*/ 8023 h 10000"/>
              <a:gd name="connsiteX137" fmla="*/ 7136 w 10000"/>
              <a:gd name="connsiteY137" fmla="*/ 7653 h 10000"/>
              <a:gd name="connsiteX138" fmla="*/ 6544 w 10000"/>
              <a:gd name="connsiteY138" fmla="*/ 7533 h 10000"/>
              <a:gd name="connsiteX139" fmla="*/ 5775 w 10000"/>
              <a:gd name="connsiteY139" fmla="*/ 7496 h 10000"/>
              <a:gd name="connsiteX140" fmla="*/ 5311 w 10000"/>
              <a:gd name="connsiteY140" fmla="*/ 7379 h 10000"/>
              <a:gd name="connsiteX141" fmla="*/ 5071 w 10000"/>
              <a:gd name="connsiteY141" fmla="*/ 7263 h 10000"/>
              <a:gd name="connsiteX142" fmla="*/ 4912 w 10000"/>
              <a:gd name="connsiteY142" fmla="*/ 7361 h 10000"/>
              <a:gd name="connsiteX143" fmla="*/ 4416 w 10000"/>
              <a:gd name="connsiteY143" fmla="*/ 7182 h 10000"/>
              <a:gd name="connsiteX144" fmla="*/ 3584 w 10000"/>
              <a:gd name="connsiteY144" fmla="*/ 6873 h 10000"/>
              <a:gd name="connsiteX145" fmla="*/ 3104 w 10000"/>
              <a:gd name="connsiteY145" fmla="*/ 6813 h 10000"/>
              <a:gd name="connsiteX146" fmla="*/ 3200 w 10000"/>
              <a:gd name="connsiteY146" fmla="*/ 6598 h 10000"/>
              <a:gd name="connsiteX147" fmla="*/ 3344 w 10000"/>
              <a:gd name="connsiteY147" fmla="*/ 6541 h 10000"/>
              <a:gd name="connsiteX148" fmla="*/ 3728 w 10000"/>
              <a:gd name="connsiteY148" fmla="*/ 6228 h 10000"/>
              <a:gd name="connsiteX149" fmla="*/ 3968 w 10000"/>
              <a:gd name="connsiteY149" fmla="*/ 5936 h 10000"/>
              <a:gd name="connsiteX150" fmla="*/ 4224 w 10000"/>
              <a:gd name="connsiteY150" fmla="*/ 5623 h 10000"/>
              <a:gd name="connsiteX151" fmla="*/ 4368 w 10000"/>
              <a:gd name="connsiteY151" fmla="*/ 5333 h 10000"/>
              <a:gd name="connsiteX152" fmla="*/ 4352 w 10000"/>
              <a:gd name="connsiteY152" fmla="*/ 5001 h 10000"/>
              <a:gd name="connsiteX153" fmla="*/ 4336 w 10000"/>
              <a:gd name="connsiteY153" fmla="*/ 4707 h 10000"/>
              <a:gd name="connsiteX154" fmla="*/ 4176 w 10000"/>
              <a:gd name="connsiteY154" fmla="*/ 4531 h 10000"/>
              <a:gd name="connsiteX155" fmla="*/ 4016 w 10000"/>
              <a:gd name="connsiteY155" fmla="*/ 4553 h 10000"/>
              <a:gd name="connsiteX156" fmla="*/ 3856 w 10000"/>
              <a:gd name="connsiteY156" fmla="*/ 4863 h 10000"/>
              <a:gd name="connsiteX157" fmla="*/ 3808 w 10000"/>
              <a:gd name="connsiteY157" fmla="*/ 5428 h 10000"/>
              <a:gd name="connsiteX158" fmla="*/ 3536 w 10000"/>
              <a:gd name="connsiteY158" fmla="*/ 5801 h 10000"/>
              <a:gd name="connsiteX159" fmla="*/ 2992 w 10000"/>
              <a:gd name="connsiteY159" fmla="*/ 6131 h 10000"/>
              <a:gd name="connsiteX160" fmla="*/ 2415 w 10000"/>
              <a:gd name="connsiteY160" fmla="*/ 6383 h 10000"/>
              <a:gd name="connsiteX161" fmla="*/ 1951 w 10000"/>
              <a:gd name="connsiteY161" fmla="*/ 6732 h 10000"/>
              <a:gd name="connsiteX162" fmla="*/ 0 w 10000"/>
              <a:gd name="connsiteY162" fmla="*/ 6657 h 10000"/>
              <a:gd name="connsiteX163" fmla="*/ 3 w 10000"/>
              <a:gd name="connsiteY163" fmla="*/ 6409 h 10000"/>
              <a:gd name="connsiteX164" fmla="*/ 159 w 10000"/>
              <a:gd name="connsiteY164" fmla="*/ 6500 h 10000"/>
              <a:gd name="connsiteX165" fmla="*/ 368 w 10000"/>
              <a:gd name="connsiteY165" fmla="*/ 6409 h 10000"/>
              <a:gd name="connsiteX166" fmla="*/ 1462 w 10000"/>
              <a:gd name="connsiteY166" fmla="*/ 6409 h 10000"/>
              <a:gd name="connsiteX167" fmla="*/ 1617 w 10000"/>
              <a:gd name="connsiteY167" fmla="*/ 6364 h 10000"/>
              <a:gd name="connsiteX168" fmla="*/ 1669 w 10000"/>
              <a:gd name="connsiteY168" fmla="*/ 6364 h 10000"/>
              <a:gd name="connsiteX169" fmla="*/ 2189 w 10000"/>
              <a:gd name="connsiteY169" fmla="*/ 5774 h 10000"/>
              <a:gd name="connsiteX170" fmla="*/ 2294 w 10000"/>
              <a:gd name="connsiteY170" fmla="*/ 5682 h 10000"/>
              <a:gd name="connsiteX171" fmla="*/ 2762 w 10000"/>
              <a:gd name="connsiteY171" fmla="*/ 5228 h 10000"/>
              <a:gd name="connsiteX172" fmla="*/ 3023 w 10000"/>
              <a:gd name="connsiteY172" fmla="*/ 4955 h 10000"/>
              <a:gd name="connsiteX173" fmla="*/ 3179 w 10000"/>
              <a:gd name="connsiteY173" fmla="*/ 4818 h 10000"/>
              <a:gd name="connsiteX174" fmla="*/ 3596 w 10000"/>
              <a:gd name="connsiteY174" fmla="*/ 4138 h 10000"/>
              <a:gd name="connsiteX175" fmla="*/ 4116 w 10000"/>
              <a:gd name="connsiteY175" fmla="*/ 3863 h 10000"/>
              <a:gd name="connsiteX176" fmla="*/ 5001 w 10000"/>
              <a:gd name="connsiteY176" fmla="*/ 3090 h 10000"/>
              <a:gd name="connsiteX177" fmla="*/ 4845 w 10000"/>
              <a:gd name="connsiteY177" fmla="*/ 2818 h 10000"/>
              <a:gd name="connsiteX178" fmla="*/ 4794 w 10000"/>
              <a:gd name="connsiteY178" fmla="*/ 2635 h 10000"/>
              <a:gd name="connsiteX179" fmla="*/ 4794 w 10000"/>
              <a:gd name="connsiteY179" fmla="*/ 1362 h 10000"/>
              <a:gd name="connsiteX180" fmla="*/ 4116 w 10000"/>
              <a:gd name="connsiteY180" fmla="*/ 818 h 10000"/>
              <a:gd name="connsiteX181" fmla="*/ 4950 w 10000"/>
              <a:gd name="connsiteY181" fmla="*/ 818 h 10000"/>
              <a:gd name="connsiteX182" fmla="*/ 5782 w 10000"/>
              <a:gd name="connsiteY182" fmla="*/ 818 h 10000"/>
              <a:gd name="connsiteX183" fmla="*/ 5782 w 10000"/>
              <a:gd name="connsiteY183" fmla="*/ 771 h 10000"/>
              <a:gd name="connsiteX184" fmla="*/ 5782 w 10000"/>
              <a:gd name="connsiteY184" fmla="*/ 727 h 10000"/>
              <a:gd name="connsiteX185" fmla="*/ 5782 w 10000"/>
              <a:gd name="connsiteY185" fmla="*/ 686 h 10000"/>
              <a:gd name="connsiteX186" fmla="*/ 5782 w 10000"/>
              <a:gd name="connsiteY186" fmla="*/ 637 h 10000"/>
              <a:gd name="connsiteX187" fmla="*/ 5834 w 10000"/>
              <a:gd name="connsiteY187" fmla="*/ 589 h 10000"/>
              <a:gd name="connsiteX188" fmla="*/ 5834 w 10000"/>
              <a:gd name="connsiteY188" fmla="*/ 542 h 10000"/>
              <a:gd name="connsiteX189" fmla="*/ 5834 w 10000"/>
              <a:gd name="connsiteY189" fmla="*/ 499 h 10000"/>
              <a:gd name="connsiteX190" fmla="*/ 5834 w 10000"/>
              <a:gd name="connsiteY190" fmla="*/ 457 h 10000"/>
              <a:gd name="connsiteX191" fmla="*/ 5834 w 10000"/>
              <a:gd name="connsiteY191" fmla="*/ 414 h 10000"/>
              <a:gd name="connsiteX192" fmla="*/ 5834 w 10000"/>
              <a:gd name="connsiteY192" fmla="*/ 362 h 10000"/>
              <a:gd name="connsiteX193" fmla="*/ 5782 w 10000"/>
              <a:gd name="connsiteY193" fmla="*/ 362 h 10000"/>
              <a:gd name="connsiteX194" fmla="*/ 5782 w 10000"/>
              <a:gd name="connsiteY194" fmla="*/ 313 h 10000"/>
              <a:gd name="connsiteX195" fmla="*/ 5782 w 10000"/>
              <a:gd name="connsiteY195" fmla="*/ 270 h 10000"/>
              <a:gd name="connsiteX196" fmla="*/ 5782 w 10000"/>
              <a:gd name="connsiteY196" fmla="*/ 229 h 10000"/>
              <a:gd name="connsiteX197" fmla="*/ 5782 w 10000"/>
              <a:gd name="connsiteY197" fmla="*/ 186 h 10000"/>
              <a:gd name="connsiteX198" fmla="*/ 5782 w 10000"/>
              <a:gd name="connsiteY198" fmla="*/ 144 h 10000"/>
              <a:gd name="connsiteX199" fmla="*/ 5782 w 10000"/>
              <a:gd name="connsiteY199" fmla="*/ 85 h 10000"/>
              <a:gd name="connsiteX200" fmla="*/ 5782 w 10000"/>
              <a:gd name="connsiteY200" fmla="*/ 42 h 10000"/>
              <a:gd name="connsiteX201" fmla="*/ 5782 w 10000"/>
              <a:gd name="connsiteY20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44 w 10000"/>
              <a:gd name="connsiteY135" fmla="*/ 8023 h 10000"/>
              <a:gd name="connsiteX136" fmla="*/ 7136 w 10000"/>
              <a:gd name="connsiteY136" fmla="*/ 7653 h 10000"/>
              <a:gd name="connsiteX137" fmla="*/ 6544 w 10000"/>
              <a:gd name="connsiteY137" fmla="*/ 7533 h 10000"/>
              <a:gd name="connsiteX138" fmla="*/ 5775 w 10000"/>
              <a:gd name="connsiteY138" fmla="*/ 7496 h 10000"/>
              <a:gd name="connsiteX139" fmla="*/ 5311 w 10000"/>
              <a:gd name="connsiteY139" fmla="*/ 7379 h 10000"/>
              <a:gd name="connsiteX140" fmla="*/ 5071 w 10000"/>
              <a:gd name="connsiteY140" fmla="*/ 7263 h 10000"/>
              <a:gd name="connsiteX141" fmla="*/ 4912 w 10000"/>
              <a:gd name="connsiteY141" fmla="*/ 7361 h 10000"/>
              <a:gd name="connsiteX142" fmla="*/ 4416 w 10000"/>
              <a:gd name="connsiteY142" fmla="*/ 7182 h 10000"/>
              <a:gd name="connsiteX143" fmla="*/ 3584 w 10000"/>
              <a:gd name="connsiteY143" fmla="*/ 6873 h 10000"/>
              <a:gd name="connsiteX144" fmla="*/ 3104 w 10000"/>
              <a:gd name="connsiteY144" fmla="*/ 6813 h 10000"/>
              <a:gd name="connsiteX145" fmla="*/ 3200 w 10000"/>
              <a:gd name="connsiteY145" fmla="*/ 6598 h 10000"/>
              <a:gd name="connsiteX146" fmla="*/ 3344 w 10000"/>
              <a:gd name="connsiteY146" fmla="*/ 6541 h 10000"/>
              <a:gd name="connsiteX147" fmla="*/ 3728 w 10000"/>
              <a:gd name="connsiteY147" fmla="*/ 6228 h 10000"/>
              <a:gd name="connsiteX148" fmla="*/ 3968 w 10000"/>
              <a:gd name="connsiteY148" fmla="*/ 5936 h 10000"/>
              <a:gd name="connsiteX149" fmla="*/ 4224 w 10000"/>
              <a:gd name="connsiteY149" fmla="*/ 5623 h 10000"/>
              <a:gd name="connsiteX150" fmla="*/ 4368 w 10000"/>
              <a:gd name="connsiteY150" fmla="*/ 5333 h 10000"/>
              <a:gd name="connsiteX151" fmla="*/ 4352 w 10000"/>
              <a:gd name="connsiteY151" fmla="*/ 5001 h 10000"/>
              <a:gd name="connsiteX152" fmla="*/ 4336 w 10000"/>
              <a:gd name="connsiteY152" fmla="*/ 4707 h 10000"/>
              <a:gd name="connsiteX153" fmla="*/ 4176 w 10000"/>
              <a:gd name="connsiteY153" fmla="*/ 4531 h 10000"/>
              <a:gd name="connsiteX154" fmla="*/ 4016 w 10000"/>
              <a:gd name="connsiteY154" fmla="*/ 4553 h 10000"/>
              <a:gd name="connsiteX155" fmla="*/ 3856 w 10000"/>
              <a:gd name="connsiteY155" fmla="*/ 4863 h 10000"/>
              <a:gd name="connsiteX156" fmla="*/ 3808 w 10000"/>
              <a:gd name="connsiteY156" fmla="*/ 5428 h 10000"/>
              <a:gd name="connsiteX157" fmla="*/ 3536 w 10000"/>
              <a:gd name="connsiteY157" fmla="*/ 5801 h 10000"/>
              <a:gd name="connsiteX158" fmla="*/ 2992 w 10000"/>
              <a:gd name="connsiteY158" fmla="*/ 6131 h 10000"/>
              <a:gd name="connsiteX159" fmla="*/ 2415 w 10000"/>
              <a:gd name="connsiteY159" fmla="*/ 6383 h 10000"/>
              <a:gd name="connsiteX160" fmla="*/ 1951 w 10000"/>
              <a:gd name="connsiteY160" fmla="*/ 6732 h 10000"/>
              <a:gd name="connsiteX161" fmla="*/ 0 w 10000"/>
              <a:gd name="connsiteY161" fmla="*/ 6657 h 10000"/>
              <a:gd name="connsiteX162" fmla="*/ 3 w 10000"/>
              <a:gd name="connsiteY162" fmla="*/ 6409 h 10000"/>
              <a:gd name="connsiteX163" fmla="*/ 159 w 10000"/>
              <a:gd name="connsiteY163" fmla="*/ 6500 h 10000"/>
              <a:gd name="connsiteX164" fmla="*/ 368 w 10000"/>
              <a:gd name="connsiteY164" fmla="*/ 6409 h 10000"/>
              <a:gd name="connsiteX165" fmla="*/ 1462 w 10000"/>
              <a:gd name="connsiteY165" fmla="*/ 6409 h 10000"/>
              <a:gd name="connsiteX166" fmla="*/ 1617 w 10000"/>
              <a:gd name="connsiteY166" fmla="*/ 6364 h 10000"/>
              <a:gd name="connsiteX167" fmla="*/ 1669 w 10000"/>
              <a:gd name="connsiteY167" fmla="*/ 6364 h 10000"/>
              <a:gd name="connsiteX168" fmla="*/ 2189 w 10000"/>
              <a:gd name="connsiteY168" fmla="*/ 5774 h 10000"/>
              <a:gd name="connsiteX169" fmla="*/ 2294 w 10000"/>
              <a:gd name="connsiteY169" fmla="*/ 5682 h 10000"/>
              <a:gd name="connsiteX170" fmla="*/ 2762 w 10000"/>
              <a:gd name="connsiteY170" fmla="*/ 5228 h 10000"/>
              <a:gd name="connsiteX171" fmla="*/ 3023 w 10000"/>
              <a:gd name="connsiteY171" fmla="*/ 4955 h 10000"/>
              <a:gd name="connsiteX172" fmla="*/ 3179 w 10000"/>
              <a:gd name="connsiteY172" fmla="*/ 4818 h 10000"/>
              <a:gd name="connsiteX173" fmla="*/ 3596 w 10000"/>
              <a:gd name="connsiteY173" fmla="*/ 4138 h 10000"/>
              <a:gd name="connsiteX174" fmla="*/ 4116 w 10000"/>
              <a:gd name="connsiteY174" fmla="*/ 3863 h 10000"/>
              <a:gd name="connsiteX175" fmla="*/ 5001 w 10000"/>
              <a:gd name="connsiteY175" fmla="*/ 3090 h 10000"/>
              <a:gd name="connsiteX176" fmla="*/ 4845 w 10000"/>
              <a:gd name="connsiteY176" fmla="*/ 2818 h 10000"/>
              <a:gd name="connsiteX177" fmla="*/ 4794 w 10000"/>
              <a:gd name="connsiteY177" fmla="*/ 2635 h 10000"/>
              <a:gd name="connsiteX178" fmla="*/ 4794 w 10000"/>
              <a:gd name="connsiteY178" fmla="*/ 1362 h 10000"/>
              <a:gd name="connsiteX179" fmla="*/ 4116 w 10000"/>
              <a:gd name="connsiteY179" fmla="*/ 818 h 10000"/>
              <a:gd name="connsiteX180" fmla="*/ 4950 w 10000"/>
              <a:gd name="connsiteY180" fmla="*/ 818 h 10000"/>
              <a:gd name="connsiteX181" fmla="*/ 5782 w 10000"/>
              <a:gd name="connsiteY181" fmla="*/ 818 h 10000"/>
              <a:gd name="connsiteX182" fmla="*/ 5782 w 10000"/>
              <a:gd name="connsiteY182" fmla="*/ 771 h 10000"/>
              <a:gd name="connsiteX183" fmla="*/ 5782 w 10000"/>
              <a:gd name="connsiteY183" fmla="*/ 727 h 10000"/>
              <a:gd name="connsiteX184" fmla="*/ 5782 w 10000"/>
              <a:gd name="connsiteY184" fmla="*/ 686 h 10000"/>
              <a:gd name="connsiteX185" fmla="*/ 5782 w 10000"/>
              <a:gd name="connsiteY185" fmla="*/ 637 h 10000"/>
              <a:gd name="connsiteX186" fmla="*/ 5834 w 10000"/>
              <a:gd name="connsiteY186" fmla="*/ 589 h 10000"/>
              <a:gd name="connsiteX187" fmla="*/ 5834 w 10000"/>
              <a:gd name="connsiteY187" fmla="*/ 542 h 10000"/>
              <a:gd name="connsiteX188" fmla="*/ 5834 w 10000"/>
              <a:gd name="connsiteY188" fmla="*/ 499 h 10000"/>
              <a:gd name="connsiteX189" fmla="*/ 5834 w 10000"/>
              <a:gd name="connsiteY189" fmla="*/ 457 h 10000"/>
              <a:gd name="connsiteX190" fmla="*/ 5834 w 10000"/>
              <a:gd name="connsiteY190" fmla="*/ 414 h 10000"/>
              <a:gd name="connsiteX191" fmla="*/ 5834 w 10000"/>
              <a:gd name="connsiteY191" fmla="*/ 362 h 10000"/>
              <a:gd name="connsiteX192" fmla="*/ 5782 w 10000"/>
              <a:gd name="connsiteY192" fmla="*/ 362 h 10000"/>
              <a:gd name="connsiteX193" fmla="*/ 5782 w 10000"/>
              <a:gd name="connsiteY193" fmla="*/ 313 h 10000"/>
              <a:gd name="connsiteX194" fmla="*/ 5782 w 10000"/>
              <a:gd name="connsiteY194" fmla="*/ 270 h 10000"/>
              <a:gd name="connsiteX195" fmla="*/ 5782 w 10000"/>
              <a:gd name="connsiteY195" fmla="*/ 229 h 10000"/>
              <a:gd name="connsiteX196" fmla="*/ 5782 w 10000"/>
              <a:gd name="connsiteY196" fmla="*/ 186 h 10000"/>
              <a:gd name="connsiteX197" fmla="*/ 5782 w 10000"/>
              <a:gd name="connsiteY197" fmla="*/ 144 h 10000"/>
              <a:gd name="connsiteX198" fmla="*/ 5782 w 10000"/>
              <a:gd name="connsiteY198" fmla="*/ 85 h 10000"/>
              <a:gd name="connsiteX199" fmla="*/ 5782 w 10000"/>
              <a:gd name="connsiteY199" fmla="*/ 42 h 10000"/>
              <a:gd name="connsiteX200" fmla="*/ 5782 w 10000"/>
              <a:gd name="connsiteY200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8920 h 10000"/>
              <a:gd name="connsiteX136" fmla="*/ 7344 w 10000"/>
              <a:gd name="connsiteY136" fmla="*/ 8023 h 10000"/>
              <a:gd name="connsiteX137" fmla="*/ 7136 w 10000"/>
              <a:gd name="connsiteY137" fmla="*/ 7653 h 10000"/>
              <a:gd name="connsiteX138" fmla="*/ 6544 w 10000"/>
              <a:gd name="connsiteY138" fmla="*/ 7533 h 10000"/>
              <a:gd name="connsiteX139" fmla="*/ 5775 w 10000"/>
              <a:gd name="connsiteY139" fmla="*/ 7496 h 10000"/>
              <a:gd name="connsiteX140" fmla="*/ 5311 w 10000"/>
              <a:gd name="connsiteY140" fmla="*/ 7379 h 10000"/>
              <a:gd name="connsiteX141" fmla="*/ 5071 w 10000"/>
              <a:gd name="connsiteY141" fmla="*/ 7263 h 10000"/>
              <a:gd name="connsiteX142" fmla="*/ 4912 w 10000"/>
              <a:gd name="connsiteY142" fmla="*/ 7361 h 10000"/>
              <a:gd name="connsiteX143" fmla="*/ 4416 w 10000"/>
              <a:gd name="connsiteY143" fmla="*/ 7182 h 10000"/>
              <a:gd name="connsiteX144" fmla="*/ 3584 w 10000"/>
              <a:gd name="connsiteY144" fmla="*/ 6873 h 10000"/>
              <a:gd name="connsiteX145" fmla="*/ 3104 w 10000"/>
              <a:gd name="connsiteY145" fmla="*/ 6813 h 10000"/>
              <a:gd name="connsiteX146" fmla="*/ 3200 w 10000"/>
              <a:gd name="connsiteY146" fmla="*/ 6598 h 10000"/>
              <a:gd name="connsiteX147" fmla="*/ 3344 w 10000"/>
              <a:gd name="connsiteY147" fmla="*/ 6541 h 10000"/>
              <a:gd name="connsiteX148" fmla="*/ 3728 w 10000"/>
              <a:gd name="connsiteY148" fmla="*/ 6228 h 10000"/>
              <a:gd name="connsiteX149" fmla="*/ 3968 w 10000"/>
              <a:gd name="connsiteY149" fmla="*/ 5936 h 10000"/>
              <a:gd name="connsiteX150" fmla="*/ 4224 w 10000"/>
              <a:gd name="connsiteY150" fmla="*/ 5623 h 10000"/>
              <a:gd name="connsiteX151" fmla="*/ 4368 w 10000"/>
              <a:gd name="connsiteY151" fmla="*/ 5333 h 10000"/>
              <a:gd name="connsiteX152" fmla="*/ 4352 w 10000"/>
              <a:gd name="connsiteY152" fmla="*/ 5001 h 10000"/>
              <a:gd name="connsiteX153" fmla="*/ 4336 w 10000"/>
              <a:gd name="connsiteY153" fmla="*/ 4707 h 10000"/>
              <a:gd name="connsiteX154" fmla="*/ 4176 w 10000"/>
              <a:gd name="connsiteY154" fmla="*/ 4531 h 10000"/>
              <a:gd name="connsiteX155" fmla="*/ 4016 w 10000"/>
              <a:gd name="connsiteY155" fmla="*/ 4553 h 10000"/>
              <a:gd name="connsiteX156" fmla="*/ 3856 w 10000"/>
              <a:gd name="connsiteY156" fmla="*/ 4863 h 10000"/>
              <a:gd name="connsiteX157" fmla="*/ 3808 w 10000"/>
              <a:gd name="connsiteY157" fmla="*/ 5428 h 10000"/>
              <a:gd name="connsiteX158" fmla="*/ 3536 w 10000"/>
              <a:gd name="connsiteY158" fmla="*/ 5801 h 10000"/>
              <a:gd name="connsiteX159" fmla="*/ 2992 w 10000"/>
              <a:gd name="connsiteY159" fmla="*/ 6131 h 10000"/>
              <a:gd name="connsiteX160" fmla="*/ 2415 w 10000"/>
              <a:gd name="connsiteY160" fmla="*/ 6383 h 10000"/>
              <a:gd name="connsiteX161" fmla="*/ 1951 w 10000"/>
              <a:gd name="connsiteY161" fmla="*/ 6732 h 10000"/>
              <a:gd name="connsiteX162" fmla="*/ 0 w 10000"/>
              <a:gd name="connsiteY162" fmla="*/ 6657 h 10000"/>
              <a:gd name="connsiteX163" fmla="*/ 3 w 10000"/>
              <a:gd name="connsiteY163" fmla="*/ 6409 h 10000"/>
              <a:gd name="connsiteX164" fmla="*/ 159 w 10000"/>
              <a:gd name="connsiteY164" fmla="*/ 6500 h 10000"/>
              <a:gd name="connsiteX165" fmla="*/ 368 w 10000"/>
              <a:gd name="connsiteY165" fmla="*/ 6409 h 10000"/>
              <a:gd name="connsiteX166" fmla="*/ 1462 w 10000"/>
              <a:gd name="connsiteY166" fmla="*/ 6409 h 10000"/>
              <a:gd name="connsiteX167" fmla="*/ 1617 w 10000"/>
              <a:gd name="connsiteY167" fmla="*/ 6364 h 10000"/>
              <a:gd name="connsiteX168" fmla="*/ 1669 w 10000"/>
              <a:gd name="connsiteY168" fmla="*/ 6364 h 10000"/>
              <a:gd name="connsiteX169" fmla="*/ 2189 w 10000"/>
              <a:gd name="connsiteY169" fmla="*/ 5774 h 10000"/>
              <a:gd name="connsiteX170" fmla="*/ 2294 w 10000"/>
              <a:gd name="connsiteY170" fmla="*/ 5682 h 10000"/>
              <a:gd name="connsiteX171" fmla="*/ 2762 w 10000"/>
              <a:gd name="connsiteY171" fmla="*/ 5228 h 10000"/>
              <a:gd name="connsiteX172" fmla="*/ 3023 w 10000"/>
              <a:gd name="connsiteY172" fmla="*/ 4955 h 10000"/>
              <a:gd name="connsiteX173" fmla="*/ 3179 w 10000"/>
              <a:gd name="connsiteY173" fmla="*/ 4818 h 10000"/>
              <a:gd name="connsiteX174" fmla="*/ 3596 w 10000"/>
              <a:gd name="connsiteY174" fmla="*/ 4138 h 10000"/>
              <a:gd name="connsiteX175" fmla="*/ 4116 w 10000"/>
              <a:gd name="connsiteY175" fmla="*/ 3863 h 10000"/>
              <a:gd name="connsiteX176" fmla="*/ 5001 w 10000"/>
              <a:gd name="connsiteY176" fmla="*/ 3090 h 10000"/>
              <a:gd name="connsiteX177" fmla="*/ 4845 w 10000"/>
              <a:gd name="connsiteY177" fmla="*/ 2818 h 10000"/>
              <a:gd name="connsiteX178" fmla="*/ 4794 w 10000"/>
              <a:gd name="connsiteY178" fmla="*/ 2635 h 10000"/>
              <a:gd name="connsiteX179" fmla="*/ 4794 w 10000"/>
              <a:gd name="connsiteY179" fmla="*/ 1362 h 10000"/>
              <a:gd name="connsiteX180" fmla="*/ 4116 w 10000"/>
              <a:gd name="connsiteY180" fmla="*/ 818 h 10000"/>
              <a:gd name="connsiteX181" fmla="*/ 4950 w 10000"/>
              <a:gd name="connsiteY181" fmla="*/ 818 h 10000"/>
              <a:gd name="connsiteX182" fmla="*/ 5782 w 10000"/>
              <a:gd name="connsiteY182" fmla="*/ 818 h 10000"/>
              <a:gd name="connsiteX183" fmla="*/ 5782 w 10000"/>
              <a:gd name="connsiteY183" fmla="*/ 771 h 10000"/>
              <a:gd name="connsiteX184" fmla="*/ 5782 w 10000"/>
              <a:gd name="connsiteY184" fmla="*/ 727 h 10000"/>
              <a:gd name="connsiteX185" fmla="*/ 5782 w 10000"/>
              <a:gd name="connsiteY185" fmla="*/ 686 h 10000"/>
              <a:gd name="connsiteX186" fmla="*/ 5782 w 10000"/>
              <a:gd name="connsiteY186" fmla="*/ 637 h 10000"/>
              <a:gd name="connsiteX187" fmla="*/ 5834 w 10000"/>
              <a:gd name="connsiteY187" fmla="*/ 589 h 10000"/>
              <a:gd name="connsiteX188" fmla="*/ 5834 w 10000"/>
              <a:gd name="connsiteY188" fmla="*/ 542 h 10000"/>
              <a:gd name="connsiteX189" fmla="*/ 5834 w 10000"/>
              <a:gd name="connsiteY189" fmla="*/ 499 h 10000"/>
              <a:gd name="connsiteX190" fmla="*/ 5834 w 10000"/>
              <a:gd name="connsiteY190" fmla="*/ 457 h 10000"/>
              <a:gd name="connsiteX191" fmla="*/ 5834 w 10000"/>
              <a:gd name="connsiteY191" fmla="*/ 414 h 10000"/>
              <a:gd name="connsiteX192" fmla="*/ 5834 w 10000"/>
              <a:gd name="connsiteY192" fmla="*/ 362 h 10000"/>
              <a:gd name="connsiteX193" fmla="*/ 5782 w 10000"/>
              <a:gd name="connsiteY193" fmla="*/ 362 h 10000"/>
              <a:gd name="connsiteX194" fmla="*/ 5782 w 10000"/>
              <a:gd name="connsiteY194" fmla="*/ 313 h 10000"/>
              <a:gd name="connsiteX195" fmla="*/ 5782 w 10000"/>
              <a:gd name="connsiteY195" fmla="*/ 270 h 10000"/>
              <a:gd name="connsiteX196" fmla="*/ 5782 w 10000"/>
              <a:gd name="connsiteY196" fmla="*/ 229 h 10000"/>
              <a:gd name="connsiteX197" fmla="*/ 5782 w 10000"/>
              <a:gd name="connsiteY197" fmla="*/ 186 h 10000"/>
              <a:gd name="connsiteX198" fmla="*/ 5782 w 10000"/>
              <a:gd name="connsiteY198" fmla="*/ 144 h 10000"/>
              <a:gd name="connsiteX199" fmla="*/ 5782 w 10000"/>
              <a:gd name="connsiteY199" fmla="*/ 85 h 10000"/>
              <a:gd name="connsiteX200" fmla="*/ 5782 w 10000"/>
              <a:gd name="connsiteY200" fmla="*/ 42 h 10000"/>
              <a:gd name="connsiteX201" fmla="*/ 5782 w 10000"/>
              <a:gd name="connsiteY20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152 w 10000"/>
              <a:gd name="connsiteY135" fmla="*/ 8783 h 10000"/>
              <a:gd name="connsiteX136" fmla="*/ 7344 w 10000"/>
              <a:gd name="connsiteY136" fmla="*/ 8023 h 10000"/>
              <a:gd name="connsiteX137" fmla="*/ 7136 w 10000"/>
              <a:gd name="connsiteY137" fmla="*/ 7653 h 10000"/>
              <a:gd name="connsiteX138" fmla="*/ 6544 w 10000"/>
              <a:gd name="connsiteY138" fmla="*/ 7533 h 10000"/>
              <a:gd name="connsiteX139" fmla="*/ 5775 w 10000"/>
              <a:gd name="connsiteY139" fmla="*/ 7496 h 10000"/>
              <a:gd name="connsiteX140" fmla="*/ 5311 w 10000"/>
              <a:gd name="connsiteY140" fmla="*/ 7379 h 10000"/>
              <a:gd name="connsiteX141" fmla="*/ 5071 w 10000"/>
              <a:gd name="connsiteY141" fmla="*/ 7263 h 10000"/>
              <a:gd name="connsiteX142" fmla="*/ 4912 w 10000"/>
              <a:gd name="connsiteY142" fmla="*/ 7361 h 10000"/>
              <a:gd name="connsiteX143" fmla="*/ 4416 w 10000"/>
              <a:gd name="connsiteY143" fmla="*/ 7182 h 10000"/>
              <a:gd name="connsiteX144" fmla="*/ 3584 w 10000"/>
              <a:gd name="connsiteY144" fmla="*/ 6873 h 10000"/>
              <a:gd name="connsiteX145" fmla="*/ 3104 w 10000"/>
              <a:gd name="connsiteY145" fmla="*/ 6813 h 10000"/>
              <a:gd name="connsiteX146" fmla="*/ 3200 w 10000"/>
              <a:gd name="connsiteY146" fmla="*/ 6598 h 10000"/>
              <a:gd name="connsiteX147" fmla="*/ 3344 w 10000"/>
              <a:gd name="connsiteY147" fmla="*/ 6541 h 10000"/>
              <a:gd name="connsiteX148" fmla="*/ 3728 w 10000"/>
              <a:gd name="connsiteY148" fmla="*/ 6228 h 10000"/>
              <a:gd name="connsiteX149" fmla="*/ 3968 w 10000"/>
              <a:gd name="connsiteY149" fmla="*/ 5936 h 10000"/>
              <a:gd name="connsiteX150" fmla="*/ 4224 w 10000"/>
              <a:gd name="connsiteY150" fmla="*/ 5623 h 10000"/>
              <a:gd name="connsiteX151" fmla="*/ 4368 w 10000"/>
              <a:gd name="connsiteY151" fmla="*/ 5333 h 10000"/>
              <a:gd name="connsiteX152" fmla="*/ 4352 w 10000"/>
              <a:gd name="connsiteY152" fmla="*/ 5001 h 10000"/>
              <a:gd name="connsiteX153" fmla="*/ 4336 w 10000"/>
              <a:gd name="connsiteY153" fmla="*/ 4707 h 10000"/>
              <a:gd name="connsiteX154" fmla="*/ 4176 w 10000"/>
              <a:gd name="connsiteY154" fmla="*/ 4531 h 10000"/>
              <a:gd name="connsiteX155" fmla="*/ 4016 w 10000"/>
              <a:gd name="connsiteY155" fmla="*/ 4553 h 10000"/>
              <a:gd name="connsiteX156" fmla="*/ 3856 w 10000"/>
              <a:gd name="connsiteY156" fmla="*/ 4863 h 10000"/>
              <a:gd name="connsiteX157" fmla="*/ 3808 w 10000"/>
              <a:gd name="connsiteY157" fmla="*/ 5428 h 10000"/>
              <a:gd name="connsiteX158" fmla="*/ 3536 w 10000"/>
              <a:gd name="connsiteY158" fmla="*/ 5801 h 10000"/>
              <a:gd name="connsiteX159" fmla="*/ 2992 w 10000"/>
              <a:gd name="connsiteY159" fmla="*/ 6131 h 10000"/>
              <a:gd name="connsiteX160" fmla="*/ 2415 w 10000"/>
              <a:gd name="connsiteY160" fmla="*/ 6383 h 10000"/>
              <a:gd name="connsiteX161" fmla="*/ 1951 w 10000"/>
              <a:gd name="connsiteY161" fmla="*/ 6732 h 10000"/>
              <a:gd name="connsiteX162" fmla="*/ 0 w 10000"/>
              <a:gd name="connsiteY162" fmla="*/ 6657 h 10000"/>
              <a:gd name="connsiteX163" fmla="*/ 3 w 10000"/>
              <a:gd name="connsiteY163" fmla="*/ 6409 h 10000"/>
              <a:gd name="connsiteX164" fmla="*/ 159 w 10000"/>
              <a:gd name="connsiteY164" fmla="*/ 6500 h 10000"/>
              <a:gd name="connsiteX165" fmla="*/ 368 w 10000"/>
              <a:gd name="connsiteY165" fmla="*/ 6409 h 10000"/>
              <a:gd name="connsiteX166" fmla="*/ 1462 w 10000"/>
              <a:gd name="connsiteY166" fmla="*/ 6409 h 10000"/>
              <a:gd name="connsiteX167" fmla="*/ 1617 w 10000"/>
              <a:gd name="connsiteY167" fmla="*/ 6364 h 10000"/>
              <a:gd name="connsiteX168" fmla="*/ 1669 w 10000"/>
              <a:gd name="connsiteY168" fmla="*/ 6364 h 10000"/>
              <a:gd name="connsiteX169" fmla="*/ 2189 w 10000"/>
              <a:gd name="connsiteY169" fmla="*/ 5774 h 10000"/>
              <a:gd name="connsiteX170" fmla="*/ 2294 w 10000"/>
              <a:gd name="connsiteY170" fmla="*/ 5682 h 10000"/>
              <a:gd name="connsiteX171" fmla="*/ 2762 w 10000"/>
              <a:gd name="connsiteY171" fmla="*/ 5228 h 10000"/>
              <a:gd name="connsiteX172" fmla="*/ 3023 w 10000"/>
              <a:gd name="connsiteY172" fmla="*/ 4955 h 10000"/>
              <a:gd name="connsiteX173" fmla="*/ 3179 w 10000"/>
              <a:gd name="connsiteY173" fmla="*/ 4818 h 10000"/>
              <a:gd name="connsiteX174" fmla="*/ 3596 w 10000"/>
              <a:gd name="connsiteY174" fmla="*/ 4138 h 10000"/>
              <a:gd name="connsiteX175" fmla="*/ 4116 w 10000"/>
              <a:gd name="connsiteY175" fmla="*/ 3863 h 10000"/>
              <a:gd name="connsiteX176" fmla="*/ 5001 w 10000"/>
              <a:gd name="connsiteY176" fmla="*/ 3090 h 10000"/>
              <a:gd name="connsiteX177" fmla="*/ 4845 w 10000"/>
              <a:gd name="connsiteY177" fmla="*/ 2818 h 10000"/>
              <a:gd name="connsiteX178" fmla="*/ 4794 w 10000"/>
              <a:gd name="connsiteY178" fmla="*/ 2635 h 10000"/>
              <a:gd name="connsiteX179" fmla="*/ 4794 w 10000"/>
              <a:gd name="connsiteY179" fmla="*/ 1362 h 10000"/>
              <a:gd name="connsiteX180" fmla="*/ 4116 w 10000"/>
              <a:gd name="connsiteY180" fmla="*/ 818 h 10000"/>
              <a:gd name="connsiteX181" fmla="*/ 4950 w 10000"/>
              <a:gd name="connsiteY181" fmla="*/ 818 h 10000"/>
              <a:gd name="connsiteX182" fmla="*/ 5782 w 10000"/>
              <a:gd name="connsiteY182" fmla="*/ 818 h 10000"/>
              <a:gd name="connsiteX183" fmla="*/ 5782 w 10000"/>
              <a:gd name="connsiteY183" fmla="*/ 771 h 10000"/>
              <a:gd name="connsiteX184" fmla="*/ 5782 w 10000"/>
              <a:gd name="connsiteY184" fmla="*/ 727 h 10000"/>
              <a:gd name="connsiteX185" fmla="*/ 5782 w 10000"/>
              <a:gd name="connsiteY185" fmla="*/ 686 h 10000"/>
              <a:gd name="connsiteX186" fmla="*/ 5782 w 10000"/>
              <a:gd name="connsiteY186" fmla="*/ 637 h 10000"/>
              <a:gd name="connsiteX187" fmla="*/ 5834 w 10000"/>
              <a:gd name="connsiteY187" fmla="*/ 589 h 10000"/>
              <a:gd name="connsiteX188" fmla="*/ 5834 w 10000"/>
              <a:gd name="connsiteY188" fmla="*/ 542 h 10000"/>
              <a:gd name="connsiteX189" fmla="*/ 5834 w 10000"/>
              <a:gd name="connsiteY189" fmla="*/ 499 h 10000"/>
              <a:gd name="connsiteX190" fmla="*/ 5834 w 10000"/>
              <a:gd name="connsiteY190" fmla="*/ 457 h 10000"/>
              <a:gd name="connsiteX191" fmla="*/ 5834 w 10000"/>
              <a:gd name="connsiteY191" fmla="*/ 414 h 10000"/>
              <a:gd name="connsiteX192" fmla="*/ 5834 w 10000"/>
              <a:gd name="connsiteY192" fmla="*/ 362 h 10000"/>
              <a:gd name="connsiteX193" fmla="*/ 5782 w 10000"/>
              <a:gd name="connsiteY193" fmla="*/ 362 h 10000"/>
              <a:gd name="connsiteX194" fmla="*/ 5782 w 10000"/>
              <a:gd name="connsiteY194" fmla="*/ 313 h 10000"/>
              <a:gd name="connsiteX195" fmla="*/ 5782 w 10000"/>
              <a:gd name="connsiteY195" fmla="*/ 270 h 10000"/>
              <a:gd name="connsiteX196" fmla="*/ 5782 w 10000"/>
              <a:gd name="connsiteY196" fmla="*/ 229 h 10000"/>
              <a:gd name="connsiteX197" fmla="*/ 5782 w 10000"/>
              <a:gd name="connsiteY197" fmla="*/ 186 h 10000"/>
              <a:gd name="connsiteX198" fmla="*/ 5782 w 10000"/>
              <a:gd name="connsiteY198" fmla="*/ 144 h 10000"/>
              <a:gd name="connsiteX199" fmla="*/ 5782 w 10000"/>
              <a:gd name="connsiteY199" fmla="*/ 85 h 10000"/>
              <a:gd name="connsiteX200" fmla="*/ 5782 w 10000"/>
              <a:gd name="connsiteY200" fmla="*/ 42 h 10000"/>
              <a:gd name="connsiteX201" fmla="*/ 5782 w 10000"/>
              <a:gd name="connsiteY20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152 w 10000"/>
              <a:gd name="connsiteY135" fmla="*/ 8783 h 10000"/>
              <a:gd name="connsiteX136" fmla="*/ 7344 w 10000"/>
              <a:gd name="connsiteY136" fmla="*/ 8023 h 10000"/>
              <a:gd name="connsiteX137" fmla="*/ 7136 w 10000"/>
              <a:gd name="connsiteY137" fmla="*/ 7653 h 10000"/>
              <a:gd name="connsiteX138" fmla="*/ 6544 w 10000"/>
              <a:gd name="connsiteY138" fmla="*/ 7533 h 10000"/>
              <a:gd name="connsiteX139" fmla="*/ 5775 w 10000"/>
              <a:gd name="connsiteY139" fmla="*/ 7496 h 10000"/>
              <a:gd name="connsiteX140" fmla="*/ 5311 w 10000"/>
              <a:gd name="connsiteY140" fmla="*/ 7379 h 10000"/>
              <a:gd name="connsiteX141" fmla="*/ 5071 w 10000"/>
              <a:gd name="connsiteY141" fmla="*/ 7263 h 10000"/>
              <a:gd name="connsiteX142" fmla="*/ 4912 w 10000"/>
              <a:gd name="connsiteY142" fmla="*/ 7361 h 10000"/>
              <a:gd name="connsiteX143" fmla="*/ 4416 w 10000"/>
              <a:gd name="connsiteY143" fmla="*/ 7182 h 10000"/>
              <a:gd name="connsiteX144" fmla="*/ 3584 w 10000"/>
              <a:gd name="connsiteY144" fmla="*/ 6873 h 10000"/>
              <a:gd name="connsiteX145" fmla="*/ 3104 w 10000"/>
              <a:gd name="connsiteY145" fmla="*/ 6813 h 10000"/>
              <a:gd name="connsiteX146" fmla="*/ 3200 w 10000"/>
              <a:gd name="connsiteY146" fmla="*/ 6598 h 10000"/>
              <a:gd name="connsiteX147" fmla="*/ 3344 w 10000"/>
              <a:gd name="connsiteY147" fmla="*/ 6541 h 10000"/>
              <a:gd name="connsiteX148" fmla="*/ 3728 w 10000"/>
              <a:gd name="connsiteY148" fmla="*/ 6228 h 10000"/>
              <a:gd name="connsiteX149" fmla="*/ 3968 w 10000"/>
              <a:gd name="connsiteY149" fmla="*/ 5936 h 10000"/>
              <a:gd name="connsiteX150" fmla="*/ 4224 w 10000"/>
              <a:gd name="connsiteY150" fmla="*/ 5623 h 10000"/>
              <a:gd name="connsiteX151" fmla="*/ 4368 w 10000"/>
              <a:gd name="connsiteY151" fmla="*/ 5333 h 10000"/>
              <a:gd name="connsiteX152" fmla="*/ 4352 w 10000"/>
              <a:gd name="connsiteY152" fmla="*/ 5001 h 10000"/>
              <a:gd name="connsiteX153" fmla="*/ 4336 w 10000"/>
              <a:gd name="connsiteY153" fmla="*/ 4707 h 10000"/>
              <a:gd name="connsiteX154" fmla="*/ 4176 w 10000"/>
              <a:gd name="connsiteY154" fmla="*/ 4531 h 10000"/>
              <a:gd name="connsiteX155" fmla="*/ 4016 w 10000"/>
              <a:gd name="connsiteY155" fmla="*/ 4553 h 10000"/>
              <a:gd name="connsiteX156" fmla="*/ 3856 w 10000"/>
              <a:gd name="connsiteY156" fmla="*/ 4863 h 10000"/>
              <a:gd name="connsiteX157" fmla="*/ 3808 w 10000"/>
              <a:gd name="connsiteY157" fmla="*/ 5428 h 10000"/>
              <a:gd name="connsiteX158" fmla="*/ 3536 w 10000"/>
              <a:gd name="connsiteY158" fmla="*/ 5801 h 10000"/>
              <a:gd name="connsiteX159" fmla="*/ 2992 w 10000"/>
              <a:gd name="connsiteY159" fmla="*/ 6131 h 10000"/>
              <a:gd name="connsiteX160" fmla="*/ 2415 w 10000"/>
              <a:gd name="connsiteY160" fmla="*/ 6383 h 10000"/>
              <a:gd name="connsiteX161" fmla="*/ 1951 w 10000"/>
              <a:gd name="connsiteY161" fmla="*/ 6732 h 10000"/>
              <a:gd name="connsiteX162" fmla="*/ 0 w 10000"/>
              <a:gd name="connsiteY162" fmla="*/ 6657 h 10000"/>
              <a:gd name="connsiteX163" fmla="*/ 3 w 10000"/>
              <a:gd name="connsiteY163" fmla="*/ 6409 h 10000"/>
              <a:gd name="connsiteX164" fmla="*/ 159 w 10000"/>
              <a:gd name="connsiteY164" fmla="*/ 6500 h 10000"/>
              <a:gd name="connsiteX165" fmla="*/ 368 w 10000"/>
              <a:gd name="connsiteY165" fmla="*/ 6409 h 10000"/>
              <a:gd name="connsiteX166" fmla="*/ 1462 w 10000"/>
              <a:gd name="connsiteY166" fmla="*/ 6409 h 10000"/>
              <a:gd name="connsiteX167" fmla="*/ 1617 w 10000"/>
              <a:gd name="connsiteY167" fmla="*/ 6364 h 10000"/>
              <a:gd name="connsiteX168" fmla="*/ 1669 w 10000"/>
              <a:gd name="connsiteY168" fmla="*/ 6364 h 10000"/>
              <a:gd name="connsiteX169" fmla="*/ 2189 w 10000"/>
              <a:gd name="connsiteY169" fmla="*/ 5774 h 10000"/>
              <a:gd name="connsiteX170" fmla="*/ 2294 w 10000"/>
              <a:gd name="connsiteY170" fmla="*/ 5682 h 10000"/>
              <a:gd name="connsiteX171" fmla="*/ 2762 w 10000"/>
              <a:gd name="connsiteY171" fmla="*/ 5228 h 10000"/>
              <a:gd name="connsiteX172" fmla="*/ 3023 w 10000"/>
              <a:gd name="connsiteY172" fmla="*/ 4955 h 10000"/>
              <a:gd name="connsiteX173" fmla="*/ 3179 w 10000"/>
              <a:gd name="connsiteY173" fmla="*/ 4818 h 10000"/>
              <a:gd name="connsiteX174" fmla="*/ 3596 w 10000"/>
              <a:gd name="connsiteY174" fmla="*/ 4138 h 10000"/>
              <a:gd name="connsiteX175" fmla="*/ 4116 w 10000"/>
              <a:gd name="connsiteY175" fmla="*/ 3863 h 10000"/>
              <a:gd name="connsiteX176" fmla="*/ 5001 w 10000"/>
              <a:gd name="connsiteY176" fmla="*/ 3090 h 10000"/>
              <a:gd name="connsiteX177" fmla="*/ 4845 w 10000"/>
              <a:gd name="connsiteY177" fmla="*/ 2818 h 10000"/>
              <a:gd name="connsiteX178" fmla="*/ 4794 w 10000"/>
              <a:gd name="connsiteY178" fmla="*/ 2635 h 10000"/>
              <a:gd name="connsiteX179" fmla="*/ 4794 w 10000"/>
              <a:gd name="connsiteY179" fmla="*/ 1362 h 10000"/>
              <a:gd name="connsiteX180" fmla="*/ 4116 w 10000"/>
              <a:gd name="connsiteY180" fmla="*/ 818 h 10000"/>
              <a:gd name="connsiteX181" fmla="*/ 4950 w 10000"/>
              <a:gd name="connsiteY181" fmla="*/ 818 h 10000"/>
              <a:gd name="connsiteX182" fmla="*/ 5782 w 10000"/>
              <a:gd name="connsiteY182" fmla="*/ 818 h 10000"/>
              <a:gd name="connsiteX183" fmla="*/ 5782 w 10000"/>
              <a:gd name="connsiteY183" fmla="*/ 771 h 10000"/>
              <a:gd name="connsiteX184" fmla="*/ 5782 w 10000"/>
              <a:gd name="connsiteY184" fmla="*/ 727 h 10000"/>
              <a:gd name="connsiteX185" fmla="*/ 5782 w 10000"/>
              <a:gd name="connsiteY185" fmla="*/ 686 h 10000"/>
              <a:gd name="connsiteX186" fmla="*/ 5782 w 10000"/>
              <a:gd name="connsiteY186" fmla="*/ 637 h 10000"/>
              <a:gd name="connsiteX187" fmla="*/ 5834 w 10000"/>
              <a:gd name="connsiteY187" fmla="*/ 589 h 10000"/>
              <a:gd name="connsiteX188" fmla="*/ 5834 w 10000"/>
              <a:gd name="connsiteY188" fmla="*/ 542 h 10000"/>
              <a:gd name="connsiteX189" fmla="*/ 5834 w 10000"/>
              <a:gd name="connsiteY189" fmla="*/ 499 h 10000"/>
              <a:gd name="connsiteX190" fmla="*/ 5834 w 10000"/>
              <a:gd name="connsiteY190" fmla="*/ 457 h 10000"/>
              <a:gd name="connsiteX191" fmla="*/ 5834 w 10000"/>
              <a:gd name="connsiteY191" fmla="*/ 414 h 10000"/>
              <a:gd name="connsiteX192" fmla="*/ 5834 w 10000"/>
              <a:gd name="connsiteY192" fmla="*/ 362 h 10000"/>
              <a:gd name="connsiteX193" fmla="*/ 5782 w 10000"/>
              <a:gd name="connsiteY193" fmla="*/ 362 h 10000"/>
              <a:gd name="connsiteX194" fmla="*/ 5782 w 10000"/>
              <a:gd name="connsiteY194" fmla="*/ 313 h 10000"/>
              <a:gd name="connsiteX195" fmla="*/ 5782 w 10000"/>
              <a:gd name="connsiteY195" fmla="*/ 270 h 10000"/>
              <a:gd name="connsiteX196" fmla="*/ 5782 w 10000"/>
              <a:gd name="connsiteY196" fmla="*/ 229 h 10000"/>
              <a:gd name="connsiteX197" fmla="*/ 5782 w 10000"/>
              <a:gd name="connsiteY197" fmla="*/ 186 h 10000"/>
              <a:gd name="connsiteX198" fmla="*/ 5782 w 10000"/>
              <a:gd name="connsiteY198" fmla="*/ 144 h 10000"/>
              <a:gd name="connsiteX199" fmla="*/ 5782 w 10000"/>
              <a:gd name="connsiteY199" fmla="*/ 85 h 10000"/>
              <a:gd name="connsiteX200" fmla="*/ 5782 w 10000"/>
              <a:gd name="connsiteY200" fmla="*/ 42 h 10000"/>
              <a:gd name="connsiteX201" fmla="*/ 5782 w 10000"/>
              <a:gd name="connsiteY20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200 w 10000"/>
              <a:gd name="connsiteY135" fmla="*/ 9251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3536 w 10000"/>
              <a:gd name="connsiteY159" fmla="*/ 5801 h 10000"/>
              <a:gd name="connsiteX160" fmla="*/ 2992 w 10000"/>
              <a:gd name="connsiteY160" fmla="*/ 6131 h 10000"/>
              <a:gd name="connsiteX161" fmla="*/ 2415 w 10000"/>
              <a:gd name="connsiteY161" fmla="*/ 6383 h 10000"/>
              <a:gd name="connsiteX162" fmla="*/ 1951 w 10000"/>
              <a:gd name="connsiteY162" fmla="*/ 6732 h 10000"/>
              <a:gd name="connsiteX163" fmla="*/ 0 w 10000"/>
              <a:gd name="connsiteY163" fmla="*/ 6657 h 10000"/>
              <a:gd name="connsiteX164" fmla="*/ 3 w 10000"/>
              <a:gd name="connsiteY164" fmla="*/ 6409 h 10000"/>
              <a:gd name="connsiteX165" fmla="*/ 159 w 10000"/>
              <a:gd name="connsiteY165" fmla="*/ 6500 h 10000"/>
              <a:gd name="connsiteX166" fmla="*/ 368 w 10000"/>
              <a:gd name="connsiteY166" fmla="*/ 6409 h 10000"/>
              <a:gd name="connsiteX167" fmla="*/ 1462 w 10000"/>
              <a:gd name="connsiteY167" fmla="*/ 6409 h 10000"/>
              <a:gd name="connsiteX168" fmla="*/ 1617 w 10000"/>
              <a:gd name="connsiteY168" fmla="*/ 6364 h 10000"/>
              <a:gd name="connsiteX169" fmla="*/ 1669 w 10000"/>
              <a:gd name="connsiteY169" fmla="*/ 6364 h 10000"/>
              <a:gd name="connsiteX170" fmla="*/ 2189 w 10000"/>
              <a:gd name="connsiteY170" fmla="*/ 5774 h 10000"/>
              <a:gd name="connsiteX171" fmla="*/ 2294 w 10000"/>
              <a:gd name="connsiteY171" fmla="*/ 5682 h 10000"/>
              <a:gd name="connsiteX172" fmla="*/ 2762 w 10000"/>
              <a:gd name="connsiteY172" fmla="*/ 5228 h 10000"/>
              <a:gd name="connsiteX173" fmla="*/ 3023 w 10000"/>
              <a:gd name="connsiteY173" fmla="*/ 4955 h 10000"/>
              <a:gd name="connsiteX174" fmla="*/ 3179 w 10000"/>
              <a:gd name="connsiteY174" fmla="*/ 4818 h 10000"/>
              <a:gd name="connsiteX175" fmla="*/ 3596 w 10000"/>
              <a:gd name="connsiteY175" fmla="*/ 4138 h 10000"/>
              <a:gd name="connsiteX176" fmla="*/ 4116 w 10000"/>
              <a:gd name="connsiteY176" fmla="*/ 3863 h 10000"/>
              <a:gd name="connsiteX177" fmla="*/ 5001 w 10000"/>
              <a:gd name="connsiteY177" fmla="*/ 3090 h 10000"/>
              <a:gd name="connsiteX178" fmla="*/ 4845 w 10000"/>
              <a:gd name="connsiteY178" fmla="*/ 2818 h 10000"/>
              <a:gd name="connsiteX179" fmla="*/ 4794 w 10000"/>
              <a:gd name="connsiteY179" fmla="*/ 2635 h 10000"/>
              <a:gd name="connsiteX180" fmla="*/ 4794 w 10000"/>
              <a:gd name="connsiteY180" fmla="*/ 1362 h 10000"/>
              <a:gd name="connsiteX181" fmla="*/ 4116 w 10000"/>
              <a:gd name="connsiteY181" fmla="*/ 818 h 10000"/>
              <a:gd name="connsiteX182" fmla="*/ 4950 w 10000"/>
              <a:gd name="connsiteY182" fmla="*/ 818 h 10000"/>
              <a:gd name="connsiteX183" fmla="*/ 5782 w 10000"/>
              <a:gd name="connsiteY183" fmla="*/ 818 h 10000"/>
              <a:gd name="connsiteX184" fmla="*/ 5782 w 10000"/>
              <a:gd name="connsiteY184" fmla="*/ 771 h 10000"/>
              <a:gd name="connsiteX185" fmla="*/ 5782 w 10000"/>
              <a:gd name="connsiteY185" fmla="*/ 727 h 10000"/>
              <a:gd name="connsiteX186" fmla="*/ 5782 w 10000"/>
              <a:gd name="connsiteY186" fmla="*/ 686 h 10000"/>
              <a:gd name="connsiteX187" fmla="*/ 5782 w 10000"/>
              <a:gd name="connsiteY187" fmla="*/ 637 h 10000"/>
              <a:gd name="connsiteX188" fmla="*/ 5834 w 10000"/>
              <a:gd name="connsiteY188" fmla="*/ 589 h 10000"/>
              <a:gd name="connsiteX189" fmla="*/ 5834 w 10000"/>
              <a:gd name="connsiteY189" fmla="*/ 542 h 10000"/>
              <a:gd name="connsiteX190" fmla="*/ 5834 w 10000"/>
              <a:gd name="connsiteY190" fmla="*/ 499 h 10000"/>
              <a:gd name="connsiteX191" fmla="*/ 5834 w 10000"/>
              <a:gd name="connsiteY191" fmla="*/ 457 h 10000"/>
              <a:gd name="connsiteX192" fmla="*/ 5834 w 10000"/>
              <a:gd name="connsiteY192" fmla="*/ 414 h 10000"/>
              <a:gd name="connsiteX193" fmla="*/ 5834 w 10000"/>
              <a:gd name="connsiteY193" fmla="*/ 362 h 10000"/>
              <a:gd name="connsiteX194" fmla="*/ 5782 w 10000"/>
              <a:gd name="connsiteY194" fmla="*/ 362 h 10000"/>
              <a:gd name="connsiteX195" fmla="*/ 5782 w 10000"/>
              <a:gd name="connsiteY195" fmla="*/ 313 h 10000"/>
              <a:gd name="connsiteX196" fmla="*/ 5782 w 10000"/>
              <a:gd name="connsiteY196" fmla="*/ 270 h 10000"/>
              <a:gd name="connsiteX197" fmla="*/ 5782 w 10000"/>
              <a:gd name="connsiteY197" fmla="*/ 229 h 10000"/>
              <a:gd name="connsiteX198" fmla="*/ 5782 w 10000"/>
              <a:gd name="connsiteY198" fmla="*/ 186 h 10000"/>
              <a:gd name="connsiteX199" fmla="*/ 5782 w 10000"/>
              <a:gd name="connsiteY199" fmla="*/ 144 h 10000"/>
              <a:gd name="connsiteX200" fmla="*/ 5782 w 10000"/>
              <a:gd name="connsiteY200" fmla="*/ 85 h 10000"/>
              <a:gd name="connsiteX201" fmla="*/ 5782 w 10000"/>
              <a:gd name="connsiteY201" fmla="*/ 42 h 10000"/>
              <a:gd name="connsiteX202" fmla="*/ 5782 w 10000"/>
              <a:gd name="connsiteY202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3536 w 10000"/>
              <a:gd name="connsiteY159" fmla="*/ 5801 h 10000"/>
              <a:gd name="connsiteX160" fmla="*/ 2992 w 10000"/>
              <a:gd name="connsiteY160" fmla="*/ 6131 h 10000"/>
              <a:gd name="connsiteX161" fmla="*/ 2415 w 10000"/>
              <a:gd name="connsiteY161" fmla="*/ 6383 h 10000"/>
              <a:gd name="connsiteX162" fmla="*/ 1951 w 10000"/>
              <a:gd name="connsiteY162" fmla="*/ 6732 h 10000"/>
              <a:gd name="connsiteX163" fmla="*/ 0 w 10000"/>
              <a:gd name="connsiteY163" fmla="*/ 6657 h 10000"/>
              <a:gd name="connsiteX164" fmla="*/ 3 w 10000"/>
              <a:gd name="connsiteY164" fmla="*/ 6409 h 10000"/>
              <a:gd name="connsiteX165" fmla="*/ 159 w 10000"/>
              <a:gd name="connsiteY165" fmla="*/ 6500 h 10000"/>
              <a:gd name="connsiteX166" fmla="*/ 368 w 10000"/>
              <a:gd name="connsiteY166" fmla="*/ 6409 h 10000"/>
              <a:gd name="connsiteX167" fmla="*/ 1462 w 10000"/>
              <a:gd name="connsiteY167" fmla="*/ 6409 h 10000"/>
              <a:gd name="connsiteX168" fmla="*/ 1617 w 10000"/>
              <a:gd name="connsiteY168" fmla="*/ 6364 h 10000"/>
              <a:gd name="connsiteX169" fmla="*/ 1669 w 10000"/>
              <a:gd name="connsiteY169" fmla="*/ 6364 h 10000"/>
              <a:gd name="connsiteX170" fmla="*/ 2189 w 10000"/>
              <a:gd name="connsiteY170" fmla="*/ 5774 h 10000"/>
              <a:gd name="connsiteX171" fmla="*/ 2294 w 10000"/>
              <a:gd name="connsiteY171" fmla="*/ 5682 h 10000"/>
              <a:gd name="connsiteX172" fmla="*/ 2762 w 10000"/>
              <a:gd name="connsiteY172" fmla="*/ 5228 h 10000"/>
              <a:gd name="connsiteX173" fmla="*/ 3023 w 10000"/>
              <a:gd name="connsiteY173" fmla="*/ 4955 h 10000"/>
              <a:gd name="connsiteX174" fmla="*/ 3179 w 10000"/>
              <a:gd name="connsiteY174" fmla="*/ 4818 h 10000"/>
              <a:gd name="connsiteX175" fmla="*/ 3596 w 10000"/>
              <a:gd name="connsiteY175" fmla="*/ 4138 h 10000"/>
              <a:gd name="connsiteX176" fmla="*/ 4116 w 10000"/>
              <a:gd name="connsiteY176" fmla="*/ 3863 h 10000"/>
              <a:gd name="connsiteX177" fmla="*/ 5001 w 10000"/>
              <a:gd name="connsiteY177" fmla="*/ 3090 h 10000"/>
              <a:gd name="connsiteX178" fmla="*/ 4845 w 10000"/>
              <a:gd name="connsiteY178" fmla="*/ 2818 h 10000"/>
              <a:gd name="connsiteX179" fmla="*/ 4794 w 10000"/>
              <a:gd name="connsiteY179" fmla="*/ 2635 h 10000"/>
              <a:gd name="connsiteX180" fmla="*/ 4794 w 10000"/>
              <a:gd name="connsiteY180" fmla="*/ 1362 h 10000"/>
              <a:gd name="connsiteX181" fmla="*/ 4116 w 10000"/>
              <a:gd name="connsiteY181" fmla="*/ 818 h 10000"/>
              <a:gd name="connsiteX182" fmla="*/ 4950 w 10000"/>
              <a:gd name="connsiteY182" fmla="*/ 818 h 10000"/>
              <a:gd name="connsiteX183" fmla="*/ 5782 w 10000"/>
              <a:gd name="connsiteY183" fmla="*/ 818 h 10000"/>
              <a:gd name="connsiteX184" fmla="*/ 5782 w 10000"/>
              <a:gd name="connsiteY184" fmla="*/ 771 h 10000"/>
              <a:gd name="connsiteX185" fmla="*/ 5782 w 10000"/>
              <a:gd name="connsiteY185" fmla="*/ 727 h 10000"/>
              <a:gd name="connsiteX186" fmla="*/ 5782 w 10000"/>
              <a:gd name="connsiteY186" fmla="*/ 686 h 10000"/>
              <a:gd name="connsiteX187" fmla="*/ 5782 w 10000"/>
              <a:gd name="connsiteY187" fmla="*/ 637 h 10000"/>
              <a:gd name="connsiteX188" fmla="*/ 5834 w 10000"/>
              <a:gd name="connsiteY188" fmla="*/ 589 h 10000"/>
              <a:gd name="connsiteX189" fmla="*/ 5834 w 10000"/>
              <a:gd name="connsiteY189" fmla="*/ 542 h 10000"/>
              <a:gd name="connsiteX190" fmla="*/ 5834 w 10000"/>
              <a:gd name="connsiteY190" fmla="*/ 499 h 10000"/>
              <a:gd name="connsiteX191" fmla="*/ 5834 w 10000"/>
              <a:gd name="connsiteY191" fmla="*/ 457 h 10000"/>
              <a:gd name="connsiteX192" fmla="*/ 5834 w 10000"/>
              <a:gd name="connsiteY192" fmla="*/ 414 h 10000"/>
              <a:gd name="connsiteX193" fmla="*/ 5834 w 10000"/>
              <a:gd name="connsiteY193" fmla="*/ 362 h 10000"/>
              <a:gd name="connsiteX194" fmla="*/ 5782 w 10000"/>
              <a:gd name="connsiteY194" fmla="*/ 362 h 10000"/>
              <a:gd name="connsiteX195" fmla="*/ 5782 w 10000"/>
              <a:gd name="connsiteY195" fmla="*/ 313 h 10000"/>
              <a:gd name="connsiteX196" fmla="*/ 5782 w 10000"/>
              <a:gd name="connsiteY196" fmla="*/ 270 h 10000"/>
              <a:gd name="connsiteX197" fmla="*/ 5782 w 10000"/>
              <a:gd name="connsiteY197" fmla="*/ 229 h 10000"/>
              <a:gd name="connsiteX198" fmla="*/ 5782 w 10000"/>
              <a:gd name="connsiteY198" fmla="*/ 186 h 10000"/>
              <a:gd name="connsiteX199" fmla="*/ 5782 w 10000"/>
              <a:gd name="connsiteY199" fmla="*/ 144 h 10000"/>
              <a:gd name="connsiteX200" fmla="*/ 5782 w 10000"/>
              <a:gd name="connsiteY200" fmla="*/ 85 h 10000"/>
              <a:gd name="connsiteX201" fmla="*/ 5782 w 10000"/>
              <a:gd name="connsiteY201" fmla="*/ 42 h 10000"/>
              <a:gd name="connsiteX202" fmla="*/ 5782 w 10000"/>
              <a:gd name="connsiteY202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3536 w 10000"/>
              <a:gd name="connsiteY159" fmla="*/ 5801 h 10000"/>
              <a:gd name="connsiteX160" fmla="*/ 2992 w 10000"/>
              <a:gd name="connsiteY160" fmla="*/ 6131 h 10000"/>
              <a:gd name="connsiteX161" fmla="*/ 1951 w 10000"/>
              <a:gd name="connsiteY161" fmla="*/ 6732 h 10000"/>
              <a:gd name="connsiteX162" fmla="*/ 0 w 10000"/>
              <a:gd name="connsiteY162" fmla="*/ 6657 h 10000"/>
              <a:gd name="connsiteX163" fmla="*/ 3 w 10000"/>
              <a:gd name="connsiteY163" fmla="*/ 6409 h 10000"/>
              <a:gd name="connsiteX164" fmla="*/ 159 w 10000"/>
              <a:gd name="connsiteY164" fmla="*/ 6500 h 10000"/>
              <a:gd name="connsiteX165" fmla="*/ 368 w 10000"/>
              <a:gd name="connsiteY165" fmla="*/ 6409 h 10000"/>
              <a:gd name="connsiteX166" fmla="*/ 1462 w 10000"/>
              <a:gd name="connsiteY166" fmla="*/ 6409 h 10000"/>
              <a:gd name="connsiteX167" fmla="*/ 1617 w 10000"/>
              <a:gd name="connsiteY167" fmla="*/ 6364 h 10000"/>
              <a:gd name="connsiteX168" fmla="*/ 1669 w 10000"/>
              <a:gd name="connsiteY168" fmla="*/ 6364 h 10000"/>
              <a:gd name="connsiteX169" fmla="*/ 2189 w 10000"/>
              <a:gd name="connsiteY169" fmla="*/ 5774 h 10000"/>
              <a:gd name="connsiteX170" fmla="*/ 2294 w 10000"/>
              <a:gd name="connsiteY170" fmla="*/ 5682 h 10000"/>
              <a:gd name="connsiteX171" fmla="*/ 2762 w 10000"/>
              <a:gd name="connsiteY171" fmla="*/ 5228 h 10000"/>
              <a:gd name="connsiteX172" fmla="*/ 3023 w 10000"/>
              <a:gd name="connsiteY172" fmla="*/ 4955 h 10000"/>
              <a:gd name="connsiteX173" fmla="*/ 3179 w 10000"/>
              <a:gd name="connsiteY173" fmla="*/ 4818 h 10000"/>
              <a:gd name="connsiteX174" fmla="*/ 3596 w 10000"/>
              <a:gd name="connsiteY174" fmla="*/ 4138 h 10000"/>
              <a:gd name="connsiteX175" fmla="*/ 4116 w 10000"/>
              <a:gd name="connsiteY175" fmla="*/ 3863 h 10000"/>
              <a:gd name="connsiteX176" fmla="*/ 5001 w 10000"/>
              <a:gd name="connsiteY176" fmla="*/ 3090 h 10000"/>
              <a:gd name="connsiteX177" fmla="*/ 4845 w 10000"/>
              <a:gd name="connsiteY177" fmla="*/ 2818 h 10000"/>
              <a:gd name="connsiteX178" fmla="*/ 4794 w 10000"/>
              <a:gd name="connsiteY178" fmla="*/ 2635 h 10000"/>
              <a:gd name="connsiteX179" fmla="*/ 4794 w 10000"/>
              <a:gd name="connsiteY179" fmla="*/ 1362 h 10000"/>
              <a:gd name="connsiteX180" fmla="*/ 4116 w 10000"/>
              <a:gd name="connsiteY180" fmla="*/ 818 h 10000"/>
              <a:gd name="connsiteX181" fmla="*/ 4950 w 10000"/>
              <a:gd name="connsiteY181" fmla="*/ 818 h 10000"/>
              <a:gd name="connsiteX182" fmla="*/ 5782 w 10000"/>
              <a:gd name="connsiteY182" fmla="*/ 818 h 10000"/>
              <a:gd name="connsiteX183" fmla="*/ 5782 w 10000"/>
              <a:gd name="connsiteY183" fmla="*/ 771 h 10000"/>
              <a:gd name="connsiteX184" fmla="*/ 5782 w 10000"/>
              <a:gd name="connsiteY184" fmla="*/ 727 h 10000"/>
              <a:gd name="connsiteX185" fmla="*/ 5782 w 10000"/>
              <a:gd name="connsiteY185" fmla="*/ 686 h 10000"/>
              <a:gd name="connsiteX186" fmla="*/ 5782 w 10000"/>
              <a:gd name="connsiteY186" fmla="*/ 637 h 10000"/>
              <a:gd name="connsiteX187" fmla="*/ 5834 w 10000"/>
              <a:gd name="connsiteY187" fmla="*/ 589 h 10000"/>
              <a:gd name="connsiteX188" fmla="*/ 5834 w 10000"/>
              <a:gd name="connsiteY188" fmla="*/ 542 h 10000"/>
              <a:gd name="connsiteX189" fmla="*/ 5834 w 10000"/>
              <a:gd name="connsiteY189" fmla="*/ 499 h 10000"/>
              <a:gd name="connsiteX190" fmla="*/ 5834 w 10000"/>
              <a:gd name="connsiteY190" fmla="*/ 457 h 10000"/>
              <a:gd name="connsiteX191" fmla="*/ 5834 w 10000"/>
              <a:gd name="connsiteY191" fmla="*/ 414 h 10000"/>
              <a:gd name="connsiteX192" fmla="*/ 5834 w 10000"/>
              <a:gd name="connsiteY192" fmla="*/ 362 h 10000"/>
              <a:gd name="connsiteX193" fmla="*/ 5782 w 10000"/>
              <a:gd name="connsiteY193" fmla="*/ 362 h 10000"/>
              <a:gd name="connsiteX194" fmla="*/ 5782 w 10000"/>
              <a:gd name="connsiteY194" fmla="*/ 313 h 10000"/>
              <a:gd name="connsiteX195" fmla="*/ 5782 w 10000"/>
              <a:gd name="connsiteY195" fmla="*/ 270 h 10000"/>
              <a:gd name="connsiteX196" fmla="*/ 5782 w 10000"/>
              <a:gd name="connsiteY196" fmla="*/ 229 h 10000"/>
              <a:gd name="connsiteX197" fmla="*/ 5782 w 10000"/>
              <a:gd name="connsiteY197" fmla="*/ 186 h 10000"/>
              <a:gd name="connsiteX198" fmla="*/ 5782 w 10000"/>
              <a:gd name="connsiteY198" fmla="*/ 144 h 10000"/>
              <a:gd name="connsiteX199" fmla="*/ 5782 w 10000"/>
              <a:gd name="connsiteY199" fmla="*/ 85 h 10000"/>
              <a:gd name="connsiteX200" fmla="*/ 5782 w 10000"/>
              <a:gd name="connsiteY200" fmla="*/ 42 h 10000"/>
              <a:gd name="connsiteX201" fmla="*/ 5782 w 10000"/>
              <a:gd name="connsiteY20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3536 w 10000"/>
              <a:gd name="connsiteY159" fmla="*/ 5801 h 10000"/>
              <a:gd name="connsiteX160" fmla="*/ 1951 w 10000"/>
              <a:gd name="connsiteY160" fmla="*/ 6732 h 10000"/>
              <a:gd name="connsiteX161" fmla="*/ 0 w 10000"/>
              <a:gd name="connsiteY161" fmla="*/ 6657 h 10000"/>
              <a:gd name="connsiteX162" fmla="*/ 3 w 10000"/>
              <a:gd name="connsiteY162" fmla="*/ 6409 h 10000"/>
              <a:gd name="connsiteX163" fmla="*/ 159 w 10000"/>
              <a:gd name="connsiteY163" fmla="*/ 6500 h 10000"/>
              <a:gd name="connsiteX164" fmla="*/ 368 w 10000"/>
              <a:gd name="connsiteY164" fmla="*/ 6409 h 10000"/>
              <a:gd name="connsiteX165" fmla="*/ 1462 w 10000"/>
              <a:gd name="connsiteY165" fmla="*/ 6409 h 10000"/>
              <a:gd name="connsiteX166" fmla="*/ 1617 w 10000"/>
              <a:gd name="connsiteY166" fmla="*/ 6364 h 10000"/>
              <a:gd name="connsiteX167" fmla="*/ 1669 w 10000"/>
              <a:gd name="connsiteY167" fmla="*/ 6364 h 10000"/>
              <a:gd name="connsiteX168" fmla="*/ 2189 w 10000"/>
              <a:gd name="connsiteY168" fmla="*/ 5774 h 10000"/>
              <a:gd name="connsiteX169" fmla="*/ 2294 w 10000"/>
              <a:gd name="connsiteY169" fmla="*/ 5682 h 10000"/>
              <a:gd name="connsiteX170" fmla="*/ 2762 w 10000"/>
              <a:gd name="connsiteY170" fmla="*/ 5228 h 10000"/>
              <a:gd name="connsiteX171" fmla="*/ 3023 w 10000"/>
              <a:gd name="connsiteY171" fmla="*/ 4955 h 10000"/>
              <a:gd name="connsiteX172" fmla="*/ 3179 w 10000"/>
              <a:gd name="connsiteY172" fmla="*/ 4818 h 10000"/>
              <a:gd name="connsiteX173" fmla="*/ 3596 w 10000"/>
              <a:gd name="connsiteY173" fmla="*/ 4138 h 10000"/>
              <a:gd name="connsiteX174" fmla="*/ 4116 w 10000"/>
              <a:gd name="connsiteY174" fmla="*/ 3863 h 10000"/>
              <a:gd name="connsiteX175" fmla="*/ 5001 w 10000"/>
              <a:gd name="connsiteY175" fmla="*/ 3090 h 10000"/>
              <a:gd name="connsiteX176" fmla="*/ 4845 w 10000"/>
              <a:gd name="connsiteY176" fmla="*/ 2818 h 10000"/>
              <a:gd name="connsiteX177" fmla="*/ 4794 w 10000"/>
              <a:gd name="connsiteY177" fmla="*/ 2635 h 10000"/>
              <a:gd name="connsiteX178" fmla="*/ 4794 w 10000"/>
              <a:gd name="connsiteY178" fmla="*/ 1362 h 10000"/>
              <a:gd name="connsiteX179" fmla="*/ 4116 w 10000"/>
              <a:gd name="connsiteY179" fmla="*/ 818 h 10000"/>
              <a:gd name="connsiteX180" fmla="*/ 4950 w 10000"/>
              <a:gd name="connsiteY180" fmla="*/ 818 h 10000"/>
              <a:gd name="connsiteX181" fmla="*/ 5782 w 10000"/>
              <a:gd name="connsiteY181" fmla="*/ 818 h 10000"/>
              <a:gd name="connsiteX182" fmla="*/ 5782 w 10000"/>
              <a:gd name="connsiteY182" fmla="*/ 771 h 10000"/>
              <a:gd name="connsiteX183" fmla="*/ 5782 w 10000"/>
              <a:gd name="connsiteY183" fmla="*/ 727 h 10000"/>
              <a:gd name="connsiteX184" fmla="*/ 5782 w 10000"/>
              <a:gd name="connsiteY184" fmla="*/ 686 h 10000"/>
              <a:gd name="connsiteX185" fmla="*/ 5782 w 10000"/>
              <a:gd name="connsiteY185" fmla="*/ 637 h 10000"/>
              <a:gd name="connsiteX186" fmla="*/ 5834 w 10000"/>
              <a:gd name="connsiteY186" fmla="*/ 589 h 10000"/>
              <a:gd name="connsiteX187" fmla="*/ 5834 w 10000"/>
              <a:gd name="connsiteY187" fmla="*/ 542 h 10000"/>
              <a:gd name="connsiteX188" fmla="*/ 5834 w 10000"/>
              <a:gd name="connsiteY188" fmla="*/ 499 h 10000"/>
              <a:gd name="connsiteX189" fmla="*/ 5834 w 10000"/>
              <a:gd name="connsiteY189" fmla="*/ 457 h 10000"/>
              <a:gd name="connsiteX190" fmla="*/ 5834 w 10000"/>
              <a:gd name="connsiteY190" fmla="*/ 414 h 10000"/>
              <a:gd name="connsiteX191" fmla="*/ 5834 w 10000"/>
              <a:gd name="connsiteY191" fmla="*/ 362 h 10000"/>
              <a:gd name="connsiteX192" fmla="*/ 5782 w 10000"/>
              <a:gd name="connsiteY192" fmla="*/ 362 h 10000"/>
              <a:gd name="connsiteX193" fmla="*/ 5782 w 10000"/>
              <a:gd name="connsiteY193" fmla="*/ 313 h 10000"/>
              <a:gd name="connsiteX194" fmla="*/ 5782 w 10000"/>
              <a:gd name="connsiteY194" fmla="*/ 270 h 10000"/>
              <a:gd name="connsiteX195" fmla="*/ 5782 w 10000"/>
              <a:gd name="connsiteY195" fmla="*/ 229 h 10000"/>
              <a:gd name="connsiteX196" fmla="*/ 5782 w 10000"/>
              <a:gd name="connsiteY196" fmla="*/ 186 h 10000"/>
              <a:gd name="connsiteX197" fmla="*/ 5782 w 10000"/>
              <a:gd name="connsiteY197" fmla="*/ 144 h 10000"/>
              <a:gd name="connsiteX198" fmla="*/ 5782 w 10000"/>
              <a:gd name="connsiteY198" fmla="*/ 85 h 10000"/>
              <a:gd name="connsiteX199" fmla="*/ 5782 w 10000"/>
              <a:gd name="connsiteY199" fmla="*/ 42 h 10000"/>
              <a:gd name="connsiteX200" fmla="*/ 5782 w 10000"/>
              <a:gd name="connsiteY200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3808 w 10000"/>
              <a:gd name="connsiteY158" fmla="*/ 5428 h 10000"/>
              <a:gd name="connsiteX159" fmla="*/ 1951 w 10000"/>
              <a:gd name="connsiteY159" fmla="*/ 6732 h 10000"/>
              <a:gd name="connsiteX160" fmla="*/ 0 w 10000"/>
              <a:gd name="connsiteY160" fmla="*/ 6657 h 10000"/>
              <a:gd name="connsiteX161" fmla="*/ 3 w 10000"/>
              <a:gd name="connsiteY161" fmla="*/ 6409 h 10000"/>
              <a:gd name="connsiteX162" fmla="*/ 159 w 10000"/>
              <a:gd name="connsiteY162" fmla="*/ 6500 h 10000"/>
              <a:gd name="connsiteX163" fmla="*/ 368 w 10000"/>
              <a:gd name="connsiteY163" fmla="*/ 6409 h 10000"/>
              <a:gd name="connsiteX164" fmla="*/ 1462 w 10000"/>
              <a:gd name="connsiteY164" fmla="*/ 6409 h 10000"/>
              <a:gd name="connsiteX165" fmla="*/ 1617 w 10000"/>
              <a:gd name="connsiteY165" fmla="*/ 6364 h 10000"/>
              <a:gd name="connsiteX166" fmla="*/ 1669 w 10000"/>
              <a:gd name="connsiteY166" fmla="*/ 6364 h 10000"/>
              <a:gd name="connsiteX167" fmla="*/ 2189 w 10000"/>
              <a:gd name="connsiteY167" fmla="*/ 5774 h 10000"/>
              <a:gd name="connsiteX168" fmla="*/ 2294 w 10000"/>
              <a:gd name="connsiteY168" fmla="*/ 5682 h 10000"/>
              <a:gd name="connsiteX169" fmla="*/ 2762 w 10000"/>
              <a:gd name="connsiteY169" fmla="*/ 5228 h 10000"/>
              <a:gd name="connsiteX170" fmla="*/ 3023 w 10000"/>
              <a:gd name="connsiteY170" fmla="*/ 4955 h 10000"/>
              <a:gd name="connsiteX171" fmla="*/ 3179 w 10000"/>
              <a:gd name="connsiteY171" fmla="*/ 4818 h 10000"/>
              <a:gd name="connsiteX172" fmla="*/ 3596 w 10000"/>
              <a:gd name="connsiteY172" fmla="*/ 4138 h 10000"/>
              <a:gd name="connsiteX173" fmla="*/ 4116 w 10000"/>
              <a:gd name="connsiteY173" fmla="*/ 3863 h 10000"/>
              <a:gd name="connsiteX174" fmla="*/ 5001 w 10000"/>
              <a:gd name="connsiteY174" fmla="*/ 3090 h 10000"/>
              <a:gd name="connsiteX175" fmla="*/ 4845 w 10000"/>
              <a:gd name="connsiteY175" fmla="*/ 2818 h 10000"/>
              <a:gd name="connsiteX176" fmla="*/ 4794 w 10000"/>
              <a:gd name="connsiteY176" fmla="*/ 2635 h 10000"/>
              <a:gd name="connsiteX177" fmla="*/ 4794 w 10000"/>
              <a:gd name="connsiteY177" fmla="*/ 1362 h 10000"/>
              <a:gd name="connsiteX178" fmla="*/ 4116 w 10000"/>
              <a:gd name="connsiteY178" fmla="*/ 818 h 10000"/>
              <a:gd name="connsiteX179" fmla="*/ 4950 w 10000"/>
              <a:gd name="connsiteY179" fmla="*/ 818 h 10000"/>
              <a:gd name="connsiteX180" fmla="*/ 5782 w 10000"/>
              <a:gd name="connsiteY180" fmla="*/ 818 h 10000"/>
              <a:gd name="connsiteX181" fmla="*/ 5782 w 10000"/>
              <a:gd name="connsiteY181" fmla="*/ 771 h 10000"/>
              <a:gd name="connsiteX182" fmla="*/ 5782 w 10000"/>
              <a:gd name="connsiteY182" fmla="*/ 727 h 10000"/>
              <a:gd name="connsiteX183" fmla="*/ 5782 w 10000"/>
              <a:gd name="connsiteY183" fmla="*/ 686 h 10000"/>
              <a:gd name="connsiteX184" fmla="*/ 5782 w 10000"/>
              <a:gd name="connsiteY184" fmla="*/ 637 h 10000"/>
              <a:gd name="connsiteX185" fmla="*/ 5834 w 10000"/>
              <a:gd name="connsiteY185" fmla="*/ 589 h 10000"/>
              <a:gd name="connsiteX186" fmla="*/ 5834 w 10000"/>
              <a:gd name="connsiteY186" fmla="*/ 542 h 10000"/>
              <a:gd name="connsiteX187" fmla="*/ 5834 w 10000"/>
              <a:gd name="connsiteY187" fmla="*/ 499 h 10000"/>
              <a:gd name="connsiteX188" fmla="*/ 5834 w 10000"/>
              <a:gd name="connsiteY188" fmla="*/ 457 h 10000"/>
              <a:gd name="connsiteX189" fmla="*/ 5834 w 10000"/>
              <a:gd name="connsiteY189" fmla="*/ 414 h 10000"/>
              <a:gd name="connsiteX190" fmla="*/ 5834 w 10000"/>
              <a:gd name="connsiteY190" fmla="*/ 362 h 10000"/>
              <a:gd name="connsiteX191" fmla="*/ 5782 w 10000"/>
              <a:gd name="connsiteY191" fmla="*/ 362 h 10000"/>
              <a:gd name="connsiteX192" fmla="*/ 5782 w 10000"/>
              <a:gd name="connsiteY192" fmla="*/ 313 h 10000"/>
              <a:gd name="connsiteX193" fmla="*/ 5782 w 10000"/>
              <a:gd name="connsiteY193" fmla="*/ 270 h 10000"/>
              <a:gd name="connsiteX194" fmla="*/ 5782 w 10000"/>
              <a:gd name="connsiteY194" fmla="*/ 229 h 10000"/>
              <a:gd name="connsiteX195" fmla="*/ 5782 w 10000"/>
              <a:gd name="connsiteY195" fmla="*/ 186 h 10000"/>
              <a:gd name="connsiteX196" fmla="*/ 5782 w 10000"/>
              <a:gd name="connsiteY196" fmla="*/ 144 h 10000"/>
              <a:gd name="connsiteX197" fmla="*/ 5782 w 10000"/>
              <a:gd name="connsiteY197" fmla="*/ 85 h 10000"/>
              <a:gd name="connsiteX198" fmla="*/ 5782 w 10000"/>
              <a:gd name="connsiteY198" fmla="*/ 42 h 10000"/>
              <a:gd name="connsiteX199" fmla="*/ 5782 w 10000"/>
              <a:gd name="connsiteY199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3856 w 10000"/>
              <a:gd name="connsiteY157" fmla="*/ 4863 h 10000"/>
              <a:gd name="connsiteX158" fmla="*/ 1951 w 10000"/>
              <a:gd name="connsiteY158" fmla="*/ 6732 h 10000"/>
              <a:gd name="connsiteX159" fmla="*/ 0 w 10000"/>
              <a:gd name="connsiteY159" fmla="*/ 6657 h 10000"/>
              <a:gd name="connsiteX160" fmla="*/ 3 w 10000"/>
              <a:gd name="connsiteY160" fmla="*/ 6409 h 10000"/>
              <a:gd name="connsiteX161" fmla="*/ 159 w 10000"/>
              <a:gd name="connsiteY161" fmla="*/ 6500 h 10000"/>
              <a:gd name="connsiteX162" fmla="*/ 368 w 10000"/>
              <a:gd name="connsiteY162" fmla="*/ 6409 h 10000"/>
              <a:gd name="connsiteX163" fmla="*/ 1462 w 10000"/>
              <a:gd name="connsiteY163" fmla="*/ 6409 h 10000"/>
              <a:gd name="connsiteX164" fmla="*/ 1617 w 10000"/>
              <a:gd name="connsiteY164" fmla="*/ 6364 h 10000"/>
              <a:gd name="connsiteX165" fmla="*/ 1669 w 10000"/>
              <a:gd name="connsiteY165" fmla="*/ 6364 h 10000"/>
              <a:gd name="connsiteX166" fmla="*/ 2189 w 10000"/>
              <a:gd name="connsiteY166" fmla="*/ 5774 h 10000"/>
              <a:gd name="connsiteX167" fmla="*/ 2294 w 10000"/>
              <a:gd name="connsiteY167" fmla="*/ 5682 h 10000"/>
              <a:gd name="connsiteX168" fmla="*/ 2762 w 10000"/>
              <a:gd name="connsiteY168" fmla="*/ 5228 h 10000"/>
              <a:gd name="connsiteX169" fmla="*/ 3023 w 10000"/>
              <a:gd name="connsiteY169" fmla="*/ 4955 h 10000"/>
              <a:gd name="connsiteX170" fmla="*/ 3179 w 10000"/>
              <a:gd name="connsiteY170" fmla="*/ 4818 h 10000"/>
              <a:gd name="connsiteX171" fmla="*/ 3596 w 10000"/>
              <a:gd name="connsiteY171" fmla="*/ 4138 h 10000"/>
              <a:gd name="connsiteX172" fmla="*/ 4116 w 10000"/>
              <a:gd name="connsiteY172" fmla="*/ 3863 h 10000"/>
              <a:gd name="connsiteX173" fmla="*/ 5001 w 10000"/>
              <a:gd name="connsiteY173" fmla="*/ 3090 h 10000"/>
              <a:gd name="connsiteX174" fmla="*/ 4845 w 10000"/>
              <a:gd name="connsiteY174" fmla="*/ 2818 h 10000"/>
              <a:gd name="connsiteX175" fmla="*/ 4794 w 10000"/>
              <a:gd name="connsiteY175" fmla="*/ 2635 h 10000"/>
              <a:gd name="connsiteX176" fmla="*/ 4794 w 10000"/>
              <a:gd name="connsiteY176" fmla="*/ 1362 h 10000"/>
              <a:gd name="connsiteX177" fmla="*/ 4116 w 10000"/>
              <a:gd name="connsiteY177" fmla="*/ 818 h 10000"/>
              <a:gd name="connsiteX178" fmla="*/ 4950 w 10000"/>
              <a:gd name="connsiteY178" fmla="*/ 818 h 10000"/>
              <a:gd name="connsiteX179" fmla="*/ 5782 w 10000"/>
              <a:gd name="connsiteY179" fmla="*/ 818 h 10000"/>
              <a:gd name="connsiteX180" fmla="*/ 5782 w 10000"/>
              <a:gd name="connsiteY180" fmla="*/ 771 h 10000"/>
              <a:gd name="connsiteX181" fmla="*/ 5782 w 10000"/>
              <a:gd name="connsiteY181" fmla="*/ 727 h 10000"/>
              <a:gd name="connsiteX182" fmla="*/ 5782 w 10000"/>
              <a:gd name="connsiteY182" fmla="*/ 686 h 10000"/>
              <a:gd name="connsiteX183" fmla="*/ 5782 w 10000"/>
              <a:gd name="connsiteY183" fmla="*/ 637 h 10000"/>
              <a:gd name="connsiteX184" fmla="*/ 5834 w 10000"/>
              <a:gd name="connsiteY184" fmla="*/ 589 h 10000"/>
              <a:gd name="connsiteX185" fmla="*/ 5834 w 10000"/>
              <a:gd name="connsiteY185" fmla="*/ 542 h 10000"/>
              <a:gd name="connsiteX186" fmla="*/ 5834 w 10000"/>
              <a:gd name="connsiteY186" fmla="*/ 499 h 10000"/>
              <a:gd name="connsiteX187" fmla="*/ 5834 w 10000"/>
              <a:gd name="connsiteY187" fmla="*/ 457 h 10000"/>
              <a:gd name="connsiteX188" fmla="*/ 5834 w 10000"/>
              <a:gd name="connsiteY188" fmla="*/ 414 h 10000"/>
              <a:gd name="connsiteX189" fmla="*/ 5834 w 10000"/>
              <a:gd name="connsiteY189" fmla="*/ 362 h 10000"/>
              <a:gd name="connsiteX190" fmla="*/ 5782 w 10000"/>
              <a:gd name="connsiteY190" fmla="*/ 362 h 10000"/>
              <a:gd name="connsiteX191" fmla="*/ 5782 w 10000"/>
              <a:gd name="connsiteY191" fmla="*/ 313 h 10000"/>
              <a:gd name="connsiteX192" fmla="*/ 5782 w 10000"/>
              <a:gd name="connsiteY192" fmla="*/ 270 h 10000"/>
              <a:gd name="connsiteX193" fmla="*/ 5782 w 10000"/>
              <a:gd name="connsiteY193" fmla="*/ 229 h 10000"/>
              <a:gd name="connsiteX194" fmla="*/ 5782 w 10000"/>
              <a:gd name="connsiteY194" fmla="*/ 186 h 10000"/>
              <a:gd name="connsiteX195" fmla="*/ 5782 w 10000"/>
              <a:gd name="connsiteY195" fmla="*/ 144 h 10000"/>
              <a:gd name="connsiteX196" fmla="*/ 5782 w 10000"/>
              <a:gd name="connsiteY196" fmla="*/ 85 h 10000"/>
              <a:gd name="connsiteX197" fmla="*/ 5782 w 10000"/>
              <a:gd name="connsiteY197" fmla="*/ 42 h 10000"/>
              <a:gd name="connsiteX198" fmla="*/ 5782 w 10000"/>
              <a:gd name="connsiteY198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4016 w 10000"/>
              <a:gd name="connsiteY156" fmla="*/ 4553 h 10000"/>
              <a:gd name="connsiteX157" fmla="*/ 1951 w 10000"/>
              <a:gd name="connsiteY157" fmla="*/ 6732 h 10000"/>
              <a:gd name="connsiteX158" fmla="*/ 0 w 10000"/>
              <a:gd name="connsiteY158" fmla="*/ 6657 h 10000"/>
              <a:gd name="connsiteX159" fmla="*/ 3 w 10000"/>
              <a:gd name="connsiteY159" fmla="*/ 6409 h 10000"/>
              <a:gd name="connsiteX160" fmla="*/ 159 w 10000"/>
              <a:gd name="connsiteY160" fmla="*/ 6500 h 10000"/>
              <a:gd name="connsiteX161" fmla="*/ 368 w 10000"/>
              <a:gd name="connsiteY161" fmla="*/ 6409 h 10000"/>
              <a:gd name="connsiteX162" fmla="*/ 1462 w 10000"/>
              <a:gd name="connsiteY162" fmla="*/ 6409 h 10000"/>
              <a:gd name="connsiteX163" fmla="*/ 1617 w 10000"/>
              <a:gd name="connsiteY163" fmla="*/ 6364 h 10000"/>
              <a:gd name="connsiteX164" fmla="*/ 1669 w 10000"/>
              <a:gd name="connsiteY164" fmla="*/ 6364 h 10000"/>
              <a:gd name="connsiteX165" fmla="*/ 2189 w 10000"/>
              <a:gd name="connsiteY165" fmla="*/ 5774 h 10000"/>
              <a:gd name="connsiteX166" fmla="*/ 2294 w 10000"/>
              <a:gd name="connsiteY166" fmla="*/ 5682 h 10000"/>
              <a:gd name="connsiteX167" fmla="*/ 2762 w 10000"/>
              <a:gd name="connsiteY167" fmla="*/ 5228 h 10000"/>
              <a:gd name="connsiteX168" fmla="*/ 3023 w 10000"/>
              <a:gd name="connsiteY168" fmla="*/ 4955 h 10000"/>
              <a:gd name="connsiteX169" fmla="*/ 3179 w 10000"/>
              <a:gd name="connsiteY169" fmla="*/ 4818 h 10000"/>
              <a:gd name="connsiteX170" fmla="*/ 3596 w 10000"/>
              <a:gd name="connsiteY170" fmla="*/ 4138 h 10000"/>
              <a:gd name="connsiteX171" fmla="*/ 4116 w 10000"/>
              <a:gd name="connsiteY171" fmla="*/ 3863 h 10000"/>
              <a:gd name="connsiteX172" fmla="*/ 5001 w 10000"/>
              <a:gd name="connsiteY172" fmla="*/ 3090 h 10000"/>
              <a:gd name="connsiteX173" fmla="*/ 4845 w 10000"/>
              <a:gd name="connsiteY173" fmla="*/ 2818 h 10000"/>
              <a:gd name="connsiteX174" fmla="*/ 4794 w 10000"/>
              <a:gd name="connsiteY174" fmla="*/ 2635 h 10000"/>
              <a:gd name="connsiteX175" fmla="*/ 4794 w 10000"/>
              <a:gd name="connsiteY175" fmla="*/ 1362 h 10000"/>
              <a:gd name="connsiteX176" fmla="*/ 4116 w 10000"/>
              <a:gd name="connsiteY176" fmla="*/ 818 h 10000"/>
              <a:gd name="connsiteX177" fmla="*/ 4950 w 10000"/>
              <a:gd name="connsiteY177" fmla="*/ 818 h 10000"/>
              <a:gd name="connsiteX178" fmla="*/ 5782 w 10000"/>
              <a:gd name="connsiteY178" fmla="*/ 818 h 10000"/>
              <a:gd name="connsiteX179" fmla="*/ 5782 w 10000"/>
              <a:gd name="connsiteY179" fmla="*/ 771 h 10000"/>
              <a:gd name="connsiteX180" fmla="*/ 5782 w 10000"/>
              <a:gd name="connsiteY180" fmla="*/ 727 h 10000"/>
              <a:gd name="connsiteX181" fmla="*/ 5782 w 10000"/>
              <a:gd name="connsiteY181" fmla="*/ 686 h 10000"/>
              <a:gd name="connsiteX182" fmla="*/ 5782 w 10000"/>
              <a:gd name="connsiteY182" fmla="*/ 637 h 10000"/>
              <a:gd name="connsiteX183" fmla="*/ 5834 w 10000"/>
              <a:gd name="connsiteY183" fmla="*/ 589 h 10000"/>
              <a:gd name="connsiteX184" fmla="*/ 5834 w 10000"/>
              <a:gd name="connsiteY184" fmla="*/ 542 h 10000"/>
              <a:gd name="connsiteX185" fmla="*/ 5834 w 10000"/>
              <a:gd name="connsiteY185" fmla="*/ 499 h 10000"/>
              <a:gd name="connsiteX186" fmla="*/ 5834 w 10000"/>
              <a:gd name="connsiteY186" fmla="*/ 457 h 10000"/>
              <a:gd name="connsiteX187" fmla="*/ 5834 w 10000"/>
              <a:gd name="connsiteY187" fmla="*/ 414 h 10000"/>
              <a:gd name="connsiteX188" fmla="*/ 5834 w 10000"/>
              <a:gd name="connsiteY188" fmla="*/ 362 h 10000"/>
              <a:gd name="connsiteX189" fmla="*/ 5782 w 10000"/>
              <a:gd name="connsiteY189" fmla="*/ 362 h 10000"/>
              <a:gd name="connsiteX190" fmla="*/ 5782 w 10000"/>
              <a:gd name="connsiteY190" fmla="*/ 313 h 10000"/>
              <a:gd name="connsiteX191" fmla="*/ 5782 w 10000"/>
              <a:gd name="connsiteY191" fmla="*/ 270 h 10000"/>
              <a:gd name="connsiteX192" fmla="*/ 5782 w 10000"/>
              <a:gd name="connsiteY192" fmla="*/ 229 h 10000"/>
              <a:gd name="connsiteX193" fmla="*/ 5782 w 10000"/>
              <a:gd name="connsiteY193" fmla="*/ 186 h 10000"/>
              <a:gd name="connsiteX194" fmla="*/ 5782 w 10000"/>
              <a:gd name="connsiteY194" fmla="*/ 144 h 10000"/>
              <a:gd name="connsiteX195" fmla="*/ 5782 w 10000"/>
              <a:gd name="connsiteY195" fmla="*/ 85 h 10000"/>
              <a:gd name="connsiteX196" fmla="*/ 5782 w 10000"/>
              <a:gd name="connsiteY196" fmla="*/ 42 h 10000"/>
              <a:gd name="connsiteX197" fmla="*/ 5782 w 10000"/>
              <a:gd name="connsiteY197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4176 w 10000"/>
              <a:gd name="connsiteY155" fmla="*/ 4531 h 10000"/>
              <a:gd name="connsiteX156" fmla="*/ 1951 w 10000"/>
              <a:gd name="connsiteY156" fmla="*/ 6732 h 10000"/>
              <a:gd name="connsiteX157" fmla="*/ 0 w 10000"/>
              <a:gd name="connsiteY157" fmla="*/ 6657 h 10000"/>
              <a:gd name="connsiteX158" fmla="*/ 3 w 10000"/>
              <a:gd name="connsiteY158" fmla="*/ 6409 h 10000"/>
              <a:gd name="connsiteX159" fmla="*/ 159 w 10000"/>
              <a:gd name="connsiteY159" fmla="*/ 6500 h 10000"/>
              <a:gd name="connsiteX160" fmla="*/ 368 w 10000"/>
              <a:gd name="connsiteY160" fmla="*/ 6409 h 10000"/>
              <a:gd name="connsiteX161" fmla="*/ 1462 w 10000"/>
              <a:gd name="connsiteY161" fmla="*/ 6409 h 10000"/>
              <a:gd name="connsiteX162" fmla="*/ 1617 w 10000"/>
              <a:gd name="connsiteY162" fmla="*/ 6364 h 10000"/>
              <a:gd name="connsiteX163" fmla="*/ 1669 w 10000"/>
              <a:gd name="connsiteY163" fmla="*/ 6364 h 10000"/>
              <a:gd name="connsiteX164" fmla="*/ 2189 w 10000"/>
              <a:gd name="connsiteY164" fmla="*/ 5774 h 10000"/>
              <a:gd name="connsiteX165" fmla="*/ 2294 w 10000"/>
              <a:gd name="connsiteY165" fmla="*/ 5682 h 10000"/>
              <a:gd name="connsiteX166" fmla="*/ 2762 w 10000"/>
              <a:gd name="connsiteY166" fmla="*/ 5228 h 10000"/>
              <a:gd name="connsiteX167" fmla="*/ 3023 w 10000"/>
              <a:gd name="connsiteY167" fmla="*/ 4955 h 10000"/>
              <a:gd name="connsiteX168" fmla="*/ 3179 w 10000"/>
              <a:gd name="connsiteY168" fmla="*/ 4818 h 10000"/>
              <a:gd name="connsiteX169" fmla="*/ 3596 w 10000"/>
              <a:gd name="connsiteY169" fmla="*/ 4138 h 10000"/>
              <a:gd name="connsiteX170" fmla="*/ 4116 w 10000"/>
              <a:gd name="connsiteY170" fmla="*/ 3863 h 10000"/>
              <a:gd name="connsiteX171" fmla="*/ 5001 w 10000"/>
              <a:gd name="connsiteY171" fmla="*/ 3090 h 10000"/>
              <a:gd name="connsiteX172" fmla="*/ 4845 w 10000"/>
              <a:gd name="connsiteY172" fmla="*/ 2818 h 10000"/>
              <a:gd name="connsiteX173" fmla="*/ 4794 w 10000"/>
              <a:gd name="connsiteY173" fmla="*/ 2635 h 10000"/>
              <a:gd name="connsiteX174" fmla="*/ 4794 w 10000"/>
              <a:gd name="connsiteY174" fmla="*/ 1362 h 10000"/>
              <a:gd name="connsiteX175" fmla="*/ 4116 w 10000"/>
              <a:gd name="connsiteY175" fmla="*/ 818 h 10000"/>
              <a:gd name="connsiteX176" fmla="*/ 4950 w 10000"/>
              <a:gd name="connsiteY176" fmla="*/ 818 h 10000"/>
              <a:gd name="connsiteX177" fmla="*/ 5782 w 10000"/>
              <a:gd name="connsiteY177" fmla="*/ 818 h 10000"/>
              <a:gd name="connsiteX178" fmla="*/ 5782 w 10000"/>
              <a:gd name="connsiteY178" fmla="*/ 771 h 10000"/>
              <a:gd name="connsiteX179" fmla="*/ 5782 w 10000"/>
              <a:gd name="connsiteY179" fmla="*/ 727 h 10000"/>
              <a:gd name="connsiteX180" fmla="*/ 5782 w 10000"/>
              <a:gd name="connsiteY180" fmla="*/ 686 h 10000"/>
              <a:gd name="connsiteX181" fmla="*/ 5782 w 10000"/>
              <a:gd name="connsiteY181" fmla="*/ 637 h 10000"/>
              <a:gd name="connsiteX182" fmla="*/ 5834 w 10000"/>
              <a:gd name="connsiteY182" fmla="*/ 589 h 10000"/>
              <a:gd name="connsiteX183" fmla="*/ 5834 w 10000"/>
              <a:gd name="connsiteY183" fmla="*/ 542 h 10000"/>
              <a:gd name="connsiteX184" fmla="*/ 5834 w 10000"/>
              <a:gd name="connsiteY184" fmla="*/ 499 h 10000"/>
              <a:gd name="connsiteX185" fmla="*/ 5834 w 10000"/>
              <a:gd name="connsiteY185" fmla="*/ 457 h 10000"/>
              <a:gd name="connsiteX186" fmla="*/ 5834 w 10000"/>
              <a:gd name="connsiteY186" fmla="*/ 414 h 10000"/>
              <a:gd name="connsiteX187" fmla="*/ 5834 w 10000"/>
              <a:gd name="connsiteY187" fmla="*/ 362 h 10000"/>
              <a:gd name="connsiteX188" fmla="*/ 5782 w 10000"/>
              <a:gd name="connsiteY188" fmla="*/ 362 h 10000"/>
              <a:gd name="connsiteX189" fmla="*/ 5782 w 10000"/>
              <a:gd name="connsiteY189" fmla="*/ 313 h 10000"/>
              <a:gd name="connsiteX190" fmla="*/ 5782 w 10000"/>
              <a:gd name="connsiteY190" fmla="*/ 270 h 10000"/>
              <a:gd name="connsiteX191" fmla="*/ 5782 w 10000"/>
              <a:gd name="connsiteY191" fmla="*/ 229 h 10000"/>
              <a:gd name="connsiteX192" fmla="*/ 5782 w 10000"/>
              <a:gd name="connsiteY192" fmla="*/ 186 h 10000"/>
              <a:gd name="connsiteX193" fmla="*/ 5782 w 10000"/>
              <a:gd name="connsiteY193" fmla="*/ 144 h 10000"/>
              <a:gd name="connsiteX194" fmla="*/ 5782 w 10000"/>
              <a:gd name="connsiteY194" fmla="*/ 85 h 10000"/>
              <a:gd name="connsiteX195" fmla="*/ 5782 w 10000"/>
              <a:gd name="connsiteY195" fmla="*/ 42 h 10000"/>
              <a:gd name="connsiteX196" fmla="*/ 5782 w 10000"/>
              <a:gd name="connsiteY196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4336 w 10000"/>
              <a:gd name="connsiteY154" fmla="*/ 4707 h 10000"/>
              <a:gd name="connsiteX155" fmla="*/ 1951 w 10000"/>
              <a:gd name="connsiteY155" fmla="*/ 6732 h 10000"/>
              <a:gd name="connsiteX156" fmla="*/ 0 w 10000"/>
              <a:gd name="connsiteY156" fmla="*/ 6657 h 10000"/>
              <a:gd name="connsiteX157" fmla="*/ 3 w 10000"/>
              <a:gd name="connsiteY157" fmla="*/ 6409 h 10000"/>
              <a:gd name="connsiteX158" fmla="*/ 159 w 10000"/>
              <a:gd name="connsiteY158" fmla="*/ 6500 h 10000"/>
              <a:gd name="connsiteX159" fmla="*/ 368 w 10000"/>
              <a:gd name="connsiteY159" fmla="*/ 6409 h 10000"/>
              <a:gd name="connsiteX160" fmla="*/ 1462 w 10000"/>
              <a:gd name="connsiteY160" fmla="*/ 6409 h 10000"/>
              <a:gd name="connsiteX161" fmla="*/ 1617 w 10000"/>
              <a:gd name="connsiteY161" fmla="*/ 6364 h 10000"/>
              <a:gd name="connsiteX162" fmla="*/ 1669 w 10000"/>
              <a:gd name="connsiteY162" fmla="*/ 6364 h 10000"/>
              <a:gd name="connsiteX163" fmla="*/ 2189 w 10000"/>
              <a:gd name="connsiteY163" fmla="*/ 5774 h 10000"/>
              <a:gd name="connsiteX164" fmla="*/ 2294 w 10000"/>
              <a:gd name="connsiteY164" fmla="*/ 5682 h 10000"/>
              <a:gd name="connsiteX165" fmla="*/ 2762 w 10000"/>
              <a:gd name="connsiteY165" fmla="*/ 5228 h 10000"/>
              <a:gd name="connsiteX166" fmla="*/ 3023 w 10000"/>
              <a:gd name="connsiteY166" fmla="*/ 4955 h 10000"/>
              <a:gd name="connsiteX167" fmla="*/ 3179 w 10000"/>
              <a:gd name="connsiteY167" fmla="*/ 4818 h 10000"/>
              <a:gd name="connsiteX168" fmla="*/ 3596 w 10000"/>
              <a:gd name="connsiteY168" fmla="*/ 4138 h 10000"/>
              <a:gd name="connsiteX169" fmla="*/ 4116 w 10000"/>
              <a:gd name="connsiteY169" fmla="*/ 3863 h 10000"/>
              <a:gd name="connsiteX170" fmla="*/ 5001 w 10000"/>
              <a:gd name="connsiteY170" fmla="*/ 3090 h 10000"/>
              <a:gd name="connsiteX171" fmla="*/ 4845 w 10000"/>
              <a:gd name="connsiteY171" fmla="*/ 2818 h 10000"/>
              <a:gd name="connsiteX172" fmla="*/ 4794 w 10000"/>
              <a:gd name="connsiteY172" fmla="*/ 2635 h 10000"/>
              <a:gd name="connsiteX173" fmla="*/ 4794 w 10000"/>
              <a:gd name="connsiteY173" fmla="*/ 1362 h 10000"/>
              <a:gd name="connsiteX174" fmla="*/ 4116 w 10000"/>
              <a:gd name="connsiteY174" fmla="*/ 818 h 10000"/>
              <a:gd name="connsiteX175" fmla="*/ 4950 w 10000"/>
              <a:gd name="connsiteY175" fmla="*/ 818 h 10000"/>
              <a:gd name="connsiteX176" fmla="*/ 5782 w 10000"/>
              <a:gd name="connsiteY176" fmla="*/ 818 h 10000"/>
              <a:gd name="connsiteX177" fmla="*/ 5782 w 10000"/>
              <a:gd name="connsiteY177" fmla="*/ 771 h 10000"/>
              <a:gd name="connsiteX178" fmla="*/ 5782 w 10000"/>
              <a:gd name="connsiteY178" fmla="*/ 727 h 10000"/>
              <a:gd name="connsiteX179" fmla="*/ 5782 w 10000"/>
              <a:gd name="connsiteY179" fmla="*/ 686 h 10000"/>
              <a:gd name="connsiteX180" fmla="*/ 5782 w 10000"/>
              <a:gd name="connsiteY180" fmla="*/ 637 h 10000"/>
              <a:gd name="connsiteX181" fmla="*/ 5834 w 10000"/>
              <a:gd name="connsiteY181" fmla="*/ 589 h 10000"/>
              <a:gd name="connsiteX182" fmla="*/ 5834 w 10000"/>
              <a:gd name="connsiteY182" fmla="*/ 542 h 10000"/>
              <a:gd name="connsiteX183" fmla="*/ 5834 w 10000"/>
              <a:gd name="connsiteY183" fmla="*/ 499 h 10000"/>
              <a:gd name="connsiteX184" fmla="*/ 5834 w 10000"/>
              <a:gd name="connsiteY184" fmla="*/ 457 h 10000"/>
              <a:gd name="connsiteX185" fmla="*/ 5834 w 10000"/>
              <a:gd name="connsiteY185" fmla="*/ 414 h 10000"/>
              <a:gd name="connsiteX186" fmla="*/ 5834 w 10000"/>
              <a:gd name="connsiteY186" fmla="*/ 362 h 10000"/>
              <a:gd name="connsiteX187" fmla="*/ 5782 w 10000"/>
              <a:gd name="connsiteY187" fmla="*/ 362 h 10000"/>
              <a:gd name="connsiteX188" fmla="*/ 5782 w 10000"/>
              <a:gd name="connsiteY188" fmla="*/ 313 h 10000"/>
              <a:gd name="connsiteX189" fmla="*/ 5782 w 10000"/>
              <a:gd name="connsiteY189" fmla="*/ 270 h 10000"/>
              <a:gd name="connsiteX190" fmla="*/ 5782 w 10000"/>
              <a:gd name="connsiteY190" fmla="*/ 229 h 10000"/>
              <a:gd name="connsiteX191" fmla="*/ 5782 w 10000"/>
              <a:gd name="connsiteY191" fmla="*/ 186 h 10000"/>
              <a:gd name="connsiteX192" fmla="*/ 5782 w 10000"/>
              <a:gd name="connsiteY192" fmla="*/ 144 h 10000"/>
              <a:gd name="connsiteX193" fmla="*/ 5782 w 10000"/>
              <a:gd name="connsiteY193" fmla="*/ 85 h 10000"/>
              <a:gd name="connsiteX194" fmla="*/ 5782 w 10000"/>
              <a:gd name="connsiteY194" fmla="*/ 42 h 10000"/>
              <a:gd name="connsiteX195" fmla="*/ 5782 w 10000"/>
              <a:gd name="connsiteY195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4352 w 10000"/>
              <a:gd name="connsiteY153" fmla="*/ 5001 h 10000"/>
              <a:gd name="connsiteX154" fmla="*/ 1951 w 10000"/>
              <a:gd name="connsiteY154" fmla="*/ 6732 h 10000"/>
              <a:gd name="connsiteX155" fmla="*/ 0 w 10000"/>
              <a:gd name="connsiteY155" fmla="*/ 6657 h 10000"/>
              <a:gd name="connsiteX156" fmla="*/ 3 w 10000"/>
              <a:gd name="connsiteY156" fmla="*/ 6409 h 10000"/>
              <a:gd name="connsiteX157" fmla="*/ 159 w 10000"/>
              <a:gd name="connsiteY157" fmla="*/ 6500 h 10000"/>
              <a:gd name="connsiteX158" fmla="*/ 368 w 10000"/>
              <a:gd name="connsiteY158" fmla="*/ 6409 h 10000"/>
              <a:gd name="connsiteX159" fmla="*/ 1462 w 10000"/>
              <a:gd name="connsiteY159" fmla="*/ 6409 h 10000"/>
              <a:gd name="connsiteX160" fmla="*/ 1617 w 10000"/>
              <a:gd name="connsiteY160" fmla="*/ 6364 h 10000"/>
              <a:gd name="connsiteX161" fmla="*/ 1669 w 10000"/>
              <a:gd name="connsiteY161" fmla="*/ 6364 h 10000"/>
              <a:gd name="connsiteX162" fmla="*/ 2189 w 10000"/>
              <a:gd name="connsiteY162" fmla="*/ 5774 h 10000"/>
              <a:gd name="connsiteX163" fmla="*/ 2294 w 10000"/>
              <a:gd name="connsiteY163" fmla="*/ 5682 h 10000"/>
              <a:gd name="connsiteX164" fmla="*/ 2762 w 10000"/>
              <a:gd name="connsiteY164" fmla="*/ 5228 h 10000"/>
              <a:gd name="connsiteX165" fmla="*/ 3023 w 10000"/>
              <a:gd name="connsiteY165" fmla="*/ 4955 h 10000"/>
              <a:gd name="connsiteX166" fmla="*/ 3179 w 10000"/>
              <a:gd name="connsiteY166" fmla="*/ 4818 h 10000"/>
              <a:gd name="connsiteX167" fmla="*/ 3596 w 10000"/>
              <a:gd name="connsiteY167" fmla="*/ 4138 h 10000"/>
              <a:gd name="connsiteX168" fmla="*/ 4116 w 10000"/>
              <a:gd name="connsiteY168" fmla="*/ 3863 h 10000"/>
              <a:gd name="connsiteX169" fmla="*/ 5001 w 10000"/>
              <a:gd name="connsiteY169" fmla="*/ 3090 h 10000"/>
              <a:gd name="connsiteX170" fmla="*/ 4845 w 10000"/>
              <a:gd name="connsiteY170" fmla="*/ 2818 h 10000"/>
              <a:gd name="connsiteX171" fmla="*/ 4794 w 10000"/>
              <a:gd name="connsiteY171" fmla="*/ 2635 h 10000"/>
              <a:gd name="connsiteX172" fmla="*/ 4794 w 10000"/>
              <a:gd name="connsiteY172" fmla="*/ 1362 h 10000"/>
              <a:gd name="connsiteX173" fmla="*/ 4116 w 10000"/>
              <a:gd name="connsiteY173" fmla="*/ 818 h 10000"/>
              <a:gd name="connsiteX174" fmla="*/ 4950 w 10000"/>
              <a:gd name="connsiteY174" fmla="*/ 818 h 10000"/>
              <a:gd name="connsiteX175" fmla="*/ 5782 w 10000"/>
              <a:gd name="connsiteY175" fmla="*/ 818 h 10000"/>
              <a:gd name="connsiteX176" fmla="*/ 5782 w 10000"/>
              <a:gd name="connsiteY176" fmla="*/ 771 h 10000"/>
              <a:gd name="connsiteX177" fmla="*/ 5782 w 10000"/>
              <a:gd name="connsiteY177" fmla="*/ 727 h 10000"/>
              <a:gd name="connsiteX178" fmla="*/ 5782 w 10000"/>
              <a:gd name="connsiteY178" fmla="*/ 686 h 10000"/>
              <a:gd name="connsiteX179" fmla="*/ 5782 w 10000"/>
              <a:gd name="connsiteY179" fmla="*/ 637 h 10000"/>
              <a:gd name="connsiteX180" fmla="*/ 5834 w 10000"/>
              <a:gd name="connsiteY180" fmla="*/ 589 h 10000"/>
              <a:gd name="connsiteX181" fmla="*/ 5834 w 10000"/>
              <a:gd name="connsiteY181" fmla="*/ 542 h 10000"/>
              <a:gd name="connsiteX182" fmla="*/ 5834 w 10000"/>
              <a:gd name="connsiteY182" fmla="*/ 499 h 10000"/>
              <a:gd name="connsiteX183" fmla="*/ 5834 w 10000"/>
              <a:gd name="connsiteY183" fmla="*/ 457 h 10000"/>
              <a:gd name="connsiteX184" fmla="*/ 5834 w 10000"/>
              <a:gd name="connsiteY184" fmla="*/ 414 h 10000"/>
              <a:gd name="connsiteX185" fmla="*/ 5834 w 10000"/>
              <a:gd name="connsiteY185" fmla="*/ 362 h 10000"/>
              <a:gd name="connsiteX186" fmla="*/ 5782 w 10000"/>
              <a:gd name="connsiteY186" fmla="*/ 362 h 10000"/>
              <a:gd name="connsiteX187" fmla="*/ 5782 w 10000"/>
              <a:gd name="connsiteY187" fmla="*/ 313 h 10000"/>
              <a:gd name="connsiteX188" fmla="*/ 5782 w 10000"/>
              <a:gd name="connsiteY188" fmla="*/ 270 h 10000"/>
              <a:gd name="connsiteX189" fmla="*/ 5782 w 10000"/>
              <a:gd name="connsiteY189" fmla="*/ 229 h 10000"/>
              <a:gd name="connsiteX190" fmla="*/ 5782 w 10000"/>
              <a:gd name="connsiteY190" fmla="*/ 186 h 10000"/>
              <a:gd name="connsiteX191" fmla="*/ 5782 w 10000"/>
              <a:gd name="connsiteY191" fmla="*/ 144 h 10000"/>
              <a:gd name="connsiteX192" fmla="*/ 5782 w 10000"/>
              <a:gd name="connsiteY192" fmla="*/ 85 h 10000"/>
              <a:gd name="connsiteX193" fmla="*/ 5782 w 10000"/>
              <a:gd name="connsiteY193" fmla="*/ 42 h 10000"/>
              <a:gd name="connsiteX194" fmla="*/ 5782 w 10000"/>
              <a:gd name="connsiteY194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4368 w 10000"/>
              <a:gd name="connsiteY152" fmla="*/ 5333 h 10000"/>
              <a:gd name="connsiteX153" fmla="*/ 1951 w 10000"/>
              <a:gd name="connsiteY153" fmla="*/ 6732 h 10000"/>
              <a:gd name="connsiteX154" fmla="*/ 0 w 10000"/>
              <a:gd name="connsiteY154" fmla="*/ 6657 h 10000"/>
              <a:gd name="connsiteX155" fmla="*/ 3 w 10000"/>
              <a:gd name="connsiteY155" fmla="*/ 6409 h 10000"/>
              <a:gd name="connsiteX156" fmla="*/ 159 w 10000"/>
              <a:gd name="connsiteY156" fmla="*/ 6500 h 10000"/>
              <a:gd name="connsiteX157" fmla="*/ 368 w 10000"/>
              <a:gd name="connsiteY157" fmla="*/ 6409 h 10000"/>
              <a:gd name="connsiteX158" fmla="*/ 1462 w 10000"/>
              <a:gd name="connsiteY158" fmla="*/ 6409 h 10000"/>
              <a:gd name="connsiteX159" fmla="*/ 1617 w 10000"/>
              <a:gd name="connsiteY159" fmla="*/ 6364 h 10000"/>
              <a:gd name="connsiteX160" fmla="*/ 1669 w 10000"/>
              <a:gd name="connsiteY160" fmla="*/ 6364 h 10000"/>
              <a:gd name="connsiteX161" fmla="*/ 2189 w 10000"/>
              <a:gd name="connsiteY161" fmla="*/ 5774 h 10000"/>
              <a:gd name="connsiteX162" fmla="*/ 2294 w 10000"/>
              <a:gd name="connsiteY162" fmla="*/ 5682 h 10000"/>
              <a:gd name="connsiteX163" fmla="*/ 2762 w 10000"/>
              <a:gd name="connsiteY163" fmla="*/ 5228 h 10000"/>
              <a:gd name="connsiteX164" fmla="*/ 3023 w 10000"/>
              <a:gd name="connsiteY164" fmla="*/ 4955 h 10000"/>
              <a:gd name="connsiteX165" fmla="*/ 3179 w 10000"/>
              <a:gd name="connsiteY165" fmla="*/ 4818 h 10000"/>
              <a:gd name="connsiteX166" fmla="*/ 3596 w 10000"/>
              <a:gd name="connsiteY166" fmla="*/ 4138 h 10000"/>
              <a:gd name="connsiteX167" fmla="*/ 4116 w 10000"/>
              <a:gd name="connsiteY167" fmla="*/ 3863 h 10000"/>
              <a:gd name="connsiteX168" fmla="*/ 5001 w 10000"/>
              <a:gd name="connsiteY168" fmla="*/ 3090 h 10000"/>
              <a:gd name="connsiteX169" fmla="*/ 4845 w 10000"/>
              <a:gd name="connsiteY169" fmla="*/ 2818 h 10000"/>
              <a:gd name="connsiteX170" fmla="*/ 4794 w 10000"/>
              <a:gd name="connsiteY170" fmla="*/ 2635 h 10000"/>
              <a:gd name="connsiteX171" fmla="*/ 4794 w 10000"/>
              <a:gd name="connsiteY171" fmla="*/ 1362 h 10000"/>
              <a:gd name="connsiteX172" fmla="*/ 4116 w 10000"/>
              <a:gd name="connsiteY172" fmla="*/ 818 h 10000"/>
              <a:gd name="connsiteX173" fmla="*/ 4950 w 10000"/>
              <a:gd name="connsiteY173" fmla="*/ 818 h 10000"/>
              <a:gd name="connsiteX174" fmla="*/ 5782 w 10000"/>
              <a:gd name="connsiteY174" fmla="*/ 818 h 10000"/>
              <a:gd name="connsiteX175" fmla="*/ 5782 w 10000"/>
              <a:gd name="connsiteY175" fmla="*/ 771 h 10000"/>
              <a:gd name="connsiteX176" fmla="*/ 5782 w 10000"/>
              <a:gd name="connsiteY176" fmla="*/ 727 h 10000"/>
              <a:gd name="connsiteX177" fmla="*/ 5782 w 10000"/>
              <a:gd name="connsiteY177" fmla="*/ 686 h 10000"/>
              <a:gd name="connsiteX178" fmla="*/ 5782 w 10000"/>
              <a:gd name="connsiteY178" fmla="*/ 637 h 10000"/>
              <a:gd name="connsiteX179" fmla="*/ 5834 w 10000"/>
              <a:gd name="connsiteY179" fmla="*/ 589 h 10000"/>
              <a:gd name="connsiteX180" fmla="*/ 5834 w 10000"/>
              <a:gd name="connsiteY180" fmla="*/ 542 h 10000"/>
              <a:gd name="connsiteX181" fmla="*/ 5834 w 10000"/>
              <a:gd name="connsiteY181" fmla="*/ 499 h 10000"/>
              <a:gd name="connsiteX182" fmla="*/ 5834 w 10000"/>
              <a:gd name="connsiteY182" fmla="*/ 457 h 10000"/>
              <a:gd name="connsiteX183" fmla="*/ 5834 w 10000"/>
              <a:gd name="connsiteY183" fmla="*/ 414 h 10000"/>
              <a:gd name="connsiteX184" fmla="*/ 5834 w 10000"/>
              <a:gd name="connsiteY184" fmla="*/ 362 h 10000"/>
              <a:gd name="connsiteX185" fmla="*/ 5782 w 10000"/>
              <a:gd name="connsiteY185" fmla="*/ 362 h 10000"/>
              <a:gd name="connsiteX186" fmla="*/ 5782 w 10000"/>
              <a:gd name="connsiteY186" fmla="*/ 313 h 10000"/>
              <a:gd name="connsiteX187" fmla="*/ 5782 w 10000"/>
              <a:gd name="connsiteY187" fmla="*/ 270 h 10000"/>
              <a:gd name="connsiteX188" fmla="*/ 5782 w 10000"/>
              <a:gd name="connsiteY188" fmla="*/ 229 h 10000"/>
              <a:gd name="connsiteX189" fmla="*/ 5782 w 10000"/>
              <a:gd name="connsiteY189" fmla="*/ 186 h 10000"/>
              <a:gd name="connsiteX190" fmla="*/ 5782 w 10000"/>
              <a:gd name="connsiteY190" fmla="*/ 144 h 10000"/>
              <a:gd name="connsiteX191" fmla="*/ 5782 w 10000"/>
              <a:gd name="connsiteY191" fmla="*/ 85 h 10000"/>
              <a:gd name="connsiteX192" fmla="*/ 5782 w 10000"/>
              <a:gd name="connsiteY192" fmla="*/ 42 h 10000"/>
              <a:gd name="connsiteX193" fmla="*/ 5782 w 10000"/>
              <a:gd name="connsiteY193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3968 w 10000"/>
              <a:gd name="connsiteY150" fmla="*/ 5936 h 10000"/>
              <a:gd name="connsiteX151" fmla="*/ 4224 w 10000"/>
              <a:gd name="connsiteY151" fmla="*/ 5623 h 10000"/>
              <a:gd name="connsiteX152" fmla="*/ 1951 w 10000"/>
              <a:gd name="connsiteY152" fmla="*/ 6732 h 10000"/>
              <a:gd name="connsiteX153" fmla="*/ 0 w 10000"/>
              <a:gd name="connsiteY153" fmla="*/ 6657 h 10000"/>
              <a:gd name="connsiteX154" fmla="*/ 3 w 10000"/>
              <a:gd name="connsiteY154" fmla="*/ 6409 h 10000"/>
              <a:gd name="connsiteX155" fmla="*/ 159 w 10000"/>
              <a:gd name="connsiteY155" fmla="*/ 6500 h 10000"/>
              <a:gd name="connsiteX156" fmla="*/ 368 w 10000"/>
              <a:gd name="connsiteY156" fmla="*/ 6409 h 10000"/>
              <a:gd name="connsiteX157" fmla="*/ 1462 w 10000"/>
              <a:gd name="connsiteY157" fmla="*/ 6409 h 10000"/>
              <a:gd name="connsiteX158" fmla="*/ 1617 w 10000"/>
              <a:gd name="connsiteY158" fmla="*/ 6364 h 10000"/>
              <a:gd name="connsiteX159" fmla="*/ 1669 w 10000"/>
              <a:gd name="connsiteY159" fmla="*/ 6364 h 10000"/>
              <a:gd name="connsiteX160" fmla="*/ 2189 w 10000"/>
              <a:gd name="connsiteY160" fmla="*/ 5774 h 10000"/>
              <a:gd name="connsiteX161" fmla="*/ 2294 w 10000"/>
              <a:gd name="connsiteY161" fmla="*/ 5682 h 10000"/>
              <a:gd name="connsiteX162" fmla="*/ 2762 w 10000"/>
              <a:gd name="connsiteY162" fmla="*/ 5228 h 10000"/>
              <a:gd name="connsiteX163" fmla="*/ 3023 w 10000"/>
              <a:gd name="connsiteY163" fmla="*/ 4955 h 10000"/>
              <a:gd name="connsiteX164" fmla="*/ 3179 w 10000"/>
              <a:gd name="connsiteY164" fmla="*/ 4818 h 10000"/>
              <a:gd name="connsiteX165" fmla="*/ 3596 w 10000"/>
              <a:gd name="connsiteY165" fmla="*/ 4138 h 10000"/>
              <a:gd name="connsiteX166" fmla="*/ 4116 w 10000"/>
              <a:gd name="connsiteY166" fmla="*/ 3863 h 10000"/>
              <a:gd name="connsiteX167" fmla="*/ 5001 w 10000"/>
              <a:gd name="connsiteY167" fmla="*/ 3090 h 10000"/>
              <a:gd name="connsiteX168" fmla="*/ 4845 w 10000"/>
              <a:gd name="connsiteY168" fmla="*/ 2818 h 10000"/>
              <a:gd name="connsiteX169" fmla="*/ 4794 w 10000"/>
              <a:gd name="connsiteY169" fmla="*/ 2635 h 10000"/>
              <a:gd name="connsiteX170" fmla="*/ 4794 w 10000"/>
              <a:gd name="connsiteY170" fmla="*/ 1362 h 10000"/>
              <a:gd name="connsiteX171" fmla="*/ 4116 w 10000"/>
              <a:gd name="connsiteY171" fmla="*/ 818 h 10000"/>
              <a:gd name="connsiteX172" fmla="*/ 4950 w 10000"/>
              <a:gd name="connsiteY172" fmla="*/ 818 h 10000"/>
              <a:gd name="connsiteX173" fmla="*/ 5782 w 10000"/>
              <a:gd name="connsiteY173" fmla="*/ 818 h 10000"/>
              <a:gd name="connsiteX174" fmla="*/ 5782 w 10000"/>
              <a:gd name="connsiteY174" fmla="*/ 771 h 10000"/>
              <a:gd name="connsiteX175" fmla="*/ 5782 w 10000"/>
              <a:gd name="connsiteY175" fmla="*/ 727 h 10000"/>
              <a:gd name="connsiteX176" fmla="*/ 5782 w 10000"/>
              <a:gd name="connsiteY176" fmla="*/ 686 h 10000"/>
              <a:gd name="connsiteX177" fmla="*/ 5782 w 10000"/>
              <a:gd name="connsiteY177" fmla="*/ 637 h 10000"/>
              <a:gd name="connsiteX178" fmla="*/ 5834 w 10000"/>
              <a:gd name="connsiteY178" fmla="*/ 589 h 10000"/>
              <a:gd name="connsiteX179" fmla="*/ 5834 w 10000"/>
              <a:gd name="connsiteY179" fmla="*/ 542 h 10000"/>
              <a:gd name="connsiteX180" fmla="*/ 5834 w 10000"/>
              <a:gd name="connsiteY180" fmla="*/ 499 h 10000"/>
              <a:gd name="connsiteX181" fmla="*/ 5834 w 10000"/>
              <a:gd name="connsiteY181" fmla="*/ 457 h 10000"/>
              <a:gd name="connsiteX182" fmla="*/ 5834 w 10000"/>
              <a:gd name="connsiteY182" fmla="*/ 414 h 10000"/>
              <a:gd name="connsiteX183" fmla="*/ 5834 w 10000"/>
              <a:gd name="connsiteY183" fmla="*/ 362 h 10000"/>
              <a:gd name="connsiteX184" fmla="*/ 5782 w 10000"/>
              <a:gd name="connsiteY184" fmla="*/ 362 h 10000"/>
              <a:gd name="connsiteX185" fmla="*/ 5782 w 10000"/>
              <a:gd name="connsiteY185" fmla="*/ 313 h 10000"/>
              <a:gd name="connsiteX186" fmla="*/ 5782 w 10000"/>
              <a:gd name="connsiteY186" fmla="*/ 270 h 10000"/>
              <a:gd name="connsiteX187" fmla="*/ 5782 w 10000"/>
              <a:gd name="connsiteY187" fmla="*/ 229 h 10000"/>
              <a:gd name="connsiteX188" fmla="*/ 5782 w 10000"/>
              <a:gd name="connsiteY188" fmla="*/ 186 h 10000"/>
              <a:gd name="connsiteX189" fmla="*/ 5782 w 10000"/>
              <a:gd name="connsiteY189" fmla="*/ 144 h 10000"/>
              <a:gd name="connsiteX190" fmla="*/ 5782 w 10000"/>
              <a:gd name="connsiteY190" fmla="*/ 85 h 10000"/>
              <a:gd name="connsiteX191" fmla="*/ 5782 w 10000"/>
              <a:gd name="connsiteY191" fmla="*/ 42 h 10000"/>
              <a:gd name="connsiteX192" fmla="*/ 5782 w 10000"/>
              <a:gd name="connsiteY192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3728 w 10000"/>
              <a:gd name="connsiteY149" fmla="*/ 6228 h 10000"/>
              <a:gd name="connsiteX150" fmla="*/ 4224 w 10000"/>
              <a:gd name="connsiteY150" fmla="*/ 5623 h 10000"/>
              <a:gd name="connsiteX151" fmla="*/ 1951 w 10000"/>
              <a:gd name="connsiteY151" fmla="*/ 6732 h 10000"/>
              <a:gd name="connsiteX152" fmla="*/ 0 w 10000"/>
              <a:gd name="connsiteY152" fmla="*/ 6657 h 10000"/>
              <a:gd name="connsiteX153" fmla="*/ 3 w 10000"/>
              <a:gd name="connsiteY153" fmla="*/ 6409 h 10000"/>
              <a:gd name="connsiteX154" fmla="*/ 159 w 10000"/>
              <a:gd name="connsiteY154" fmla="*/ 6500 h 10000"/>
              <a:gd name="connsiteX155" fmla="*/ 368 w 10000"/>
              <a:gd name="connsiteY155" fmla="*/ 6409 h 10000"/>
              <a:gd name="connsiteX156" fmla="*/ 1462 w 10000"/>
              <a:gd name="connsiteY156" fmla="*/ 6409 h 10000"/>
              <a:gd name="connsiteX157" fmla="*/ 1617 w 10000"/>
              <a:gd name="connsiteY157" fmla="*/ 6364 h 10000"/>
              <a:gd name="connsiteX158" fmla="*/ 1669 w 10000"/>
              <a:gd name="connsiteY158" fmla="*/ 6364 h 10000"/>
              <a:gd name="connsiteX159" fmla="*/ 2189 w 10000"/>
              <a:gd name="connsiteY159" fmla="*/ 5774 h 10000"/>
              <a:gd name="connsiteX160" fmla="*/ 2294 w 10000"/>
              <a:gd name="connsiteY160" fmla="*/ 5682 h 10000"/>
              <a:gd name="connsiteX161" fmla="*/ 2762 w 10000"/>
              <a:gd name="connsiteY161" fmla="*/ 5228 h 10000"/>
              <a:gd name="connsiteX162" fmla="*/ 3023 w 10000"/>
              <a:gd name="connsiteY162" fmla="*/ 4955 h 10000"/>
              <a:gd name="connsiteX163" fmla="*/ 3179 w 10000"/>
              <a:gd name="connsiteY163" fmla="*/ 4818 h 10000"/>
              <a:gd name="connsiteX164" fmla="*/ 3596 w 10000"/>
              <a:gd name="connsiteY164" fmla="*/ 4138 h 10000"/>
              <a:gd name="connsiteX165" fmla="*/ 4116 w 10000"/>
              <a:gd name="connsiteY165" fmla="*/ 3863 h 10000"/>
              <a:gd name="connsiteX166" fmla="*/ 5001 w 10000"/>
              <a:gd name="connsiteY166" fmla="*/ 3090 h 10000"/>
              <a:gd name="connsiteX167" fmla="*/ 4845 w 10000"/>
              <a:gd name="connsiteY167" fmla="*/ 2818 h 10000"/>
              <a:gd name="connsiteX168" fmla="*/ 4794 w 10000"/>
              <a:gd name="connsiteY168" fmla="*/ 2635 h 10000"/>
              <a:gd name="connsiteX169" fmla="*/ 4794 w 10000"/>
              <a:gd name="connsiteY169" fmla="*/ 1362 h 10000"/>
              <a:gd name="connsiteX170" fmla="*/ 4116 w 10000"/>
              <a:gd name="connsiteY170" fmla="*/ 818 h 10000"/>
              <a:gd name="connsiteX171" fmla="*/ 4950 w 10000"/>
              <a:gd name="connsiteY171" fmla="*/ 818 h 10000"/>
              <a:gd name="connsiteX172" fmla="*/ 5782 w 10000"/>
              <a:gd name="connsiteY172" fmla="*/ 818 h 10000"/>
              <a:gd name="connsiteX173" fmla="*/ 5782 w 10000"/>
              <a:gd name="connsiteY173" fmla="*/ 771 h 10000"/>
              <a:gd name="connsiteX174" fmla="*/ 5782 w 10000"/>
              <a:gd name="connsiteY174" fmla="*/ 727 h 10000"/>
              <a:gd name="connsiteX175" fmla="*/ 5782 w 10000"/>
              <a:gd name="connsiteY175" fmla="*/ 686 h 10000"/>
              <a:gd name="connsiteX176" fmla="*/ 5782 w 10000"/>
              <a:gd name="connsiteY176" fmla="*/ 637 h 10000"/>
              <a:gd name="connsiteX177" fmla="*/ 5834 w 10000"/>
              <a:gd name="connsiteY177" fmla="*/ 589 h 10000"/>
              <a:gd name="connsiteX178" fmla="*/ 5834 w 10000"/>
              <a:gd name="connsiteY178" fmla="*/ 542 h 10000"/>
              <a:gd name="connsiteX179" fmla="*/ 5834 w 10000"/>
              <a:gd name="connsiteY179" fmla="*/ 499 h 10000"/>
              <a:gd name="connsiteX180" fmla="*/ 5834 w 10000"/>
              <a:gd name="connsiteY180" fmla="*/ 457 h 10000"/>
              <a:gd name="connsiteX181" fmla="*/ 5834 w 10000"/>
              <a:gd name="connsiteY181" fmla="*/ 414 h 10000"/>
              <a:gd name="connsiteX182" fmla="*/ 5834 w 10000"/>
              <a:gd name="connsiteY182" fmla="*/ 362 h 10000"/>
              <a:gd name="connsiteX183" fmla="*/ 5782 w 10000"/>
              <a:gd name="connsiteY183" fmla="*/ 362 h 10000"/>
              <a:gd name="connsiteX184" fmla="*/ 5782 w 10000"/>
              <a:gd name="connsiteY184" fmla="*/ 313 h 10000"/>
              <a:gd name="connsiteX185" fmla="*/ 5782 w 10000"/>
              <a:gd name="connsiteY185" fmla="*/ 270 h 10000"/>
              <a:gd name="connsiteX186" fmla="*/ 5782 w 10000"/>
              <a:gd name="connsiteY186" fmla="*/ 229 h 10000"/>
              <a:gd name="connsiteX187" fmla="*/ 5782 w 10000"/>
              <a:gd name="connsiteY187" fmla="*/ 186 h 10000"/>
              <a:gd name="connsiteX188" fmla="*/ 5782 w 10000"/>
              <a:gd name="connsiteY188" fmla="*/ 144 h 10000"/>
              <a:gd name="connsiteX189" fmla="*/ 5782 w 10000"/>
              <a:gd name="connsiteY189" fmla="*/ 85 h 10000"/>
              <a:gd name="connsiteX190" fmla="*/ 5782 w 10000"/>
              <a:gd name="connsiteY190" fmla="*/ 42 h 10000"/>
              <a:gd name="connsiteX191" fmla="*/ 5782 w 10000"/>
              <a:gd name="connsiteY191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4224 w 10000"/>
              <a:gd name="connsiteY149" fmla="*/ 5623 h 10000"/>
              <a:gd name="connsiteX150" fmla="*/ 1951 w 10000"/>
              <a:gd name="connsiteY150" fmla="*/ 6732 h 10000"/>
              <a:gd name="connsiteX151" fmla="*/ 0 w 10000"/>
              <a:gd name="connsiteY151" fmla="*/ 6657 h 10000"/>
              <a:gd name="connsiteX152" fmla="*/ 3 w 10000"/>
              <a:gd name="connsiteY152" fmla="*/ 6409 h 10000"/>
              <a:gd name="connsiteX153" fmla="*/ 159 w 10000"/>
              <a:gd name="connsiteY153" fmla="*/ 6500 h 10000"/>
              <a:gd name="connsiteX154" fmla="*/ 368 w 10000"/>
              <a:gd name="connsiteY154" fmla="*/ 6409 h 10000"/>
              <a:gd name="connsiteX155" fmla="*/ 1462 w 10000"/>
              <a:gd name="connsiteY155" fmla="*/ 6409 h 10000"/>
              <a:gd name="connsiteX156" fmla="*/ 1617 w 10000"/>
              <a:gd name="connsiteY156" fmla="*/ 6364 h 10000"/>
              <a:gd name="connsiteX157" fmla="*/ 1669 w 10000"/>
              <a:gd name="connsiteY157" fmla="*/ 6364 h 10000"/>
              <a:gd name="connsiteX158" fmla="*/ 2189 w 10000"/>
              <a:gd name="connsiteY158" fmla="*/ 5774 h 10000"/>
              <a:gd name="connsiteX159" fmla="*/ 2294 w 10000"/>
              <a:gd name="connsiteY159" fmla="*/ 5682 h 10000"/>
              <a:gd name="connsiteX160" fmla="*/ 2762 w 10000"/>
              <a:gd name="connsiteY160" fmla="*/ 5228 h 10000"/>
              <a:gd name="connsiteX161" fmla="*/ 3023 w 10000"/>
              <a:gd name="connsiteY161" fmla="*/ 4955 h 10000"/>
              <a:gd name="connsiteX162" fmla="*/ 3179 w 10000"/>
              <a:gd name="connsiteY162" fmla="*/ 4818 h 10000"/>
              <a:gd name="connsiteX163" fmla="*/ 3596 w 10000"/>
              <a:gd name="connsiteY163" fmla="*/ 4138 h 10000"/>
              <a:gd name="connsiteX164" fmla="*/ 4116 w 10000"/>
              <a:gd name="connsiteY164" fmla="*/ 3863 h 10000"/>
              <a:gd name="connsiteX165" fmla="*/ 5001 w 10000"/>
              <a:gd name="connsiteY165" fmla="*/ 3090 h 10000"/>
              <a:gd name="connsiteX166" fmla="*/ 4845 w 10000"/>
              <a:gd name="connsiteY166" fmla="*/ 2818 h 10000"/>
              <a:gd name="connsiteX167" fmla="*/ 4794 w 10000"/>
              <a:gd name="connsiteY167" fmla="*/ 2635 h 10000"/>
              <a:gd name="connsiteX168" fmla="*/ 4794 w 10000"/>
              <a:gd name="connsiteY168" fmla="*/ 1362 h 10000"/>
              <a:gd name="connsiteX169" fmla="*/ 4116 w 10000"/>
              <a:gd name="connsiteY169" fmla="*/ 818 h 10000"/>
              <a:gd name="connsiteX170" fmla="*/ 4950 w 10000"/>
              <a:gd name="connsiteY170" fmla="*/ 818 h 10000"/>
              <a:gd name="connsiteX171" fmla="*/ 5782 w 10000"/>
              <a:gd name="connsiteY171" fmla="*/ 818 h 10000"/>
              <a:gd name="connsiteX172" fmla="*/ 5782 w 10000"/>
              <a:gd name="connsiteY172" fmla="*/ 771 h 10000"/>
              <a:gd name="connsiteX173" fmla="*/ 5782 w 10000"/>
              <a:gd name="connsiteY173" fmla="*/ 727 h 10000"/>
              <a:gd name="connsiteX174" fmla="*/ 5782 w 10000"/>
              <a:gd name="connsiteY174" fmla="*/ 686 h 10000"/>
              <a:gd name="connsiteX175" fmla="*/ 5782 w 10000"/>
              <a:gd name="connsiteY175" fmla="*/ 637 h 10000"/>
              <a:gd name="connsiteX176" fmla="*/ 5834 w 10000"/>
              <a:gd name="connsiteY176" fmla="*/ 589 h 10000"/>
              <a:gd name="connsiteX177" fmla="*/ 5834 w 10000"/>
              <a:gd name="connsiteY177" fmla="*/ 542 h 10000"/>
              <a:gd name="connsiteX178" fmla="*/ 5834 w 10000"/>
              <a:gd name="connsiteY178" fmla="*/ 499 h 10000"/>
              <a:gd name="connsiteX179" fmla="*/ 5834 w 10000"/>
              <a:gd name="connsiteY179" fmla="*/ 457 h 10000"/>
              <a:gd name="connsiteX180" fmla="*/ 5834 w 10000"/>
              <a:gd name="connsiteY180" fmla="*/ 414 h 10000"/>
              <a:gd name="connsiteX181" fmla="*/ 5834 w 10000"/>
              <a:gd name="connsiteY181" fmla="*/ 362 h 10000"/>
              <a:gd name="connsiteX182" fmla="*/ 5782 w 10000"/>
              <a:gd name="connsiteY182" fmla="*/ 362 h 10000"/>
              <a:gd name="connsiteX183" fmla="*/ 5782 w 10000"/>
              <a:gd name="connsiteY183" fmla="*/ 313 h 10000"/>
              <a:gd name="connsiteX184" fmla="*/ 5782 w 10000"/>
              <a:gd name="connsiteY184" fmla="*/ 270 h 10000"/>
              <a:gd name="connsiteX185" fmla="*/ 5782 w 10000"/>
              <a:gd name="connsiteY185" fmla="*/ 229 h 10000"/>
              <a:gd name="connsiteX186" fmla="*/ 5782 w 10000"/>
              <a:gd name="connsiteY186" fmla="*/ 186 h 10000"/>
              <a:gd name="connsiteX187" fmla="*/ 5782 w 10000"/>
              <a:gd name="connsiteY187" fmla="*/ 144 h 10000"/>
              <a:gd name="connsiteX188" fmla="*/ 5782 w 10000"/>
              <a:gd name="connsiteY188" fmla="*/ 85 h 10000"/>
              <a:gd name="connsiteX189" fmla="*/ 5782 w 10000"/>
              <a:gd name="connsiteY189" fmla="*/ 42 h 10000"/>
              <a:gd name="connsiteX190" fmla="*/ 5782 w 10000"/>
              <a:gd name="connsiteY190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3344 w 10000"/>
              <a:gd name="connsiteY148" fmla="*/ 6541 h 10000"/>
              <a:gd name="connsiteX149" fmla="*/ 1951 w 10000"/>
              <a:gd name="connsiteY149" fmla="*/ 6732 h 10000"/>
              <a:gd name="connsiteX150" fmla="*/ 0 w 10000"/>
              <a:gd name="connsiteY150" fmla="*/ 6657 h 10000"/>
              <a:gd name="connsiteX151" fmla="*/ 3 w 10000"/>
              <a:gd name="connsiteY151" fmla="*/ 6409 h 10000"/>
              <a:gd name="connsiteX152" fmla="*/ 159 w 10000"/>
              <a:gd name="connsiteY152" fmla="*/ 6500 h 10000"/>
              <a:gd name="connsiteX153" fmla="*/ 368 w 10000"/>
              <a:gd name="connsiteY153" fmla="*/ 6409 h 10000"/>
              <a:gd name="connsiteX154" fmla="*/ 1462 w 10000"/>
              <a:gd name="connsiteY154" fmla="*/ 6409 h 10000"/>
              <a:gd name="connsiteX155" fmla="*/ 1617 w 10000"/>
              <a:gd name="connsiteY155" fmla="*/ 6364 h 10000"/>
              <a:gd name="connsiteX156" fmla="*/ 1669 w 10000"/>
              <a:gd name="connsiteY156" fmla="*/ 6364 h 10000"/>
              <a:gd name="connsiteX157" fmla="*/ 2189 w 10000"/>
              <a:gd name="connsiteY157" fmla="*/ 5774 h 10000"/>
              <a:gd name="connsiteX158" fmla="*/ 2294 w 10000"/>
              <a:gd name="connsiteY158" fmla="*/ 5682 h 10000"/>
              <a:gd name="connsiteX159" fmla="*/ 2762 w 10000"/>
              <a:gd name="connsiteY159" fmla="*/ 5228 h 10000"/>
              <a:gd name="connsiteX160" fmla="*/ 3023 w 10000"/>
              <a:gd name="connsiteY160" fmla="*/ 4955 h 10000"/>
              <a:gd name="connsiteX161" fmla="*/ 3179 w 10000"/>
              <a:gd name="connsiteY161" fmla="*/ 4818 h 10000"/>
              <a:gd name="connsiteX162" fmla="*/ 3596 w 10000"/>
              <a:gd name="connsiteY162" fmla="*/ 4138 h 10000"/>
              <a:gd name="connsiteX163" fmla="*/ 4116 w 10000"/>
              <a:gd name="connsiteY163" fmla="*/ 3863 h 10000"/>
              <a:gd name="connsiteX164" fmla="*/ 5001 w 10000"/>
              <a:gd name="connsiteY164" fmla="*/ 3090 h 10000"/>
              <a:gd name="connsiteX165" fmla="*/ 4845 w 10000"/>
              <a:gd name="connsiteY165" fmla="*/ 2818 h 10000"/>
              <a:gd name="connsiteX166" fmla="*/ 4794 w 10000"/>
              <a:gd name="connsiteY166" fmla="*/ 2635 h 10000"/>
              <a:gd name="connsiteX167" fmla="*/ 4794 w 10000"/>
              <a:gd name="connsiteY167" fmla="*/ 1362 h 10000"/>
              <a:gd name="connsiteX168" fmla="*/ 4116 w 10000"/>
              <a:gd name="connsiteY168" fmla="*/ 818 h 10000"/>
              <a:gd name="connsiteX169" fmla="*/ 4950 w 10000"/>
              <a:gd name="connsiteY169" fmla="*/ 818 h 10000"/>
              <a:gd name="connsiteX170" fmla="*/ 5782 w 10000"/>
              <a:gd name="connsiteY170" fmla="*/ 818 h 10000"/>
              <a:gd name="connsiteX171" fmla="*/ 5782 w 10000"/>
              <a:gd name="connsiteY171" fmla="*/ 771 h 10000"/>
              <a:gd name="connsiteX172" fmla="*/ 5782 w 10000"/>
              <a:gd name="connsiteY172" fmla="*/ 727 h 10000"/>
              <a:gd name="connsiteX173" fmla="*/ 5782 w 10000"/>
              <a:gd name="connsiteY173" fmla="*/ 686 h 10000"/>
              <a:gd name="connsiteX174" fmla="*/ 5782 w 10000"/>
              <a:gd name="connsiteY174" fmla="*/ 637 h 10000"/>
              <a:gd name="connsiteX175" fmla="*/ 5834 w 10000"/>
              <a:gd name="connsiteY175" fmla="*/ 589 h 10000"/>
              <a:gd name="connsiteX176" fmla="*/ 5834 w 10000"/>
              <a:gd name="connsiteY176" fmla="*/ 542 h 10000"/>
              <a:gd name="connsiteX177" fmla="*/ 5834 w 10000"/>
              <a:gd name="connsiteY177" fmla="*/ 499 h 10000"/>
              <a:gd name="connsiteX178" fmla="*/ 5834 w 10000"/>
              <a:gd name="connsiteY178" fmla="*/ 457 h 10000"/>
              <a:gd name="connsiteX179" fmla="*/ 5834 w 10000"/>
              <a:gd name="connsiteY179" fmla="*/ 414 h 10000"/>
              <a:gd name="connsiteX180" fmla="*/ 5834 w 10000"/>
              <a:gd name="connsiteY180" fmla="*/ 362 h 10000"/>
              <a:gd name="connsiteX181" fmla="*/ 5782 w 10000"/>
              <a:gd name="connsiteY181" fmla="*/ 362 h 10000"/>
              <a:gd name="connsiteX182" fmla="*/ 5782 w 10000"/>
              <a:gd name="connsiteY182" fmla="*/ 313 h 10000"/>
              <a:gd name="connsiteX183" fmla="*/ 5782 w 10000"/>
              <a:gd name="connsiteY183" fmla="*/ 270 h 10000"/>
              <a:gd name="connsiteX184" fmla="*/ 5782 w 10000"/>
              <a:gd name="connsiteY184" fmla="*/ 229 h 10000"/>
              <a:gd name="connsiteX185" fmla="*/ 5782 w 10000"/>
              <a:gd name="connsiteY185" fmla="*/ 186 h 10000"/>
              <a:gd name="connsiteX186" fmla="*/ 5782 w 10000"/>
              <a:gd name="connsiteY186" fmla="*/ 144 h 10000"/>
              <a:gd name="connsiteX187" fmla="*/ 5782 w 10000"/>
              <a:gd name="connsiteY187" fmla="*/ 85 h 10000"/>
              <a:gd name="connsiteX188" fmla="*/ 5782 w 10000"/>
              <a:gd name="connsiteY188" fmla="*/ 42 h 10000"/>
              <a:gd name="connsiteX189" fmla="*/ 5782 w 10000"/>
              <a:gd name="connsiteY189" fmla="*/ 0 h 10000"/>
              <a:gd name="connsiteX0" fmla="*/ 5782 w 10000"/>
              <a:gd name="connsiteY0" fmla="*/ 0 h 10000"/>
              <a:gd name="connsiteX1" fmla="*/ 7345 w 10000"/>
              <a:gd name="connsiteY1" fmla="*/ 42 h 10000"/>
              <a:gd name="connsiteX2" fmla="*/ 7501 w 10000"/>
              <a:gd name="connsiteY2" fmla="*/ 42 h 10000"/>
              <a:gd name="connsiteX3" fmla="*/ 7345 w 10000"/>
              <a:gd name="connsiteY3" fmla="*/ 186 h 10000"/>
              <a:gd name="connsiteX4" fmla="*/ 7293 w 10000"/>
              <a:gd name="connsiteY4" fmla="*/ 589 h 10000"/>
              <a:gd name="connsiteX5" fmla="*/ 7188 w 10000"/>
              <a:gd name="connsiteY5" fmla="*/ 1229 h 10000"/>
              <a:gd name="connsiteX6" fmla="*/ 7136 w 10000"/>
              <a:gd name="connsiteY6" fmla="*/ 1274 h 10000"/>
              <a:gd name="connsiteX7" fmla="*/ 6980 w 10000"/>
              <a:gd name="connsiteY7" fmla="*/ 1635 h 10000"/>
              <a:gd name="connsiteX8" fmla="*/ 7396 w 10000"/>
              <a:gd name="connsiteY8" fmla="*/ 3317 h 10000"/>
              <a:gd name="connsiteX9" fmla="*/ 7501 w 10000"/>
              <a:gd name="connsiteY9" fmla="*/ 3637 h 10000"/>
              <a:gd name="connsiteX10" fmla="*/ 7345 w 10000"/>
              <a:gd name="connsiteY10" fmla="*/ 3912 h 10000"/>
              <a:gd name="connsiteX11" fmla="*/ 8022 w 10000"/>
              <a:gd name="connsiteY11" fmla="*/ 4091 h 10000"/>
              <a:gd name="connsiteX12" fmla="*/ 8489 w 10000"/>
              <a:gd name="connsiteY12" fmla="*/ 4591 h 10000"/>
              <a:gd name="connsiteX13" fmla="*/ 8594 w 10000"/>
              <a:gd name="connsiteY13" fmla="*/ 4681 h 10000"/>
              <a:gd name="connsiteX14" fmla="*/ 8906 w 10000"/>
              <a:gd name="connsiteY14" fmla="*/ 4908 h 10000"/>
              <a:gd name="connsiteX15" fmla="*/ 9114 w 10000"/>
              <a:gd name="connsiteY15" fmla="*/ 5182 h 10000"/>
              <a:gd name="connsiteX16" fmla="*/ 9219 w 10000"/>
              <a:gd name="connsiteY16" fmla="*/ 5319 h 10000"/>
              <a:gd name="connsiteX17" fmla="*/ 9427 w 10000"/>
              <a:gd name="connsiteY17" fmla="*/ 5319 h 10000"/>
              <a:gd name="connsiteX18" fmla="*/ 9427 w 10000"/>
              <a:gd name="connsiteY18" fmla="*/ 5364 h 10000"/>
              <a:gd name="connsiteX19" fmla="*/ 9479 w 10000"/>
              <a:gd name="connsiteY19" fmla="*/ 5455 h 10000"/>
              <a:gd name="connsiteX20" fmla="*/ 9479 w 10000"/>
              <a:gd name="connsiteY20" fmla="*/ 5501 h 10000"/>
              <a:gd name="connsiteX21" fmla="*/ 9532 w 10000"/>
              <a:gd name="connsiteY21" fmla="*/ 5682 h 10000"/>
              <a:gd name="connsiteX22" fmla="*/ 9532 w 10000"/>
              <a:gd name="connsiteY22" fmla="*/ 5728 h 10000"/>
              <a:gd name="connsiteX23" fmla="*/ 9532 w 10000"/>
              <a:gd name="connsiteY23" fmla="*/ 5864 h 10000"/>
              <a:gd name="connsiteX24" fmla="*/ 9532 w 10000"/>
              <a:gd name="connsiteY24" fmla="*/ 5953 h 10000"/>
              <a:gd name="connsiteX25" fmla="*/ 9479 w 10000"/>
              <a:gd name="connsiteY25" fmla="*/ 6047 h 10000"/>
              <a:gd name="connsiteX26" fmla="*/ 9427 w 10000"/>
              <a:gd name="connsiteY26" fmla="*/ 6321 h 10000"/>
              <a:gd name="connsiteX27" fmla="*/ 9375 w 10000"/>
              <a:gd name="connsiteY27" fmla="*/ 6364 h 10000"/>
              <a:gd name="connsiteX28" fmla="*/ 9322 w 10000"/>
              <a:gd name="connsiteY28" fmla="*/ 6409 h 10000"/>
              <a:gd name="connsiteX29" fmla="*/ 9271 w 10000"/>
              <a:gd name="connsiteY29" fmla="*/ 6592 h 10000"/>
              <a:gd name="connsiteX30" fmla="*/ 9219 w 10000"/>
              <a:gd name="connsiteY30" fmla="*/ 6681 h 10000"/>
              <a:gd name="connsiteX31" fmla="*/ 9219 w 10000"/>
              <a:gd name="connsiteY31" fmla="*/ 6775 h 10000"/>
              <a:gd name="connsiteX32" fmla="*/ 9219 w 10000"/>
              <a:gd name="connsiteY32" fmla="*/ 6819 h 10000"/>
              <a:gd name="connsiteX33" fmla="*/ 9219 w 10000"/>
              <a:gd name="connsiteY33" fmla="*/ 6954 h 10000"/>
              <a:gd name="connsiteX34" fmla="*/ 9271 w 10000"/>
              <a:gd name="connsiteY34" fmla="*/ 7093 h 10000"/>
              <a:gd name="connsiteX35" fmla="*/ 9895 w 10000"/>
              <a:gd name="connsiteY35" fmla="*/ 7093 h 10000"/>
              <a:gd name="connsiteX36" fmla="*/ 9895 w 10000"/>
              <a:gd name="connsiteY36" fmla="*/ 7181 h 10000"/>
              <a:gd name="connsiteX37" fmla="*/ 9948 w 10000"/>
              <a:gd name="connsiteY37" fmla="*/ 7501 h 10000"/>
              <a:gd name="connsiteX38" fmla="*/ 9948 w 10000"/>
              <a:gd name="connsiteY38" fmla="*/ 7547 h 10000"/>
              <a:gd name="connsiteX39" fmla="*/ 9948 w 10000"/>
              <a:gd name="connsiteY39" fmla="*/ 7681 h 10000"/>
              <a:gd name="connsiteX40" fmla="*/ 9948 w 10000"/>
              <a:gd name="connsiteY40" fmla="*/ 7730 h 10000"/>
              <a:gd name="connsiteX41" fmla="*/ 9948 w 10000"/>
              <a:gd name="connsiteY41" fmla="*/ 7819 h 10000"/>
              <a:gd name="connsiteX42" fmla="*/ 9948 w 10000"/>
              <a:gd name="connsiteY42" fmla="*/ 7864 h 10000"/>
              <a:gd name="connsiteX43" fmla="*/ 9948 w 10000"/>
              <a:gd name="connsiteY43" fmla="*/ 7909 h 10000"/>
              <a:gd name="connsiteX44" fmla="*/ 9948 w 10000"/>
              <a:gd name="connsiteY44" fmla="*/ 7956 h 10000"/>
              <a:gd name="connsiteX45" fmla="*/ 10000 w 10000"/>
              <a:gd name="connsiteY45" fmla="*/ 8045 h 10000"/>
              <a:gd name="connsiteX46" fmla="*/ 10000 w 10000"/>
              <a:gd name="connsiteY46" fmla="*/ 8183 h 10000"/>
              <a:gd name="connsiteX47" fmla="*/ 10000 w 10000"/>
              <a:gd name="connsiteY47" fmla="*/ 8229 h 10000"/>
              <a:gd name="connsiteX48" fmla="*/ 10000 w 10000"/>
              <a:gd name="connsiteY48" fmla="*/ 8273 h 10000"/>
              <a:gd name="connsiteX49" fmla="*/ 10000 w 10000"/>
              <a:gd name="connsiteY49" fmla="*/ 8319 h 10000"/>
              <a:gd name="connsiteX50" fmla="*/ 10000 w 10000"/>
              <a:gd name="connsiteY50" fmla="*/ 8411 h 10000"/>
              <a:gd name="connsiteX51" fmla="*/ 10000 w 10000"/>
              <a:gd name="connsiteY51" fmla="*/ 8457 h 10000"/>
              <a:gd name="connsiteX52" fmla="*/ 10000 w 10000"/>
              <a:gd name="connsiteY52" fmla="*/ 8500 h 10000"/>
              <a:gd name="connsiteX53" fmla="*/ 10000 w 10000"/>
              <a:gd name="connsiteY53" fmla="*/ 8590 h 10000"/>
              <a:gd name="connsiteX54" fmla="*/ 10000 w 10000"/>
              <a:gd name="connsiteY54" fmla="*/ 8819 h 10000"/>
              <a:gd name="connsiteX55" fmla="*/ 10000 w 10000"/>
              <a:gd name="connsiteY55" fmla="*/ 8864 h 10000"/>
              <a:gd name="connsiteX56" fmla="*/ 10000 w 10000"/>
              <a:gd name="connsiteY56" fmla="*/ 8956 h 10000"/>
              <a:gd name="connsiteX57" fmla="*/ 10000 w 10000"/>
              <a:gd name="connsiteY57" fmla="*/ 9000 h 10000"/>
              <a:gd name="connsiteX58" fmla="*/ 10000 w 10000"/>
              <a:gd name="connsiteY58" fmla="*/ 9046 h 10000"/>
              <a:gd name="connsiteX59" fmla="*/ 10000 w 10000"/>
              <a:gd name="connsiteY59" fmla="*/ 9092 h 10000"/>
              <a:gd name="connsiteX60" fmla="*/ 10000 w 10000"/>
              <a:gd name="connsiteY60" fmla="*/ 9135 h 10000"/>
              <a:gd name="connsiteX61" fmla="*/ 10000 w 10000"/>
              <a:gd name="connsiteY61" fmla="*/ 9228 h 10000"/>
              <a:gd name="connsiteX62" fmla="*/ 10000 w 10000"/>
              <a:gd name="connsiteY62" fmla="*/ 9319 h 10000"/>
              <a:gd name="connsiteX63" fmla="*/ 10000 w 10000"/>
              <a:gd name="connsiteY63" fmla="*/ 9363 h 10000"/>
              <a:gd name="connsiteX64" fmla="*/ 10000 w 10000"/>
              <a:gd name="connsiteY64" fmla="*/ 9411 h 10000"/>
              <a:gd name="connsiteX65" fmla="*/ 9948 w 10000"/>
              <a:gd name="connsiteY65" fmla="*/ 9411 h 10000"/>
              <a:gd name="connsiteX66" fmla="*/ 9948 w 10000"/>
              <a:gd name="connsiteY66" fmla="*/ 9454 h 10000"/>
              <a:gd name="connsiteX67" fmla="*/ 9895 w 10000"/>
              <a:gd name="connsiteY67" fmla="*/ 9502 h 10000"/>
              <a:gd name="connsiteX68" fmla="*/ 9844 w 10000"/>
              <a:gd name="connsiteY68" fmla="*/ 9502 h 10000"/>
              <a:gd name="connsiteX69" fmla="*/ 9844 w 10000"/>
              <a:gd name="connsiteY69" fmla="*/ 9548 h 10000"/>
              <a:gd name="connsiteX70" fmla="*/ 9792 w 10000"/>
              <a:gd name="connsiteY70" fmla="*/ 9548 h 10000"/>
              <a:gd name="connsiteX71" fmla="*/ 9740 w 10000"/>
              <a:gd name="connsiteY71" fmla="*/ 9592 h 10000"/>
              <a:gd name="connsiteX72" fmla="*/ 9687 w 10000"/>
              <a:gd name="connsiteY72" fmla="*/ 9635 h 10000"/>
              <a:gd name="connsiteX73" fmla="*/ 9635 w 10000"/>
              <a:gd name="connsiteY73" fmla="*/ 9635 h 10000"/>
              <a:gd name="connsiteX74" fmla="*/ 9635 w 10000"/>
              <a:gd name="connsiteY74" fmla="*/ 9683 h 10000"/>
              <a:gd name="connsiteX75" fmla="*/ 9583 w 10000"/>
              <a:gd name="connsiteY75" fmla="*/ 9683 h 10000"/>
              <a:gd name="connsiteX76" fmla="*/ 9532 w 10000"/>
              <a:gd name="connsiteY76" fmla="*/ 9683 h 10000"/>
              <a:gd name="connsiteX77" fmla="*/ 9479 w 10000"/>
              <a:gd name="connsiteY77" fmla="*/ 9683 h 10000"/>
              <a:gd name="connsiteX78" fmla="*/ 9427 w 10000"/>
              <a:gd name="connsiteY78" fmla="*/ 9683 h 10000"/>
              <a:gd name="connsiteX79" fmla="*/ 9375 w 10000"/>
              <a:gd name="connsiteY79" fmla="*/ 9683 h 10000"/>
              <a:gd name="connsiteX80" fmla="*/ 9322 w 10000"/>
              <a:gd name="connsiteY80" fmla="*/ 9683 h 10000"/>
              <a:gd name="connsiteX81" fmla="*/ 9271 w 10000"/>
              <a:gd name="connsiteY81" fmla="*/ 9683 h 10000"/>
              <a:gd name="connsiteX82" fmla="*/ 9271 w 10000"/>
              <a:gd name="connsiteY82" fmla="*/ 9727 h 10000"/>
              <a:gd name="connsiteX83" fmla="*/ 9219 w 10000"/>
              <a:gd name="connsiteY83" fmla="*/ 9774 h 10000"/>
              <a:gd name="connsiteX84" fmla="*/ 9167 w 10000"/>
              <a:gd name="connsiteY84" fmla="*/ 9820 h 10000"/>
              <a:gd name="connsiteX85" fmla="*/ 9219 w 10000"/>
              <a:gd name="connsiteY85" fmla="*/ 9820 h 10000"/>
              <a:gd name="connsiteX86" fmla="*/ 9167 w 10000"/>
              <a:gd name="connsiteY86" fmla="*/ 9820 h 10000"/>
              <a:gd name="connsiteX87" fmla="*/ 9114 w 10000"/>
              <a:gd name="connsiteY87" fmla="*/ 9820 h 10000"/>
              <a:gd name="connsiteX88" fmla="*/ 9062 w 10000"/>
              <a:gd name="connsiteY88" fmla="*/ 9864 h 10000"/>
              <a:gd name="connsiteX89" fmla="*/ 9011 w 10000"/>
              <a:gd name="connsiteY89" fmla="*/ 9909 h 10000"/>
              <a:gd name="connsiteX90" fmla="*/ 8959 w 10000"/>
              <a:gd name="connsiteY90" fmla="*/ 9909 h 10000"/>
              <a:gd name="connsiteX91" fmla="*/ 8959 w 10000"/>
              <a:gd name="connsiteY91" fmla="*/ 9955 h 10000"/>
              <a:gd name="connsiteX92" fmla="*/ 8906 w 10000"/>
              <a:gd name="connsiteY92" fmla="*/ 9955 h 10000"/>
              <a:gd name="connsiteX93" fmla="*/ 8906 w 10000"/>
              <a:gd name="connsiteY93" fmla="*/ 10000 h 10000"/>
              <a:gd name="connsiteX94" fmla="*/ 8854 w 10000"/>
              <a:gd name="connsiteY94" fmla="*/ 10000 h 10000"/>
              <a:gd name="connsiteX95" fmla="*/ 8802 w 10000"/>
              <a:gd name="connsiteY95" fmla="*/ 10000 h 10000"/>
              <a:gd name="connsiteX96" fmla="*/ 8749 w 10000"/>
              <a:gd name="connsiteY96" fmla="*/ 10000 h 10000"/>
              <a:gd name="connsiteX97" fmla="*/ 8698 w 10000"/>
              <a:gd name="connsiteY97" fmla="*/ 10000 h 10000"/>
              <a:gd name="connsiteX98" fmla="*/ 8646 w 10000"/>
              <a:gd name="connsiteY98" fmla="*/ 10000 h 10000"/>
              <a:gd name="connsiteX99" fmla="*/ 8646 w 10000"/>
              <a:gd name="connsiteY99" fmla="*/ 9955 h 10000"/>
              <a:gd name="connsiteX100" fmla="*/ 8646 w 10000"/>
              <a:gd name="connsiteY100" fmla="*/ 9909 h 10000"/>
              <a:gd name="connsiteX101" fmla="*/ 8594 w 10000"/>
              <a:gd name="connsiteY101" fmla="*/ 9864 h 10000"/>
              <a:gd name="connsiteX102" fmla="*/ 8594 w 10000"/>
              <a:gd name="connsiteY102" fmla="*/ 9820 h 10000"/>
              <a:gd name="connsiteX103" fmla="*/ 8594 w 10000"/>
              <a:gd name="connsiteY103" fmla="*/ 9774 h 10000"/>
              <a:gd name="connsiteX104" fmla="*/ 8541 w 10000"/>
              <a:gd name="connsiteY104" fmla="*/ 9774 h 10000"/>
              <a:gd name="connsiteX105" fmla="*/ 8489 w 10000"/>
              <a:gd name="connsiteY105" fmla="*/ 9774 h 10000"/>
              <a:gd name="connsiteX106" fmla="*/ 8489 w 10000"/>
              <a:gd name="connsiteY106" fmla="*/ 9727 h 10000"/>
              <a:gd name="connsiteX107" fmla="*/ 8438 w 10000"/>
              <a:gd name="connsiteY107" fmla="*/ 9727 h 10000"/>
              <a:gd name="connsiteX108" fmla="*/ 8386 w 10000"/>
              <a:gd name="connsiteY108" fmla="*/ 9774 h 10000"/>
              <a:gd name="connsiteX109" fmla="*/ 8386 w 10000"/>
              <a:gd name="connsiteY109" fmla="*/ 9820 h 10000"/>
              <a:gd name="connsiteX110" fmla="*/ 8282 w 10000"/>
              <a:gd name="connsiteY110" fmla="*/ 9774 h 10000"/>
              <a:gd name="connsiteX111" fmla="*/ 8282 w 10000"/>
              <a:gd name="connsiteY111" fmla="*/ 9727 h 10000"/>
              <a:gd name="connsiteX112" fmla="*/ 8230 w 10000"/>
              <a:gd name="connsiteY112" fmla="*/ 9727 h 10000"/>
              <a:gd name="connsiteX113" fmla="*/ 8179 w 10000"/>
              <a:gd name="connsiteY113" fmla="*/ 9727 h 10000"/>
              <a:gd name="connsiteX114" fmla="*/ 8126 w 10000"/>
              <a:gd name="connsiteY114" fmla="*/ 9727 h 10000"/>
              <a:gd name="connsiteX115" fmla="*/ 8074 w 10000"/>
              <a:gd name="connsiteY115" fmla="*/ 9727 h 10000"/>
              <a:gd name="connsiteX116" fmla="*/ 8022 w 10000"/>
              <a:gd name="connsiteY116" fmla="*/ 9727 h 10000"/>
              <a:gd name="connsiteX117" fmla="*/ 8022 w 10000"/>
              <a:gd name="connsiteY117" fmla="*/ 9774 h 10000"/>
              <a:gd name="connsiteX118" fmla="*/ 7969 w 10000"/>
              <a:gd name="connsiteY118" fmla="*/ 9774 h 10000"/>
              <a:gd name="connsiteX119" fmla="*/ 7917 w 10000"/>
              <a:gd name="connsiteY119" fmla="*/ 9820 h 10000"/>
              <a:gd name="connsiteX120" fmla="*/ 7866 w 10000"/>
              <a:gd name="connsiteY120" fmla="*/ 9820 h 10000"/>
              <a:gd name="connsiteX121" fmla="*/ 7866 w 10000"/>
              <a:gd name="connsiteY121" fmla="*/ 9774 h 10000"/>
              <a:gd name="connsiteX122" fmla="*/ 7866 w 10000"/>
              <a:gd name="connsiteY122" fmla="*/ 9820 h 10000"/>
              <a:gd name="connsiteX123" fmla="*/ 7814 w 10000"/>
              <a:gd name="connsiteY123" fmla="*/ 9820 h 10000"/>
              <a:gd name="connsiteX124" fmla="*/ 7761 w 10000"/>
              <a:gd name="connsiteY124" fmla="*/ 9864 h 10000"/>
              <a:gd name="connsiteX125" fmla="*/ 7709 w 10000"/>
              <a:gd name="connsiteY125" fmla="*/ 9820 h 10000"/>
              <a:gd name="connsiteX126" fmla="*/ 7657 w 10000"/>
              <a:gd name="connsiteY126" fmla="*/ 9820 h 10000"/>
              <a:gd name="connsiteX127" fmla="*/ 7606 w 10000"/>
              <a:gd name="connsiteY127" fmla="*/ 9820 h 10000"/>
              <a:gd name="connsiteX128" fmla="*/ 7553 w 10000"/>
              <a:gd name="connsiteY128" fmla="*/ 9774 h 10000"/>
              <a:gd name="connsiteX129" fmla="*/ 7501 w 10000"/>
              <a:gd name="connsiteY129" fmla="*/ 9774 h 10000"/>
              <a:gd name="connsiteX130" fmla="*/ 7501 w 10000"/>
              <a:gd name="connsiteY130" fmla="*/ 9820 h 10000"/>
              <a:gd name="connsiteX131" fmla="*/ 7449 w 10000"/>
              <a:gd name="connsiteY131" fmla="*/ 9820 h 10000"/>
              <a:gd name="connsiteX132" fmla="*/ 7396 w 10000"/>
              <a:gd name="connsiteY132" fmla="*/ 9774 h 10000"/>
              <a:gd name="connsiteX133" fmla="*/ 7345 w 10000"/>
              <a:gd name="connsiteY133" fmla="*/ 9774 h 10000"/>
              <a:gd name="connsiteX134" fmla="*/ 7293 w 10000"/>
              <a:gd name="connsiteY134" fmla="*/ 9864 h 10000"/>
              <a:gd name="connsiteX135" fmla="*/ 7312 w 10000"/>
              <a:gd name="connsiteY135" fmla="*/ 9075 h 10000"/>
              <a:gd name="connsiteX136" fmla="*/ 7152 w 10000"/>
              <a:gd name="connsiteY136" fmla="*/ 8783 h 10000"/>
              <a:gd name="connsiteX137" fmla="*/ 7344 w 10000"/>
              <a:gd name="connsiteY137" fmla="*/ 8023 h 10000"/>
              <a:gd name="connsiteX138" fmla="*/ 7136 w 10000"/>
              <a:gd name="connsiteY138" fmla="*/ 7653 h 10000"/>
              <a:gd name="connsiteX139" fmla="*/ 6544 w 10000"/>
              <a:gd name="connsiteY139" fmla="*/ 7533 h 10000"/>
              <a:gd name="connsiteX140" fmla="*/ 5775 w 10000"/>
              <a:gd name="connsiteY140" fmla="*/ 7496 h 10000"/>
              <a:gd name="connsiteX141" fmla="*/ 5311 w 10000"/>
              <a:gd name="connsiteY141" fmla="*/ 7379 h 10000"/>
              <a:gd name="connsiteX142" fmla="*/ 5071 w 10000"/>
              <a:gd name="connsiteY142" fmla="*/ 7263 h 10000"/>
              <a:gd name="connsiteX143" fmla="*/ 4912 w 10000"/>
              <a:gd name="connsiteY143" fmla="*/ 7361 h 10000"/>
              <a:gd name="connsiteX144" fmla="*/ 4416 w 10000"/>
              <a:gd name="connsiteY144" fmla="*/ 7182 h 10000"/>
              <a:gd name="connsiteX145" fmla="*/ 3584 w 10000"/>
              <a:gd name="connsiteY145" fmla="*/ 6873 h 10000"/>
              <a:gd name="connsiteX146" fmla="*/ 3104 w 10000"/>
              <a:gd name="connsiteY146" fmla="*/ 6813 h 10000"/>
              <a:gd name="connsiteX147" fmla="*/ 3200 w 10000"/>
              <a:gd name="connsiteY147" fmla="*/ 6598 h 10000"/>
              <a:gd name="connsiteX148" fmla="*/ 1951 w 10000"/>
              <a:gd name="connsiteY148" fmla="*/ 6732 h 10000"/>
              <a:gd name="connsiteX149" fmla="*/ 0 w 10000"/>
              <a:gd name="connsiteY149" fmla="*/ 6657 h 10000"/>
              <a:gd name="connsiteX150" fmla="*/ 3 w 10000"/>
              <a:gd name="connsiteY150" fmla="*/ 6409 h 10000"/>
              <a:gd name="connsiteX151" fmla="*/ 159 w 10000"/>
              <a:gd name="connsiteY151" fmla="*/ 6500 h 10000"/>
              <a:gd name="connsiteX152" fmla="*/ 368 w 10000"/>
              <a:gd name="connsiteY152" fmla="*/ 6409 h 10000"/>
              <a:gd name="connsiteX153" fmla="*/ 1462 w 10000"/>
              <a:gd name="connsiteY153" fmla="*/ 6409 h 10000"/>
              <a:gd name="connsiteX154" fmla="*/ 1617 w 10000"/>
              <a:gd name="connsiteY154" fmla="*/ 6364 h 10000"/>
              <a:gd name="connsiteX155" fmla="*/ 1669 w 10000"/>
              <a:gd name="connsiteY155" fmla="*/ 6364 h 10000"/>
              <a:gd name="connsiteX156" fmla="*/ 2189 w 10000"/>
              <a:gd name="connsiteY156" fmla="*/ 5774 h 10000"/>
              <a:gd name="connsiteX157" fmla="*/ 2294 w 10000"/>
              <a:gd name="connsiteY157" fmla="*/ 5682 h 10000"/>
              <a:gd name="connsiteX158" fmla="*/ 2762 w 10000"/>
              <a:gd name="connsiteY158" fmla="*/ 5228 h 10000"/>
              <a:gd name="connsiteX159" fmla="*/ 3023 w 10000"/>
              <a:gd name="connsiteY159" fmla="*/ 4955 h 10000"/>
              <a:gd name="connsiteX160" fmla="*/ 3179 w 10000"/>
              <a:gd name="connsiteY160" fmla="*/ 4818 h 10000"/>
              <a:gd name="connsiteX161" fmla="*/ 3596 w 10000"/>
              <a:gd name="connsiteY161" fmla="*/ 4138 h 10000"/>
              <a:gd name="connsiteX162" fmla="*/ 4116 w 10000"/>
              <a:gd name="connsiteY162" fmla="*/ 3863 h 10000"/>
              <a:gd name="connsiteX163" fmla="*/ 5001 w 10000"/>
              <a:gd name="connsiteY163" fmla="*/ 3090 h 10000"/>
              <a:gd name="connsiteX164" fmla="*/ 4845 w 10000"/>
              <a:gd name="connsiteY164" fmla="*/ 2818 h 10000"/>
              <a:gd name="connsiteX165" fmla="*/ 4794 w 10000"/>
              <a:gd name="connsiteY165" fmla="*/ 2635 h 10000"/>
              <a:gd name="connsiteX166" fmla="*/ 4794 w 10000"/>
              <a:gd name="connsiteY166" fmla="*/ 1362 h 10000"/>
              <a:gd name="connsiteX167" fmla="*/ 4116 w 10000"/>
              <a:gd name="connsiteY167" fmla="*/ 818 h 10000"/>
              <a:gd name="connsiteX168" fmla="*/ 4950 w 10000"/>
              <a:gd name="connsiteY168" fmla="*/ 818 h 10000"/>
              <a:gd name="connsiteX169" fmla="*/ 5782 w 10000"/>
              <a:gd name="connsiteY169" fmla="*/ 818 h 10000"/>
              <a:gd name="connsiteX170" fmla="*/ 5782 w 10000"/>
              <a:gd name="connsiteY170" fmla="*/ 771 h 10000"/>
              <a:gd name="connsiteX171" fmla="*/ 5782 w 10000"/>
              <a:gd name="connsiteY171" fmla="*/ 727 h 10000"/>
              <a:gd name="connsiteX172" fmla="*/ 5782 w 10000"/>
              <a:gd name="connsiteY172" fmla="*/ 686 h 10000"/>
              <a:gd name="connsiteX173" fmla="*/ 5782 w 10000"/>
              <a:gd name="connsiteY173" fmla="*/ 637 h 10000"/>
              <a:gd name="connsiteX174" fmla="*/ 5834 w 10000"/>
              <a:gd name="connsiteY174" fmla="*/ 589 h 10000"/>
              <a:gd name="connsiteX175" fmla="*/ 5834 w 10000"/>
              <a:gd name="connsiteY175" fmla="*/ 542 h 10000"/>
              <a:gd name="connsiteX176" fmla="*/ 5834 w 10000"/>
              <a:gd name="connsiteY176" fmla="*/ 499 h 10000"/>
              <a:gd name="connsiteX177" fmla="*/ 5834 w 10000"/>
              <a:gd name="connsiteY177" fmla="*/ 457 h 10000"/>
              <a:gd name="connsiteX178" fmla="*/ 5834 w 10000"/>
              <a:gd name="connsiteY178" fmla="*/ 414 h 10000"/>
              <a:gd name="connsiteX179" fmla="*/ 5834 w 10000"/>
              <a:gd name="connsiteY179" fmla="*/ 362 h 10000"/>
              <a:gd name="connsiteX180" fmla="*/ 5782 w 10000"/>
              <a:gd name="connsiteY180" fmla="*/ 362 h 10000"/>
              <a:gd name="connsiteX181" fmla="*/ 5782 w 10000"/>
              <a:gd name="connsiteY181" fmla="*/ 313 h 10000"/>
              <a:gd name="connsiteX182" fmla="*/ 5782 w 10000"/>
              <a:gd name="connsiteY182" fmla="*/ 270 h 10000"/>
              <a:gd name="connsiteX183" fmla="*/ 5782 w 10000"/>
              <a:gd name="connsiteY183" fmla="*/ 229 h 10000"/>
              <a:gd name="connsiteX184" fmla="*/ 5782 w 10000"/>
              <a:gd name="connsiteY184" fmla="*/ 186 h 10000"/>
              <a:gd name="connsiteX185" fmla="*/ 5782 w 10000"/>
              <a:gd name="connsiteY185" fmla="*/ 144 h 10000"/>
              <a:gd name="connsiteX186" fmla="*/ 5782 w 10000"/>
              <a:gd name="connsiteY186" fmla="*/ 85 h 10000"/>
              <a:gd name="connsiteX187" fmla="*/ 5782 w 10000"/>
              <a:gd name="connsiteY187" fmla="*/ 42 h 10000"/>
              <a:gd name="connsiteX188" fmla="*/ 5782 w 10000"/>
              <a:gd name="connsiteY188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</a:cxnLst>
            <a:rect l="l" t="t" r="r" b="b"/>
            <a:pathLst>
              <a:path w="10000" h="10000">
                <a:moveTo>
                  <a:pt x="5782" y="0"/>
                </a:moveTo>
                <a:lnTo>
                  <a:pt x="7345" y="42"/>
                </a:lnTo>
                <a:lnTo>
                  <a:pt x="7501" y="42"/>
                </a:lnTo>
                <a:lnTo>
                  <a:pt x="7345" y="186"/>
                </a:lnTo>
                <a:cubicBezTo>
                  <a:pt x="7328" y="315"/>
                  <a:pt x="7310" y="455"/>
                  <a:pt x="7293" y="589"/>
                </a:cubicBezTo>
                <a:cubicBezTo>
                  <a:pt x="7258" y="801"/>
                  <a:pt x="7224" y="1016"/>
                  <a:pt x="7188" y="1229"/>
                </a:cubicBezTo>
                <a:cubicBezTo>
                  <a:pt x="7171" y="1244"/>
                  <a:pt x="7153" y="1258"/>
                  <a:pt x="7136" y="1274"/>
                </a:cubicBezTo>
                <a:cubicBezTo>
                  <a:pt x="7084" y="1392"/>
                  <a:pt x="7033" y="1518"/>
                  <a:pt x="6980" y="1635"/>
                </a:cubicBezTo>
                <a:cubicBezTo>
                  <a:pt x="7119" y="2195"/>
                  <a:pt x="7257" y="2757"/>
                  <a:pt x="7396" y="3317"/>
                </a:cubicBezTo>
                <a:cubicBezTo>
                  <a:pt x="7432" y="3426"/>
                  <a:pt x="7466" y="3530"/>
                  <a:pt x="7501" y="3637"/>
                </a:cubicBezTo>
                <a:lnTo>
                  <a:pt x="7345" y="3912"/>
                </a:lnTo>
                <a:lnTo>
                  <a:pt x="8022" y="4091"/>
                </a:lnTo>
                <a:lnTo>
                  <a:pt x="8489" y="4591"/>
                </a:lnTo>
                <a:lnTo>
                  <a:pt x="8594" y="4681"/>
                </a:lnTo>
                <a:lnTo>
                  <a:pt x="8906" y="4908"/>
                </a:lnTo>
                <a:cubicBezTo>
                  <a:pt x="8975" y="5002"/>
                  <a:pt x="9045" y="5090"/>
                  <a:pt x="9114" y="5182"/>
                </a:cubicBezTo>
                <a:cubicBezTo>
                  <a:pt x="9150" y="5228"/>
                  <a:pt x="9184" y="5274"/>
                  <a:pt x="9219" y="5319"/>
                </a:cubicBezTo>
                <a:lnTo>
                  <a:pt x="9427" y="5319"/>
                </a:lnTo>
                <a:lnTo>
                  <a:pt x="9427" y="5364"/>
                </a:lnTo>
                <a:cubicBezTo>
                  <a:pt x="9444" y="5394"/>
                  <a:pt x="9462" y="5425"/>
                  <a:pt x="9479" y="5455"/>
                </a:cubicBezTo>
                <a:lnTo>
                  <a:pt x="9479" y="5501"/>
                </a:lnTo>
                <a:cubicBezTo>
                  <a:pt x="9496" y="5561"/>
                  <a:pt x="9514" y="5621"/>
                  <a:pt x="9532" y="5682"/>
                </a:cubicBezTo>
                <a:lnTo>
                  <a:pt x="9532" y="5728"/>
                </a:lnTo>
                <a:lnTo>
                  <a:pt x="9532" y="5864"/>
                </a:lnTo>
                <a:lnTo>
                  <a:pt x="9532" y="5953"/>
                </a:lnTo>
                <a:cubicBezTo>
                  <a:pt x="9514" y="5984"/>
                  <a:pt x="9497" y="6016"/>
                  <a:pt x="9479" y="6047"/>
                </a:cubicBezTo>
                <a:cubicBezTo>
                  <a:pt x="9462" y="6137"/>
                  <a:pt x="9444" y="6226"/>
                  <a:pt x="9427" y="6321"/>
                </a:cubicBezTo>
                <a:cubicBezTo>
                  <a:pt x="9410" y="6335"/>
                  <a:pt x="9392" y="6349"/>
                  <a:pt x="9375" y="6364"/>
                </a:cubicBezTo>
                <a:cubicBezTo>
                  <a:pt x="9358" y="6379"/>
                  <a:pt x="9340" y="6395"/>
                  <a:pt x="9322" y="6409"/>
                </a:cubicBezTo>
                <a:cubicBezTo>
                  <a:pt x="9305" y="6468"/>
                  <a:pt x="9288" y="6532"/>
                  <a:pt x="9271" y="6592"/>
                </a:cubicBezTo>
                <a:cubicBezTo>
                  <a:pt x="9254" y="6622"/>
                  <a:pt x="9236" y="6651"/>
                  <a:pt x="9219" y="6681"/>
                </a:cubicBezTo>
                <a:lnTo>
                  <a:pt x="9219" y="6775"/>
                </a:lnTo>
                <a:lnTo>
                  <a:pt x="9219" y="6819"/>
                </a:lnTo>
                <a:lnTo>
                  <a:pt x="9219" y="6954"/>
                </a:lnTo>
                <a:cubicBezTo>
                  <a:pt x="9236" y="7000"/>
                  <a:pt x="9254" y="7046"/>
                  <a:pt x="9271" y="7093"/>
                </a:cubicBezTo>
                <a:lnTo>
                  <a:pt x="9895" y="7093"/>
                </a:lnTo>
                <a:lnTo>
                  <a:pt x="9895" y="7181"/>
                </a:lnTo>
                <a:cubicBezTo>
                  <a:pt x="9913" y="7289"/>
                  <a:pt x="9931" y="7394"/>
                  <a:pt x="9948" y="7501"/>
                </a:cubicBezTo>
                <a:lnTo>
                  <a:pt x="9948" y="7547"/>
                </a:lnTo>
                <a:lnTo>
                  <a:pt x="9948" y="7681"/>
                </a:lnTo>
                <a:lnTo>
                  <a:pt x="9948" y="7730"/>
                </a:lnTo>
                <a:lnTo>
                  <a:pt x="9948" y="7819"/>
                </a:lnTo>
                <a:lnTo>
                  <a:pt x="9948" y="7864"/>
                </a:lnTo>
                <a:lnTo>
                  <a:pt x="9948" y="7909"/>
                </a:lnTo>
                <a:lnTo>
                  <a:pt x="9948" y="7956"/>
                </a:lnTo>
                <a:cubicBezTo>
                  <a:pt x="9965" y="7987"/>
                  <a:pt x="9983" y="8015"/>
                  <a:pt x="10000" y="8045"/>
                </a:cubicBezTo>
                <a:lnTo>
                  <a:pt x="10000" y="8183"/>
                </a:lnTo>
                <a:lnTo>
                  <a:pt x="10000" y="8229"/>
                </a:lnTo>
                <a:lnTo>
                  <a:pt x="10000" y="8273"/>
                </a:lnTo>
                <a:lnTo>
                  <a:pt x="10000" y="8319"/>
                </a:lnTo>
                <a:lnTo>
                  <a:pt x="10000" y="8411"/>
                </a:lnTo>
                <a:lnTo>
                  <a:pt x="10000" y="8457"/>
                </a:lnTo>
                <a:lnTo>
                  <a:pt x="10000" y="8500"/>
                </a:lnTo>
                <a:lnTo>
                  <a:pt x="10000" y="8590"/>
                </a:lnTo>
                <a:lnTo>
                  <a:pt x="10000" y="8819"/>
                </a:lnTo>
                <a:lnTo>
                  <a:pt x="10000" y="8864"/>
                </a:lnTo>
                <a:lnTo>
                  <a:pt x="10000" y="8956"/>
                </a:lnTo>
                <a:lnTo>
                  <a:pt x="10000" y="9000"/>
                </a:lnTo>
                <a:lnTo>
                  <a:pt x="10000" y="9046"/>
                </a:lnTo>
                <a:lnTo>
                  <a:pt x="10000" y="9092"/>
                </a:lnTo>
                <a:lnTo>
                  <a:pt x="10000" y="9135"/>
                </a:lnTo>
                <a:lnTo>
                  <a:pt x="10000" y="9228"/>
                </a:lnTo>
                <a:lnTo>
                  <a:pt x="10000" y="9319"/>
                </a:lnTo>
                <a:lnTo>
                  <a:pt x="10000" y="9363"/>
                </a:lnTo>
                <a:lnTo>
                  <a:pt x="10000" y="9411"/>
                </a:lnTo>
                <a:lnTo>
                  <a:pt x="9948" y="9411"/>
                </a:lnTo>
                <a:lnTo>
                  <a:pt x="9948" y="9454"/>
                </a:lnTo>
                <a:cubicBezTo>
                  <a:pt x="9931" y="9470"/>
                  <a:pt x="9913" y="9484"/>
                  <a:pt x="9895" y="9502"/>
                </a:cubicBezTo>
                <a:lnTo>
                  <a:pt x="9844" y="9502"/>
                </a:lnTo>
                <a:lnTo>
                  <a:pt x="9844" y="9548"/>
                </a:lnTo>
                <a:lnTo>
                  <a:pt x="9792" y="9548"/>
                </a:lnTo>
                <a:cubicBezTo>
                  <a:pt x="9775" y="9563"/>
                  <a:pt x="9757" y="9577"/>
                  <a:pt x="9740" y="9592"/>
                </a:cubicBezTo>
                <a:cubicBezTo>
                  <a:pt x="9723" y="9606"/>
                  <a:pt x="9704" y="9620"/>
                  <a:pt x="9687" y="9635"/>
                </a:cubicBezTo>
                <a:lnTo>
                  <a:pt x="9635" y="9635"/>
                </a:lnTo>
                <a:lnTo>
                  <a:pt x="9635" y="9683"/>
                </a:lnTo>
                <a:lnTo>
                  <a:pt x="9583" y="9683"/>
                </a:lnTo>
                <a:lnTo>
                  <a:pt x="9532" y="9683"/>
                </a:lnTo>
                <a:lnTo>
                  <a:pt x="9479" y="9683"/>
                </a:lnTo>
                <a:lnTo>
                  <a:pt x="9427" y="9683"/>
                </a:lnTo>
                <a:lnTo>
                  <a:pt x="9375" y="9683"/>
                </a:lnTo>
                <a:lnTo>
                  <a:pt x="9322" y="9683"/>
                </a:lnTo>
                <a:lnTo>
                  <a:pt x="9271" y="9683"/>
                </a:lnTo>
                <a:lnTo>
                  <a:pt x="9271" y="9727"/>
                </a:lnTo>
                <a:cubicBezTo>
                  <a:pt x="9254" y="9744"/>
                  <a:pt x="9236" y="9759"/>
                  <a:pt x="9219" y="9774"/>
                </a:cubicBezTo>
                <a:cubicBezTo>
                  <a:pt x="9202" y="9790"/>
                  <a:pt x="9184" y="9805"/>
                  <a:pt x="9167" y="9820"/>
                </a:cubicBezTo>
                <a:lnTo>
                  <a:pt x="9219" y="9820"/>
                </a:lnTo>
                <a:lnTo>
                  <a:pt x="9167" y="9820"/>
                </a:lnTo>
                <a:lnTo>
                  <a:pt x="9114" y="9820"/>
                </a:lnTo>
                <a:cubicBezTo>
                  <a:pt x="9097" y="9835"/>
                  <a:pt x="9079" y="9848"/>
                  <a:pt x="9062" y="9864"/>
                </a:cubicBezTo>
                <a:cubicBezTo>
                  <a:pt x="9045" y="9878"/>
                  <a:pt x="9028" y="9894"/>
                  <a:pt x="9011" y="9909"/>
                </a:cubicBezTo>
                <a:lnTo>
                  <a:pt x="8959" y="9909"/>
                </a:lnTo>
                <a:lnTo>
                  <a:pt x="8959" y="9955"/>
                </a:lnTo>
                <a:lnTo>
                  <a:pt x="8906" y="9955"/>
                </a:lnTo>
                <a:lnTo>
                  <a:pt x="8906" y="10000"/>
                </a:lnTo>
                <a:lnTo>
                  <a:pt x="8854" y="10000"/>
                </a:lnTo>
                <a:lnTo>
                  <a:pt x="8802" y="10000"/>
                </a:lnTo>
                <a:lnTo>
                  <a:pt x="8749" y="10000"/>
                </a:lnTo>
                <a:lnTo>
                  <a:pt x="8698" y="10000"/>
                </a:lnTo>
                <a:lnTo>
                  <a:pt x="8646" y="10000"/>
                </a:lnTo>
                <a:lnTo>
                  <a:pt x="8646" y="9955"/>
                </a:lnTo>
                <a:lnTo>
                  <a:pt x="8646" y="9909"/>
                </a:lnTo>
                <a:cubicBezTo>
                  <a:pt x="8629" y="9894"/>
                  <a:pt x="8611" y="9878"/>
                  <a:pt x="8594" y="9864"/>
                </a:cubicBezTo>
                <a:lnTo>
                  <a:pt x="8594" y="9820"/>
                </a:lnTo>
                <a:lnTo>
                  <a:pt x="8594" y="9774"/>
                </a:lnTo>
                <a:lnTo>
                  <a:pt x="8541" y="9774"/>
                </a:lnTo>
                <a:lnTo>
                  <a:pt x="8489" y="9774"/>
                </a:lnTo>
                <a:lnTo>
                  <a:pt x="8489" y="9727"/>
                </a:lnTo>
                <a:lnTo>
                  <a:pt x="8438" y="9727"/>
                </a:lnTo>
                <a:cubicBezTo>
                  <a:pt x="8421" y="9744"/>
                  <a:pt x="8403" y="9759"/>
                  <a:pt x="8386" y="9774"/>
                </a:cubicBezTo>
                <a:lnTo>
                  <a:pt x="8386" y="9820"/>
                </a:lnTo>
                <a:cubicBezTo>
                  <a:pt x="8351" y="9805"/>
                  <a:pt x="8317" y="9789"/>
                  <a:pt x="8282" y="9774"/>
                </a:cubicBezTo>
                <a:lnTo>
                  <a:pt x="8282" y="9727"/>
                </a:lnTo>
                <a:lnTo>
                  <a:pt x="8230" y="9727"/>
                </a:lnTo>
                <a:lnTo>
                  <a:pt x="8179" y="9727"/>
                </a:lnTo>
                <a:lnTo>
                  <a:pt x="8126" y="9727"/>
                </a:lnTo>
                <a:lnTo>
                  <a:pt x="8074" y="9727"/>
                </a:lnTo>
                <a:lnTo>
                  <a:pt x="8022" y="9727"/>
                </a:lnTo>
                <a:lnTo>
                  <a:pt x="8022" y="9774"/>
                </a:lnTo>
                <a:lnTo>
                  <a:pt x="7969" y="9774"/>
                </a:lnTo>
                <a:cubicBezTo>
                  <a:pt x="7952" y="9790"/>
                  <a:pt x="7934" y="9805"/>
                  <a:pt x="7917" y="9820"/>
                </a:cubicBezTo>
                <a:lnTo>
                  <a:pt x="7866" y="9820"/>
                </a:lnTo>
                <a:lnTo>
                  <a:pt x="7866" y="9774"/>
                </a:lnTo>
                <a:lnTo>
                  <a:pt x="7866" y="9820"/>
                </a:lnTo>
                <a:lnTo>
                  <a:pt x="7814" y="9820"/>
                </a:lnTo>
                <a:cubicBezTo>
                  <a:pt x="7797" y="9835"/>
                  <a:pt x="7778" y="9848"/>
                  <a:pt x="7761" y="9864"/>
                </a:cubicBezTo>
                <a:cubicBezTo>
                  <a:pt x="7744" y="9848"/>
                  <a:pt x="7726" y="9835"/>
                  <a:pt x="7709" y="9820"/>
                </a:cubicBezTo>
                <a:lnTo>
                  <a:pt x="7657" y="9820"/>
                </a:lnTo>
                <a:lnTo>
                  <a:pt x="7606" y="9820"/>
                </a:lnTo>
                <a:cubicBezTo>
                  <a:pt x="7588" y="9805"/>
                  <a:pt x="7571" y="9789"/>
                  <a:pt x="7553" y="9774"/>
                </a:cubicBezTo>
                <a:lnTo>
                  <a:pt x="7501" y="9774"/>
                </a:lnTo>
                <a:lnTo>
                  <a:pt x="7501" y="9820"/>
                </a:lnTo>
                <a:lnTo>
                  <a:pt x="7449" y="9820"/>
                </a:lnTo>
                <a:cubicBezTo>
                  <a:pt x="7432" y="9805"/>
                  <a:pt x="7414" y="9789"/>
                  <a:pt x="7396" y="9774"/>
                </a:cubicBezTo>
                <a:lnTo>
                  <a:pt x="7345" y="9774"/>
                </a:lnTo>
                <a:cubicBezTo>
                  <a:pt x="7328" y="9805"/>
                  <a:pt x="7310" y="9833"/>
                  <a:pt x="7293" y="9864"/>
                </a:cubicBezTo>
                <a:cubicBezTo>
                  <a:pt x="7262" y="9660"/>
                  <a:pt x="7343" y="9279"/>
                  <a:pt x="7312" y="9075"/>
                </a:cubicBezTo>
                <a:lnTo>
                  <a:pt x="7152" y="8783"/>
                </a:lnTo>
                <a:cubicBezTo>
                  <a:pt x="7160" y="8476"/>
                  <a:pt x="7373" y="8234"/>
                  <a:pt x="7344" y="8023"/>
                </a:cubicBezTo>
                <a:cubicBezTo>
                  <a:pt x="7275" y="7898"/>
                  <a:pt x="7205" y="7777"/>
                  <a:pt x="7136" y="7653"/>
                </a:cubicBezTo>
                <a:lnTo>
                  <a:pt x="6544" y="7533"/>
                </a:lnTo>
                <a:lnTo>
                  <a:pt x="5775" y="7496"/>
                </a:lnTo>
                <a:lnTo>
                  <a:pt x="5311" y="7379"/>
                </a:lnTo>
                <a:lnTo>
                  <a:pt x="5071" y="7263"/>
                </a:lnTo>
                <a:lnTo>
                  <a:pt x="4912" y="7361"/>
                </a:lnTo>
                <a:lnTo>
                  <a:pt x="4416" y="7182"/>
                </a:lnTo>
                <a:lnTo>
                  <a:pt x="3584" y="6873"/>
                </a:lnTo>
                <a:lnTo>
                  <a:pt x="3104" y="6813"/>
                </a:lnTo>
                <a:cubicBezTo>
                  <a:pt x="3136" y="6740"/>
                  <a:pt x="3168" y="6669"/>
                  <a:pt x="3200" y="6598"/>
                </a:cubicBezTo>
                <a:cubicBezTo>
                  <a:pt x="3008" y="6585"/>
                  <a:pt x="2484" y="6722"/>
                  <a:pt x="1951" y="6732"/>
                </a:cubicBezTo>
                <a:lnTo>
                  <a:pt x="0" y="6657"/>
                </a:lnTo>
                <a:cubicBezTo>
                  <a:pt x="1" y="6576"/>
                  <a:pt x="2" y="6490"/>
                  <a:pt x="3" y="6409"/>
                </a:cubicBezTo>
                <a:lnTo>
                  <a:pt x="159" y="6500"/>
                </a:lnTo>
                <a:lnTo>
                  <a:pt x="368" y="6409"/>
                </a:lnTo>
                <a:lnTo>
                  <a:pt x="1462" y="6409"/>
                </a:lnTo>
                <a:lnTo>
                  <a:pt x="1617" y="6364"/>
                </a:lnTo>
                <a:lnTo>
                  <a:pt x="1669" y="6364"/>
                </a:lnTo>
                <a:lnTo>
                  <a:pt x="2189" y="5774"/>
                </a:lnTo>
                <a:lnTo>
                  <a:pt x="2294" y="5682"/>
                </a:lnTo>
                <a:lnTo>
                  <a:pt x="2762" y="5228"/>
                </a:lnTo>
                <a:lnTo>
                  <a:pt x="3023" y="4955"/>
                </a:lnTo>
                <a:lnTo>
                  <a:pt x="3179" y="4818"/>
                </a:lnTo>
                <a:lnTo>
                  <a:pt x="3596" y="4138"/>
                </a:lnTo>
                <a:lnTo>
                  <a:pt x="4116" y="3863"/>
                </a:lnTo>
                <a:lnTo>
                  <a:pt x="5001" y="3090"/>
                </a:lnTo>
                <a:lnTo>
                  <a:pt x="4845" y="2818"/>
                </a:lnTo>
                <a:cubicBezTo>
                  <a:pt x="4828" y="2759"/>
                  <a:pt x="4811" y="2698"/>
                  <a:pt x="4794" y="2635"/>
                </a:cubicBezTo>
                <a:lnTo>
                  <a:pt x="4794" y="1362"/>
                </a:lnTo>
                <a:lnTo>
                  <a:pt x="4116" y="818"/>
                </a:lnTo>
                <a:lnTo>
                  <a:pt x="4950" y="818"/>
                </a:lnTo>
                <a:lnTo>
                  <a:pt x="5782" y="818"/>
                </a:lnTo>
                <a:lnTo>
                  <a:pt x="5782" y="771"/>
                </a:lnTo>
                <a:lnTo>
                  <a:pt x="5782" y="727"/>
                </a:lnTo>
                <a:lnTo>
                  <a:pt x="5782" y="686"/>
                </a:lnTo>
                <a:lnTo>
                  <a:pt x="5782" y="637"/>
                </a:lnTo>
                <a:cubicBezTo>
                  <a:pt x="5799" y="621"/>
                  <a:pt x="5817" y="605"/>
                  <a:pt x="5834" y="589"/>
                </a:cubicBezTo>
                <a:lnTo>
                  <a:pt x="5834" y="542"/>
                </a:lnTo>
                <a:lnTo>
                  <a:pt x="5834" y="499"/>
                </a:lnTo>
                <a:lnTo>
                  <a:pt x="5834" y="457"/>
                </a:lnTo>
                <a:lnTo>
                  <a:pt x="5834" y="414"/>
                </a:lnTo>
                <a:lnTo>
                  <a:pt x="5834" y="362"/>
                </a:lnTo>
                <a:lnTo>
                  <a:pt x="5782" y="362"/>
                </a:lnTo>
                <a:lnTo>
                  <a:pt x="5782" y="313"/>
                </a:lnTo>
                <a:lnTo>
                  <a:pt x="5782" y="270"/>
                </a:lnTo>
                <a:lnTo>
                  <a:pt x="5782" y="229"/>
                </a:lnTo>
                <a:lnTo>
                  <a:pt x="5782" y="186"/>
                </a:lnTo>
                <a:lnTo>
                  <a:pt x="5782" y="144"/>
                </a:lnTo>
                <a:lnTo>
                  <a:pt x="5782" y="85"/>
                </a:lnTo>
                <a:lnTo>
                  <a:pt x="5782" y="42"/>
                </a:lnTo>
                <a:lnTo>
                  <a:pt x="5782" y="0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8" name="Rectangle 21"/>
          <p:cNvSpPr/>
          <p:nvPr>
            <p:custDataLst>
              <p:tags r:id="rId22"/>
            </p:custDataLst>
          </p:nvPr>
        </p:nvSpPr>
        <p:spPr>
          <a:xfrm>
            <a:off x="4494426" y="2692457"/>
            <a:ext cx="1009679" cy="957219"/>
          </a:xfrm>
          <a:custGeom>
            <a:avLst/>
            <a:gdLst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41141 h 1707953"/>
              <a:gd name="connsiteX80" fmla="*/ 1234347 w 1814116"/>
              <a:gd name="connsiteY80" fmla="*/ 534655 h 1707953"/>
              <a:gd name="connsiteX81" fmla="*/ 1230480 w 1814116"/>
              <a:gd name="connsiteY81" fmla="*/ 529969 h 1707953"/>
              <a:gd name="connsiteX82" fmla="*/ 1214263 w 1814116"/>
              <a:gd name="connsiteY82" fmla="*/ 536379 h 1707953"/>
              <a:gd name="connsiteX83" fmla="*/ 1206090 w 1814116"/>
              <a:gd name="connsiteY83" fmla="*/ 517535 h 1707953"/>
              <a:gd name="connsiteX84" fmla="*/ 1200082 w 1814116"/>
              <a:gd name="connsiteY84" fmla="*/ 515505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41141 h 1707953"/>
              <a:gd name="connsiteX80" fmla="*/ 1234347 w 1814116"/>
              <a:gd name="connsiteY80" fmla="*/ 534655 h 1707953"/>
              <a:gd name="connsiteX81" fmla="*/ 1230480 w 1814116"/>
              <a:gd name="connsiteY81" fmla="*/ 556163 h 1707953"/>
              <a:gd name="connsiteX82" fmla="*/ 1214263 w 1814116"/>
              <a:gd name="connsiteY82" fmla="*/ 536379 h 1707953"/>
              <a:gd name="connsiteX83" fmla="*/ 1206090 w 1814116"/>
              <a:gd name="connsiteY83" fmla="*/ 517535 h 1707953"/>
              <a:gd name="connsiteX84" fmla="*/ 1200082 w 1814116"/>
              <a:gd name="connsiteY84" fmla="*/ 515505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34347 w 1814116"/>
              <a:gd name="connsiteY80" fmla="*/ 534655 h 1707953"/>
              <a:gd name="connsiteX81" fmla="*/ 1230480 w 1814116"/>
              <a:gd name="connsiteY81" fmla="*/ 556163 h 1707953"/>
              <a:gd name="connsiteX82" fmla="*/ 1214263 w 1814116"/>
              <a:gd name="connsiteY82" fmla="*/ 536379 h 1707953"/>
              <a:gd name="connsiteX83" fmla="*/ 1206090 w 1814116"/>
              <a:gd name="connsiteY83" fmla="*/ 517535 h 1707953"/>
              <a:gd name="connsiteX84" fmla="*/ 1200082 w 1814116"/>
              <a:gd name="connsiteY84" fmla="*/ 515505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24822 w 1814116"/>
              <a:gd name="connsiteY80" fmla="*/ 551324 h 1707953"/>
              <a:gd name="connsiteX81" fmla="*/ 1230480 w 1814116"/>
              <a:gd name="connsiteY81" fmla="*/ 556163 h 1707953"/>
              <a:gd name="connsiteX82" fmla="*/ 1214263 w 1814116"/>
              <a:gd name="connsiteY82" fmla="*/ 536379 h 1707953"/>
              <a:gd name="connsiteX83" fmla="*/ 1206090 w 1814116"/>
              <a:gd name="connsiteY83" fmla="*/ 517535 h 1707953"/>
              <a:gd name="connsiteX84" fmla="*/ 1200082 w 1814116"/>
              <a:gd name="connsiteY84" fmla="*/ 515505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24822 w 1814116"/>
              <a:gd name="connsiteY80" fmla="*/ 551324 h 1707953"/>
              <a:gd name="connsiteX81" fmla="*/ 1230480 w 1814116"/>
              <a:gd name="connsiteY81" fmla="*/ 556163 h 1707953"/>
              <a:gd name="connsiteX82" fmla="*/ 1202356 w 1814116"/>
              <a:gd name="connsiteY82" fmla="*/ 536379 h 1707953"/>
              <a:gd name="connsiteX83" fmla="*/ 1206090 w 1814116"/>
              <a:gd name="connsiteY83" fmla="*/ 517535 h 1707953"/>
              <a:gd name="connsiteX84" fmla="*/ 1200082 w 1814116"/>
              <a:gd name="connsiteY84" fmla="*/ 515505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24822 w 1814116"/>
              <a:gd name="connsiteY80" fmla="*/ 551324 h 1707953"/>
              <a:gd name="connsiteX81" fmla="*/ 1230480 w 1814116"/>
              <a:gd name="connsiteY81" fmla="*/ 556163 h 1707953"/>
              <a:gd name="connsiteX82" fmla="*/ 1202356 w 1814116"/>
              <a:gd name="connsiteY82" fmla="*/ 536379 h 1707953"/>
              <a:gd name="connsiteX83" fmla="*/ 1206090 w 1814116"/>
              <a:gd name="connsiteY83" fmla="*/ 517535 h 1707953"/>
              <a:gd name="connsiteX84" fmla="*/ 1183413 w 1814116"/>
              <a:gd name="connsiteY84" fmla="*/ 525030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24822 w 1814116"/>
              <a:gd name="connsiteY80" fmla="*/ 551324 h 1707953"/>
              <a:gd name="connsiteX81" fmla="*/ 1230480 w 1814116"/>
              <a:gd name="connsiteY81" fmla="*/ 556163 h 1707953"/>
              <a:gd name="connsiteX82" fmla="*/ 1202356 w 1814116"/>
              <a:gd name="connsiteY82" fmla="*/ 536379 h 1707953"/>
              <a:gd name="connsiteX83" fmla="*/ 1175133 w 1814116"/>
              <a:gd name="connsiteY83" fmla="*/ 505629 h 1707953"/>
              <a:gd name="connsiteX84" fmla="*/ 1183413 w 1814116"/>
              <a:gd name="connsiteY84" fmla="*/ 525030 h 1707953"/>
              <a:gd name="connsiteX85" fmla="*/ 1188069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07953"/>
              <a:gd name="connsiteX1" fmla="*/ 1209570 w 1814116"/>
              <a:gd name="connsiteY1" fmla="*/ 283875 h 1707953"/>
              <a:gd name="connsiteX2" fmla="*/ 1209243 w 1814116"/>
              <a:gd name="connsiteY2" fmla="*/ 283841 h 1707953"/>
              <a:gd name="connsiteX3" fmla="*/ 1209397 w 1814116"/>
              <a:gd name="connsiteY3" fmla="*/ 283834 h 1707953"/>
              <a:gd name="connsiteX4" fmla="*/ 1310540 w 1814116"/>
              <a:gd name="connsiteY4" fmla="*/ 4 h 1707953"/>
              <a:gd name="connsiteX5" fmla="*/ 1330944 w 1814116"/>
              <a:gd name="connsiteY5" fmla="*/ 2978 h 1707953"/>
              <a:gd name="connsiteX6" fmla="*/ 1335706 w 1814116"/>
              <a:gd name="connsiteY6" fmla="*/ 17266 h 1707953"/>
              <a:gd name="connsiteX7" fmla="*/ 1349994 w 1814116"/>
              <a:gd name="connsiteY7" fmla="*/ 22028 h 1707953"/>
              <a:gd name="connsiteX8" fmla="*/ 1354756 w 1814116"/>
              <a:gd name="connsiteY8" fmla="*/ 41078 h 1707953"/>
              <a:gd name="connsiteX9" fmla="*/ 1354756 w 1814116"/>
              <a:gd name="connsiteY9" fmla="*/ 102991 h 1707953"/>
              <a:gd name="connsiteX10" fmla="*/ 1345231 w 1814116"/>
              <a:gd name="connsiteY10" fmla="*/ 117278 h 1707953"/>
              <a:gd name="connsiteX11" fmla="*/ 1326181 w 1814116"/>
              <a:gd name="connsiteY11" fmla="*/ 145853 h 1707953"/>
              <a:gd name="connsiteX12" fmla="*/ 1283319 w 1814116"/>
              <a:gd name="connsiteY12" fmla="*/ 183953 h 1707953"/>
              <a:gd name="connsiteX13" fmla="*/ 1273794 w 1814116"/>
              <a:gd name="connsiteY13" fmla="*/ 198241 h 1707953"/>
              <a:gd name="connsiteX14" fmla="*/ 1259506 w 1814116"/>
              <a:gd name="connsiteY14" fmla="*/ 207766 h 1707953"/>
              <a:gd name="connsiteX15" fmla="*/ 1245219 w 1814116"/>
              <a:gd name="connsiteY15" fmla="*/ 217291 h 1707953"/>
              <a:gd name="connsiteX16" fmla="*/ 1202356 w 1814116"/>
              <a:gd name="connsiteY16" fmla="*/ 245866 h 1707953"/>
              <a:gd name="connsiteX17" fmla="*/ 1188069 w 1814116"/>
              <a:gd name="connsiteY17" fmla="*/ 250628 h 1707953"/>
              <a:gd name="connsiteX18" fmla="*/ 1178544 w 1814116"/>
              <a:gd name="connsiteY18" fmla="*/ 264916 h 1707953"/>
              <a:gd name="connsiteX19" fmla="*/ 1164256 w 1814116"/>
              <a:gd name="connsiteY19" fmla="*/ 279203 h 1707953"/>
              <a:gd name="connsiteX20" fmla="*/ 1209243 w 1814116"/>
              <a:gd name="connsiteY20" fmla="*/ 283841 h 1707953"/>
              <a:gd name="connsiteX21" fmla="*/ 1226169 w 1814116"/>
              <a:gd name="connsiteY21" fmla="*/ 288728 h 1707953"/>
              <a:gd name="connsiteX22" fmla="*/ 1254744 w 1814116"/>
              <a:gd name="connsiteY22" fmla="*/ 293491 h 1707953"/>
              <a:gd name="connsiteX23" fmla="*/ 1269031 w 1814116"/>
              <a:gd name="connsiteY23" fmla="*/ 298253 h 1707953"/>
              <a:gd name="connsiteX24" fmla="*/ 1297606 w 1814116"/>
              <a:gd name="connsiteY24" fmla="*/ 307778 h 1707953"/>
              <a:gd name="connsiteX25" fmla="*/ 1311894 w 1814116"/>
              <a:gd name="connsiteY25" fmla="*/ 317303 h 1707953"/>
              <a:gd name="connsiteX26" fmla="*/ 1359519 w 1814116"/>
              <a:gd name="connsiteY26" fmla="*/ 331591 h 1707953"/>
              <a:gd name="connsiteX27" fmla="*/ 1397619 w 1814116"/>
              <a:gd name="connsiteY27" fmla="*/ 336353 h 1707953"/>
              <a:gd name="connsiteX28" fmla="*/ 1473819 w 1814116"/>
              <a:gd name="connsiteY28" fmla="*/ 341116 h 1707953"/>
              <a:gd name="connsiteX29" fmla="*/ 1530969 w 1814116"/>
              <a:gd name="connsiteY29" fmla="*/ 360166 h 1707953"/>
              <a:gd name="connsiteX30" fmla="*/ 1602406 w 1814116"/>
              <a:gd name="connsiteY30" fmla="*/ 364928 h 1707953"/>
              <a:gd name="connsiteX31" fmla="*/ 1645269 w 1814116"/>
              <a:gd name="connsiteY31" fmla="*/ 369691 h 1707953"/>
              <a:gd name="connsiteX32" fmla="*/ 1745281 w 1814116"/>
              <a:gd name="connsiteY32" fmla="*/ 379216 h 1707953"/>
              <a:gd name="connsiteX33" fmla="*/ 1759569 w 1814116"/>
              <a:gd name="connsiteY33" fmla="*/ 383978 h 1707953"/>
              <a:gd name="connsiteX34" fmla="*/ 1788144 w 1814116"/>
              <a:gd name="connsiteY34" fmla="*/ 403028 h 1707953"/>
              <a:gd name="connsiteX35" fmla="*/ 1801728 w 1814116"/>
              <a:gd name="connsiteY35" fmla="*/ 407765 h 1707953"/>
              <a:gd name="connsiteX36" fmla="*/ 1804035 w 1814116"/>
              <a:gd name="connsiteY36" fmla="*/ 411824 h 1707953"/>
              <a:gd name="connsiteX37" fmla="*/ 1807194 w 1814116"/>
              <a:gd name="connsiteY37" fmla="*/ 426841 h 1707953"/>
              <a:gd name="connsiteX38" fmla="*/ 1802431 w 1814116"/>
              <a:gd name="connsiteY38" fmla="*/ 441128 h 1707953"/>
              <a:gd name="connsiteX39" fmla="*/ 1797669 w 1814116"/>
              <a:gd name="connsiteY39" fmla="*/ 455416 h 1707953"/>
              <a:gd name="connsiteX40" fmla="*/ 1788144 w 1814116"/>
              <a:gd name="connsiteY40" fmla="*/ 483991 h 1707953"/>
              <a:gd name="connsiteX41" fmla="*/ 1778619 w 1814116"/>
              <a:gd name="connsiteY41" fmla="*/ 526853 h 1707953"/>
              <a:gd name="connsiteX42" fmla="*/ 1797669 w 1814116"/>
              <a:gd name="connsiteY42" fmla="*/ 555428 h 1707953"/>
              <a:gd name="connsiteX43" fmla="*/ 1802431 w 1814116"/>
              <a:gd name="connsiteY43" fmla="*/ 626866 h 1707953"/>
              <a:gd name="connsiteX44" fmla="*/ 1814116 w 1814116"/>
              <a:gd name="connsiteY44" fmla="*/ 635493 h 1707953"/>
              <a:gd name="connsiteX45" fmla="*/ 1804317 w 1814116"/>
              <a:gd name="connsiteY45" fmla="*/ 642402 h 1707953"/>
              <a:gd name="connsiteX46" fmla="*/ 1785267 w 1814116"/>
              <a:gd name="connsiteY46" fmla="*/ 685264 h 1707953"/>
              <a:gd name="connsiteX47" fmla="*/ 1766217 w 1814116"/>
              <a:gd name="connsiteY47" fmla="*/ 713839 h 1707953"/>
              <a:gd name="connsiteX48" fmla="*/ 1751929 w 1814116"/>
              <a:gd name="connsiteY48" fmla="*/ 742414 h 1707953"/>
              <a:gd name="connsiteX49" fmla="*/ 1738387 w 1814116"/>
              <a:gd name="connsiteY49" fmla="*/ 754171 h 1707953"/>
              <a:gd name="connsiteX50" fmla="*/ 1728117 w 1814116"/>
              <a:gd name="connsiteY50" fmla="*/ 766227 h 1707953"/>
              <a:gd name="connsiteX51" fmla="*/ 1713829 w 1814116"/>
              <a:gd name="connsiteY51" fmla="*/ 775752 h 1707953"/>
              <a:gd name="connsiteX52" fmla="*/ 1709067 w 1814116"/>
              <a:gd name="connsiteY52" fmla="*/ 790039 h 1707953"/>
              <a:gd name="connsiteX53" fmla="*/ 1702491 w 1814116"/>
              <a:gd name="connsiteY53" fmla="*/ 801932 h 1707953"/>
              <a:gd name="connsiteX54" fmla="*/ 1698881 w 1814116"/>
              <a:gd name="connsiteY54" fmla="*/ 806067 h 1707953"/>
              <a:gd name="connsiteX55" fmla="*/ 1694779 w 1814116"/>
              <a:gd name="connsiteY55" fmla="*/ 823377 h 1707953"/>
              <a:gd name="connsiteX56" fmla="*/ 1699542 w 1814116"/>
              <a:gd name="connsiteY56" fmla="*/ 837664 h 1707953"/>
              <a:gd name="connsiteX57" fmla="*/ 1701127 w 1814116"/>
              <a:gd name="connsiteY57" fmla="*/ 851861 h 1707953"/>
              <a:gd name="connsiteX58" fmla="*/ 1683369 w 1814116"/>
              <a:gd name="connsiteY58" fmla="*/ 845941 h 1707953"/>
              <a:gd name="connsiteX59" fmla="*/ 1640506 w 1814116"/>
              <a:gd name="connsiteY59" fmla="*/ 850703 h 1707953"/>
              <a:gd name="connsiteX60" fmla="*/ 1592881 w 1814116"/>
              <a:gd name="connsiteY60" fmla="*/ 855466 h 1707953"/>
              <a:gd name="connsiteX61" fmla="*/ 1578594 w 1814116"/>
              <a:gd name="connsiteY61" fmla="*/ 850703 h 1707953"/>
              <a:gd name="connsiteX62" fmla="*/ 1573831 w 1814116"/>
              <a:gd name="connsiteY62" fmla="*/ 817366 h 1707953"/>
              <a:gd name="connsiteX63" fmla="*/ 1569069 w 1814116"/>
              <a:gd name="connsiteY63" fmla="*/ 803078 h 1707953"/>
              <a:gd name="connsiteX64" fmla="*/ 1564306 w 1814116"/>
              <a:gd name="connsiteY64" fmla="*/ 788791 h 1707953"/>
              <a:gd name="connsiteX65" fmla="*/ 1545256 w 1814116"/>
              <a:gd name="connsiteY65" fmla="*/ 745928 h 1707953"/>
              <a:gd name="connsiteX66" fmla="*/ 1530065 w 1814116"/>
              <a:gd name="connsiteY66" fmla="*/ 734542 h 1707953"/>
              <a:gd name="connsiteX67" fmla="*/ 1526206 w 1814116"/>
              <a:gd name="connsiteY67" fmla="*/ 722116 h 1707953"/>
              <a:gd name="connsiteX68" fmla="*/ 1511919 w 1814116"/>
              <a:gd name="connsiteY68" fmla="*/ 707828 h 1707953"/>
              <a:gd name="connsiteX69" fmla="*/ 1478581 w 1814116"/>
              <a:gd name="connsiteY69" fmla="*/ 688778 h 1707953"/>
              <a:gd name="connsiteX70" fmla="*/ 1464294 w 1814116"/>
              <a:gd name="connsiteY70" fmla="*/ 679253 h 1707953"/>
              <a:gd name="connsiteX71" fmla="*/ 1416669 w 1814116"/>
              <a:gd name="connsiteY71" fmla="*/ 650678 h 1707953"/>
              <a:gd name="connsiteX72" fmla="*/ 1402381 w 1814116"/>
              <a:gd name="connsiteY72" fmla="*/ 645916 h 1707953"/>
              <a:gd name="connsiteX73" fmla="*/ 1373806 w 1814116"/>
              <a:gd name="connsiteY73" fmla="*/ 636391 h 1707953"/>
              <a:gd name="connsiteX74" fmla="*/ 1345231 w 1814116"/>
              <a:gd name="connsiteY74" fmla="*/ 617341 h 1707953"/>
              <a:gd name="connsiteX75" fmla="*/ 1330944 w 1814116"/>
              <a:gd name="connsiteY75" fmla="*/ 612578 h 1707953"/>
              <a:gd name="connsiteX76" fmla="*/ 1326181 w 1814116"/>
              <a:gd name="connsiteY76" fmla="*/ 598291 h 1707953"/>
              <a:gd name="connsiteX77" fmla="*/ 1292844 w 1814116"/>
              <a:gd name="connsiteY77" fmla="*/ 560191 h 1707953"/>
              <a:gd name="connsiteX78" fmla="*/ 1270745 w 1814116"/>
              <a:gd name="connsiteY78" fmla="*/ 548714 h 1707953"/>
              <a:gd name="connsiteX79" fmla="*/ 1249981 w 1814116"/>
              <a:gd name="connsiteY79" fmla="*/ 555428 h 1707953"/>
              <a:gd name="connsiteX80" fmla="*/ 1224822 w 1814116"/>
              <a:gd name="connsiteY80" fmla="*/ 551324 h 1707953"/>
              <a:gd name="connsiteX81" fmla="*/ 1230480 w 1814116"/>
              <a:gd name="connsiteY81" fmla="*/ 556163 h 1707953"/>
              <a:gd name="connsiteX82" fmla="*/ 1202356 w 1814116"/>
              <a:gd name="connsiteY82" fmla="*/ 536379 h 1707953"/>
              <a:gd name="connsiteX83" fmla="*/ 1175133 w 1814116"/>
              <a:gd name="connsiteY83" fmla="*/ 505629 h 1707953"/>
              <a:gd name="connsiteX84" fmla="*/ 1183413 w 1814116"/>
              <a:gd name="connsiteY84" fmla="*/ 525030 h 1707953"/>
              <a:gd name="connsiteX85" fmla="*/ 1166638 w 1814116"/>
              <a:gd name="connsiteY85" fmla="*/ 503041 h 1707953"/>
              <a:gd name="connsiteX86" fmla="*/ 1116631 w 1814116"/>
              <a:gd name="connsiteY86" fmla="*/ 493516 h 1707953"/>
              <a:gd name="connsiteX87" fmla="*/ 968994 w 1814116"/>
              <a:gd name="connsiteY87" fmla="*/ 488753 h 1707953"/>
              <a:gd name="connsiteX88" fmla="*/ 949944 w 1814116"/>
              <a:gd name="connsiteY88" fmla="*/ 493516 h 1707953"/>
              <a:gd name="connsiteX89" fmla="*/ 921369 w 1814116"/>
              <a:gd name="connsiteY89" fmla="*/ 503041 h 1707953"/>
              <a:gd name="connsiteX90" fmla="*/ 892794 w 1814116"/>
              <a:gd name="connsiteY90" fmla="*/ 512566 h 1707953"/>
              <a:gd name="connsiteX91" fmla="*/ 864219 w 1814116"/>
              <a:gd name="connsiteY91" fmla="*/ 531616 h 1707953"/>
              <a:gd name="connsiteX92" fmla="*/ 849931 w 1814116"/>
              <a:gd name="connsiteY92" fmla="*/ 536378 h 1707953"/>
              <a:gd name="connsiteX93" fmla="*/ 821356 w 1814116"/>
              <a:gd name="connsiteY93" fmla="*/ 579241 h 1707953"/>
              <a:gd name="connsiteX94" fmla="*/ 797544 w 1814116"/>
              <a:gd name="connsiteY94" fmla="*/ 622103 h 1707953"/>
              <a:gd name="connsiteX95" fmla="*/ 788019 w 1814116"/>
              <a:gd name="connsiteY95" fmla="*/ 636391 h 1707953"/>
              <a:gd name="connsiteX96" fmla="*/ 768969 w 1814116"/>
              <a:gd name="connsiteY96" fmla="*/ 664966 h 1707953"/>
              <a:gd name="connsiteX97" fmla="*/ 759444 w 1814116"/>
              <a:gd name="connsiteY97" fmla="*/ 703066 h 1707953"/>
              <a:gd name="connsiteX98" fmla="*/ 764206 w 1814116"/>
              <a:gd name="connsiteY98" fmla="*/ 717353 h 1707953"/>
              <a:gd name="connsiteX99" fmla="*/ 768969 w 1814116"/>
              <a:gd name="connsiteY99" fmla="*/ 741166 h 1707953"/>
              <a:gd name="connsiteX100" fmla="*/ 773731 w 1814116"/>
              <a:gd name="connsiteY100" fmla="*/ 760216 h 1707953"/>
              <a:gd name="connsiteX101" fmla="*/ 788019 w 1814116"/>
              <a:gd name="connsiteY101" fmla="*/ 788791 h 1707953"/>
              <a:gd name="connsiteX102" fmla="*/ 797544 w 1814116"/>
              <a:gd name="connsiteY102" fmla="*/ 803078 h 1707953"/>
              <a:gd name="connsiteX103" fmla="*/ 802306 w 1814116"/>
              <a:gd name="connsiteY103" fmla="*/ 817366 h 1707953"/>
              <a:gd name="connsiteX104" fmla="*/ 811831 w 1814116"/>
              <a:gd name="connsiteY104" fmla="*/ 845941 h 1707953"/>
              <a:gd name="connsiteX105" fmla="*/ 821356 w 1814116"/>
              <a:gd name="connsiteY105" fmla="*/ 922141 h 1707953"/>
              <a:gd name="connsiteX106" fmla="*/ 826119 w 1814116"/>
              <a:gd name="connsiteY106" fmla="*/ 941191 h 1707953"/>
              <a:gd name="connsiteX107" fmla="*/ 835644 w 1814116"/>
              <a:gd name="connsiteY107" fmla="*/ 955478 h 1707953"/>
              <a:gd name="connsiteX108" fmla="*/ 840406 w 1814116"/>
              <a:gd name="connsiteY108" fmla="*/ 979291 h 1707953"/>
              <a:gd name="connsiteX109" fmla="*/ 859456 w 1814116"/>
              <a:gd name="connsiteY109" fmla="*/ 1007866 h 1707953"/>
              <a:gd name="connsiteX110" fmla="*/ 873744 w 1814116"/>
              <a:gd name="connsiteY110" fmla="*/ 1022153 h 1707953"/>
              <a:gd name="connsiteX111" fmla="*/ 916606 w 1814116"/>
              <a:gd name="connsiteY111" fmla="*/ 1069778 h 1707953"/>
              <a:gd name="connsiteX112" fmla="*/ 945181 w 1814116"/>
              <a:gd name="connsiteY112" fmla="*/ 1093591 h 1707953"/>
              <a:gd name="connsiteX113" fmla="*/ 949944 w 1814116"/>
              <a:gd name="connsiteY113" fmla="*/ 1107878 h 1707953"/>
              <a:gd name="connsiteX114" fmla="*/ 964231 w 1814116"/>
              <a:gd name="connsiteY114" fmla="*/ 1117403 h 1707953"/>
              <a:gd name="connsiteX115" fmla="*/ 992806 w 1814116"/>
              <a:gd name="connsiteY115" fmla="*/ 1131691 h 1707953"/>
              <a:gd name="connsiteX116" fmla="*/ 997569 w 1814116"/>
              <a:gd name="connsiteY116" fmla="*/ 1145978 h 1707953"/>
              <a:gd name="connsiteX117" fmla="*/ 1026144 w 1814116"/>
              <a:gd name="connsiteY117" fmla="*/ 1165028 h 1707953"/>
              <a:gd name="connsiteX118" fmla="*/ 1035669 w 1814116"/>
              <a:gd name="connsiteY118" fmla="*/ 1179316 h 1707953"/>
              <a:gd name="connsiteX119" fmla="*/ 1049956 w 1814116"/>
              <a:gd name="connsiteY119" fmla="*/ 1193603 h 1707953"/>
              <a:gd name="connsiteX120" fmla="*/ 1078531 w 1814116"/>
              <a:gd name="connsiteY120" fmla="*/ 1222178 h 1707953"/>
              <a:gd name="connsiteX121" fmla="*/ 1097581 w 1814116"/>
              <a:gd name="connsiteY121" fmla="*/ 1265041 h 1707953"/>
              <a:gd name="connsiteX122" fmla="*/ 1135681 w 1814116"/>
              <a:gd name="connsiteY122" fmla="*/ 1331716 h 1707953"/>
              <a:gd name="connsiteX123" fmla="*/ 1145206 w 1814116"/>
              <a:gd name="connsiteY123" fmla="*/ 1346003 h 1707953"/>
              <a:gd name="connsiteX124" fmla="*/ 1159494 w 1814116"/>
              <a:gd name="connsiteY124" fmla="*/ 1355528 h 1707953"/>
              <a:gd name="connsiteX125" fmla="*/ 1173781 w 1814116"/>
              <a:gd name="connsiteY125" fmla="*/ 1369816 h 1707953"/>
              <a:gd name="connsiteX126" fmla="*/ 1188069 w 1814116"/>
              <a:gd name="connsiteY126" fmla="*/ 1374578 h 1707953"/>
              <a:gd name="connsiteX127" fmla="*/ 1197594 w 1814116"/>
              <a:gd name="connsiteY127" fmla="*/ 1388866 h 1707953"/>
              <a:gd name="connsiteX128" fmla="*/ 1207119 w 1814116"/>
              <a:gd name="connsiteY128" fmla="*/ 1436491 h 1707953"/>
              <a:gd name="connsiteX129" fmla="*/ 1211881 w 1814116"/>
              <a:gd name="connsiteY129" fmla="*/ 1460303 h 1707953"/>
              <a:gd name="connsiteX130" fmla="*/ 1216644 w 1814116"/>
              <a:gd name="connsiteY130" fmla="*/ 1474591 h 1707953"/>
              <a:gd name="connsiteX131" fmla="*/ 1221406 w 1814116"/>
              <a:gd name="connsiteY131" fmla="*/ 1507928 h 1707953"/>
              <a:gd name="connsiteX132" fmla="*/ 1226169 w 1814116"/>
              <a:gd name="connsiteY132" fmla="*/ 1588891 h 1707953"/>
              <a:gd name="connsiteX133" fmla="*/ 1207119 w 1814116"/>
              <a:gd name="connsiteY133" fmla="*/ 1617466 h 1707953"/>
              <a:gd name="connsiteX134" fmla="*/ 1173781 w 1814116"/>
              <a:gd name="connsiteY134" fmla="*/ 1655566 h 1707953"/>
              <a:gd name="connsiteX135" fmla="*/ 1159494 w 1814116"/>
              <a:gd name="connsiteY135" fmla="*/ 1660328 h 1707953"/>
              <a:gd name="connsiteX136" fmla="*/ 1149969 w 1814116"/>
              <a:gd name="connsiteY136" fmla="*/ 1688903 h 1707953"/>
              <a:gd name="connsiteX137" fmla="*/ 1140444 w 1814116"/>
              <a:gd name="connsiteY137" fmla="*/ 1703191 h 1707953"/>
              <a:gd name="connsiteX138" fmla="*/ 1126156 w 1814116"/>
              <a:gd name="connsiteY138" fmla="*/ 1707953 h 1707953"/>
              <a:gd name="connsiteX139" fmla="*/ 1097581 w 1814116"/>
              <a:gd name="connsiteY139" fmla="*/ 1693666 h 1707953"/>
              <a:gd name="connsiteX140" fmla="*/ 1092819 w 1814116"/>
              <a:gd name="connsiteY140" fmla="*/ 1679378 h 1707953"/>
              <a:gd name="connsiteX141" fmla="*/ 1083294 w 1814116"/>
              <a:gd name="connsiteY141" fmla="*/ 1598416 h 1707953"/>
              <a:gd name="connsiteX142" fmla="*/ 1078531 w 1814116"/>
              <a:gd name="connsiteY142" fmla="*/ 1584128 h 1707953"/>
              <a:gd name="connsiteX143" fmla="*/ 1069006 w 1814116"/>
              <a:gd name="connsiteY143" fmla="*/ 1569841 h 1707953"/>
              <a:gd name="connsiteX144" fmla="*/ 1054719 w 1814116"/>
              <a:gd name="connsiteY144" fmla="*/ 1512691 h 1707953"/>
              <a:gd name="connsiteX145" fmla="*/ 1042164 w 1814116"/>
              <a:gd name="connsiteY145" fmla="*/ 1493488 h 1707953"/>
              <a:gd name="connsiteX146" fmla="*/ 1026144 w 1814116"/>
              <a:gd name="connsiteY146" fmla="*/ 1479353 h 1707953"/>
              <a:gd name="connsiteX147" fmla="*/ 1011856 w 1814116"/>
              <a:gd name="connsiteY147" fmla="*/ 1460303 h 1707953"/>
              <a:gd name="connsiteX148" fmla="*/ 1000184 w 1814116"/>
              <a:gd name="connsiteY148" fmla="*/ 1456613 h 1707953"/>
              <a:gd name="connsiteX149" fmla="*/ 983281 w 1814116"/>
              <a:gd name="connsiteY149" fmla="*/ 1436491 h 1707953"/>
              <a:gd name="connsiteX150" fmla="*/ 968994 w 1814116"/>
              <a:gd name="connsiteY150" fmla="*/ 1422203 h 1707953"/>
              <a:gd name="connsiteX151" fmla="*/ 954706 w 1814116"/>
              <a:gd name="connsiteY151" fmla="*/ 1412678 h 1707953"/>
              <a:gd name="connsiteX152" fmla="*/ 926131 w 1814116"/>
              <a:gd name="connsiteY152" fmla="*/ 1369816 h 1707953"/>
              <a:gd name="connsiteX153" fmla="*/ 921369 w 1814116"/>
              <a:gd name="connsiteY153" fmla="*/ 1350766 h 1707953"/>
              <a:gd name="connsiteX154" fmla="*/ 859456 w 1814116"/>
              <a:gd name="connsiteY154" fmla="*/ 1293616 h 1707953"/>
              <a:gd name="connsiteX155" fmla="*/ 835644 w 1814116"/>
              <a:gd name="connsiteY155" fmla="*/ 1255516 h 1707953"/>
              <a:gd name="connsiteX156" fmla="*/ 830881 w 1814116"/>
              <a:gd name="connsiteY156" fmla="*/ 1241228 h 1707953"/>
              <a:gd name="connsiteX157" fmla="*/ 821356 w 1814116"/>
              <a:gd name="connsiteY157" fmla="*/ 1226941 h 1707953"/>
              <a:gd name="connsiteX158" fmla="*/ 807069 w 1814116"/>
              <a:gd name="connsiteY158" fmla="*/ 1217416 h 1707953"/>
              <a:gd name="connsiteX159" fmla="*/ 792781 w 1814116"/>
              <a:gd name="connsiteY159" fmla="*/ 1212653 h 1707953"/>
              <a:gd name="connsiteX160" fmla="*/ 778494 w 1814116"/>
              <a:gd name="connsiteY160" fmla="*/ 1198366 h 1707953"/>
              <a:gd name="connsiteX161" fmla="*/ 740394 w 1814116"/>
              <a:gd name="connsiteY161" fmla="*/ 1188841 h 1707953"/>
              <a:gd name="connsiteX162" fmla="*/ 726106 w 1814116"/>
              <a:gd name="connsiteY162" fmla="*/ 1179316 h 1707953"/>
              <a:gd name="connsiteX163" fmla="*/ 707056 w 1814116"/>
              <a:gd name="connsiteY163" fmla="*/ 1169791 h 1707953"/>
              <a:gd name="connsiteX164" fmla="*/ 678481 w 1814116"/>
              <a:gd name="connsiteY164" fmla="*/ 1160266 h 1707953"/>
              <a:gd name="connsiteX165" fmla="*/ 635619 w 1814116"/>
              <a:gd name="connsiteY165" fmla="*/ 1126928 h 1707953"/>
              <a:gd name="connsiteX166" fmla="*/ 626094 w 1814116"/>
              <a:gd name="connsiteY166" fmla="*/ 1112641 h 1707953"/>
              <a:gd name="connsiteX167" fmla="*/ 610690 w 1814116"/>
              <a:gd name="connsiteY167" fmla="*/ 1100139 h 1707953"/>
              <a:gd name="connsiteX168" fmla="*/ 602281 w 1814116"/>
              <a:gd name="connsiteY168" fmla="*/ 1088828 h 1707953"/>
              <a:gd name="connsiteX169" fmla="*/ 578469 w 1814116"/>
              <a:gd name="connsiteY169" fmla="*/ 1060253 h 1707953"/>
              <a:gd name="connsiteX170" fmla="*/ 573706 w 1814116"/>
              <a:gd name="connsiteY170" fmla="*/ 1045966 h 1707953"/>
              <a:gd name="connsiteX171" fmla="*/ 559419 w 1814116"/>
              <a:gd name="connsiteY171" fmla="*/ 1017391 h 1707953"/>
              <a:gd name="connsiteX172" fmla="*/ 534545 w 1814116"/>
              <a:gd name="connsiteY172" fmla="*/ 1001160 h 1707953"/>
              <a:gd name="connsiteX173" fmla="*/ 521319 w 1814116"/>
              <a:gd name="connsiteY173" fmla="*/ 988816 h 1707953"/>
              <a:gd name="connsiteX174" fmla="*/ 500406 w 1814116"/>
              <a:gd name="connsiteY174" fmla="*/ 971994 h 1707953"/>
              <a:gd name="connsiteX175" fmla="*/ 492744 w 1814116"/>
              <a:gd name="connsiteY175" fmla="*/ 960241 h 1707953"/>
              <a:gd name="connsiteX176" fmla="*/ 459406 w 1814116"/>
              <a:gd name="connsiteY176" fmla="*/ 931666 h 1707953"/>
              <a:gd name="connsiteX177" fmla="*/ 449881 w 1814116"/>
              <a:gd name="connsiteY177" fmla="*/ 912616 h 1707953"/>
              <a:gd name="connsiteX178" fmla="*/ 435594 w 1814116"/>
              <a:gd name="connsiteY178" fmla="*/ 907853 h 1707953"/>
              <a:gd name="connsiteX179" fmla="*/ 421306 w 1814116"/>
              <a:gd name="connsiteY179" fmla="*/ 888803 h 1707953"/>
              <a:gd name="connsiteX180" fmla="*/ 378444 w 1814116"/>
              <a:gd name="connsiteY180" fmla="*/ 864991 h 1707953"/>
              <a:gd name="connsiteX181" fmla="*/ 364156 w 1814116"/>
              <a:gd name="connsiteY181" fmla="*/ 850703 h 1707953"/>
              <a:gd name="connsiteX182" fmla="*/ 359394 w 1814116"/>
              <a:gd name="connsiteY182" fmla="*/ 836416 h 1707953"/>
              <a:gd name="connsiteX183" fmla="*/ 345106 w 1814116"/>
              <a:gd name="connsiteY183" fmla="*/ 822128 h 1707953"/>
              <a:gd name="connsiteX184" fmla="*/ 330819 w 1814116"/>
              <a:gd name="connsiteY184" fmla="*/ 788791 h 1707953"/>
              <a:gd name="connsiteX185" fmla="*/ 287956 w 1814116"/>
              <a:gd name="connsiteY185" fmla="*/ 750691 h 1707953"/>
              <a:gd name="connsiteX186" fmla="*/ 273669 w 1814116"/>
              <a:gd name="connsiteY186" fmla="*/ 703066 h 1707953"/>
              <a:gd name="connsiteX187" fmla="*/ 259381 w 1814116"/>
              <a:gd name="connsiteY187" fmla="*/ 674491 h 1707953"/>
              <a:gd name="connsiteX188" fmla="*/ 249856 w 1814116"/>
              <a:gd name="connsiteY188" fmla="*/ 660203 h 1707953"/>
              <a:gd name="connsiteX189" fmla="*/ 245094 w 1814116"/>
              <a:gd name="connsiteY189" fmla="*/ 645916 h 1707953"/>
              <a:gd name="connsiteX190" fmla="*/ 230806 w 1814116"/>
              <a:gd name="connsiteY190" fmla="*/ 631628 h 1707953"/>
              <a:gd name="connsiteX191" fmla="*/ 221281 w 1814116"/>
              <a:gd name="connsiteY191" fmla="*/ 617341 h 1707953"/>
              <a:gd name="connsiteX192" fmla="*/ 173656 w 1814116"/>
              <a:gd name="connsiteY192" fmla="*/ 603053 h 1707953"/>
              <a:gd name="connsiteX193" fmla="*/ 159369 w 1814116"/>
              <a:gd name="connsiteY193" fmla="*/ 607816 h 1707953"/>
              <a:gd name="connsiteX194" fmla="*/ 78406 w 1814116"/>
              <a:gd name="connsiteY194" fmla="*/ 617341 h 1707953"/>
              <a:gd name="connsiteX195" fmla="*/ 64119 w 1814116"/>
              <a:gd name="connsiteY195" fmla="*/ 612578 h 1707953"/>
              <a:gd name="connsiteX196" fmla="*/ 49831 w 1814116"/>
              <a:gd name="connsiteY196" fmla="*/ 598291 h 1707953"/>
              <a:gd name="connsiteX197" fmla="*/ 35544 w 1814116"/>
              <a:gd name="connsiteY197" fmla="*/ 593528 h 1707953"/>
              <a:gd name="connsiteX198" fmla="*/ 30781 w 1814116"/>
              <a:gd name="connsiteY198" fmla="*/ 579241 h 1707953"/>
              <a:gd name="connsiteX199" fmla="*/ 30781 w 1814116"/>
              <a:gd name="connsiteY199" fmla="*/ 474466 h 1707953"/>
              <a:gd name="connsiteX200" fmla="*/ 26019 w 1814116"/>
              <a:gd name="connsiteY200" fmla="*/ 460178 h 1707953"/>
              <a:gd name="connsiteX201" fmla="*/ 11731 w 1814116"/>
              <a:gd name="connsiteY201" fmla="*/ 450653 h 1707953"/>
              <a:gd name="connsiteX202" fmla="*/ 6969 w 1814116"/>
              <a:gd name="connsiteY202" fmla="*/ 436366 h 1707953"/>
              <a:gd name="connsiteX203" fmla="*/ 6969 w 1814116"/>
              <a:gd name="connsiteY203" fmla="*/ 331591 h 1707953"/>
              <a:gd name="connsiteX204" fmla="*/ 16494 w 1814116"/>
              <a:gd name="connsiteY204" fmla="*/ 317303 h 1707953"/>
              <a:gd name="connsiteX205" fmla="*/ 45069 w 1814116"/>
              <a:gd name="connsiteY205" fmla="*/ 298253 h 1707953"/>
              <a:gd name="connsiteX206" fmla="*/ 59356 w 1814116"/>
              <a:gd name="connsiteY206" fmla="*/ 283966 h 1707953"/>
              <a:gd name="connsiteX207" fmla="*/ 73644 w 1814116"/>
              <a:gd name="connsiteY207" fmla="*/ 279203 h 1707953"/>
              <a:gd name="connsiteX208" fmla="*/ 87931 w 1814116"/>
              <a:gd name="connsiteY208" fmla="*/ 269678 h 1707953"/>
              <a:gd name="connsiteX209" fmla="*/ 230806 w 1814116"/>
              <a:gd name="connsiteY209" fmla="*/ 264916 h 1707953"/>
              <a:gd name="connsiteX210" fmla="*/ 459406 w 1814116"/>
              <a:gd name="connsiteY210" fmla="*/ 260153 h 1707953"/>
              <a:gd name="connsiteX211" fmla="*/ 645144 w 1814116"/>
              <a:gd name="connsiteY211" fmla="*/ 255391 h 1707953"/>
              <a:gd name="connsiteX212" fmla="*/ 778494 w 1814116"/>
              <a:gd name="connsiteY212" fmla="*/ 260153 h 1707953"/>
              <a:gd name="connsiteX213" fmla="*/ 1002331 w 1814116"/>
              <a:gd name="connsiteY213" fmla="*/ 264916 h 1707953"/>
              <a:gd name="connsiteX214" fmla="*/ 1016619 w 1814116"/>
              <a:gd name="connsiteY214" fmla="*/ 260153 h 1707953"/>
              <a:gd name="connsiteX215" fmla="*/ 1030906 w 1814116"/>
              <a:gd name="connsiteY215" fmla="*/ 250628 h 1707953"/>
              <a:gd name="connsiteX216" fmla="*/ 1043102 w 1814116"/>
              <a:gd name="connsiteY216" fmla="*/ 246703 h 1707953"/>
              <a:gd name="connsiteX217" fmla="*/ 1044743 w 1814116"/>
              <a:gd name="connsiteY217" fmla="*/ 242996 h 1707953"/>
              <a:gd name="connsiteX218" fmla="*/ 1059481 w 1814116"/>
              <a:gd name="connsiteY218" fmla="*/ 231578 h 1707953"/>
              <a:gd name="connsiteX219" fmla="*/ 1070104 w 1814116"/>
              <a:gd name="connsiteY219" fmla="*/ 225724 h 1707953"/>
              <a:gd name="connsiteX220" fmla="*/ 1074468 w 1814116"/>
              <a:gd name="connsiteY220" fmla="*/ 226398 h 1707953"/>
              <a:gd name="connsiteX221" fmla="*/ 1083294 w 1814116"/>
              <a:gd name="connsiteY221" fmla="*/ 212528 h 1707953"/>
              <a:gd name="connsiteX222" fmla="*/ 1097581 w 1814116"/>
              <a:gd name="connsiteY222" fmla="*/ 207766 h 1707953"/>
              <a:gd name="connsiteX223" fmla="*/ 1140444 w 1814116"/>
              <a:gd name="connsiteY223" fmla="*/ 193478 h 1707953"/>
              <a:gd name="connsiteX224" fmla="*/ 1168059 w 1814116"/>
              <a:gd name="connsiteY224" fmla="*/ 183533 h 1707953"/>
              <a:gd name="connsiteX225" fmla="*/ 1188069 w 1814116"/>
              <a:gd name="connsiteY225" fmla="*/ 169666 h 1707953"/>
              <a:gd name="connsiteX226" fmla="*/ 1216644 w 1814116"/>
              <a:gd name="connsiteY226" fmla="*/ 160141 h 1707953"/>
              <a:gd name="connsiteX227" fmla="*/ 1240456 w 1814116"/>
              <a:gd name="connsiteY227" fmla="*/ 136328 h 1707953"/>
              <a:gd name="connsiteX228" fmla="*/ 1269031 w 1814116"/>
              <a:gd name="connsiteY228" fmla="*/ 117278 h 1707953"/>
              <a:gd name="connsiteX229" fmla="*/ 1278556 w 1814116"/>
              <a:gd name="connsiteY229" fmla="*/ 102991 h 1707953"/>
              <a:gd name="connsiteX230" fmla="*/ 1283319 w 1814116"/>
              <a:gd name="connsiteY230" fmla="*/ 22028 h 1707953"/>
              <a:gd name="connsiteX231" fmla="*/ 1310540 w 1814116"/>
              <a:gd name="connsiteY231" fmla="*/ 4 h 1707953"/>
              <a:gd name="connsiteX0" fmla="*/ 1209397 w 1814116"/>
              <a:gd name="connsiteY0" fmla="*/ 283834 h 1719859"/>
              <a:gd name="connsiteX1" fmla="*/ 1209570 w 1814116"/>
              <a:gd name="connsiteY1" fmla="*/ 283875 h 1719859"/>
              <a:gd name="connsiteX2" fmla="*/ 1209243 w 1814116"/>
              <a:gd name="connsiteY2" fmla="*/ 283841 h 1719859"/>
              <a:gd name="connsiteX3" fmla="*/ 1209397 w 1814116"/>
              <a:gd name="connsiteY3" fmla="*/ 283834 h 1719859"/>
              <a:gd name="connsiteX4" fmla="*/ 1310540 w 1814116"/>
              <a:gd name="connsiteY4" fmla="*/ 4 h 1719859"/>
              <a:gd name="connsiteX5" fmla="*/ 1330944 w 1814116"/>
              <a:gd name="connsiteY5" fmla="*/ 2978 h 1719859"/>
              <a:gd name="connsiteX6" fmla="*/ 1335706 w 1814116"/>
              <a:gd name="connsiteY6" fmla="*/ 17266 h 1719859"/>
              <a:gd name="connsiteX7" fmla="*/ 1349994 w 1814116"/>
              <a:gd name="connsiteY7" fmla="*/ 22028 h 1719859"/>
              <a:gd name="connsiteX8" fmla="*/ 1354756 w 1814116"/>
              <a:gd name="connsiteY8" fmla="*/ 41078 h 1719859"/>
              <a:gd name="connsiteX9" fmla="*/ 1354756 w 1814116"/>
              <a:gd name="connsiteY9" fmla="*/ 102991 h 1719859"/>
              <a:gd name="connsiteX10" fmla="*/ 1345231 w 1814116"/>
              <a:gd name="connsiteY10" fmla="*/ 117278 h 1719859"/>
              <a:gd name="connsiteX11" fmla="*/ 1326181 w 1814116"/>
              <a:gd name="connsiteY11" fmla="*/ 145853 h 1719859"/>
              <a:gd name="connsiteX12" fmla="*/ 1283319 w 1814116"/>
              <a:gd name="connsiteY12" fmla="*/ 183953 h 1719859"/>
              <a:gd name="connsiteX13" fmla="*/ 1273794 w 1814116"/>
              <a:gd name="connsiteY13" fmla="*/ 198241 h 1719859"/>
              <a:gd name="connsiteX14" fmla="*/ 1259506 w 1814116"/>
              <a:gd name="connsiteY14" fmla="*/ 207766 h 1719859"/>
              <a:gd name="connsiteX15" fmla="*/ 1245219 w 1814116"/>
              <a:gd name="connsiteY15" fmla="*/ 217291 h 1719859"/>
              <a:gd name="connsiteX16" fmla="*/ 1202356 w 1814116"/>
              <a:gd name="connsiteY16" fmla="*/ 245866 h 1719859"/>
              <a:gd name="connsiteX17" fmla="*/ 1188069 w 1814116"/>
              <a:gd name="connsiteY17" fmla="*/ 250628 h 1719859"/>
              <a:gd name="connsiteX18" fmla="*/ 1178544 w 1814116"/>
              <a:gd name="connsiteY18" fmla="*/ 264916 h 1719859"/>
              <a:gd name="connsiteX19" fmla="*/ 1164256 w 1814116"/>
              <a:gd name="connsiteY19" fmla="*/ 279203 h 1719859"/>
              <a:gd name="connsiteX20" fmla="*/ 1209243 w 1814116"/>
              <a:gd name="connsiteY20" fmla="*/ 283841 h 1719859"/>
              <a:gd name="connsiteX21" fmla="*/ 1226169 w 1814116"/>
              <a:gd name="connsiteY21" fmla="*/ 288728 h 1719859"/>
              <a:gd name="connsiteX22" fmla="*/ 1254744 w 1814116"/>
              <a:gd name="connsiteY22" fmla="*/ 293491 h 1719859"/>
              <a:gd name="connsiteX23" fmla="*/ 1269031 w 1814116"/>
              <a:gd name="connsiteY23" fmla="*/ 298253 h 1719859"/>
              <a:gd name="connsiteX24" fmla="*/ 1297606 w 1814116"/>
              <a:gd name="connsiteY24" fmla="*/ 307778 h 1719859"/>
              <a:gd name="connsiteX25" fmla="*/ 1311894 w 1814116"/>
              <a:gd name="connsiteY25" fmla="*/ 317303 h 1719859"/>
              <a:gd name="connsiteX26" fmla="*/ 1359519 w 1814116"/>
              <a:gd name="connsiteY26" fmla="*/ 331591 h 1719859"/>
              <a:gd name="connsiteX27" fmla="*/ 1397619 w 1814116"/>
              <a:gd name="connsiteY27" fmla="*/ 336353 h 1719859"/>
              <a:gd name="connsiteX28" fmla="*/ 1473819 w 1814116"/>
              <a:gd name="connsiteY28" fmla="*/ 341116 h 1719859"/>
              <a:gd name="connsiteX29" fmla="*/ 1530969 w 1814116"/>
              <a:gd name="connsiteY29" fmla="*/ 360166 h 1719859"/>
              <a:gd name="connsiteX30" fmla="*/ 1602406 w 1814116"/>
              <a:gd name="connsiteY30" fmla="*/ 364928 h 1719859"/>
              <a:gd name="connsiteX31" fmla="*/ 1645269 w 1814116"/>
              <a:gd name="connsiteY31" fmla="*/ 369691 h 1719859"/>
              <a:gd name="connsiteX32" fmla="*/ 1745281 w 1814116"/>
              <a:gd name="connsiteY32" fmla="*/ 379216 h 1719859"/>
              <a:gd name="connsiteX33" fmla="*/ 1759569 w 1814116"/>
              <a:gd name="connsiteY33" fmla="*/ 383978 h 1719859"/>
              <a:gd name="connsiteX34" fmla="*/ 1788144 w 1814116"/>
              <a:gd name="connsiteY34" fmla="*/ 403028 h 1719859"/>
              <a:gd name="connsiteX35" fmla="*/ 1801728 w 1814116"/>
              <a:gd name="connsiteY35" fmla="*/ 407765 h 1719859"/>
              <a:gd name="connsiteX36" fmla="*/ 1804035 w 1814116"/>
              <a:gd name="connsiteY36" fmla="*/ 411824 h 1719859"/>
              <a:gd name="connsiteX37" fmla="*/ 1807194 w 1814116"/>
              <a:gd name="connsiteY37" fmla="*/ 426841 h 1719859"/>
              <a:gd name="connsiteX38" fmla="*/ 1802431 w 1814116"/>
              <a:gd name="connsiteY38" fmla="*/ 441128 h 1719859"/>
              <a:gd name="connsiteX39" fmla="*/ 1797669 w 1814116"/>
              <a:gd name="connsiteY39" fmla="*/ 455416 h 1719859"/>
              <a:gd name="connsiteX40" fmla="*/ 1788144 w 1814116"/>
              <a:gd name="connsiteY40" fmla="*/ 483991 h 1719859"/>
              <a:gd name="connsiteX41" fmla="*/ 1778619 w 1814116"/>
              <a:gd name="connsiteY41" fmla="*/ 526853 h 1719859"/>
              <a:gd name="connsiteX42" fmla="*/ 1797669 w 1814116"/>
              <a:gd name="connsiteY42" fmla="*/ 555428 h 1719859"/>
              <a:gd name="connsiteX43" fmla="*/ 1802431 w 1814116"/>
              <a:gd name="connsiteY43" fmla="*/ 626866 h 1719859"/>
              <a:gd name="connsiteX44" fmla="*/ 1814116 w 1814116"/>
              <a:gd name="connsiteY44" fmla="*/ 635493 h 1719859"/>
              <a:gd name="connsiteX45" fmla="*/ 1804317 w 1814116"/>
              <a:gd name="connsiteY45" fmla="*/ 642402 h 1719859"/>
              <a:gd name="connsiteX46" fmla="*/ 1785267 w 1814116"/>
              <a:gd name="connsiteY46" fmla="*/ 685264 h 1719859"/>
              <a:gd name="connsiteX47" fmla="*/ 1766217 w 1814116"/>
              <a:gd name="connsiteY47" fmla="*/ 713839 h 1719859"/>
              <a:gd name="connsiteX48" fmla="*/ 1751929 w 1814116"/>
              <a:gd name="connsiteY48" fmla="*/ 742414 h 1719859"/>
              <a:gd name="connsiteX49" fmla="*/ 1738387 w 1814116"/>
              <a:gd name="connsiteY49" fmla="*/ 754171 h 1719859"/>
              <a:gd name="connsiteX50" fmla="*/ 1728117 w 1814116"/>
              <a:gd name="connsiteY50" fmla="*/ 766227 h 1719859"/>
              <a:gd name="connsiteX51" fmla="*/ 1713829 w 1814116"/>
              <a:gd name="connsiteY51" fmla="*/ 775752 h 1719859"/>
              <a:gd name="connsiteX52" fmla="*/ 1709067 w 1814116"/>
              <a:gd name="connsiteY52" fmla="*/ 790039 h 1719859"/>
              <a:gd name="connsiteX53" fmla="*/ 1702491 w 1814116"/>
              <a:gd name="connsiteY53" fmla="*/ 801932 h 1719859"/>
              <a:gd name="connsiteX54" fmla="*/ 1698881 w 1814116"/>
              <a:gd name="connsiteY54" fmla="*/ 806067 h 1719859"/>
              <a:gd name="connsiteX55" fmla="*/ 1694779 w 1814116"/>
              <a:gd name="connsiteY55" fmla="*/ 823377 h 1719859"/>
              <a:gd name="connsiteX56" fmla="*/ 1699542 w 1814116"/>
              <a:gd name="connsiteY56" fmla="*/ 837664 h 1719859"/>
              <a:gd name="connsiteX57" fmla="*/ 1701127 w 1814116"/>
              <a:gd name="connsiteY57" fmla="*/ 851861 h 1719859"/>
              <a:gd name="connsiteX58" fmla="*/ 1683369 w 1814116"/>
              <a:gd name="connsiteY58" fmla="*/ 845941 h 1719859"/>
              <a:gd name="connsiteX59" fmla="*/ 1640506 w 1814116"/>
              <a:gd name="connsiteY59" fmla="*/ 850703 h 1719859"/>
              <a:gd name="connsiteX60" fmla="*/ 1592881 w 1814116"/>
              <a:gd name="connsiteY60" fmla="*/ 855466 h 1719859"/>
              <a:gd name="connsiteX61" fmla="*/ 1578594 w 1814116"/>
              <a:gd name="connsiteY61" fmla="*/ 850703 h 1719859"/>
              <a:gd name="connsiteX62" fmla="*/ 1573831 w 1814116"/>
              <a:gd name="connsiteY62" fmla="*/ 817366 h 1719859"/>
              <a:gd name="connsiteX63" fmla="*/ 1569069 w 1814116"/>
              <a:gd name="connsiteY63" fmla="*/ 803078 h 1719859"/>
              <a:gd name="connsiteX64" fmla="*/ 1564306 w 1814116"/>
              <a:gd name="connsiteY64" fmla="*/ 788791 h 1719859"/>
              <a:gd name="connsiteX65" fmla="*/ 1545256 w 1814116"/>
              <a:gd name="connsiteY65" fmla="*/ 745928 h 1719859"/>
              <a:gd name="connsiteX66" fmla="*/ 1530065 w 1814116"/>
              <a:gd name="connsiteY66" fmla="*/ 734542 h 1719859"/>
              <a:gd name="connsiteX67" fmla="*/ 1526206 w 1814116"/>
              <a:gd name="connsiteY67" fmla="*/ 722116 h 1719859"/>
              <a:gd name="connsiteX68" fmla="*/ 1511919 w 1814116"/>
              <a:gd name="connsiteY68" fmla="*/ 707828 h 1719859"/>
              <a:gd name="connsiteX69" fmla="*/ 1478581 w 1814116"/>
              <a:gd name="connsiteY69" fmla="*/ 688778 h 1719859"/>
              <a:gd name="connsiteX70" fmla="*/ 1464294 w 1814116"/>
              <a:gd name="connsiteY70" fmla="*/ 679253 h 1719859"/>
              <a:gd name="connsiteX71" fmla="*/ 1416669 w 1814116"/>
              <a:gd name="connsiteY71" fmla="*/ 650678 h 1719859"/>
              <a:gd name="connsiteX72" fmla="*/ 1402381 w 1814116"/>
              <a:gd name="connsiteY72" fmla="*/ 645916 h 1719859"/>
              <a:gd name="connsiteX73" fmla="*/ 1373806 w 1814116"/>
              <a:gd name="connsiteY73" fmla="*/ 636391 h 1719859"/>
              <a:gd name="connsiteX74" fmla="*/ 1345231 w 1814116"/>
              <a:gd name="connsiteY74" fmla="*/ 617341 h 1719859"/>
              <a:gd name="connsiteX75" fmla="*/ 1330944 w 1814116"/>
              <a:gd name="connsiteY75" fmla="*/ 612578 h 1719859"/>
              <a:gd name="connsiteX76" fmla="*/ 1326181 w 1814116"/>
              <a:gd name="connsiteY76" fmla="*/ 598291 h 1719859"/>
              <a:gd name="connsiteX77" fmla="*/ 1292844 w 1814116"/>
              <a:gd name="connsiteY77" fmla="*/ 560191 h 1719859"/>
              <a:gd name="connsiteX78" fmla="*/ 1270745 w 1814116"/>
              <a:gd name="connsiteY78" fmla="*/ 548714 h 1719859"/>
              <a:gd name="connsiteX79" fmla="*/ 1249981 w 1814116"/>
              <a:gd name="connsiteY79" fmla="*/ 555428 h 1719859"/>
              <a:gd name="connsiteX80" fmla="*/ 1224822 w 1814116"/>
              <a:gd name="connsiteY80" fmla="*/ 551324 h 1719859"/>
              <a:gd name="connsiteX81" fmla="*/ 1230480 w 1814116"/>
              <a:gd name="connsiteY81" fmla="*/ 556163 h 1719859"/>
              <a:gd name="connsiteX82" fmla="*/ 1202356 w 1814116"/>
              <a:gd name="connsiteY82" fmla="*/ 536379 h 1719859"/>
              <a:gd name="connsiteX83" fmla="*/ 1175133 w 1814116"/>
              <a:gd name="connsiteY83" fmla="*/ 505629 h 1719859"/>
              <a:gd name="connsiteX84" fmla="*/ 1183413 w 1814116"/>
              <a:gd name="connsiteY84" fmla="*/ 525030 h 1719859"/>
              <a:gd name="connsiteX85" fmla="*/ 1166638 w 1814116"/>
              <a:gd name="connsiteY85" fmla="*/ 503041 h 1719859"/>
              <a:gd name="connsiteX86" fmla="*/ 1116631 w 1814116"/>
              <a:gd name="connsiteY86" fmla="*/ 493516 h 1719859"/>
              <a:gd name="connsiteX87" fmla="*/ 968994 w 1814116"/>
              <a:gd name="connsiteY87" fmla="*/ 488753 h 1719859"/>
              <a:gd name="connsiteX88" fmla="*/ 949944 w 1814116"/>
              <a:gd name="connsiteY88" fmla="*/ 493516 h 1719859"/>
              <a:gd name="connsiteX89" fmla="*/ 921369 w 1814116"/>
              <a:gd name="connsiteY89" fmla="*/ 503041 h 1719859"/>
              <a:gd name="connsiteX90" fmla="*/ 892794 w 1814116"/>
              <a:gd name="connsiteY90" fmla="*/ 512566 h 1719859"/>
              <a:gd name="connsiteX91" fmla="*/ 864219 w 1814116"/>
              <a:gd name="connsiteY91" fmla="*/ 531616 h 1719859"/>
              <a:gd name="connsiteX92" fmla="*/ 849931 w 1814116"/>
              <a:gd name="connsiteY92" fmla="*/ 536378 h 1719859"/>
              <a:gd name="connsiteX93" fmla="*/ 821356 w 1814116"/>
              <a:gd name="connsiteY93" fmla="*/ 579241 h 1719859"/>
              <a:gd name="connsiteX94" fmla="*/ 797544 w 1814116"/>
              <a:gd name="connsiteY94" fmla="*/ 622103 h 1719859"/>
              <a:gd name="connsiteX95" fmla="*/ 788019 w 1814116"/>
              <a:gd name="connsiteY95" fmla="*/ 636391 h 1719859"/>
              <a:gd name="connsiteX96" fmla="*/ 768969 w 1814116"/>
              <a:gd name="connsiteY96" fmla="*/ 664966 h 1719859"/>
              <a:gd name="connsiteX97" fmla="*/ 759444 w 1814116"/>
              <a:gd name="connsiteY97" fmla="*/ 703066 h 1719859"/>
              <a:gd name="connsiteX98" fmla="*/ 764206 w 1814116"/>
              <a:gd name="connsiteY98" fmla="*/ 717353 h 1719859"/>
              <a:gd name="connsiteX99" fmla="*/ 768969 w 1814116"/>
              <a:gd name="connsiteY99" fmla="*/ 741166 h 1719859"/>
              <a:gd name="connsiteX100" fmla="*/ 773731 w 1814116"/>
              <a:gd name="connsiteY100" fmla="*/ 760216 h 1719859"/>
              <a:gd name="connsiteX101" fmla="*/ 788019 w 1814116"/>
              <a:gd name="connsiteY101" fmla="*/ 788791 h 1719859"/>
              <a:gd name="connsiteX102" fmla="*/ 797544 w 1814116"/>
              <a:gd name="connsiteY102" fmla="*/ 803078 h 1719859"/>
              <a:gd name="connsiteX103" fmla="*/ 802306 w 1814116"/>
              <a:gd name="connsiteY103" fmla="*/ 817366 h 1719859"/>
              <a:gd name="connsiteX104" fmla="*/ 811831 w 1814116"/>
              <a:gd name="connsiteY104" fmla="*/ 845941 h 1719859"/>
              <a:gd name="connsiteX105" fmla="*/ 821356 w 1814116"/>
              <a:gd name="connsiteY105" fmla="*/ 922141 h 1719859"/>
              <a:gd name="connsiteX106" fmla="*/ 826119 w 1814116"/>
              <a:gd name="connsiteY106" fmla="*/ 941191 h 1719859"/>
              <a:gd name="connsiteX107" fmla="*/ 835644 w 1814116"/>
              <a:gd name="connsiteY107" fmla="*/ 955478 h 1719859"/>
              <a:gd name="connsiteX108" fmla="*/ 840406 w 1814116"/>
              <a:gd name="connsiteY108" fmla="*/ 979291 h 1719859"/>
              <a:gd name="connsiteX109" fmla="*/ 859456 w 1814116"/>
              <a:gd name="connsiteY109" fmla="*/ 1007866 h 1719859"/>
              <a:gd name="connsiteX110" fmla="*/ 873744 w 1814116"/>
              <a:gd name="connsiteY110" fmla="*/ 1022153 h 1719859"/>
              <a:gd name="connsiteX111" fmla="*/ 916606 w 1814116"/>
              <a:gd name="connsiteY111" fmla="*/ 1069778 h 1719859"/>
              <a:gd name="connsiteX112" fmla="*/ 945181 w 1814116"/>
              <a:gd name="connsiteY112" fmla="*/ 1093591 h 1719859"/>
              <a:gd name="connsiteX113" fmla="*/ 949944 w 1814116"/>
              <a:gd name="connsiteY113" fmla="*/ 1107878 h 1719859"/>
              <a:gd name="connsiteX114" fmla="*/ 964231 w 1814116"/>
              <a:gd name="connsiteY114" fmla="*/ 1117403 h 1719859"/>
              <a:gd name="connsiteX115" fmla="*/ 992806 w 1814116"/>
              <a:gd name="connsiteY115" fmla="*/ 1131691 h 1719859"/>
              <a:gd name="connsiteX116" fmla="*/ 997569 w 1814116"/>
              <a:gd name="connsiteY116" fmla="*/ 1145978 h 1719859"/>
              <a:gd name="connsiteX117" fmla="*/ 1026144 w 1814116"/>
              <a:gd name="connsiteY117" fmla="*/ 1165028 h 1719859"/>
              <a:gd name="connsiteX118" fmla="*/ 1035669 w 1814116"/>
              <a:gd name="connsiteY118" fmla="*/ 1179316 h 1719859"/>
              <a:gd name="connsiteX119" fmla="*/ 1049956 w 1814116"/>
              <a:gd name="connsiteY119" fmla="*/ 1193603 h 1719859"/>
              <a:gd name="connsiteX120" fmla="*/ 1078531 w 1814116"/>
              <a:gd name="connsiteY120" fmla="*/ 1222178 h 1719859"/>
              <a:gd name="connsiteX121" fmla="*/ 1097581 w 1814116"/>
              <a:gd name="connsiteY121" fmla="*/ 1265041 h 1719859"/>
              <a:gd name="connsiteX122" fmla="*/ 1135681 w 1814116"/>
              <a:gd name="connsiteY122" fmla="*/ 1331716 h 1719859"/>
              <a:gd name="connsiteX123" fmla="*/ 1145206 w 1814116"/>
              <a:gd name="connsiteY123" fmla="*/ 1346003 h 1719859"/>
              <a:gd name="connsiteX124" fmla="*/ 1159494 w 1814116"/>
              <a:gd name="connsiteY124" fmla="*/ 1355528 h 1719859"/>
              <a:gd name="connsiteX125" fmla="*/ 1173781 w 1814116"/>
              <a:gd name="connsiteY125" fmla="*/ 1369816 h 1719859"/>
              <a:gd name="connsiteX126" fmla="*/ 1188069 w 1814116"/>
              <a:gd name="connsiteY126" fmla="*/ 1374578 h 1719859"/>
              <a:gd name="connsiteX127" fmla="*/ 1197594 w 1814116"/>
              <a:gd name="connsiteY127" fmla="*/ 1388866 h 1719859"/>
              <a:gd name="connsiteX128" fmla="*/ 1207119 w 1814116"/>
              <a:gd name="connsiteY128" fmla="*/ 1436491 h 1719859"/>
              <a:gd name="connsiteX129" fmla="*/ 1211881 w 1814116"/>
              <a:gd name="connsiteY129" fmla="*/ 1460303 h 1719859"/>
              <a:gd name="connsiteX130" fmla="*/ 1216644 w 1814116"/>
              <a:gd name="connsiteY130" fmla="*/ 1474591 h 1719859"/>
              <a:gd name="connsiteX131" fmla="*/ 1221406 w 1814116"/>
              <a:gd name="connsiteY131" fmla="*/ 1507928 h 1719859"/>
              <a:gd name="connsiteX132" fmla="*/ 1226169 w 1814116"/>
              <a:gd name="connsiteY132" fmla="*/ 1588891 h 1719859"/>
              <a:gd name="connsiteX133" fmla="*/ 1207119 w 1814116"/>
              <a:gd name="connsiteY133" fmla="*/ 1617466 h 1719859"/>
              <a:gd name="connsiteX134" fmla="*/ 1173781 w 1814116"/>
              <a:gd name="connsiteY134" fmla="*/ 1655566 h 1719859"/>
              <a:gd name="connsiteX135" fmla="*/ 1159494 w 1814116"/>
              <a:gd name="connsiteY135" fmla="*/ 1660328 h 1719859"/>
              <a:gd name="connsiteX136" fmla="*/ 1149969 w 1814116"/>
              <a:gd name="connsiteY136" fmla="*/ 1688903 h 1719859"/>
              <a:gd name="connsiteX137" fmla="*/ 1140444 w 1814116"/>
              <a:gd name="connsiteY137" fmla="*/ 1703191 h 1719859"/>
              <a:gd name="connsiteX138" fmla="*/ 1130918 w 1814116"/>
              <a:gd name="connsiteY138" fmla="*/ 1719859 h 1719859"/>
              <a:gd name="connsiteX139" fmla="*/ 1097581 w 1814116"/>
              <a:gd name="connsiteY139" fmla="*/ 1693666 h 1719859"/>
              <a:gd name="connsiteX140" fmla="*/ 1092819 w 1814116"/>
              <a:gd name="connsiteY140" fmla="*/ 1679378 h 1719859"/>
              <a:gd name="connsiteX141" fmla="*/ 1083294 w 1814116"/>
              <a:gd name="connsiteY141" fmla="*/ 1598416 h 1719859"/>
              <a:gd name="connsiteX142" fmla="*/ 1078531 w 1814116"/>
              <a:gd name="connsiteY142" fmla="*/ 1584128 h 1719859"/>
              <a:gd name="connsiteX143" fmla="*/ 1069006 w 1814116"/>
              <a:gd name="connsiteY143" fmla="*/ 1569841 h 1719859"/>
              <a:gd name="connsiteX144" fmla="*/ 1054719 w 1814116"/>
              <a:gd name="connsiteY144" fmla="*/ 1512691 h 1719859"/>
              <a:gd name="connsiteX145" fmla="*/ 1042164 w 1814116"/>
              <a:gd name="connsiteY145" fmla="*/ 1493488 h 1719859"/>
              <a:gd name="connsiteX146" fmla="*/ 1026144 w 1814116"/>
              <a:gd name="connsiteY146" fmla="*/ 1479353 h 1719859"/>
              <a:gd name="connsiteX147" fmla="*/ 1011856 w 1814116"/>
              <a:gd name="connsiteY147" fmla="*/ 1460303 h 1719859"/>
              <a:gd name="connsiteX148" fmla="*/ 1000184 w 1814116"/>
              <a:gd name="connsiteY148" fmla="*/ 1456613 h 1719859"/>
              <a:gd name="connsiteX149" fmla="*/ 983281 w 1814116"/>
              <a:gd name="connsiteY149" fmla="*/ 1436491 h 1719859"/>
              <a:gd name="connsiteX150" fmla="*/ 968994 w 1814116"/>
              <a:gd name="connsiteY150" fmla="*/ 1422203 h 1719859"/>
              <a:gd name="connsiteX151" fmla="*/ 954706 w 1814116"/>
              <a:gd name="connsiteY151" fmla="*/ 1412678 h 1719859"/>
              <a:gd name="connsiteX152" fmla="*/ 926131 w 1814116"/>
              <a:gd name="connsiteY152" fmla="*/ 1369816 h 1719859"/>
              <a:gd name="connsiteX153" fmla="*/ 921369 w 1814116"/>
              <a:gd name="connsiteY153" fmla="*/ 1350766 h 1719859"/>
              <a:gd name="connsiteX154" fmla="*/ 859456 w 1814116"/>
              <a:gd name="connsiteY154" fmla="*/ 1293616 h 1719859"/>
              <a:gd name="connsiteX155" fmla="*/ 835644 w 1814116"/>
              <a:gd name="connsiteY155" fmla="*/ 1255516 h 1719859"/>
              <a:gd name="connsiteX156" fmla="*/ 830881 w 1814116"/>
              <a:gd name="connsiteY156" fmla="*/ 1241228 h 1719859"/>
              <a:gd name="connsiteX157" fmla="*/ 821356 w 1814116"/>
              <a:gd name="connsiteY157" fmla="*/ 1226941 h 1719859"/>
              <a:gd name="connsiteX158" fmla="*/ 807069 w 1814116"/>
              <a:gd name="connsiteY158" fmla="*/ 1217416 h 1719859"/>
              <a:gd name="connsiteX159" fmla="*/ 792781 w 1814116"/>
              <a:gd name="connsiteY159" fmla="*/ 1212653 h 1719859"/>
              <a:gd name="connsiteX160" fmla="*/ 778494 w 1814116"/>
              <a:gd name="connsiteY160" fmla="*/ 1198366 h 1719859"/>
              <a:gd name="connsiteX161" fmla="*/ 740394 w 1814116"/>
              <a:gd name="connsiteY161" fmla="*/ 1188841 h 1719859"/>
              <a:gd name="connsiteX162" fmla="*/ 726106 w 1814116"/>
              <a:gd name="connsiteY162" fmla="*/ 1179316 h 1719859"/>
              <a:gd name="connsiteX163" fmla="*/ 707056 w 1814116"/>
              <a:gd name="connsiteY163" fmla="*/ 1169791 h 1719859"/>
              <a:gd name="connsiteX164" fmla="*/ 678481 w 1814116"/>
              <a:gd name="connsiteY164" fmla="*/ 1160266 h 1719859"/>
              <a:gd name="connsiteX165" fmla="*/ 635619 w 1814116"/>
              <a:gd name="connsiteY165" fmla="*/ 1126928 h 1719859"/>
              <a:gd name="connsiteX166" fmla="*/ 626094 w 1814116"/>
              <a:gd name="connsiteY166" fmla="*/ 1112641 h 1719859"/>
              <a:gd name="connsiteX167" fmla="*/ 610690 w 1814116"/>
              <a:gd name="connsiteY167" fmla="*/ 1100139 h 1719859"/>
              <a:gd name="connsiteX168" fmla="*/ 602281 w 1814116"/>
              <a:gd name="connsiteY168" fmla="*/ 1088828 h 1719859"/>
              <a:gd name="connsiteX169" fmla="*/ 578469 w 1814116"/>
              <a:gd name="connsiteY169" fmla="*/ 1060253 h 1719859"/>
              <a:gd name="connsiteX170" fmla="*/ 573706 w 1814116"/>
              <a:gd name="connsiteY170" fmla="*/ 1045966 h 1719859"/>
              <a:gd name="connsiteX171" fmla="*/ 559419 w 1814116"/>
              <a:gd name="connsiteY171" fmla="*/ 1017391 h 1719859"/>
              <a:gd name="connsiteX172" fmla="*/ 534545 w 1814116"/>
              <a:gd name="connsiteY172" fmla="*/ 1001160 h 1719859"/>
              <a:gd name="connsiteX173" fmla="*/ 521319 w 1814116"/>
              <a:gd name="connsiteY173" fmla="*/ 988816 h 1719859"/>
              <a:gd name="connsiteX174" fmla="*/ 500406 w 1814116"/>
              <a:gd name="connsiteY174" fmla="*/ 971994 h 1719859"/>
              <a:gd name="connsiteX175" fmla="*/ 492744 w 1814116"/>
              <a:gd name="connsiteY175" fmla="*/ 960241 h 1719859"/>
              <a:gd name="connsiteX176" fmla="*/ 459406 w 1814116"/>
              <a:gd name="connsiteY176" fmla="*/ 931666 h 1719859"/>
              <a:gd name="connsiteX177" fmla="*/ 449881 w 1814116"/>
              <a:gd name="connsiteY177" fmla="*/ 912616 h 1719859"/>
              <a:gd name="connsiteX178" fmla="*/ 435594 w 1814116"/>
              <a:gd name="connsiteY178" fmla="*/ 907853 h 1719859"/>
              <a:gd name="connsiteX179" fmla="*/ 421306 w 1814116"/>
              <a:gd name="connsiteY179" fmla="*/ 888803 h 1719859"/>
              <a:gd name="connsiteX180" fmla="*/ 378444 w 1814116"/>
              <a:gd name="connsiteY180" fmla="*/ 864991 h 1719859"/>
              <a:gd name="connsiteX181" fmla="*/ 364156 w 1814116"/>
              <a:gd name="connsiteY181" fmla="*/ 850703 h 1719859"/>
              <a:gd name="connsiteX182" fmla="*/ 359394 w 1814116"/>
              <a:gd name="connsiteY182" fmla="*/ 836416 h 1719859"/>
              <a:gd name="connsiteX183" fmla="*/ 345106 w 1814116"/>
              <a:gd name="connsiteY183" fmla="*/ 822128 h 1719859"/>
              <a:gd name="connsiteX184" fmla="*/ 330819 w 1814116"/>
              <a:gd name="connsiteY184" fmla="*/ 788791 h 1719859"/>
              <a:gd name="connsiteX185" fmla="*/ 287956 w 1814116"/>
              <a:gd name="connsiteY185" fmla="*/ 750691 h 1719859"/>
              <a:gd name="connsiteX186" fmla="*/ 273669 w 1814116"/>
              <a:gd name="connsiteY186" fmla="*/ 703066 h 1719859"/>
              <a:gd name="connsiteX187" fmla="*/ 259381 w 1814116"/>
              <a:gd name="connsiteY187" fmla="*/ 674491 h 1719859"/>
              <a:gd name="connsiteX188" fmla="*/ 249856 w 1814116"/>
              <a:gd name="connsiteY188" fmla="*/ 660203 h 1719859"/>
              <a:gd name="connsiteX189" fmla="*/ 245094 w 1814116"/>
              <a:gd name="connsiteY189" fmla="*/ 645916 h 1719859"/>
              <a:gd name="connsiteX190" fmla="*/ 230806 w 1814116"/>
              <a:gd name="connsiteY190" fmla="*/ 631628 h 1719859"/>
              <a:gd name="connsiteX191" fmla="*/ 221281 w 1814116"/>
              <a:gd name="connsiteY191" fmla="*/ 617341 h 1719859"/>
              <a:gd name="connsiteX192" fmla="*/ 173656 w 1814116"/>
              <a:gd name="connsiteY192" fmla="*/ 603053 h 1719859"/>
              <a:gd name="connsiteX193" fmla="*/ 159369 w 1814116"/>
              <a:gd name="connsiteY193" fmla="*/ 607816 h 1719859"/>
              <a:gd name="connsiteX194" fmla="*/ 78406 w 1814116"/>
              <a:gd name="connsiteY194" fmla="*/ 617341 h 1719859"/>
              <a:gd name="connsiteX195" fmla="*/ 64119 w 1814116"/>
              <a:gd name="connsiteY195" fmla="*/ 612578 h 1719859"/>
              <a:gd name="connsiteX196" fmla="*/ 49831 w 1814116"/>
              <a:gd name="connsiteY196" fmla="*/ 598291 h 1719859"/>
              <a:gd name="connsiteX197" fmla="*/ 35544 w 1814116"/>
              <a:gd name="connsiteY197" fmla="*/ 593528 h 1719859"/>
              <a:gd name="connsiteX198" fmla="*/ 30781 w 1814116"/>
              <a:gd name="connsiteY198" fmla="*/ 579241 h 1719859"/>
              <a:gd name="connsiteX199" fmla="*/ 30781 w 1814116"/>
              <a:gd name="connsiteY199" fmla="*/ 474466 h 1719859"/>
              <a:gd name="connsiteX200" fmla="*/ 26019 w 1814116"/>
              <a:gd name="connsiteY200" fmla="*/ 460178 h 1719859"/>
              <a:gd name="connsiteX201" fmla="*/ 11731 w 1814116"/>
              <a:gd name="connsiteY201" fmla="*/ 450653 h 1719859"/>
              <a:gd name="connsiteX202" fmla="*/ 6969 w 1814116"/>
              <a:gd name="connsiteY202" fmla="*/ 436366 h 1719859"/>
              <a:gd name="connsiteX203" fmla="*/ 6969 w 1814116"/>
              <a:gd name="connsiteY203" fmla="*/ 331591 h 1719859"/>
              <a:gd name="connsiteX204" fmla="*/ 16494 w 1814116"/>
              <a:gd name="connsiteY204" fmla="*/ 317303 h 1719859"/>
              <a:gd name="connsiteX205" fmla="*/ 45069 w 1814116"/>
              <a:gd name="connsiteY205" fmla="*/ 298253 h 1719859"/>
              <a:gd name="connsiteX206" fmla="*/ 59356 w 1814116"/>
              <a:gd name="connsiteY206" fmla="*/ 283966 h 1719859"/>
              <a:gd name="connsiteX207" fmla="*/ 73644 w 1814116"/>
              <a:gd name="connsiteY207" fmla="*/ 279203 h 1719859"/>
              <a:gd name="connsiteX208" fmla="*/ 87931 w 1814116"/>
              <a:gd name="connsiteY208" fmla="*/ 269678 h 1719859"/>
              <a:gd name="connsiteX209" fmla="*/ 230806 w 1814116"/>
              <a:gd name="connsiteY209" fmla="*/ 264916 h 1719859"/>
              <a:gd name="connsiteX210" fmla="*/ 459406 w 1814116"/>
              <a:gd name="connsiteY210" fmla="*/ 260153 h 1719859"/>
              <a:gd name="connsiteX211" fmla="*/ 645144 w 1814116"/>
              <a:gd name="connsiteY211" fmla="*/ 255391 h 1719859"/>
              <a:gd name="connsiteX212" fmla="*/ 778494 w 1814116"/>
              <a:gd name="connsiteY212" fmla="*/ 260153 h 1719859"/>
              <a:gd name="connsiteX213" fmla="*/ 1002331 w 1814116"/>
              <a:gd name="connsiteY213" fmla="*/ 264916 h 1719859"/>
              <a:gd name="connsiteX214" fmla="*/ 1016619 w 1814116"/>
              <a:gd name="connsiteY214" fmla="*/ 260153 h 1719859"/>
              <a:gd name="connsiteX215" fmla="*/ 1030906 w 1814116"/>
              <a:gd name="connsiteY215" fmla="*/ 250628 h 1719859"/>
              <a:gd name="connsiteX216" fmla="*/ 1043102 w 1814116"/>
              <a:gd name="connsiteY216" fmla="*/ 246703 h 1719859"/>
              <a:gd name="connsiteX217" fmla="*/ 1044743 w 1814116"/>
              <a:gd name="connsiteY217" fmla="*/ 242996 h 1719859"/>
              <a:gd name="connsiteX218" fmla="*/ 1059481 w 1814116"/>
              <a:gd name="connsiteY218" fmla="*/ 231578 h 1719859"/>
              <a:gd name="connsiteX219" fmla="*/ 1070104 w 1814116"/>
              <a:gd name="connsiteY219" fmla="*/ 225724 h 1719859"/>
              <a:gd name="connsiteX220" fmla="*/ 1074468 w 1814116"/>
              <a:gd name="connsiteY220" fmla="*/ 226398 h 1719859"/>
              <a:gd name="connsiteX221" fmla="*/ 1083294 w 1814116"/>
              <a:gd name="connsiteY221" fmla="*/ 212528 h 1719859"/>
              <a:gd name="connsiteX222" fmla="*/ 1097581 w 1814116"/>
              <a:gd name="connsiteY222" fmla="*/ 207766 h 1719859"/>
              <a:gd name="connsiteX223" fmla="*/ 1140444 w 1814116"/>
              <a:gd name="connsiteY223" fmla="*/ 193478 h 1719859"/>
              <a:gd name="connsiteX224" fmla="*/ 1168059 w 1814116"/>
              <a:gd name="connsiteY224" fmla="*/ 183533 h 1719859"/>
              <a:gd name="connsiteX225" fmla="*/ 1188069 w 1814116"/>
              <a:gd name="connsiteY225" fmla="*/ 169666 h 1719859"/>
              <a:gd name="connsiteX226" fmla="*/ 1216644 w 1814116"/>
              <a:gd name="connsiteY226" fmla="*/ 160141 h 1719859"/>
              <a:gd name="connsiteX227" fmla="*/ 1240456 w 1814116"/>
              <a:gd name="connsiteY227" fmla="*/ 136328 h 1719859"/>
              <a:gd name="connsiteX228" fmla="*/ 1269031 w 1814116"/>
              <a:gd name="connsiteY228" fmla="*/ 117278 h 1719859"/>
              <a:gd name="connsiteX229" fmla="*/ 1278556 w 1814116"/>
              <a:gd name="connsiteY229" fmla="*/ 102991 h 1719859"/>
              <a:gd name="connsiteX230" fmla="*/ 1283319 w 1814116"/>
              <a:gd name="connsiteY230" fmla="*/ 22028 h 1719859"/>
              <a:gd name="connsiteX231" fmla="*/ 1310540 w 1814116"/>
              <a:gd name="connsiteY231" fmla="*/ 4 h 1719859"/>
              <a:gd name="connsiteX0" fmla="*/ 1209397 w 1814116"/>
              <a:gd name="connsiteY0" fmla="*/ 283834 h 1719859"/>
              <a:gd name="connsiteX1" fmla="*/ 1209570 w 1814116"/>
              <a:gd name="connsiteY1" fmla="*/ 283875 h 1719859"/>
              <a:gd name="connsiteX2" fmla="*/ 1209243 w 1814116"/>
              <a:gd name="connsiteY2" fmla="*/ 283841 h 1719859"/>
              <a:gd name="connsiteX3" fmla="*/ 1209397 w 1814116"/>
              <a:gd name="connsiteY3" fmla="*/ 283834 h 1719859"/>
              <a:gd name="connsiteX4" fmla="*/ 1310540 w 1814116"/>
              <a:gd name="connsiteY4" fmla="*/ 4 h 1719859"/>
              <a:gd name="connsiteX5" fmla="*/ 1330944 w 1814116"/>
              <a:gd name="connsiteY5" fmla="*/ 2978 h 1719859"/>
              <a:gd name="connsiteX6" fmla="*/ 1335706 w 1814116"/>
              <a:gd name="connsiteY6" fmla="*/ 17266 h 1719859"/>
              <a:gd name="connsiteX7" fmla="*/ 1349994 w 1814116"/>
              <a:gd name="connsiteY7" fmla="*/ 22028 h 1719859"/>
              <a:gd name="connsiteX8" fmla="*/ 1354756 w 1814116"/>
              <a:gd name="connsiteY8" fmla="*/ 41078 h 1719859"/>
              <a:gd name="connsiteX9" fmla="*/ 1354756 w 1814116"/>
              <a:gd name="connsiteY9" fmla="*/ 102991 h 1719859"/>
              <a:gd name="connsiteX10" fmla="*/ 1345231 w 1814116"/>
              <a:gd name="connsiteY10" fmla="*/ 117278 h 1719859"/>
              <a:gd name="connsiteX11" fmla="*/ 1326181 w 1814116"/>
              <a:gd name="connsiteY11" fmla="*/ 145853 h 1719859"/>
              <a:gd name="connsiteX12" fmla="*/ 1283319 w 1814116"/>
              <a:gd name="connsiteY12" fmla="*/ 183953 h 1719859"/>
              <a:gd name="connsiteX13" fmla="*/ 1273794 w 1814116"/>
              <a:gd name="connsiteY13" fmla="*/ 198241 h 1719859"/>
              <a:gd name="connsiteX14" fmla="*/ 1259506 w 1814116"/>
              <a:gd name="connsiteY14" fmla="*/ 207766 h 1719859"/>
              <a:gd name="connsiteX15" fmla="*/ 1245219 w 1814116"/>
              <a:gd name="connsiteY15" fmla="*/ 217291 h 1719859"/>
              <a:gd name="connsiteX16" fmla="*/ 1202356 w 1814116"/>
              <a:gd name="connsiteY16" fmla="*/ 245866 h 1719859"/>
              <a:gd name="connsiteX17" fmla="*/ 1188069 w 1814116"/>
              <a:gd name="connsiteY17" fmla="*/ 250628 h 1719859"/>
              <a:gd name="connsiteX18" fmla="*/ 1178544 w 1814116"/>
              <a:gd name="connsiteY18" fmla="*/ 264916 h 1719859"/>
              <a:gd name="connsiteX19" fmla="*/ 1164256 w 1814116"/>
              <a:gd name="connsiteY19" fmla="*/ 279203 h 1719859"/>
              <a:gd name="connsiteX20" fmla="*/ 1209243 w 1814116"/>
              <a:gd name="connsiteY20" fmla="*/ 283841 h 1719859"/>
              <a:gd name="connsiteX21" fmla="*/ 1226169 w 1814116"/>
              <a:gd name="connsiteY21" fmla="*/ 288728 h 1719859"/>
              <a:gd name="connsiteX22" fmla="*/ 1254744 w 1814116"/>
              <a:gd name="connsiteY22" fmla="*/ 293491 h 1719859"/>
              <a:gd name="connsiteX23" fmla="*/ 1269031 w 1814116"/>
              <a:gd name="connsiteY23" fmla="*/ 298253 h 1719859"/>
              <a:gd name="connsiteX24" fmla="*/ 1297606 w 1814116"/>
              <a:gd name="connsiteY24" fmla="*/ 307778 h 1719859"/>
              <a:gd name="connsiteX25" fmla="*/ 1311894 w 1814116"/>
              <a:gd name="connsiteY25" fmla="*/ 317303 h 1719859"/>
              <a:gd name="connsiteX26" fmla="*/ 1359519 w 1814116"/>
              <a:gd name="connsiteY26" fmla="*/ 331591 h 1719859"/>
              <a:gd name="connsiteX27" fmla="*/ 1397619 w 1814116"/>
              <a:gd name="connsiteY27" fmla="*/ 336353 h 1719859"/>
              <a:gd name="connsiteX28" fmla="*/ 1473819 w 1814116"/>
              <a:gd name="connsiteY28" fmla="*/ 341116 h 1719859"/>
              <a:gd name="connsiteX29" fmla="*/ 1530969 w 1814116"/>
              <a:gd name="connsiteY29" fmla="*/ 360166 h 1719859"/>
              <a:gd name="connsiteX30" fmla="*/ 1602406 w 1814116"/>
              <a:gd name="connsiteY30" fmla="*/ 364928 h 1719859"/>
              <a:gd name="connsiteX31" fmla="*/ 1645269 w 1814116"/>
              <a:gd name="connsiteY31" fmla="*/ 369691 h 1719859"/>
              <a:gd name="connsiteX32" fmla="*/ 1745281 w 1814116"/>
              <a:gd name="connsiteY32" fmla="*/ 379216 h 1719859"/>
              <a:gd name="connsiteX33" fmla="*/ 1759569 w 1814116"/>
              <a:gd name="connsiteY33" fmla="*/ 383978 h 1719859"/>
              <a:gd name="connsiteX34" fmla="*/ 1788144 w 1814116"/>
              <a:gd name="connsiteY34" fmla="*/ 403028 h 1719859"/>
              <a:gd name="connsiteX35" fmla="*/ 1801728 w 1814116"/>
              <a:gd name="connsiteY35" fmla="*/ 407765 h 1719859"/>
              <a:gd name="connsiteX36" fmla="*/ 1804035 w 1814116"/>
              <a:gd name="connsiteY36" fmla="*/ 411824 h 1719859"/>
              <a:gd name="connsiteX37" fmla="*/ 1807194 w 1814116"/>
              <a:gd name="connsiteY37" fmla="*/ 426841 h 1719859"/>
              <a:gd name="connsiteX38" fmla="*/ 1802431 w 1814116"/>
              <a:gd name="connsiteY38" fmla="*/ 441128 h 1719859"/>
              <a:gd name="connsiteX39" fmla="*/ 1797669 w 1814116"/>
              <a:gd name="connsiteY39" fmla="*/ 455416 h 1719859"/>
              <a:gd name="connsiteX40" fmla="*/ 1788144 w 1814116"/>
              <a:gd name="connsiteY40" fmla="*/ 483991 h 1719859"/>
              <a:gd name="connsiteX41" fmla="*/ 1778619 w 1814116"/>
              <a:gd name="connsiteY41" fmla="*/ 526853 h 1719859"/>
              <a:gd name="connsiteX42" fmla="*/ 1797669 w 1814116"/>
              <a:gd name="connsiteY42" fmla="*/ 555428 h 1719859"/>
              <a:gd name="connsiteX43" fmla="*/ 1802431 w 1814116"/>
              <a:gd name="connsiteY43" fmla="*/ 626866 h 1719859"/>
              <a:gd name="connsiteX44" fmla="*/ 1814116 w 1814116"/>
              <a:gd name="connsiteY44" fmla="*/ 635493 h 1719859"/>
              <a:gd name="connsiteX45" fmla="*/ 1804317 w 1814116"/>
              <a:gd name="connsiteY45" fmla="*/ 642402 h 1719859"/>
              <a:gd name="connsiteX46" fmla="*/ 1785267 w 1814116"/>
              <a:gd name="connsiteY46" fmla="*/ 685264 h 1719859"/>
              <a:gd name="connsiteX47" fmla="*/ 1766217 w 1814116"/>
              <a:gd name="connsiteY47" fmla="*/ 713839 h 1719859"/>
              <a:gd name="connsiteX48" fmla="*/ 1751929 w 1814116"/>
              <a:gd name="connsiteY48" fmla="*/ 742414 h 1719859"/>
              <a:gd name="connsiteX49" fmla="*/ 1738387 w 1814116"/>
              <a:gd name="connsiteY49" fmla="*/ 754171 h 1719859"/>
              <a:gd name="connsiteX50" fmla="*/ 1728117 w 1814116"/>
              <a:gd name="connsiteY50" fmla="*/ 766227 h 1719859"/>
              <a:gd name="connsiteX51" fmla="*/ 1713829 w 1814116"/>
              <a:gd name="connsiteY51" fmla="*/ 775752 h 1719859"/>
              <a:gd name="connsiteX52" fmla="*/ 1709067 w 1814116"/>
              <a:gd name="connsiteY52" fmla="*/ 790039 h 1719859"/>
              <a:gd name="connsiteX53" fmla="*/ 1702491 w 1814116"/>
              <a:gd name="connsiteY53" fmla="*/ 801932 h 1719859"/>
              <a:gd name="connsiteX54" fmla="*/ 1698881 w 1814116"/>
              <a:gd name="connsiteY54" fmla="*/ 806067 h 1719859"/>
              <a:gd name="connsiteX55" fmla="*/ 1694779 w 1814116"/>
              <a:gd name="connsiteY55" fmla="*/ 823377 h 1719859"/>
              <a:gd name="connsiteX56" fmla="*/ 1699542 w 1814116"/>
              <a:gd name="connsiteY56" fmla="*/ 837664 h 1719859"/>
              <a:gd name="connsiteX57" fmla="*/ 1701127 w 1814116"/>
              <a:gd name="connsiteY57" fmla="*/ 851861 h 1719859"/>
              <a:gd name="connsiteX58" fmla="*/ 1683369 w 1814116"/>
              <a:gd name="connsiteY58" fmla="*/ 845941 h 1719859"/>
              <a:gd name="connsiteX59" fmla="*/ 1640506 w 1814116"/>
              <a:gd name="connsiteY59" fmla="*/ 850703 h 1719859"/>
              <a:gd name="connsiteX60" fmla="*/ 1592881 w 1814116"/>
              <a:gd name="connsiteY60" fmla="*/ 855466 h 1719859"/>
              <a:gd name="connsiteX61" fmla="*/ 1578594 w 1814116"/>
              <a:gd name="connsiteY61" fmla="*/ 850703 h 1719859"/>
              <a:gd name="connsiteX62" fmla="*/ 1573831 w 1814116"/>
              <a:gd name="connsiteY62" fmla="*/ 817366 h 1719859"/>
              <a:gd name="connsiteX63" fmla="*/ 1569069 w 1814116"/>
              <a:gd name="connsiteY63" fmla="*/ 803078 h 1719859"/>
              <a:gd name="connsiteX64" fmla="*/ 1564306 w 1814116"/>
              <a:gd name="connsiteY64" fmla="*/ 788791 h 1719859"/>
              <a:gd name="connsiteX65" fmla="*/ 1545256 w 1814116"/>
              <a:gd name="connsiteY65" fmla="*/ 745928 h 1719859"/>
              <a:gd name="connsiteX66" fmla="*/ 1530065 w 1814116"/>
              <a:gd name="connsiteY66" fmla="*/ 734542 h 1719859"/>
              <a:gd name="connsiteX67" fmla="*/ 1526206 w 1814116"/>
              <a:gd name="connsiteY67" fmla="*/ 722116 h 1719859"/>
              <a:gd name="connsiteX68" fmla="*/ 1511919 w 1814116"/>
              <a:gd name="connsiteY68" fmla="*/ 707828 h 1719859"/>
              <a:gd name="connsiteX69" fmla="*/ 1478581 w 1814116"/>
              <a:gd name="connsiteY69" fmla="*/ 688778 h 1719859"/>
              <a:gd name="connsiteX70" fmla="*/ 1464294 w 1814116"/>
              <a:gd name="connsiteY70" fmla="*/ 679253 h 1719859"/>
              <a:gd name="connsiteX71" fmla="*/ 1416669 w 1814116"/>
              <a:gd name="connsiteY71" fmla="*/ 650678 h 1719859"/>
              <a:gd name="connsiteX72" fmla="*/ 1402381 w 1814116"/>
              <a:gd name="connsiteY72" fmla="*/ 645916 h 1719859"/>
              <a:gd name="connsiteX73" fmla="*/ 1373806 w 1814116"/>
              <a:gd name="connsiteY73" fmla="*/ 636391 h 1719859"/>
              <a:gd name="connsiteX74" fmla="*/ 1345231 w 1814116"/>
              <a:gd name="connsiteY74" fmla="*/ 617341 h 1719859"/>
              <a:gd name="connsiteX75" fmla="*/ 1330944 w 1814116"/>
              <a:gd name="connsiteY75" fmla="*/ 612578 h 1719859"/>
              <a:gd name="connsiteX76" fmla="*/ 1326181 w 1814116"/>
              <a:gd name="connsiteY76" fmla="*/ 598291 h 1719859"/>
              <a:gd name="connsiteX77" fmla="*/ 1292844 w 1814116"/>
              <a:gd name="connsiteY77" fmla="*/ 560191 h 1719859"/>
              <a:gd name="connsiteX78" fmla="*/ 1270745 w 1814116"/>
              <a:gd name="connsiteY78" fmla="*/ 548714 h 1719859"/>
              <a:gd name="connsiteX79" fmla="*/ 1249981 w 1814116"/>
              <a:gd name="connsiteY79" fmla="*/ 555428 h 1719859"/>
              <a:gd name="connsiteX80" fmla="*/ 1224822 w 1814116"/>
              <a:gd name="connsiteY80" fmla="*/ 551324 h 1719859"/>
              <a:gd name="connsiteX81" fmla="*/ 1230480 w 1814116"/>
              <a:gd name="connsiteY81" fmla="*/ 556163 h 1719859"/>
              <a:gd name="connsiteX82" fmla="*/ 1202356 w 1814116"/>
              <a:gd name="connsiteY82" fmla="*/ 536379 h 1719859"/>
              <a:gd name="connsiteX83" fmla="*/ 1175133 w 1814116"/>
              <a:gd name="connsiteY83" fmla="*/ 505629 h 1719859"/>
              <a:gd name="connsiteX84" fmla="*/ 1183413 w 1814116"/>
              <a:gd name="connsiteY84" fmla="*/ 525030 h 1719859"/>
              <a:gd name="connsiteX85" fmla="*/ 1166638 w 1814116"/>
              <a:gd name="connsiteY85" fmla="*/ 503041 h 1719859"/>
              <a:gd name="connsiteX86" fmla="*/ 1116631 w 1814116"/>
              <a:gd name="connsiteY86" fmla="*/ 493516 h 1719859"/>
              <a:gd name="connsiteX87" fmla="*/ 968994 w 1814116"/>
              <a:gd name="connsiteY87" fmla="*/ 488753 h 1719859"/>
              <a:gd name="connsiteX88" fmla="*/ 949944 w 1814116"/>
              <a:gd name="connsiteY88" fmla="*/ 493516 h 1719859"/>
              <a:gd name="connsiteX89" fmla="*/ 921369 w 1814116"/>
              <a:gd name="connsiteY89" fmla="*/ 503041 h 1719859"/>
              <a:gd name="connsiteX90" fmla="*/ 892794 w 1814116"/>
              <a:gd name="connsiteY90" fmla="*/ 512566 h 1719859"/>
              <a:gd name="connsiteX91" fmla="*/ 864219 w 1814116"/>
              <a:gd name="connsiteY91" fmla="*/ 531616 h 1719859"/>
              <a:gd name="connsiteX92" fmla="*/ 849931 w 1814116"/>
              <a:gd name="connsiteY92" fmla="*/ 536378 h 1719859"/>
              <a:gd name="connsiteX93" fmla="*/ 821356 w 1814116"/>
              <a:gd name="connsiteY93" fmla="*/ 579241 h 1719859"/>
              <a:gd name="connsiteX94" fmla="*/ 797544 w 1814116"/>
              <a:gd name="connsiteY94" fmla="*/ 622103 h 1719859"/>
              <a:gd name="connsiteX95" fmla="*/ 788019 w 1814116"/>
              <a:gd name="connsiteY95" fmla="*/ 636391 h 1719859"/>
              <a:gd name="connsiteX96" fmla="*/ 768969 w 1814116"/>
              <a:gd name="connsiteY96" fmla="*/ 664966 h 1719859"/>
              <a:gd name="connsiteX97" fmla="*/ 759444 w 1814116"/>
              <a:gd name="connsiteY97" fmla="*/ 703066 h 1719859"/>
              <a:gd name="connsiteX98" fmla="*/ 764206 w 1814116"/>
              <a:gd name="connsiteY98" fmla="*/ 717353 h 1719859"/>
              <a:gd name="connsiteX99" fmla="*/ 768969 w 1814116"/>
              <a:gd name="connsiteY99" fmla="*/ 741166 h 1719859"/>
              <a:gd name="connsiteX100" fmla="*/ 773731 w 1814116"/>
              <a:gd name="connsiteY100" fmla="*/ 760216 h 1719859"/>
              <a:gd name="connsiteX101" fmla="*/ 788019 w 1814116"/>
              <a:gd name="connsiteY101" fmla="*/ 788791 h 1719859"/>
              <a:gd name="connsiteX102" fmla="*/ 797544 w 1814116"/>
              <a:gd name="connsiteY102" fmla="*/ 803078 h 1719859"/>
              <a:gd name="connsiteX103" fmla="*/ 802306 w 1814116"/>
              <a:gd name="connsiteY103" fmla="*/ 817366 h 1719859"/>
              <a:gd name="connsiteX104" fmla="*/ 811831 w 1814116"/>
              <a:gd name="connsiteY104" fmla="*/ 845941 h 1719859"/>
              <a:gd name="connsiteX105" fmla="*/ 821356 w 1814116"/>
              <a:gd name="connsiteY105" fmla="*/ 922141 h 1719859"/>
              <a:gd name="connsiteX106" fmla="*/ 826119 w 1814116"/>
              <a:gd name="connsiteY106" fmla="*/ 941191 h 1719859"/>
              <a:gd name="connsiteX107" fmla="*/ 835644 w 1814116"/>
              <a:gd name="connsiteY107" fmla="*/ 955478 h 1719859"/>
              <a:gd name="connsiteX108" fmla="*/ 840406 w 1814116"/>
              <a:gd name="connsiteY108" fmla="*/ 979291 h 1719859"/>
              <a:gd name="connsiteX109" fmla="*/ 859456 w 1814116"/>
              <a:gd name="connsiteY109" fmla="*/ 1007866 h 1719859"/>
              <a:gd name="connsiteX110" fmla="*/ 873744 w 1814116"/>
              <a:gd name="connsiteY110" fmla="*/ 1022153 h 1719859"/>
              <a:gd name="connsiteX111" fmla="*/ 916606 w 1814116"/>
              <a:gd name="connsiteY111" fmla="*/ 1069778 h 1719859"/>
              <a:gd name="connsiteX112" fmla="*/ 945181 w 1814116"/>
              <a:gd name="connsiteY112" fmla="*/ 1093591 h 1719859"/>
              <a:gd name="connsiteX113" fmla="*/ 949944 w 1814116"/>
              <a:gd name="connsiteY113" fmla="*/ 1107878 h 1719859"/>
              <a:gd name="connsiteX114" fmla="*/ 964231 w 1814116"/>
              <a:gd name="connsiteY114" fmla="*/ 1117403 h 1719859"/>
              <a:gd name="connsiteX115" fmla="*/ 992806 w 1814116"/>
              <a:gd name="connsiteY115" fmla="*/ 1131691 h 1719859"/>
              <a:gd name="connsiteX116" fmla="*/ 997569 w 1814116"/>
              <a:gd name="connsiteY116" fmla="*/ 1145978 h 1719859"/>
              <a:gd name="connsiteX117" fmla="*/ 1026144 w 1814116"/>
              <a:gd name="connsiteY117" fmla="*/ 1165028 h 1719859"/>
              <a:gd name="connsiteX118" fmla="*/ 1035669 w 1814116"/>
              <a:gd name="connsiteY118" fmla="*/ 1179316 h 1719859"/>
              <a:gd name="connsiteX119" fmla="*/ 1049956 w 1814116"/>
              <a:gd name="connsiteY119" fmla="*/ 1193603 h 1719859"/>
              <a:gd name="connsiteX120" fmla="*/ 1078531 w 1814116"/>
              <a:gd name="connsiteY120" fmla="*/ 1222178 h 1719859"/>
              <a:gd name="connsiteX121" fmla="*/ 1097581 w 1814116"/>
              <a:gd name="connsiteY121" fmla="*/ 1265041 h 1719859"/>
              <a:gd name="connsiteX122" fmla="*/ 1135681 w 1814116"/>
              <a:gd name="connsiteY122" fmla="*/ 1331716 h 1719859"/>
              <a:gd name="connsiteX123" fmla="*/ 1145206 w 1814116"/>
              <a:gd name="connsiteY123" fmla="*/ 1346003 h 1719859"/>
              <a:gd name="connsiteX124" fmla="*/ 1159494 w 1814116"/>
              <a:gd name="connsiteY124" fmla="*/ 1355528 h 1719859"/>
              <a:gd name="connsiteX125" fmla="*/ 1173781 w 1814116"/>
              <a:gd name="connsiteY125" fmla="*/ 1369816 h 1719859"/>
              <a:gd name="connsiteX126" fmla="*/ 1188069 w 1814116"/>
              <a:gd name="connsiteY126" fmla="*/ 1374578 h 1719859"/>
              <a:gd name="connsiteX127" fmla="*/ 1197594 w 1814116"/>
              <a:gd name="connsiteY127" fmla="*/ 1388866 h 1719859"/>
              <a:gd name="connsiteX128" fmla="*/ 1207119 w 1814116"/>
              <a:gd name="connsiteY128" fmla="*/ 1436491 h 1719859"/>
              <a:gd name="connsiteX129" fmla="*/ 1211881 w 1814116"/>
              <a:gd name="connsiteY129" fmla="*/ 1460303 h 1719859"/>
              <a:gd name="connsiteX130" fmla="*/ 1216644 w 1814116"/>
              <a:gd name="connsiteY130" fmla="*/ 1474591 h 1719859"/>
              <a:gd name="connsiteX131" fmla="*/ 1221406 w 1814116"/>
              <a:gd name="connsiteY131" fmla="*/ 1507928 h 1719859"/>
              <a:gd name="connsiteX132" fmla="*/ 1226169 w 1814116"/>
              <a:gd name="connsiteY132" fmla="*/ 1588891 h 1719859"/>
              <a:gd name="connsiteX133" fmla="*/ 1207119 w 1814116"/>
              <a:gd name="connsiteY133" fmla="*/ 1617466 h 1719859"/>
              <a:gd name="connsiteX134" fmla="*/ 1173781 w 1814116"/>
              <a:gd name="connsiteY134" fmla="*/ 1655566 h 1719859"/>
              <a:gd name="connsiteX135" fmla="*/ 1159494 w 1814116"/>
              <a:gd name="connsiteY135" fmla="*/ 1660328 h 1719859"/>
              <a:gd name="connsiteX136" fmla="*/ 1149969 w 1814116"/>
              <a:gd name="connsiteY136" fmla="*/ 1688903 h 1719859"/>
              <a:gd name="connsiteX137" fmla="*/ 1140444 w 1814116"/>
              <a:gd name="connsiteY137" fmla="*/ 1703191 h 1719859"/>
              <a:gd name="connsiteX138" fmla="*/ 1130918 w 1814116"/>
              <a:gd name="connsiteY138" fmla="*/ 1719859 h 1719859"/>
              <a:gd name="connsiteX139" fmla="*/ 1104725 w 1814116"/>
              <a:gd name="connsiteY139" fmla="*/ 1712716 h 1719859"/>
              <a:gd name="connsiteX140" fmla="*/ 1092819 w 1814116"/>
              <a:gd name="connsiteY140" fmla="*/ 1679378 h 1719859"/>
              <a:gd name="connsiteX141" fmla="*/ 1083294 w 1814116"/>
              <a:gd name="connsiteY141" fmla="*/ 1598416 h 1719859"/>
              <a:gd name="connsiteX142" fmla="*/ 1078531 w 1814116"/>
              <a:gd name="connsiteY142" fmla="*/ 1584128 h 1719859"/>
              <a:gd name="connsiteX143" fmla="*/ 1069006 w 1814116"/>
              <a:gd name="connsiteY143" fmla="*/ 1569841 h 1719859"/>
              <a:gd name="connsiteX144" fmla="*/ 1054719 w 1814116"/>
              <a:gd name="connsiteY144" fmla="*/ 1512691 h 1719859"/>
              <a:gd name="connsiteX145" fmla="*/ 1042164 w 1814116"/>
              <a:gd name="connsiteY145" fmla="*/ 1493488 h 1719859"/>
              <a:gd name="connsiteX146" fmla="*/ 1026144 w 1814116"/>
              <a:gd name="connsiteY146" fmla="*/ 1479353 h 1719859"/>
              <a:gd name="connsiteX147" fmla="*/ 1011856 w 1814116"/>
              <a:gd name="connsiteY147" fmla="*/ 1460303 h 1719859"/>
              <a:gd name="connsiteX148" fmla="*/ 1000184 w 1814116"/>
              <a:gd name="connsiteY148" fmla="*/ 1456613 h 1719859"/>
              <a:gd name="connsiteX149" fmla="*/ 983281 w 1814116"/>
              <a:gd name="connsiteY149" fmla="*/ 1436491 h 1719859"/>
              <a:gd name="connsiteX150" fmla="*/ 968994 w 1814116"/>
              <a:gd name="connsiteY150" fmla="*/ 1422203 h 1719859"/>
              <a:gd name="connsiteX151" fmla="*/ 954706 w 1814116"/>
              <a:gd name="connsiteY151" fmla="*/ 1412678 h 1719859"/>
              <a:gd name="connsiteX152" fmla="*/ 926131 w 1814116"/>
              <a:gd name="connsiteY152" fmla="*/ 1369816 h 1719859"/>
              <a:gd name="connsiteX153" fmla="*/ 921369 w 1814116"/>
              <a:gd name="connsiteY153" fmla="*/ 1350766 h 1719859"/>
              <a:gd name="connsiteX154" fmla="*/ 859456 w 1814116"/>
              <a:gd name="connsiteY154" fmla="*/ 1293616 h 1719859"/>
              <a:gd name="connsiteX155" fmla="*/ 835644 w 1814116"/>
              <a:gd name="connsiteY155" fmla="*/ 1255516 h 1719859"/>
              <a:gd name="connsiteX156" fmla="*/ 830881 w 1814116"/>
              <a:gd name="connsiteY156" fmla="*/ 1241228 h 1719859"/>
              <a:gd name="connsiteX157" fmla="*/ 821356 w 1814116"/>
              <a:gd name="connsiteY157" fmla="*/ 1226941 h 1719859"/>
              <a:gd name="connsiteX158" fmla="*/ 807069 w 1814116"/>
              <a:gd name="connsiteY158" fmla="*/ 1217416 h 1719859"/>
              <a:gd name="connsiteX159" fmla="*/ 792781 w 1814116"/>
              <a:gd name="connsiteY159" fmla="*/ 1212653 h 1719859"/>
              <a:gd name="connsiteX160" fmla="*/ 778494 w 1814116"/>
              <a:gd name="connsiteY160" fmla="*/ 1198366 h 1719859"/>
              <a:gd name="connsiteX161" fmla="*/ 740394 w 1814116"/>
              <a:gd name="connsiteY161" fmla="*/ 1188841 h 1719859"/>
              <a:gd name="connsiteX162" fmla="*/ 726106 w 1814116"/>
              <a:gd name="connsiteY162" fmla="*/ 1179316 h 1719859"/>
              <a:gd name="connsiteX163" fmla="*/ 707056 w 1814116"/>
              <a:gd name="connsiteY163" fmla="*/ 1169791 h 1719859"/>
              <a:gd name="connsiteX164" fmla="*/ 678481 w 1814116"/>
              <a:gd name="connsiteY164" fmla="*/ 1160266 h 1719859"/>
              <a:gd name="connsiteX165" fmla="*/ 635619 w 1814116"/>
              <a:gd name="connsiteY165" fmla="*/ 1126928 h 1719859"/>
              <a:gd name="connsiteX166" fmla="*/ 626094 w 1814116"/>
              <a:gd name="connsiteY166" fmla="*/ 1112641 h 1719859"/>
              <a:gd name="connsiteX167" fmla="*/ 610690 w 1814116"/>
              <a:gd name="connsiteY167" fmla="*/ 1100139 h 1719859"/>
              <a:gd name="connsiteX168" fmla="*/ 602281 w 1814116"/>
              <a:gd name="connsiteY168" fmla="*/ 1088828 h 1719859"/>
              <a:gd name="connsiteX169" fmla="*/ 578469 w 1814116"/>
              <a:gd name="connsiteY169" fmla="*/ 1060253 h 1719859"/>
              <a:gd name="connsiteX170" fmla="*/ 573706 w 1814116"/>
              <a:gd name="connsiteY170" fmla="*/ 1045966 h 1719859"/>
              <a:gd name="connsiteX171" fmla="*/ 559419 w 1814116"/>
              <a:gd name="connsiteY171" fmla="*/ 1017391 h 1719859"/>
              <a:gd name="connsiteX172" fmla="*/ 534545 w 1814116"/>
              <a:gd name="connsiteY172" fmla="*/ 1001160 h 1719859"/>
              <a:gd name="connsiteX173" fmla="*/ 521319 w 1814116"/>
              <a:gd name="connsiteY173" fmla="*/ 988816 h 1719859"/>
              <a:gd name="connsiteX174" fmla="*/ 500406 w 1814116"/>
              <a:gd name="connsiteY174" fmla="*/ 971994 h 1719859"/>
              <a:gd name="connsiteX175" fmla="*/ 492744 w 1814116"/>
              <a:gd name="connsiteY175" fmla="*/ 960241 h 1719859"/>
              <a:gd name="connsiteX176" fmla="*/ 459406 w 1814116"/>
              <a:gd name="connsiteY176" fmla="*/ 931666 h 1719859"/>
              <a:gd name="connsiteX177" fmla="*/ 449881 w 1814116"/>
              <a:gd name="connsiteY177" fmla="*/ 912616 h 1719859"/>
              <a:gd name="connsiteX178" fmla="*/ 435594 w 1814116"/>
              <a:gd name="connsiteY178" fmla="*/ 907853 h 1719859"/>
              <a:gd name="connsiteX179" fmla="*/ 421306 w 1814116"/>
              <a:gd name="connsiteY179" fmla="*/ 888803 h 1719859"/>
              <a:gd name="connsiteX180" fmla="*/ 378444 w 1814116"/>
              <a:gd name="connsiteY180" fmla="*/ 864991 h 1719859"/>
              <a:gd name="connsiteX181" fmla="*/ 364156 w 1814116"/>
              <a:gd name="connsiteY181" fmla="*/ 850703 h 1719859"/>
              <a:gd name="connsiteX182" fmla="*/ 359394 w 1814116"/>
              <a:gd name="connsiteY182" fmla="*/ 836416 h 1719859"/>
              <a:gd name="connsiteX183" fmla="*/ 345106 w 1814116"/>
              <a:gd name="connsiteY183" fmla="*/ 822128 h 1719859"/>
              <a:gd name="connsiteX184" fmla="*/ 330819 w 1814116"/>
              <a:gd name="connsiteY184" fmla="*/ 788791 h 1719859"/>
              <a:gd name="connsiteX185" fmla="*/ 287956 w 1814116"/>
              <a:gd name="connsiteY185" fmla="*/ 750691 h 1719859"/>
              <a:gd name="connsiteX186" fmla="*/ 273669 w 1814116"/>
              <a:gd name="connsiteY186" fmla="*/ 703066 h 1719859"/>
              <a:gd name="connsiteX187" fmla="*/ 259381 w 1814116"/>
              <a:gd name="connsiteY187" fmla="*/ 674491 h 1719859"/>
              <a:gd name="connsiteX188" fmla="*/ 249856 w 1814116"/>
              <a:gd name="connsiteY188" fmla="*/ 660203 h 1719859"/>
              <a:gd name="connsiteX189" fmla="*/ 245094 w 1814116"/>
              <a:gd name="connsiteY189" fmla="*/ 645916 h 1719859"/>
              <a:gd name="connsiteX190" fmla="*/ 230806 w 1814116"/>
              <a:gd name="connsiteY190" fmla="*/ 631628 h 1719859"/>
              <a:gd name="connsiteX191" fmla="*/ 221281 w 1814116"/>
              <a:gd name="connsiteY191" fmla="*/ 617341 h 1719859"/>
              <a:gd name="connsiteX192" fmla="*/ 173656 w 1814116"/>
              <a:gd name="connsiteY192" fmla="*/ 603053 h 1719859"/>
              <a:gd name="connsiteX193" fmla="*/ 159369 w 1814116"/>
              <a:gd name="connsiteY193" fmla="*/ 607816 h 1719859"/>
              <a:gd name="connsiteX194" fmla="*/ 78406 w 1814116"/>
              <a:gd name="connsiteY194" fmla="*/ 617341 h 1719859"/>
              <a:gd name="connsiteX195" fmla="*/ 64119 w 1814116"/>
              <a:gd name="connsiteY195" fmla="*/ 612578 h 1719859"/>
              <a:gd name="connsiteX196" fmla="*/ 49831 w 1814116"/>
              <a:gd name="connsiteY196" fmla="*/ 598291 h 1719859"/>
              <a:gd name="connsiteX197" fmla="*/ 35544 w 1814116"/>
              <a:gd name="connsiteY197" fmla="*/ 593528 h 1719859"/>
              <a:gd name="connsiteX198" fmla="*/ 30781 w 1814116"/>
              <a:gd name="connsiteY198" fmla="*/ 579241 h 1719859"/>
              <a:gd name="connsiteX199" fmla="*/ 30781 w 1814116"/>
              <a:gd name="connsiteY199" fmla="*/ 474466 h 1719859"/>
              <a:gd name="connsiteX200" fmla="*/ 26019 w 1814116"/>
              <a:gd name="connsiteY200" fmla="*/ 460178 h 1719859"/>
              <a:gd name="connsiteX201" fmla="*/ 11731 w 1814116"/>
              <a:gd name="connsiteY201" fmla="*/ 450653 h 1719859"/>
              <a:gd name="connsiteX202" fmla="*/ 6969 w 1814116"/>
              <a:gd name="connsiteY202" fmla="*/ 436366 h 1719859"/>
              <a:gd name="connsiteX203" fmla="*/ 6969 w 1814116"/>
              <a:gd name="connsiteY203" fmla="*/ 331591 h 1719859"/>
              <a:gd name="connsiteX204" fmla="*/ 16494 w 1814116"/>
              <a:gd name="connsiteY204" fmla="*/ 317303 h 1719859"/>
              <a:gd name="connsiteX205" fmla="*/ 45069 w 1814116"/>
              <a:gd name="connsiteY205" fmla="*/ 298253 h 1719859"/>
              <a:gd name="connsiteX206" fmla="*/ 59356 w 1814116"/>
              <a:gd name="connsiteY206" fmla="*/ 283966 h 1719859"/>
              <a:gd name="connsiteX207" fmla="*/ 73644 w 1814116"/>
              <a:gd name="connsiteY207" fmla="*/ 279203 h 1719859"/>
              <a:gd name="connsiteX208" fmla="*/ 87931 w 1814116"/>
              <a:gd name="connsiteY208" fmla="*/ 269678 h 1719859"/>
              <a:gd name="connsiteX209" fmla="*/ 230806 w 1814116"/>
              <a:gd name="connsiteY209" fmla="*/ 264916 h 1719859"/>
              <a:gd name="connsiteX210" fmla="*/ 459406 w 1814116"/>
              <a:gd name="connsiteY210" fmla="*/ 260153 h 1719859"/>
              <a:gd name="connsiteX211" fmla="*/ 645144 w 1814116"/>
              <a:gd name="connsiteY211" fmla="*/ 255391 h 1719859"/>
              <a:gd name="connsiteX212" fmla="*/ 778494 w 1814116"/>
              <a:gd name="connsiteY212" fmla="*/ 260153 h 1719859"/>
              <a:gd name="connsiteX213" fmla="*/ 1002331 w 1814116"/>
              <a:gd name="connsiteY213" fmla="*/ 264916 h 1719859"/>
              <a:gd name="connsiteX214" fmla="*/ 1016619 w 1814116"/>
              <a:gd name="connsiteY214" fmla="*/ 260153 h 1719859"/>
              <a:gd name="connsiteX215" fmla="*/ 1030906 w 1814116"/>
              <a:gd name="connsiteY215" fmla="*/ 250628 h 1719859"/>
              <a:gd name="connsiteX216" fmla="*/ 1043102 w 1814116"/>
              <a:gd name="connsiteY216" fmla="*/ 246703 h 1719859"/>
              <a:gd name="connsiteX217" fmla="*/ 1044743 w 1814116"/>
              <a:gd name="connsiteY217" fmla="*/ 242996 h 1719859"/>
              <a:gd name="connsiteX218" fmla="*/ 1059481 w 1814116"/>
              <a:gd name="connsiteY218" fmla="*/ 231578 h 1719859"/>
              <a:gd name="connsiteX219" fmla="*/ 1070104 w 1814116"/>
              <a:gd name="connsiteY219" fmla="*/ 225724 h 1719859"/>
              <a:gd name="connsiteX220" fmla="*/ 1074468 w 1814116"/>
              <a:gd name="connsiteY220" fmla="*/ 226398 h 1719859"/>
              <a:gd name="connsiteX221" fmla="*/ 1083294 w 1814116"/>
              <a:gd name="connsiteY221" fmla="*/ 212528 h 1719859"/>
              <a:gd name="connsiteX222" fmla="*/ 1097581 w 1814116"/>
              <a:gd name="connsiteY222" fmla="*/ 207766 h 1719859"/>
              <a:gd name="connsiteX223" fmla="*/ 1140444 w 1814116"/>
              <a:gd name="connsiteY223" fmla="*/ 193478 h 1719859"/>
              <a:gd name="connsiteX224" fmla="*/ 1168059 w 1814116"/>
              <a:gd name="connsiteY224" fmla="*/ 183533 h 1719859"/>
              <a:gd name="connsiteX225" fmla="*/ 1188069 w 1814116"/>
              <a:gd name="connsiteY225" fmla="*/ 169666 h 1719859"/>
              <a:gd name="connsiteX226" fmla="*/ 1216644 w 1814116"/>
              <a:gd name="connsiteY226" fmla="*/ 160141 h 1719859"/>
              <a:gd name="connsiteX227" fmla="*/ 1240456 w 1814116"/>
              <a:gd name="connsiteY227" fmla="*/ 136328 h 1719859"/>
              <a:gd name="connsiteX228" fmla="*/ 1269031 w 1814116"/>
              <a:gd name="connsiteY228" fmla="*/ 117278 h 1719859"/>
              <a:gd name="connsiteX229" fmla="*/ 1278556 w 1814116"/>
              <a:gd name="connsiteY229" fmla="*/ 102991 h 1719859"/>
              <a:gd name="connsiteX230" fmla="*/ 1283319 w 1814116"/>
              <a:gd name="connsiteY230" fmla="*/ 22028 h 1719859"/>
              <a:gd name="connsiteX231" fmla="*/ 1310540 w 1814116"/>
              <a:gd name="connsiteY231" fmla="*/ 4 h 17198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</a:cxnLst>
            <a:rect l="l" t="t" r="r" b="b"/>
            <a:pathLst>
              <a:path w="1814116" h="1719859">
                <a:moveTo>
                  <a:pt x="1209397" y="283834"/>
                </a:moveTo>
                <a:lnTo>
                  <a:pt x="1209570" y="283875"/>
                </a:lnTo>
                <a:lnTo>
                  <a:pt x="1209243" y="283841"/>
                </a:lnTo>
                <a:cubicBezTo>
                  <a:pt x="1209296" y="283829"/>
                  <a:pt x="1209347" y="283831"/>
                  <a:pt x="1209397" y="283834"/>
                </a:cubicBezTo>
                <a:close/>
                <a:moveTo>
                  <a:pt x="1310540" y="4"/>
                </a:moveTo>
                <a:cubicBezTo>
                  <a:pt x="1315653" y="68"/>
                  <a:pt x="1322206" y="1036"/>
                  <a:pt x="1330944" y="2978"/>
                </a:cubicBezTo>
                <a:cubicBezTo>
                  <a:pt x="1335845" y="4067"/>
                  <a:pt x="1334119" y="12503"/>
                  <a:pt x="1335706" y="17266"/>
                </a:cubicBezTo>
                <a:cubicBezTo>
                  <a:pt x="1340469" y="18853"/>
                  <a:pt x="1346858" y="18108"/>
                  <a:pt x="1349994" y="22028"/>
                </a:cubicBezTo>
                <a:cubicBezTo>
                  <a:pt x="1354083" y="27139"/>
                  <a:pt x="1353680" y="34622"/>
                  <a:pt x="1354756" y="41078"/>
                </a:cubicBezTo>
                <a:cubicBezTo>
                  <a:pt x="1361571" y="81970"/>
                  <a:pt x="1361366" y="69942"/>
                  <a:pt x="1354756" y="102991"/>
                </a:cubicBezTo>
                <a:lnTo>
                  <a:pt x="1345231" y="117278"/>
                </a:lnTo>
                <a:lnTo>
                  <a:pt x="1326181" y="145853"/>
                </a:lnTo>
                <a:cubicBezTo>
                  <a:pt x="1304467" y="160330"/>
                  <a:pt x="1307043" y="157263"/>
                  <a:pt x="1283319" y="183953"/>
                </a:cubicBezTo>
                <a:cubicBezTo>
                  <a:pt x="1279516" y="188231"/>
                  <a:pt x="1276969" y="193478"/>
                  <a:pt x="1273794" y="198241"/>
                </a:cubicBezTo>
                <a:lnTo>
                  <a:pt x="1259506" y="207766"/>
                </a:lnTo>
                <a:lnTo>
                  <a:pt x="1245219" y="217291"/>
                </a:lnTo>
                <a:lnTo>
                  <a:pt x="1202356" y="245866"/>
                </a:lnTo>
                <a:cubicBezTo>
                  <a:pt x="1197594" y="247453"/>
                  <a:pt x="1191989" y="247492"/>
                  <a:pt x="1188069" y="250628"/>
                </a:cubicBezTo>
                <a:cubicBezTo>
                  <a:pt x="1183599" y="254204"/>
                  <a:pt x="1182208" y="260519"/>
                  <a:pt x="1178544" y="264916"/>
                </a:cubicBezTo>
                <a:cubicBezTo>
                  <a:pt x="1174232" y="270090"/>
                  <a:pt x="1169019" y="274441"/>
                  <a:pt x="1164256" y="279203"/>
                </a:cubicBezTo>
                <a:lnTo>
                  <a:pt x="1209243" y="283841"/>
                </a:lnTo>
                <a:cubicBezTo>
                  <a:pt x="1210300" y="285327"/>
                  <a:pt x="1215334" y="286561"/>
                  <a:pt x="1226169" y="288728"/>
                </a:cubicBezTo>
                <a:cubicBezTo>
                  <a:pt x="1235638" y="290622"/>
                  <a:pt x="1245219" y="291903"/>
                  <a:pt x="1254744" y="293491"/>
                </a:cubicBezTo>
                <a:cubicBezTo>
                  <a:pt x="1259696" y="294316"/>
                  <a:pt x="1264269" y="296666"/>
                  <a:pt x="1269031" y="298253"/>
                </a:cubicBezTo>
                <a:cubicBezTo>
                  <a:pt x="1278556" y="301428"/>
                  <a:pt x="1288431" y="303700"/>
                  <a:pt x="1297606" y="307778"/>
                </a:cubicBezTo>
                <a:cubicBezTo>
                  <a:pt x="1302837" y="310103"/>
                  <a:pt x="1307131" y="314128"/>
                  <a:pt x="1311894" y="317303"/>
                </a:cubicBezTo>
                <a:cubicBezTo>
                  <a:pt x="1340684" y="324501"/>
                  <a:pt x="1324734" y="319996"/>
                  <a:pt x="1359519" y="331591"/>
                </a:cubicBezTo>
                <a:cubicBezTo>
                  <a:pt x="1372219" y="333178"/>
                  <a:pt x="1384864" y="335290"/>
                  <a:pt x="1397619" y="336353"/>
                </a:cubicBezTo>
                <a:cubicBezTo>
                  <a:pt x="1422981" y="338466"/>
                  <a:pt x="1449675" y="333069"/>
                  <a:pt x="1473819" y="341116"/>
                </a:cubicBezTo>
                <a:lnTo>
                  <a:pt x="1530969" y="360166"/>
                </a:lnTo>
                <a:lnTo>
                  <a:pt x="1602406" y="364928"/>
                </a:lnTo>
                <a:cubicBezTo>
                  <a:pt x="1616732" y="366122"/>
                  <a:pt x="1630939" y="368545"/>
                  <a:pt x="1645269" y="369691"/>
                </a:cubicBezTo>
                <a:cubicBezTo>
                  <a:pt x="1693154" y="373522"/>
                  <a:pt x="1708089" y="369918"/>
                  <a:pt x="1745281" y="379216"/>
                </a:cubicBezTo>
                <a:cubicBezTo>
                  <a:pt x="1750151" y="380434"/>
                  <a:pt x="1755392" y="381193"/>
                  <a:pt x="1759569" y="383978"/>
                </a:cubicBezTo>
                <a:cubicBezTo>
                  <a:pt x="1769094" y="390328"/>
                  <a:pt x="1778137" y="397468"/>
                  <a:pt x="1788144" y="403028"/>
                </a:cubicBezTo>
                <a:lnTo>
                  <a:pt x="1801728" y="407765"/>
                </a:lnTo>
                <a:cubicBezTo>
                  <a:pt x="1803490" y="407804"/>
                  <a:pt x="1803371" y="407730"/>
                  <a:pt x="1804035" y="411824"/>
                </a:cubicBezTo>
                <a:lnTo>
                  <a:pt x="1807194" y="426841"/>
                </a:lnTo>
                <a:lnTo>
                  <a:pt x="1802431" y="441128"/>
                </a:lnTo>
                <a:lnTo>
                  <a:pt x="1797669" y="455416"/>
                </a:lnTo>
                <a:cubicBezTo>
                  <a:pt x="1794494" y="464941"/>
                  <a:pt x="1791029" y="474374"/>
                  <a:pt x="1788144" y="483991"/>
                </a:cubicBezTo>
                <a:cubicBezTo>
                  <a:pt x="1784106" y="497450"/>
                  <a:pt x="1781340" y="513248"/>
                  <a:pt x="1778619" y="526853"/>
                </a:cubicBezTo>
                <a:cubicBezTo>
                  <a:pt x="1778646" y="526883"/>
                  <a:pt x="1795021" y="544302"/>
                  <a:pt x="1797669" y="555428"/>
                </a:cubicBezTo>
                <a:cubicBezTo>
                  <a:pt x="1803197" y="578645"/>
                  <a:pt x="1796965" y="603635"/>
                  <a:pt x="1802431" y="626866"/>
                </a:cubicBezTo>
                <a:cubicBezTo>
                  <a:pt x="1803541" y="631584"/>
                  <a:pt x="1808967" y="634467"/>
                  <a:pt x="1814116" y="635493"/>
                </a:cubicBezTo>
                <a:lnTo>
                  <a:pt x="1804317" y="642402"/>
                </a:lnTo>
                <a:cubicBezTo>
                  <a:pt x="1793662" y="651725"/>
                  <a:pt x="1788815" y="674620"/>
                  <a:pt x="1785267" y="685264"/>
                </a:cubicBezTo>
                <a:cubicBezTo>
                  <a:pt x="1785246" y="685293"/>
                  <a:pt x="1771772" y="703840"/>
                  <a:pt x="1766217" y="713839"/>
                </a:cubicBezTo>
                <a:cubicBezTo>
                  <a:pt x="1756533" y="731270"/>
                  <a:pt x="1767785" y="726558"/>
                  <a:pt x="1751929" y="742414"/>
                </a:cubicBezTo>
                <a:lnTo>
                  <a:pt x="1738387" y="754171"/>
                </a:lnTo>
                <a:cubicBezTo>
                  <a:pt x="1733178" y="756403"/>
                  <a:pt x="1747165" y="737654"/>
                  <a:pt x="1728117" y="766227"/>
                </a:cubicBezTo>
                <a:cubicBezTo>
                  <a:pt x="1723354" y="769402"/>
                  <a:pt x="1717405" y="771282"/>
                  <a:pt x="1713829" y="775752"/>
                </a:cubicBezTo>
                <a:cubicBezTo>
                  <a:pt x="1710693" y="779672"/>
                  <a:pt x="1711312" y="785549"/>
                  <a:pt x="1709067" y="790039"/>
                </a:cubicBezTo>
                <a:lnTo>
                  <a:pt x="1702491" y="801932"/>
                </a:lnTo>
                <a:cubicBezTo>
                  <a:pt x="1698257" y="808212"/>
                  <a:pt x="1700049" y="800635"/>
                  <a:pt x="1698881" y="806067"/>
                </a:cubicBezTo>
                <a:lnTo>
                  <a:pt x="1694779" y="823377"/>
                </a:lnTo>
                <a:cubicBezTo>
                  <a:pt x="1696367" y="828139"/>
                  <a:pt x="1698779" y="832702"/>
                  <a:pt x="1699542" y="837664"/>
                </a:cubicBezTo>
                <a:cubicBezTo>
                  <a:pt x="1700307" y="842634"/>
                  <a:pt x="1700967" y="847331"/>
                  <a:pt x="1701127" y="851861"/>
                </a:cubicBezTo>
                <a:cubicBezTo>
                  <a:pt x="1695317" y="849542"/>
                  <a:pt x="1689426" y="847455"/>
                  <a:pt x="1683369" y="845941"/>
                </a:cubicBezTo>
                <a:cubicBezTo>
                  <a:pt x="1652259" y="838163"/>
                  <a:pt x="1660985" y="837051"/>
                  <a:pt x="1640506" y="850703"/>
                </a:cubicBezTo>
                <a:cubicBezTo>
                  <a:pt x="1624631" y="852291"/>
                  <a:pt x="1608835" y="855466"/>
                  <a:pt x="1592881" y="855466"/>
                </a:cubicBezTo>
                <a:cubicBezTo>
                  <a:pt x="1587861" y="855466"/>
                  <a:pt x="1580839" y="855193"/>
                  <a:pt x="1578594" y="850703"/>
                </a:cubicBezTo>
                <a:cubicBezTo>
                  <a:pt x="1573574" y="840663"/>
                  <a:pt x="1575419" y="828478"/>
                  <a:pt x="1573831" y="817366"/>
                </a:cubicBezTo>
                <a:lnTo>
                  <a:pt x="1569069" y="803078"/>
                </a:lnTo>
                <a:lnTo>
                  <a:pt x="1564306" y="788791"/>
                </a:lnTo>
                <a:cubicBezTo>
                  <a:pt x="1559590" y="774644"/>
                  <a:pt x="1556577" y="757249"/>
                  <a:pt x="1545256" y="745928"/>
                </a:cubicBezTo>
                <a:cubicBezTo>
                  <a:pt x="1529099" y="729771"/>
                  <a:pt x="1531678" y="740101"/>
                  <a:pt x="1530065" y="734542"/>
                </a:cubicBezTo>
                <a:lnTo>
                  <a:pt x="1526206" y="722116"/>
                </a:lnTo>
                <a:cubicBezTo>
                  <a:pt x="1521444" y="717353"/>
                  <a:pt x="1517093" y="712140"/>
                  <a:pt x="1511919" y="707828"/>
                </a:cubicBezTo>
                <a:cubicBezTo>
                  <a:pt x="1499263" y="697281"/>
                  <a:pt x="1493400" y="697246"/>
                  <a:pt x="1478581" y="688778"/>
                </a:cubicBezTo>
                <a:cubicBezTo>
                  <a:pt x="1473611" y="685938"/>
                  <a:pt x="1469264" y="682093"/>
                  <a:pt x="1464294" y="679253"/>
                </a:cubicBezTo>
                <a:cubicBezTo>
                  <a:pt x="1413034" y="649961"/>
                  <a:pt x="1486579" y="697285"/>
                  <a:pt x="1416669" y="650678"/>
                </a:cubicBezTo>
                <a:lnTo>
                  <a:pt x="1402381" y="645916"/>
                </a:lnTo>
                <a:lnTo>
                  <a:pt x="1373806" y="636391"/>
                </a:lnTo>
                <a:cubicBezTo>
                  <a:pt x="1362946" y="632771"/>
                  <a:pt x="1355238" y="622901"/>
                  <a:pt x="1345231" y="617341"/>
                </a:cubicBezTo>
                <a:cubicBezTo>
                  <a:pt x="1340843" y="614903"/>
                  <a:pt x="1334494" y="616128"/>
                  <a:pt x="1330944" y="612578"/>
                </a:cubicBezTo>
                <a:cubicBezTo>
                  <a:pt x="1327394" y="609028"/>
                  <a:pt x="1327769" y="603053"/>
                  <a:pt x="1326181" y="598291"/>
                </a:cubicBezTo>
                <a:cubicBezTo>
                  <a:pt x="1302369" y="582416"/>
                  <a:pt x="1315069" y="593528"/>
                  <a:pt x="1292844" y="560191"/>
                </a:cubicBezTo>
                <a:cubicBezTo>
                  <a:pt x="1272227" y="546447"/>
                  <a:pt x="1282335" y="552168"/>
                  <a:pt x="1270745" y="548714"/>
                </a:cubicBezTo>
                <a:lnTo>
                  <a:pt x="1249981" y="555428"/>
                </a:lnTo>
                <a:lnTo>
                  <a:pt x="1224822" y="551324"/>
                </a:lnTo>
                <a:cubicBezTo>
                  <a:pt x="1215972" y="547326"/>
                  <a:pt x="1233798" y="559058"/>
                  <a:pt x="1230480" y="556163"/>
                </a:cubicBezTo>
                <a:lnTo>
                  <a:pt x="1202356" y="536379"/>
                </a:lnTo>
                <a:cubicBezTo>
                  <a:pt x="1198838" y="534860"/>
                  <a:pt x="1178651" y="507148"/>
                  <a:pt x="1175133" y="505629"/>
                </a:cubicBezTo>
                <a:cubicBezTo>
                  <a:pt x="1171070" y="505853"/>
                  <a:pt x="1185432" y="527256"/>
                  <a:pt x="1183413" y="525030"/>
                </a:cubicBezTo>
                <a:lnTo>
                  <a:pt x="1166638" y="503041"/>
                </a:lnTo>
                <a:cubicBezTo>
                  <a:pt x="1136310" y="492931"/>
                  <a:pt x="1170807" y="496036"/>
                  <a:pt x="1116631" y="493516"/>
                </a:cubicBezTo>
                <a:lnTo>
                  <a:pt x="968994" y="488753"/>
                </a:lnTo>
                <a:cubicBezTo>
                  <a:pt x="962644" y="490341"/>
                  <a:pt x="956154" y="491446"/>
                  <a:pt x="949944" y="493516"/>
                </a:cubicBezTo>
                <a:lnTo>
                  <a:pt x="921369" y="503041"/>
                </a:lnTo>
                <a:cubicBezTo>
                  <a:pt x="911844" y="506216"/>
                  <a:pt x="901148" y="506997"/>
                  <a:pt x="892794" y="512566"/>
                </a:cubicBezTo>
                <a:lnTo>
                  <a:pt x="864219" y="531616"/>
                </a:lnTo>
                <a:cubicBezTo>
                  <a:pt x="859456" y="533203"/>
                  <a:pt x="852716" y="532201"/>
                  <a:pt x="849931" y="536378"/>
                </a:cubicBezTo>
                <a:lnTo>
                  <a:pt x="821356" y="579241"/>
                </a:lnTo>
                <a:cubicBezTo>
                  <a:pt x="799521" y="611994"/>
                  <a:pt x="805926" y="596955"/>
                  <a:pt x="797544" y="622103"/>
                </a:cubicBezTo>
                <a:lnTo>
                  <a:pt x="788019" y="636391"/>
                </a:lnTo>
                <a:cubicBezTo>
                  <a:pt x="781669" y="645916"/>
                  <a:pt x="774529" y="654959"/>
                  <a:pt x="768969" y="664966"/>
                </a:cubicBezTo>
                <a:cubicBezTo>
                  <a:pt x="764391" y="673207"/>
                  <a:pt x="760764" y="696463"/>
                  <a:pt x="759444" y="703066"/>
                </a:cubicBezTo>
                <a:cubicBezTo>
                  <a:pt x="761031" y="707828"/>
                  <a:pt x="762988" y="712483"/>
                  <a:pt x="764206" y="717353"/>
                </a:cubicBezTo>
                <a:cubicBezTo>
                  <a:pt x="766169" y="725206"/>
                  <a:pt x="767213" y="733264"/>
                  <a:pt x="768969" y="741166"/>
                </a:cubicBezTo>
                <a:cubicBezTo>
                  <a:pt x="770389" y="747556"/>
                  <a:pt x="772144" y="753866"/>
                  <a:pt x="773731" y="760216"/>
                </a:cubicBezTo>
                <a:cubicBezTo>
                  <a:pt x="801027" y="801159"/>
                  <a:pt x="768301" y="749357"/>
                  <a:pt x="788019" y="788791"/>
                </a:cubicBezTo>
                <a:cubicBezTo>
                  <a:pt x="790579" y="793910"/>
                  <a:pt x="795734" y="797648"/>
                  <a:pt x="797544" y="803078"/>
                </a:cubicBezTo>
                <a:lnTo>
                  <a:pt x="802306" y="817366"/>
                </a:lnTo>
                <a:cubicBezTo>
                  <a:pt x="805481" y="826891"/>
                  <a:pt x="809573" y="836158"/>
                  <a:pt x="811831" y="845941"/>
                </a:cubicBezTo>
                <a:cubicBezTo>
                  <a:pt x="814746" y="858571"/>
                  <a:pt x="820326" y="912865"/>
                  <a:pt x="821356" y="922141"/>
                </a:cubicBezTo>
                <a:cubicBezTo>
                  <a:pt x="822944" y="928491"/>
                  <a:pt x="823541" y="935175"/>
                  <a:pt x="826119" y="941191"/>
                </a:cubicBezTo>
                <a:cubicBezTo>
                  <a:pt x="828374" y="946452"/>
                  <a:pt x="833634" y="950119"/>
                  <a:pt x="835644" y="955478"/>
                </a:cubicBezTo>
                <a:cubicBezTo>
                  <a:pt x="838486" y="963057"/>
                  <a:pt x="838819" y="971353"/>
                  <a:pt x="840406" y="979291"/>
                </a:cubicBezTo>
                <a:lnTo>
                  <a:pt x="859456" y="1007866"/>
                </a:lnTo>
                <a:cubicBezTo>
                  <a:pt x="863192" y="1013470"/>
                  <a:pt x="868981" y="1017390"/>
                  <a:pt x="873744" y="1022153"/>
                </a:cubicBezTo>
                <a:cubicBezTo>
                  <a:pt x="911126" y="1059535"/>
                  <a:pt x="898364" y="1042416"/>
                  <a:pt x="916606" y="1069778"/>
                </a:cubicBezTo>
                <a:cubicBezTo>
                  <a:pt x="927151" y="1076808"/>
                  <a:pt x="937845" y="1082588"/>
                  <a:pt x="945181" y="1093591"/>
                </a:cubicBezTo>
                <a:cubicBezTo>
                  <a:pt x="947966" y="1097768"/>
                  <a:pt x="948356" y="1103116"/>
                  <a:pt x="949944" y="1107878"/>
                </a:cubicBezTo>
                <a:cubicBezTo>
                  <a:pt x="954706" y="1111053"/>
                  <a:pt x="959112" y="1114843"/>
                  <a:pt x="964231" y="1117403"/>
                </a:cubicBezTo>
                <a:cubicBezTo>
                  <a:pt x="975735" y="1123155"/>
                  <a:pt x="983707" y="1120317"/>
                  <a:pt x="992806" y="1131691"/>
                </a:cubicBezTo>
                <a:cubicBezTo>
                  <a:pt x="995942" y="1135611"/>
                  <a:pt x="995981" y="1141216"/>
                  <a:pt x="997569" y="1145978"/>
                </a:cubicBezTo>
                <a:cubicBezTo>
                  <a:pt x="997607" y="1146000"/>
                  <a:pt x="1017537" y="1157497"/>
                  <a:pt x="1026144" y="1165028"/>
                </a:cubicBezTo>
                <a:cubicBezTo>
                  <a:pt x="1030452" y="1168797"/>
                  <a:pt x="1032494" y="1174553"/>
                  <a:pt x="1035669" y="1179316"/>
                </a:cubicBezTo>
                <a:cubicBezTo>
                  <a:pt x="1039405" y="1184920"/>
                  <a:pt x="1045194" y="1188841"/>
                  <a:pt x="1049956" y="1193603"/>
                </a:cubicBezTo>
                <a:cubicBezTo>
                  <a:pt x="1059481" y="1203128"/>
                  <a:pt x="1069582" y="1212110"/>
                  <a:pt x="1078531" y="1222178"/>
                </a:cubicBezTo>
                <a:cubicBezTo>
                  <a:pt x="1094541" y="1240189"/>
                  <a:pt x="1084640" y="1239158"/>
                  <a:pt x="1097581" y="1265041"/>
                </a:cubicBezTo>
                <a:cubicBezTo>
                  <a:pt x="1109029" y="1287936"/>
                  <a:pt x="1122702" y="1309653"/>
                  <a:pt x="1135681" y="1331716"/>
                </a:cubicBezTo>
                <a:cubicBezTo>
                  <a:pt x="1138583" y="1336649"/>
                  <a:pt x="1141159" y="1341956"/>
                  <a:pt x="1145206" y="1346003"/>
                </a:cubicBezTo>
                <a:cubicBezTo>
                  <a:pt x="1149254" y="1350050"/>
                  <a:pt x="1155097" y="1351864"/>
                  <a:pt x="1159494" y="1355528"/>
                </a:cubicBezTo>
                <a:cubicBezTo>
                  <a:pt x="1164668" y="1359840"/>
                  <a:pt x="1169019" y="1365053"/>
                  <a:pt x="1173781" y="1369816"/>
                </a:cubicBezTo>
                <a:cubicBezTo>
                  <a:pt x="1178544" y="1371403"/>
                  <a:pt x="1184149" y="1371442"/>
                  <a:pt x="1188069" y="1374578"/>
                </a:cubicBezTo>
                <a:cubicBezTo>
                  <a:pt x="1192539" y="1378154"/>
                  <a:pt x="1195339" y="1383605"/>
                  <a:pt x="1197594" y="1388866"/>
                </a:cubicBezTo>
                <a:cubicBezTo>
                  <a:pt x="1201582" y="1398173"/>
                  <a:pt x="1205876" y="1429655"/>
                  <a:pt x="1207119" y="1436491"/>
                </a:cubicBezTo>
                <a:cubicBezTo>
                  <a:pt x="1208567" y="1444455"/>
                  <a:pt x="1209918" y="1452450"/>
                  <a:pt x="1211881" y="1460303"/>
                </a:cubicBezTo>
                <a:cubicBezTo>
                  <a:pt x="1213099" y="1465173"/>
                  <a:pt x="1215659" y="1469668"/>
                  <a:pt x="1216644" y="1474591"/>
                </a:cubicBezTo>
                <a:cubicBezTo>
                  <a:pt x="1218845" y="1485598"/>
                  <a:pt x="1220474" y="1496742"/>
                  <a:pt x="1221406" y="1507928"/>
                </a:cubicBezTo>
                <a:cubicBezTo>
                  <a:pt x="1223651" y="1534869"/>
                  <a:pt x="1241165" y="1566397"/>
                  <a:pt x="1226169" y="1588891"/>
                </a:cubicBezTo>
                <a:lnTo>
                  <a:pt x="1207119" y="1617466"/>
                </a:lnTo>
                <a:cubicBezTo>
                  <a:pt x="1183306" y="1633341"/>
                  <a:pt x="1196006" y="1622228"/>
                  <a:pt x="1173781" y="1655566"/>
                </a:cubicBezTo>
                <a:lnTo>
                  <a:pt x="1159494" y="1660328"/>
                </a:lnTo>
                <a:cubicBezTo>
                  <a:pt x="1149969" y="1663503"/>
                  <a:pt x="1154047" y="1679728"/>
                  <a:pt x="1149969" y="1688903"/>
                </a:cubicBezTo>
                <a:cubicBezTo>
                  <a:pt x="1147644" y="1694134"/>
                  <a:pt x="1143619" y="1698032"/>
                  <a:pt x="1140444" y="1703191"/>
                </a:cubicBezTo>
                <a:cubicBezTo>
                  <a:pt x="1137269" y="1708350"/>
                  <a:pt x="1135681" y="1718272"/>
                  <a:pt x="1130918" y="1719859"/>
                </a:cubicBezTo>
                <a:cubicBezTo>
                  <a:pt x="1121506" y="1716722"/>
                  <a:pt x="1111075" y="1719463"/>
                  <a:pt x="1104725" y="1712716"/>
                </a:cubicBezTo>
                <a:cubicBezTo>
                  <a:pt x="1098375" y="1705969"/>
                  <a:pt x="1096391" y="1698428"/>
                  <a:pt x="1092819" y="1679378"/>
                </a:cubicBezTo>
                <a:cubicBezTo>
                  <a:pt x="1089247" y="1660328"/>
                  <a:pt x="1085728" y="1625195"/>
                  <a:pt x="1083294" y="1598416"/>
                </a:cubicBezTo>
                <a:cubicBezTo>
                  <a:pt x="1081706" y="1593653"/>
                  <a:pt x="1080776" y="1588618"/>
                  <a:pt x="1078531" y="1584128"/>
                </a:cubicBezTo>
                <a:cubicBezTo>
                  <a:pt x="1075971" y="1579009"/>
                  <a:pt x="1070816" y="1575271"/>
                  <a:pt x="1069006" y="1569841"/>
                </a:cubicBezTo>
                <a:cubicBezTo>
                  <a:pt x="1056427" y="1532105"/>
                  <a:pt x="1061131" y="1551170"/>
                  <a:pt x="1054719" y="1512691"/>
                </a:cubicBezTo>
                <a:cubicBezTo>
                  <a:pt x="1047709" y="1491661"/>
                  <a:pt x="1052299" y="1500583"/>
                  <a:pt x="1042164" y="1493488"/>
                </a:cubicBezTo>
                <a:lnTo>
                  <a:pt x="1026144" y="1479353"/>
                </a:lnTo>
                <a:cubicBezTo>
                  <a:pt x="1020531" y="1473740"/>
                  <a:pt x="1016619" y="1466653"/>
                  <a:pt x="1011856" y="1460303"/>
                </a:cubicBezTo>
                <a:lnTo>
                  <a:pt x="1000184" y="1456613"/>
                </a:lnTo>
                <a:cubicBezTo>
                  <a:pt x="993636" y="1454467"/>
                  <a:pt x="998850" y="1454655"/>
                  <a:pt x="983281" y="1436491"/>
                </a:cubicBezTo>
                <a:cubicBezTo>
                  <a:pt x="978898" y="1431377"/>
                  <a:pt x="974168" y="1426515"/>
                  <a:pt x="968994" y="1422203"/>
                </a:cubicBezTo>
                <a:cubicBezTo>
                  <a:pt x="964597" y="1418539"/>
                  <a:pt x="957881" y="1417441"/>
                  <a:pt x="954706" y="1412678"/>
                </a:cubicBezTo>
                <a:lnTo>
                  <a:pt x="926131" y="1369816"/>
                </a:lnTo>
                <a:cubicBezTo>
                  <a:pt x="923204" y="1363962"/>
                  <a:pt x="922956" y="1357116"/>
                  <a:pt x="921369" y="1350766"/>
                </a:cubicBezTo>
                <a:cubicBezTo>
                  <a:pt x="896544" y="1313528"/>
                  <a:pt x="927250" y="1356567"/>
                  <a:pt x="859456" y="1293616"/>
                </a:cubicBezTo>
                <a:cubicBezTo>
                  <a:pt x="849722" y="1284578"/>
                  <a:pt x="840836" y="1267630"/>
                  <a:pt x="835644" y="1255516"/>
                </a:cubicBezTo>
                <a:cubicBezTo>
                  <a:pt x="833666" y="1250902"/>
                  <a:pt x="833126" y="1245718"/>
                  <a:pt x="830881" y="1241228"/>
                </a:cubicBezTo>
                <a:cubicBezTo>
                  <a:pt x="828321" y="1236109"/>
                  <a:pt x="824531" y="1231703"/>
                  <a:pt x="821356" y="1226941"/>
                </a:cubicBezTo>
                <a:cubicBezTo>
                  <a:pt x="816594" y="1223766"/>
                  <a:pt x="812188" y="1219976"/>
                  <a:pt x="807069" y="1217416"/>
                </a:cubicBezTo>
                <a:cubicBezTo>
                  <a:pt x="802579" y="1215171"/>
                  <a:pt x="796958" y="1215438"/>
                  <a:pt x="792781" y="1212653"/>
                </a:cubicBezTo>
                <a:cubicBezTo>
                  <a:pt x="787177" y="1208917"/>
                  <a:pt x="783256" y="1203128"/>
                  <a:pt x="778494" y="1198366"/>
                </a:cubicBezTo>
                <a:cubicBezTo>
                  <a:pt x="769441" y="1196555"/>
                  <a:pt x="750155" y="1193721"/>
                  <a:pt x="740394" y="1188841"/>
                </a:cubicBezTo>
                <a:cubicBezTo>
                  <a:pt x="735274" y="1186281"/>
                  <a:pt x="731076" y="1182156"/>
                  <a:pt x="726106" y="1179316"/>
                </a:cubicBezTo>
                <a:cubicBezTo>
                  <a:pt x="719942" y="1175794"/>
                  <a:pt x="713406" y="1172966"/>
                  <a:pt x="707056" y="1169791"/>
                </a:cubicBezTo>
                <a:cubicBezTo>
                  <a:pt x="698076" y="1165301"/>
                  <a:pt x="688006" y="1163441"/>
                  <a:pt x="678481" y="1160266"/>
                </a:cubicBezTo>
                <a:cubicBezTo>
                  <a:pt x="666224" y="1156180"/>
                  <a:pt x="645103" y="1138309"/>
                  <a:pt x="635619" y="1126928"/>
                </a:cubicBezTo>
                <a:cubicBezTo>
                  <a:pt x="631955" y="1122531"/>
                  <a:pt x="629269" y="1117403"/>
                  <a:pt x="626094" y="1112641"/>
                </a:cubicBezTo>
                <a:cubicBezTo>
                  <a:pt x="606449" y="1099545"/>
                  <a:pt x="614039" y="1106093"/>
                  <a:pt x="610690" y="1100139"/>
                </a:cubicBezTo>
                <a:lnTo>
                  <a:pt x="602281" y="1088828"/>
                </a:lnTo>
                <a:cubicBezTo>
                  <a:pt x="589112" y="1073025"/>
                  <a:pt x="587339" y="1077993"/>
                  <a:pt x="578469" y="1060253"/>
                </a:cubicBezTo>
                <a:cubicBezTo>
                  <a:pt x="576224" y="1055763"/>
                  <a:pt x="575951" y="1050456"/>
                  <a:pt x="573706" y="1045966"/>
                </a:cubicBezTo>
                <a:cubicBezTo>
                  <a:pt x="555245" y="1009045"/>
                  <a:pt x="571386" y="1053294"/>
                  <a:pt x="559419" y="1017391"/>
                </a:cubicBezTo>
                <a:cubicBezTo>
                  <a:pt x="525299" y="996918"/>
                  <a:pt x="539155" y="1006705"/>
                  <a:pt x="534545" y="1001160"/>
                </a:cubicBezTo>
                <a:lnTo>
                  <a:pt x="521319" y="988816"/>
                </a:lnTo>
                <a:cubicBezTo>
                  <a:pt x="500644" y="971094"/>
                  <a:pt x="504340" y="978029"/>
                  <a:pt x="500406" y="971994"/>
                </a:cubicBezTo>
                <a:lnTo>
                  <a:pt x="492744" y="960241"/>
                </a:lnTo>
                <a:cubicBezTo>
                  <a:pt x="470616" y="949177"/>
                  <a:pt x="473457" y="954147"/>
                  <a:pt x="459406" y="931666"/>
                </a:cubicBezTo>
                <a:cubicBezTo>
                  <a:pt x="455643" y="925646"/>
                  <a:pt x="454901" y="917636"/>
                  <a:pt x="449881" y="912616"/>
                </a:cubicBezTo>
                <a:cubicBezTo>
                  <a:pt x="446331" y="909066"/>
                  <a:pt x="439450" y="911067"/>
                  <a:pt x="435594" y="907853"/>
                </a:cubicBezTo>
                <a:cubicBezTo>
                  <a:pt x="429496" y="902771"/>
                  <a:pt x="426069" y="895153"/>
                  <a:pt x="421306" y="888803"/>
                </a:cubicBezTo>
                <a:cubicBezTo>
                  <a:pt x="399749" y="881618"/>
                  <a:pt x="403008" y="884097"/>
                  <a:pt x="378444" y="864991"/>
                </a:cubicBezTo>
                <a:cubicBezTo>
                  <a:pt x="373127" y="860856"/>
                  <a:pt x="367892" y="856307"/>
                  <a:pt x="364156" y="850703"/>
                </a:cubicBezTo>
                <a:cubicBezTo>
                  <a:pt x="361371" y="846526"/>
                  <a:pt x="360981" y="841178"/>
                  <a:pt x="359394" y="836416"/>
                </a:cubicBezTo>
                <a:cubicBezTo>
                  <a:pt x="354631" y="831653"/>
                  <a:pt x="349021" y="827609"/>
                  <a:pt x="345106" y="822128"/>
                </a:cubicBezTo>
                <a:cubicBezTo>
                  <a:pt x="337749" y="811829"/>
                  <a:pt x="334705" y="800451"/>
                  <a:pt x="330819" y="788791"/>
                </a:cubicBezTo>
                <a:cubicBezTo>
                  <a:pt x="317205" y="779715"/>
                  <a:pt x="292617" y="764673"/>
                  <a:pt x="287956" y="750691"/>
                </a:cubicBezTo>
                <a:cubicBezTo>
                  <a:pt x="276361" y="715906"/>
                  <a:pt x="280866" y="731857"/>
                  <a:pt x="273669" y="703066"/>
                </a:cubicBezTo>
                <a:cubicBezTo>
                  <a:pt x="246371" y="662117"/>
                  <a:pt x="279100" y="713927"/>
                  <a:pt x="259381" y="674491"/>
                </a:cubicBezTo>
                <a:cubicBezTo>
                  <a:pt x="256821" y="669371"/>
                  <a:pt x="252416" y="665323"/>
                  <a:pt x="249856" y="660203"/>
                </a:cubicBezTo>
                <a:cubicBezTo>
                  <a:pt x="247611" y="655713"/>
                  <a:pt x="247879" y="650093"/>
                  <a:pt x="245094" y="645916"/>
                </a:cubicBezTo>
                <a:cubicBezTo>
                  <a:pt x="241358" y="640312"/>
                  <a:pt x="235118" y="636802"/>
                  <a:pt x="230806" y="631628"/>
                </a:cubicBezTo>
                <a:cubicBezTo>
                  <a:pt x="227142" y="627231"/>
                  <a:pt x="224456" y="622103"/>
                  <a:pt x="221281" y="617341"/>
                </a:cubicBezTo>
                <a:cubicBezTo>
                  <a:pt x="201916" y="604430"/>
                  <a:pt x="204302" y="603053"/>
                  <a:pt x="173656" y="603053"/>
                </a:cubicBezTo>
                <a:cubicBezTo>
                  <a:pt x="168636" y="603053"/>
                  <a:pt x="164131" y="606228"/>
                  <a:pt x="159369" y="607816"/>
                </a:cubicBezTo>
                <a:cubicBezTo>
                  <a:pt x="132127" y="612356"/>
                  <a:pt x="106583" y="617341"/>
                  <a:pt x="78406" y="617341"/>
                </a:cubicBezTo>
                <a:cubicBezTo>
                  <a:pt x="73386" y="617341"/>
                  <a:pt x="68296" y="615363"/>
                  <a:pt x="64119" y="612578"/>
                </a:cubicBezTo>
                <a:cubicBezTo>
                  <a:pt x="58515" y="608842"/>
                  <a:pt x="54594" y="603053"/>
                  <a:pt x="49831" y="598291"/>
                </a:cubicBezTo>
                <a:cubicBezTo>
                  <a:pt x="45069" y="596703"/>
                  <a:pt x="39094" y="597078"/>
                  <a:pt x="35544" y="593528"/>
                </a:cubicBezTo>
                <a:cubicBezTo>
                  <a:pt x="31994" y="589978"/>
                  <a:pt x="31444" y="584217"/>
                  <a:pt x="30781" y="579241"/>
                </a:cubicBezTo>
                <a:cubicBezTo>
                  <a:pt x="16710" y="473706"/>
                  <a:pt x="30781" y="568224"/>
                  <a:pt x="30781" y="474466"/>
                </a:cubicBezTo>
                <a:cubicBezTo>
                  <a:pt x="30781" y="469446"/>
                  <a:pt x="27606" y="464941"/>
                  <a:pt x="26019" y="460178"/>
                </a:cubicBezTo>
                <a:cubicBezTo>
                  <a:pt x="21256" y="457003"/>
                  <a:pt x="15307" y="455123"/>
                  <a:pt x="11731" y="450653"/>
                </a:cubicBezTo>
                <a:cubicBezTo>
                  <a:pt x="8595" y="446733"/>
                  <a:pt x="7423" y="441365"/>
                  <a:pt x="6969" y="436366"/>
                </a:cubicBezTo>
                <a:cubicBezTo>
                  <a:pt x="5473" y="419908"/>
                  <a:pt x="-7933" y="361395"/>
                  <a:pt x="6969" y="331591"/>
                </a:cubicBezTo>
                <a:cubicBezTo>
                  <a:pt x="9529" y="326471"/>
                  <a:pt x="13319" y="322066"/>
                  <a:pt x="16494" y="317303"/>
                </a:cubicBezTo>
                <a:cubicBezTo>
                  <a:pt x="16531" y="317280"/>
                  <a:pt x="36041" y="305274"/>
                  <a:pt x="45069" y="298253"/>
                </a:cubicBezTo>
                <a:cubicBezTo>
                  <a:pt x="50385" y="294118"/>
                  <a:pt x="53752" y="287702"/>
                  <a:pt x="59356" y="283966"/>
                </a:cubicBezTo>
                <a:cubicBezTo>
                  <a:pt x="63533" y="281181"/>
                  <a:pt x="69154" y="281448"/>
                  <a:pt x="73644" y="279203"/>
                </a:cubicBezTo>
                <a:cubicBezTo>
                  <a:pt x="78763" y="276643"/>
                  <a:pt x="83169" y="272853"/>
                  <a:pt x="87931" y="269678"/>
                </a:cubicBezTo>
                <a:lnTo>
                  <a:pt x="230806" y="264916"/>
                </a:lnTo>
                <a:lnTo>
                  <a:pt x="459406" y="260153"/>
                </a:lnTo>
                <a:lnTo>
                  <a:pt x="645144" y="255391"/>
                </a:lnTo>
                <a:lnTo>
                  <a:pt x="778494" y="260153"/>
                </a:lnTo>
                <a:cubicBezTo>
                  <a:pt x="853097" y="262142"/>
                  <a:pt x="927702" y="264916"/>
                  <a:pt x="1002331" y="264916"/>
                </a:cubicBezTo>
                <a:cubicBezTo>
                  <a:pt x="1007351" y="264916"/>
                  <a:pt x="1012129" y="262398"/>
                  <a:pt x="1016619" y="260153"/>
                </a:cubicBezTo>
                <a:cubicBezTo>
                  <a:pt x="1021738" y="257593"/>
                  <a:pt x="1026144" y="253803"/>
                  <a:pt x="1030906" y="250628"/>
                </a:cubicBezTo>
                <a:lnTo>
                  <a:pt x="1043102" y="246703"/>
                </a:lnTo>
                <a:cubicBezTo>
                  <a:pt x="1043995" y="245710"/>
                  <a:pt x="1042835" y="245264"/>
                  <a:pt x="1044743" y="242996"/>
                </a:cubicBezTo>
                <a:lnTo>
                  <a:pt x="1059481" y="231578"/>
                </a:lnTo>
                <a:lnTo>
                  <a:pt x="1070104" y="225724"/>
                </a:lnTo>
                <a:cubicBezTo>
                  <a:pt x="1076475" y="223624"/>
                  <a:pt x="1072051" y="230552"/>
                  <a:pt x="1074468" y="226398"/>
                </a:cubicBezTo>
                <a:lnTo>
                  <a:pt x="1083294" y="212528"/>
                </a:lnTo>
                <a:lnTo>
                  <a:pt x="1097581" y="207766"/>
                </a:lnTo>
                <a:lnTo>
                  <a:pt x="1140444" y="193478"/>
                </a:lnTo>
                <a:cubicBezTo>
                  <a:pt x="1166146" y="185768"/>
                  <a:pt x="1156901" y="191685"/>
                  <a:pt x="1168059" y="183533"/>
                </a:cubicBezTo>
                <a:lnTo>
                  <a:pt x="1188069" y="169666"/>
                </a:lnTo>
                <a:cubicBezTo>
                  <a:pt x="1196423" y="164097"/>
                  <a:pt x="1207469" y="164219"/>
                  <a:pt x="1216644" y="160141"/>
                </a:cubicBezTo>
                <a:cubicBezTo>
                  <a:pt x="1231683" y="153457"/>
                  <a:pt x="1231767" y="149362"/>
                  <a:pt x="1240456" y="136328"/>
                </a:cubicBezTo>
                <a:cubicBezTo>
                  <a:pt x="1240491" y="136309"/>
                  <a:pt x="1260424" y="124809"/>
                  <a:pt x="1269031" y="117278"/>
                </a:cubicBezTo>
                <a:cubicBezTo>
                  <a:pt x="1273339" y="113509"/>
                  <a:pt x="1277707" y="108651"/>
                  <a:pt x="1278556" y="102991"/>
                </a:cubicBezTo>
                <a:cubicBezTo>
                  <a:pt x="1282566" y="76256"/>
                  <a:pt x="1281731" y="49016"/>
                  <a:pt x="1283319" y="22028"/>
                </a:cubicBezTo>
                <a:cubicBezTo>
                  <a:pt x="1292827" y="7767"/>
                  <a:pt x="1295202" y="-187"/>
                  <a:pt x="1310540" y="4"/>
                </a:cubicBezTo>
                <a:close/>
              </a:path>
            </a:pathLst>
          </a:custGeom>
          <a:solidFill>
            <a:schemeClr val="accent1">
              <a:lumMod val="5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 dirty="0" err="1">
              <a:solidFill>
                <a:schemeClr val="tx1"/>
              </a:solidFill>
            </a:endParaRPr>
          </a:p>
        </p:txBody>
      </p:sp>
      <p:sp>
        <p:nvSpPr>
          <p:cNvPr id="122" name="Freeform 14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644250" y="3440677"/>
            <a:ext cx="599507" cy="488066"/>
          </a:xfrm>
          <a:custGeom>
            <a:avLst/>
            <a:gdLst>
              <a:gd name="T0" fmla="*/ 648 w 834"/>
              <a:gd name="T1" fmla="*/ 150 h 948"/>
              <a:gd name="T2" fmla="*/ 798 w 834"/>
              <a:gd name="T3" fmla="*/ 138 h 948"/>
              <a:gd name="T4" fmla="*/ 834 w 834"/>
              <a:gd name="T5" fmla="*/ 564 h 948"/>
              <a:gd name="T6" fmla="*/ 756 w 834"/>
              <a:gd name="T7" fmla="*/ 714 h 948"/>
              <a:gd name="T8" fmla="*/ 726 w 834"/>
              <a:gd name="T9" fmla="*/ 750 h 948"/>
              <a:gd name="T10" fmla="*/ 684 w 834"/>
              <a:gd name="T11" fmla="*/ 810 h 948"/>
              <a:gd name="T12" fmla="*/ 684 w 834"/>
              <a:gd name="T13" fmla="*/ 840 h 948"/>
              <a:gd name="T14" fmla="*/ 672 w 834"/>
              <a:gd name="T15" fmla="*/ 858 h 948"/>
              <a:gd name="T16" fmla="*/ 636 w 834"/>
              <a:gd name="T17" fmla="*/ 870 h 948"/>
              <a:gd name="T18" fmla="*/ 612 w 834"/>
              <a:gd name="T19" fmla="*/ 882 h 948"/>
              <a:gd name="T20" fmla="*/ 588 w 834"/>
              <a:gd name="T21" fmla="*/ 894 h 948"/>
              <a:gd name="T22" fmla="*/ 576 w 834"/>
              <a:gd name="T23" fmla="*/ 876 h 948"/>
              <a:gd name="T24" fmla="*/ 558 w 834"/>
              <a:gd name="T25" fmla="*/ 864 h 948"/>
              <a:gd name="T26" fmla="*/ 534 w 834"/>
              <a:gd name="T27" fmla="*/ 858 h 948"/>
              <a:gd name="T28" fmla="*/ 516 w 834"/>
              <a:gd name="T29" fmla="*/ 846 h 948"/>
              <a:gd name="T30" fmla="*/ 492 w 834"/>
              <a:gd name="T31" fmla="*/ 840 h 948"/>
              <a:gd name="T32" fmla="*/ 468 w 834"/>
              <a:gd name="T33" fmla="*/ 846 h 948"/>
              <a:gd name="T34" fmla="*/ 456 w 834"/>
              <a:gd name="T35" fmla="*/ 852 h 948"/>
              <a:gd name="T36" fmla="*/ 444 w 834"/>
              <a:gd name="T37" fmla="*/ 858 h 948"/>
              <a:gd name="T38" fmla="*/ 438 w 834"/>
              <a:gd name="T39" fmla="*/ 870 h 948"/>
              <a:gd name="T40" fmla="*/ 420 w 834"/>
              <a:gd name="T41" fmla="*/ 870 h 948"/>
              <a:gd name="T42" fmla="*/ 402 w 834"/>
              <a:gd name="T43" fmla="*/ 882 h 948"/>
              <a:gd name="T44" fmla="*/ 390 w 834"/>
              <a:gd name="T45" fmla="*/ 900 h 948"/>
              <a:gd name="T46" fmla="*/ 378 w 834"/>
              <a:gd name="T47" fmla="*/ 918 h 948"/>
              <a:gd name="T48" fmla="*/ 372 w 834"/>
              <a:gd name="T49" fmla="*/ 942 h 948"/>
              <a:gd name="T50" fmla="*/ 360 w 834"/>
              <a:gd name="T51" fmla="*/ 942 h 948"/>
              <a:gd name="T52" fmla="*/ 354 w 834"/>
              <a:gd name="T53" fmla="*/ 918 h 948"/>
              <a:gd name="T54" fmla="*/ 342 w 834"/>
              <a:gd name="T55" fmla="*/ 894 h 948"/>
              <a:gd name="T56" fmla="*/ 330 w 834"/>
              <a:gd name="T57" fmla="*/ 894 h 948"/>
              <a:gd name="T58" fmla="*/ 300 w 834"/>
              <a:gd name="T59" fmla="*/ 894 h 948"/>
              <a:gd name="T60" fmla="*/ 264 w 834"/>
              <a:gd name="T61" fmla="*/ 912 h 948"/>
              <a:gd name="T62" fmla="*/ 270 w 834"/>
              <a:gd name="T63" fmla="*/ 888 h 948"/>
              <a:gd name="T64" fmla="*/ 264 w 834"/>
              <a:gd name="T65" fmla="*/ 822 h 948"/>
              <a:gd name="T66" fmla="*/ 240 w 834"/>
              <a:gd name="T67" fmla="*/ 822 h 948"/>
              <a:gd name="T68" fmla="*/ 222 w 834"/>
              <a:gd name="T69" fmla="*/ 810 h 948"/>
              <a:gd name="T70" fmla="*/ 204 w 834"/>
              <a:gd name="T71" fmla="*/ 804 h 948"/>
              <a:gd name="T72" fmla="*/ 180 w 834"/>
              <a:gd name="T73" fmla="*/ 792 h 948"/>
              <a:gd name="T74" fmla="*/ 156 w 834"/>
              <a:gd name="T75" fmla="*/ 786 h 948"/>
              <a:gd name="T76" fmla="*/ 144 w 834"/>
              <a:gd name="T77" fmla="*/ 780 h 948"/>
              <a:gd name="T78" fmla="*/ 126 w 834"/>
              <a:gd name="T79" fmla="*/ 756 h 948"/>
              <a:gd name="T80" fmla="*/ 108 w 834"/>
              <a:gd name="T81" fmla="*/ 732 h 948"/>
              <a:gd name="T82" fmla="*/ 90 w 834"/>
              <a:gd name="T83" fmla="*/ 714 h 948"/>
              <a:gd name="T84" fmla="*/ 66 w 834"/>
              <a:gd name="T85" fmla="*/ 690 h 948"/>
              <a:gd name="T86" fmla="*/ 60 w 834"/>
              <a:gd name="T87" fmla="*/ 672 h 948"/>
              <a:gd name="T88" fmla="*/ 24 w 834"/>
              <a:gd name="T89" fmla="*/ 654 h 948"/>
              <a:gd name="T90" fmla="*/ 0 w 834"/>
              <a:gd name="T91" fmla="*/ 642 h 948"/>
              <a:gd name="T92" fmla="*/ 0 w 834"/>
              <a:gd name="T93" fmla="*/ 624 h 948"/>
              <a:gd name="T94" fmla="*/ 0 w 834"/>
              <a:gd name="T95" fmla="*/ 600 h 948"/>
              <a:gd name="T96" fmla="*/ 12 w 834"/>
              <a:gd name="T97" fmla="*/ 582 h 948"/>
              <a:gd name="T98" fmla="*/ 42 w 834"/>
              <a:gd name="T99" fmla="*/ 558 h 948"/>
              <a:gd name="T100" fmla="*/ 138 w 834"/>
              <a:gd name="T101" fmla="*/ 528 h 948"/>
              <a:gd name="T102" fmla="*/ 216 w 834"/>
              <a:gd name="T103" fmla="*/ 564 h 948"/>
              <a:gd name="T104" fmla="*/ 252 w 834"/>
              <a:gd name="T105" fmla="*/ 510 h 948"/>
              <a:gd name="T106" fmla="*/ 330 w 834"/>
              <a:gd name="T107" fmla="*/ 462 h 948"/>
              <a:gd name="T108" fmla="*/ 372 w 834"/>
              <a:gd name="T109" fmla="*/ 402 h 948"/>
              <a:gd name="T110" fmla="*/ 414 w 834"/>
              <a:gd name="T111" fmla="*/ 234 h 948"/>
              <a:gd name="T112" fmla="*/ 354 w 834"/>
              <a:gd name="T113" fmla="*/ 60 h 9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34" h="948">
                <a:moveTo>
                  <a:pt x="354" y="60"/>
                </a:moveTo>
                <a:lnTo>
                  <a:pt x="420" y="120"/>
                </a:lnTo>
                <a:lnTo>
                  <a:pt x="492" y="114"/>
                </a:lnTo>
                <a:lnTo>
                  <a:pt x="612" y="126"/>
                </a:lnTo>
                <a:lnTo>
                  <a:pt x="648" y="150"/>
                </a:lnTo>
                <a:lnTo>
                  <a:pt x="654" y="144"/>
                </a:lnTo>
                <a:lnTo>
                  <a:pt x="654" y="132"/>
                </a:lnTo>
                <a:lnTo>
                  <a:pt x="660" y="132"/>
                </a:lnTo>
                <a:lnTo>
                  <a:pt x="672" y="132"/>
                </a:lnTo>
                <a:lnTo>
                  <a:pt x="798" y="138"/>
                </a:lnTo>
                <a:lnTo>
                  <a:pt x="792" y="360"/>
                </a:lnTo>
                <a:lnTo>
                  <a:pt x="816" y="444"/>
                </a:lnTo>
                <a:lnTo>
                  <a:pt x="810" y="486"/>
                </a:lnTo>
                <a:lnTo>
                  <a:pt x="810" y="498"/>
                </a:lnTo>
                <a:lnTo>
                  <a:pt x="834" y="564"/>
                </a:lnTo>
                <a:lnTo>
                  <a:pt x="822" y="582"/>
                </a:lnTo>
                <a:lnTo>
                  <a:pt x="792" y="588"/>
                </a:lnTo>
                <a:lnTo>
                  <a:pt x="780" y="600"/>
                </a:lnTo>
                <a:lnTo>
                  <a:pt x="780" y="678"/>
                </a:lnTo>
                <a:lnTo>
                  <a:pt x="756" y="714"/>
                </a:lnTo>
                <a:lnTo>
                  <a:pt x="762" y="732"/>
                </a:lnTo>
                <a:lnTo>
                  <a:pt x="756" y="732"/>
                </a:lnTo>
                <a:lnTo>
                  <a:pt x="756" y="744"/>
                </a:lnTo>
                <a:lnTo>
                  <a:pt x="744" y="738"/>
                </a:lnTo>
                <a:lnTo>
                  <a:pt x="726" y="750"/>
                </a:lnTo>
                <a:lnTo>
                  <a:pt x="708" y="756"/>
                </a:lnTo>
                <a:lnTo>
                  <a:pt x="678" y="756"/>
                </a:lnTo>
                <a:lnTo>
                  <a:pt x="660" y="774"/>
                </a:lnTo>
                <a:lnTo>
                  <a:pt x="678" y="804"/>
                </a:lnTo>
                <a:lnTo>
                  <a:pt x="684" y="810"/>
                </a:lnTo>
                <a:lnTo>
                  <a:pt x="684" y="816"/>
                </a:lnTo>
                <a:lnTo>
                  <a:pt x="690" y="828"/>
                </a:lnTo>
                <a:lnTo>
                  <a:pt x="690" y="834"/>
                </a:lnTo>
                <a:lnTo>
                  <a:pt x="690" y="840"/>
                </a:lnTo>
                <a:lnTo>
                  <a:pt x="684" y="840"/>
                </a:lnTo>
                <a:lnTo>
                  <a:pt x="684" y="846"/>
                </a:lnTo>
                <a:lnTo>
                  <a:pt x="678" y="846"/>
                </a:lnTo>
                <a:lnTo>
                  <a:pt x="678" y="852"/>
                </a:lnTo>
                <a:lnTo>
                  <a:pt x="672" y="852"/>
                </a:lnTo>
                <a:lnTo>
                  <a:pt x="672" y="858"/>
                </a:lnTo>
                <a:lnTo>
                  <a:pt x="666" y="858"/>
                </a:lnTo>
                <a:lnTo>
                  <a:pt x="660" y="864"/>
                </a:lnTo>
                <a:lnTo>
                  <a:pt x="654" y="870"/>
                </a:lnTo>
                <a:lnTo>
                  <a:pt x="648" y="870"/>
                </a:lnTo>
                <a:lnTo>
                  <a:pt x="636" y="870"/>
                </a:lnTo>
                <a:lnTo>
                  <a:pt x="630" y="876"/>
                </a:lnTo>
                <a:lnTo>
                  <a:pt x="624" y="876"/>
                </a:lnTo>
                <a:lnTo>
                  <a:pt x="618" y="876"/>
                </a:lnTo>
                <a:lnTo>
                  <a:pt x="618" y="882"/>
                </a:lnTo>
                <a:lnTo>
                  <a:pt x="612" y="882"/>
                </a:lnTo>
                <a:lnTo>
                  <a:pt x="606" y="882"/>
                </a:lnTo>
                <a:lnTo>
                  <a:pt x="606" y="888"/>
                </a:lnTo>
                <a:lnTo>
                  <a:pt x="600" y="888"/>
                </a:lnTo>
                <a:lnTo>
                  <a:pt x="594" y="894"/>
                </a:lnTo>
                <a:lnTo>
                  <a:pt x="588" y="894"/>
                </a:lnTo>
                <a:lnTo>
                  <a:pt x="588" y="888"/>
                </a:lnTo>
                <a:lnTo>
                  <a:pt x="588" y="882"/>
                </a:lnTo>
                <a:lnTo>
                  <a:pt x="582" y="882"/>
                </a:lnTo>
                <a:lnTo>
                  <a:pt x="582" y="876"/>
                </a:lnTo>
                <a:lnTo>
                  <a:pt x="576" y="876"/>
                </a:lnTo>
                <a:lnTo>
                  <a:pt x="570" y="876"/>
                </a:lnTo>
                <a:lnTo>
                  <a:pt x="570" y="870"/>
                </a:lnTo>
                <a:lnTo>
                  <a:pt x="564" y="870"/>
                </a:lnTo>
                <a:lnTo>
                  <a:pt x="558" y="870"/>
                </a:lnTo>
                <a:lnTo>
                  <a:pt x="558" y="864"/>
                </a:lnTo>
                <a:lnTo>
                  <a:pt x="552" y="864"/>
                </a:lnTo>
                <a:lnTo>
                  <a:pt x="546" y="864"/>
                </a:lnTo>
                <a:lnTo>
                  <a:pt x="546" y="858"/>
                </a:lnTo>
                <a:lnTo>
                  <a:pt x="540" y="858"/>
                </a:lnTo>
                <a:lnTo>
                  <a:pt x="534" y="858"/>
                </a:lnTo>
                <a:lnTo>
                  <a:pt x="534" y="852"/>
                </a:lnTo>
                <a:lnTo>
                  <a:pt x="528" y="852"/>
                </a:lnTo>
                <a:lnTo>
                  <a:pt x="528" y="846"/>
                </a:lnTo>
                <a:lnTo>
                  <a:pt x="522" y="846"/>
                </a:lnTo>
                <a:lnTo>
                  <a:pt x="516" y="846"/>
                </a:lnTo>
                <a:lnTo>
                  <a:pt x="516" y="840"/>
                </a:lnTo>
                <a:lnTo>
                  <a:pt x="510" y="840"/>
                </a:lnTo>
                <a:lnTo>
                  <a:pt x="504" y="840"/>
                </a:lnTo>
                <a:lnTo>
                  <a:pt x="498" y="840"/>
                </a:lnTo>
                <a:lnTo>
                  <a:pt x="492" y="840"/>
                </a:lnTo>
                <a:lnTo>
                  <a:pt x="486" y="840"/>
                </a:lnTo>
                <a:lnTo>
                  <a:pt x="480" y="840"/>
                </a:lnTo>
                <a:lnTo>
                  <a:pt x="474" y="840"/>
                </a:lnTo>
                <a:lnTo>
                  <a:pt x="468" y="840"/>
                </a:lnTo>
                <a:lnTo>
                  <a:pt x="468" y="846"/>
                </a:lnTo>
                <a:lnTo>
                  <a:pt x="462" y="846"/>
                </a:lnTo>
                <a:lnTo>
                  <a:pt x="462" y="852"/>
                </a:lnTo>
                <a:lnTo>
                  <a:pt x="456" y="852"/>
                </a:lnTo>
                <a:lnTo>
                  <a:pt x="456" y="858"/>
                </a:lnTo>
                <a:lnTo>
                  <a:pt x="456" y="852"/>
                </a:lnTo>
                <a:lnTo>
                  <a:pt x="456" y="858"/>
                </a:lnTo>
                <a:lnTo>
                  <a:pt x="450" y="858"/>
                </a:lnTo>
                <a:lnTo>
                  <a:pt x="450" y="864"/>
                </a:lnTo>
                <a:lnTo>
                  <a:pt x="444" y="864"/>
                </a:lnTo>
                <a:lnTo>
                  <a:pt x="444" y="858"/>
                </a:lnTo>
                <a:lnTo>
                  <a:pt x="438" y="858"/>
                </a:lnTo>
                <a:lnTo>
                  <a:pt x="438" y="864"/>
                </a:lnTo>
                <a:lnTo>
                  <a:pt x="438" y="858"/>
                </a:lnTo>
                <a:lnTo>
                  <a:pt x="438" y="864"/>
                </a:lnTo>
                <a:lnTo>
                  <a:pt x="438" y="870"/>
                </a:lnTo>
                <a:lnTo>
                  <a:pt x="432" y="870"/>
                </a:lnTo>
                <a:lnTo>
                  <a:pt x="426" y="870"/>
                </a:lnTo>
                <a:lnTo>
                  <a:pt x="426" y="876"/>
                </a:lnTo>
                <a:lnTo>
                  <a:pt x="420" y="876"/>
                </a:lnTo>
                <a:lnTo>
                  <a:pt x="420" y="870"/>
                </a:lnTo>
                <a:lnTo>
                  <a:pt x="414" y="870"/>
                </a:lnTo>
                <a:lnTo>
                  <a:pt x="408" y="870"/>
                </a:lnTo>
                <a:lnTo>
                  <a:pt x="408" y="876"/>
                </a:lnTo>
                <a:lnTo>
                  <a:pt x="402" y="876"/>
                </a:lnTo>
                <a:lnTo>
                  <a:pt x="402" y="882"/>
                </a:lnTo>
                <a:lnTo>
                  <a:pt x="402" y="888"/>
                </a:lnTo>
                <a:lnTo>
                  <a:pt x="396" y="888"/>
                </a:lnTo>
                <a:lnTo>
                  <a:pt x="396" y="894"/>
                </a:lnTo>
                <a:lnTo>
                  <a:pt x="396" y="900"/>
                </a:lnTo>
                <a:lnTo>
                  <a:pt x="390" y="900"/>
                </a:lnTo>
                <a:lnTo>
                  <a:pt x="390" y="906"/>
                </a:lnTo>
                <a:lnTo>
                  <a:pt x="384" y="906"/>
                </a:lnTo>
                <a:lnTo>
                  <a:pt x="384" y="912"/>
                </a:lnTo>
                <a:lnTo>
                  <a:pt x="384" y="918"/>
                </a:lnTo>
                <a:lnTo>
                  <a:pt x="378" y="918"/>
                </a:lnTo>
                <a:lnTo>
                  <a:pt x="378" y="924"/>
                </a:lnTo>
                <a:lnTo>
                  <a:pt x="378" y="930"/>
                </a:lnTo>
                <a:lnTo>
                  <a:pt x="372" y="930"/>
                </a:lnTo>
                <a:lnTo>
                  <a:pt x="372" y="936"/>
                </a:lnTo>
                <a:lnTo>
                  <a:pt x="372" y="942"/>
                </a:lnTo>
                <a:lnTo>
                  <a:pt x="366" y="942"/>
                </a:lnTo>
                <a:lnTo>
                  <a:pt x="366" y="948"/>
                </a:lnTo>
                <a:lnTo>
                  <a:pt x="372" y="948"/>
                </a:lnTo>
                <a:lnTo>
                  <a:pt x="366" y="948"/>
                </a:lnTo>
                <a:lnTo>
                  <a:pt x="360" y="942"/>
                </a:lnTo>
                <a:lnTo>
                  <a:pt x="366" y="936"/>
                </a:lnTo>
                <a:lnTo>
                  <a:pt x="366" y="930"/>
                </a:lnTo>
                <a:lnTo>
                  <a:pt x="366" y="924"/>
                </a:lnTo>
                <a:lnTo>
                  <a:pt x="366" y="918"/>
                </a:lnTo>
                <a:lnTo>
                  <a:pt x="354" y="918"/>
                </a:lnTo>
                <a:lnTo>
                  <a:pt x="348" y="912"/>
                </a:lnTo>
                <a:lnTo>
                  <a:pt x="342" y="912"/>
                </a:lnTo>
                <a:lnTo>
                  <a:pt x="342" y="906"/>
                </a:lnTo>
                <a:lnTo>
                  <a:pt x="342" y="900"/>
                </a:lnTo>
                <a:lnTo>
                  <a:pt x="342" y="894"/>
                </a:lnTo>
                <a:lnTo>
                  <a:pt x="342" y="888"/>
                </a:lnTo>
                <a:lnTo>
                  <a:pt x="342" y="882"/>
                </a:lnTo>
                <a:lnTo>
                  <a:pt x="336" y="882"/>
                </a:lnTo>
                <a:lnTo>
                  <a:pt x="330" y="888"/>
                </a:lnTo>
                <a:lnTo>
                  <a:pt x="330" y="894"/>
                </a:lnTo>
                <a:lnTo>
                  <a:pt x="324" y="900"/>
                </a:lnTo>
                <a:lnTo>
                  <a:pt x="318" y="900"/>
                </a:lnTo>
                <a:lnTo>
                  <a:pt x="312" y="900"/>
                </a:lnTo>
                <a:lnTo>
                  <a:pt x="306" y="894"/>
                </a:lnTo>
                <a:lnTo>
                  <a:pt x="300" y="894"/>
                </a:lnTo>
                <a:lnTo>
                  <a:pt x="294" y="900"/>
                </a:lnTo>
                <a:lnTo>
                  <a:pt x="288" y="906"/>
                </a:lnTo>
                <a:lnTo>
                  <a:pt x="276" y="912"/>
                </a:lnTo>
                <a:lnTo>
                  <a:pt x="270" y="912"/>
                </a:lnTo>
                <a:lnTo>
                  <a:pt x="264" y="912"/>
                </a:lnTo>
                <a:lnTo>
                  <a:pt x="264" y="906"/>
                </a:lnTo>
                <a:lnTo>
                  <a:pt x="264" y="900"/>
                </a:lnTo>
                <a:lnTo>
                  <a:pt x="270" y="900"/>
                </a:lnTo>
                <a:lnTo>
                  <a:pt x="270" y="894"/>
                </a:lnTo>
                <a:lnTo>
                  <a:pt x="270" y="888"/>
                </a:lnTo>
                <a:lnTo>
                  <a:pt x="270" y="882"/>
                </a:lnTo>
                <a:lnTo>
                  <a:pt x="270" y="852"/>
                </a:lnTo>
                <a:lnTo>
                  <a:pt x="264" y="840"/>
                </a:lnTo>
                <a:lnTo>
                  <a:pt x="264" y="834"/>
                </a:lnTo>
                <a:lnTo>
                  <a:pt x="264" y="822"/>
                </a:lnTo>
                <a:lnTo>
                  <a:pt x="264" y="816"/>
                </a:lnTo>
                <a:lnTo>
                  <a:pt x="258" y="816"/>
                </a:lnTo>
                <a:lnTo>
                  <a:pt x="252" y="816"/>
                </a:lnTo>
                <a:lnTo>
                  <a:pt x="246" y="816"/>
                </a:lnTo>
                <a:lnTo>
                  <a:pt x="240" y="822"/>
                </a:lnTo>
                <a:lnTo>
                  <a:pt x="234" y="822"/>
                </a:lnTo>
                <a:lnTo>
                  <a:pt x="234" y="816"/>
                </a:lnTo>
                <a:lnTo>
                  <a:pt x="228" y="816"/>
                </a:lnTo>
                <a:lnTo>
                  <a:pt x="228" y="810"/>
                </a:lnTo>
                <a:lnTo>
                  <a:pt x="222" y="810"/>
                </a:lnTo>
                <a:lnTo>
                  <a:pt x="216" y="810"/>
                </a:lnTo>
                <a:lnTo>
                  <a:pt x="216" y="816"/>
                </a:lnTo>
                <a:lnTo>
                  <a:pt x="216" y="810"/>
                </a:lnTo>
                <a:lnTo>
                  <a:pt x="210" y="804"/>
                </a:lnTo>
                <a:lnTo>
                  <a:pt x="204" y="804"/>
                </a:lnTo>
                <a:lnTo>
                  <a:pt x="198" y="804"/>
                </a:lnTo>
                <a:lnTo>
                  <a:pt x="192" y="798"/>
                </a:lnTo>
                <a:lnTo>
                  <a:pt x="186" y="798"/>
                </a:lnTo>
                <a:lnTo>
                  <a:pt x="186" y="792"/>
                </a:lnTo>
                <a:lnTo>
                  <a:pt x="180" y="792"/>
                </a:lnTo>
                <a:lnTo>
                  <a:pt x="180" y="798"/>
                </a:lnTo>
                <a:lnTo>
                  <a:pt x="174" y="798"/>
                </a:lnTo>
                <a:lnTo>
                  <a:pt x="168" y="786"/>
                </a:lnTo>
                <a:lnTo>
                  <a:pt x="162" y="786"/>
                </a:lnTo>
                <a:lnTo>
                  <a:pt x="156" y="786"/>
                </a:lnTo>
                <a:lnTo>
                  <a:pt x="156" y="792"/>
                </a:lnTo>
                <a:lnTo>
                  <a:pt x="150" y="792"/>
                </a:lnTo>
                <a:lnTo>
                  <a:pt x="144" y="792"/>
                </a:lnTo>
                <a:lnTo>
                  <a:pt x="144" y="786"/>
                </a:lnTo>
                <a:lnTo>
                  <a:pt x="144" y="780"/>
                </a:lnTo>
                <a:lnTo>
                  <a:pt x="144" y="774"/>
                </a:lnTo>
                <a:lnTo>
                  <a:pt x="144" y="768"/>
                </a:lnTo>
                <a:lnTo>
                  <a:pt x="132" y="762"/>
                </a:lnTo>
                <a:lnTo>
                  <a:pt x="132" y="756"/>
                </a:lnTo>
                <a:lnTo>
                  <a:pt x="126" y="756"/>
                </a:lnTo>
                <a:lnTo>
                  <a:pt x="126" y="750"/>
                </a:lnTo>
                <a:lnTo>
                  <a:pt x="126" y="744"/>
                </a:lnTo>
                <a:lnTo>
                  <a:pt x="126" y="738"/>
                </a:lnTo>
                <a:lnTo>
                  <a:pt x="114" y="732"/>
                </a:lnTo>
                <a:lnTo>
                  <a:pt x="108" y="732"/>
                </a:lnTo>
                <a:lnTo>
                  <a:pt x="102" y="732"/>
                </a:lnTo>
                <a:lnTo>
                  <a:pt x="96" y="732"/>
                </a:lnTo>
                <a:lnTo>
                  <a:pt x="90" y="726"/>
                </a:lnTo>
                <a:lnTo>
                  <a:pt x="90" y="720"/>
                </a:lnTo>
                <a:lnTo>
                  <a:pt x="90" y="714"/>
                </a:lnTo>
                <a:lnTo>
                  <a:pt x="84" y="708"/>
                </a:lnTo>
                <a:lnTo>
                  <a:pt x="72" y="702"/>
                </a:lnTo>
                <a:lnTo>
                  <a:pt x="72" y="696"/>
                </a:lnTo>
                <a:lnTo>
                  <a:pt x="66" y="696"/>
                </a:lnTo>
                <a:lnTo>
                  <a:pt x="66" y="690"/>
                </a:lnTo>
                <a:lnTo>
                  <a:pt x="60" y="690"/>
                </a:lnTo>
                <a:lnTo>
                  <a:pt x="54" y="690"/>
                </a:lnTo>
                <a:lnTo>
                  <a:pt x="54" y="684"/>
                </a:lnTo>
                <a:lnTo>
                  <a:pt x="60" y="678"/>
                </a:lnTo>
                <a:lnTo>
                  <a:pt x="60" y="672"/>
                </a:lnTo>
                <a:lnTo>
                  <a:pt x="54" y="666"/>
                </a:lnTo>
                <a:lnTo>
                  <a:pt x="42" y="660"/>
                </a:lnTo>
                <a:lnTo>
                  <a:pt x="36" y="654"/>
                </a:lnTo>
                <a:lnTo>
                  <a:pt x="30" y="654"/>
                </a:lnTo>
                <a:lnTo>
                  <a:pt x="24" y="654"/>
                </a:lnTo>
                <a:lnTo>
                  <a:pt x="18" y="654"/>
                </a:lnTo>
                <a:lnTo>
                  <a:pt x="12" y="654"/>
                </a:lnTo>
                <a:lnTo>
                  <a:pt x="12" y="648"/>
                </a:lnTo>
                <a:lnTo>
                  <a:pt x="6" y="648"/>
                </a:lnTo>
                <a:lnTo>
                  <a:pt x="0" y="642"/>
                </a:lnTo>
                <a:lnTo>
                  <a:pt x="0" y="636"/>
                </a:lnTo>
                <a:lnTo>
                  <a:pt x="6" y="636"/>
                </a:lnTo>
                <a:lnTo>
                  <a:pt x="0" y="630"/>
                </a:lnTo>
                <a:lnTo>
                  <a:pt x="6" y="624"/>
                </a:lnTo>
                <a:lnTo>
                  <a:pt x="0" y="624"/>
                </a:lnTo>
                <a:lnTo>
                  <a:pt x="6" y="618"/>
                </a:lnTo>
                <a:lnTo>
                  <a:pt x="6" y="612"/>
                </a:lnTo>
                <a:lnTo>
                  <a:pt x="6" y="606"/>
                </a:lnTo>
                <a:lnTo>
                  <a:pt x="6" y="600"/>
                </a:lnTo>
                <a:lnTo>
                  <a:pt x="0" y="600"/>
                </a:lnTo>
                <a:lnTo>
                  <a:pt x="0" y="594"/>
                </a:lnTo>
                <a:lnTo>
                  <a:pt x="6" y="594"/>
                </a:lnTo>
                <a:lnTo>
                  <a:pt x="6" y="588"/>
                </a:lnTo>
                <a:lnTo>
                  <a:pt x="12" y="588"/>
                </a:lnTo>
                <a:lnTo>
                  <a:pt x="12" y="582"/>
                </a:lnTo>
                <a:lnTo>
                  <a:pt x="6" y="576"/>
                </a:lnTo>
                <a:lnTo>
                  <a:pt x="12" y="576"/>
                </a:lnTo>
                <a:lnTo>
                  <a:pt x="18" y="570"/>
                </a:lnTo>
                <a:lnTo>
                  <a:pt x="30" y="564"/>
                </a:lnTo>
                <a:lnTo>
                  <a:pt x="42" y="558"/>
                </a:lnTo>
                <a:lnTo>
                  <a:pt x="54" y="552"/>
                </a:lnTo>
                <a:lnTo>
                  <a:pt x="72" y="546"/>
                </a:lnTo>
                <a:lnTo>
                  <a:pt x="96" y="546"/>
                </a:lnTo>
                <a:lnTo>
                  <a:pt x="120" y="540"/>
                </a:lnTo>
                <a:lnTo>
                  <a:pt x="138" y="528"/>
                </a:lnTo>
                <a:lnTo>
                  <a:pt x="150" y="528"/>
                </a:lnTo>
                <a:lnTo>
                  <a:pt x="174" y="534"/>
                </a:lnTo>
                <a:lnTo>
                  <a:pt x="186" y="546"/>
                </a:lnTo>
                <a:lnTo>
                  <a:pt x="210" y="564"/>
                </a:lnTo>
                <a:lnTo>
                  <a:pt x="216" y="564"/>
                </a:lnTo>
                <a:lnTo>
                  <a:pt x="234" y="552"/>
                </a:lnTo>
                <a:lnTo>
                  <a:pt x="246" y="540"/>
                </a:lnTo>
                <a:lnTo>
                  <a:pt x="252" y="528"/>
                </a:lnTo>
                <a:lnTo>
                  <a:pt x="252" y="516"/>
                </a:lnTo>
                <a:lnTo>
                  <a:pt x="252" y="510"/>
                </a:lnTo>
                <a:lnTo>
                  <a:pt x="252" y="504"/>
                </a:lnTo>
                <a:lnTo>
                  <a:pt x="258" y="498"/>
                </a:lnTo>
                <a:lnTo>
                  <a:pt x="270" y="492"/>
                </a:lnTo>
                <a:lnTo>
                  <a:pt x="306" y="480"/>
                </a:lnTo>
                <a:lnTo>
                  <a:pt x="330" y="462"/>
                </a:lnTo>
                <a:lnTo>
                  <a:pt x="348" y="450"/>
                </a:lnTo>
                <a:lnTo>
                  <a:pt x="360" y="450"/>
                </a:lnTo>
                <a:lnTo>
                  <a:pt x="372" y="432"/>
                </a:lnTo>
                <a:lnTo>
                  <a:pt x="378" y="408"/>
                </a:lnTo>
                <a:lnTo>
                  <a:pt x="372" y="402"/>
                </a:lnTo>
                <a:lnTo>
                  <a:pt x="378" y="372"/>
                </a:lnTo>
                <a:lnTo>
                  <a:pt x="372" y="354"/>
                </a:lnTo>
                <a:lnTo>
                  <a:pt x="378" y="294"/>
                </a:lnTo>
                <a:lnTo>
                  <a:pt x="408" y="288"/>
                </a:lnTo>
                <a:lnTo>
                  <a:pt x="414" y="234"/>
                </a:lnTo>
                <a:lnTo>
                  <a:pt x="300" y="174"/>
                </a:lnTo>
                <a:lnTo>
                  <a:pt x="174" y="54"/>
                </a:lnTo>
                <a:lnTo>
                  <a:pt x="252" y="54"/>
                </a:lnTo>
                <a:lnTo>
                  <a:pt x="282" y="0"/>
                </a:lnTo>
                <a:lnTo>
                  <a:pt x="354" y="60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09" name="Freeform 16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5664548" y="3483924"/>
            <a:ext cx="497878" cy="276742"/>
          </a:xfrm>
          <a:custGeom>
            <a:avLst/>
            <a:gdLst/>
            <a:ahLst/>
            <a:cxnLst/>
            <a:rect l="l" t="t" r="r" b="b"/>
            <a:pathLst>
              <a:path w="894550" h="497229">
                <a:moveTo>
                  <a:pt x="476090" y="0"/>
                </a:moveTo>
                <a:lnTo>
                  <a:pt x="476090" y="5550"/>
                </a:lnTo>
                <a:lnTo>
                  <a:pt x="476090" y="11100"/>
                </a:lnTo>
                <a:lnTo>
                  <a:pt x="468340" y="16650"/>
                </a:lnTo>
                <a:lnTo>
                  <a:pt x="476090" y="22201"/>
                </a:lnTo>
                <a:lnTo>
                  <a:pt x="476090" y="27751"/>
                </a:lnTo>
                <a:lnTo>
                  <a:pt x="476090" y="33301"/>
                </a:lnTo>
                <a:lnTo>
                  <a:pt x="476090" y="38851"/>
                </a:lnTo>
                <a:lnTo>
                  <a:pt x="491588" y="55501"/>
                </a:lnTo>
                <a:lnTo>
                  <a:pt x="499338" y="61051"/>
                </a:lnTo>
                <a:lnTo>
                  <a:pt x="522585" y="88802"/>
                </a:lnTo>
                <a:lnTo>
                  <a:pt x="530334" y="99902"/>
                </a:lnTo>
                <a:lnTo>
                  <a:pt x="530334" y="116553"/>
                </a:lnTo>
                <a:lnTo>
                  <a:pt x="530334" y="122103"/>
                </a:lnTo>
                <a:lnTo>
                  <a:pt x="538084" y="122103"/>
                </a:lnTo>
                <a:lnTo>
                  <a:pt x="545833" y="127653"/>
                </a:lnTo>
                <a:lnTo>
                  <a:pt x="553582" y="133203"/>
                </a:lnTo>
                <a:lnTo>
                  <a:pt x="561332" y="133203"/>
                </a:lnTo>
                <a:lnTo>
                  <a:pt x="561332" y="138753"/>
                </a:lnTo>
                <a:lnTo>
                  <a:pt x="569081" y="138753"/>
                </a:lnTo>
                <a:lnTo>
                  <a:pt x="576830" y="144303"/>
                </a:lnTo>
                <a:lnTo>
                  <a:pt x="584579" y="144303"/>
                </a:lnTo>
                <a:lnTo>
                  <a:pt x="584579" y="149853"/>
                </a:lnTo>
                <a:lnTo>
                  <a:pt x="592329" y="149853"/>
                </a:lnTo>
                <a:lnTo>
                  <a:pt x="600078" y="155403"/>
                </a:lnTo>
                <a:lnTo>
                  <a:pt x="607827" y="155403"/>
                </a:lnTo>
                <a:lnTo>
                  <a:pt x="607827" y="160954"/>
                </a:lnTo>
                <a:lnTo>
                  <a:pt x="615576" y="160954"/>
                </a:lnTo>
                <a:lnTo>
                  <a:pt x="615576" y="166504"/>
                </a:lnTo>
                <a:lnTo>
                  <a:pt x="615576" y="172054"/>
                </a:lnTo>
                <a:lnTo>
                  <a:pt x="615576" y="177604"/>
                </a:lnTo>
                <a:lnTo>
                  <a:pt x="607827" y="183154"/>
                </a:lnTo>
                <a:lnTo>
                  <a:pt x="607827" y="188704"/>
                </a:lnTo>
                <a:lnTo>
                  <a:pt x="607827" y="199804"/>
                </a:lnTo>
                <a:lnTo>
                  <a:pt x="607827" y="205355"/>
                </a:lnTo>
                <a:lnTo>
                  <a:pt x="607827" y="210905"/>
                </a:lnTo>
                <a:lnTo>
                  <a:pt x="615576" y="210905"/>
                </a:lnTo>
                <a:lnTo>
                  <a:pt x="623326" y="216455"/>
                </a:lnTo>
                <a:lnTo>
                  <a:pt x="623326" y="210905"/>
                </a:lnTo>
                <a:lnTo>
                  <a:pt x="631075" y="210905"/>
                </a:lnTo>
                <a:lnTo>
                  <a:pt x="638824" y="205355"/>
                </a:lnTo>
                <a:lnTo>
                  <a:pt x="646574" y="205355"/>
                </a:lnTo>
                <a:lnTo>
                  <a:pt x="654323" y="205355"/>
                </a:lnTo>
                <a:lnTo>
                  <a:pt x="662072" y="205355"/>
                </a:lnTo>
                <a:lnTo>
                  <a:pt x="662072" y="199804"/>
                </a:lnTo>
                <a:lnTo>
                  <a:pt x="669821" y="199804"/>
                </a:lnTo>
                <a:lnTo>
                  <a:pt x="677571" y="194254"/>
                </a:lnTo>
                <a:lnTo>
                  <a:pt x="685320" y="194254"/>
                </a:lnTo>
                <a:lnTo>
                  <a:pt x="685320" y="188704"/>
                </a:lnTo>
                <a:lnTo>
                  <a:pt x="693069" y="188704"/>
                </a:lnTo>
                <a:lnTo>
                  <a:pt x="700818" y="188704"/>
                </a:lnTo>
                <a:lnTo>
                  <a:pt x="708568" y="188704"/>
                </a:lnTo>
                <a:lnTo>
                  <a:pt x="708568" y="183154"/>
                </a:lnTo>
                <a:lnTo>
                  <a:pt x="716317" y="183154"/>
                </a:lnTo>
                <a:lnTo>
                  <a:pt x="716317" y="188704"/>
                </a:lnTo>
                <a:lnTo>
                  <a:pt x="724066" y="188704"/>
                </a:lnTo>
                <a:lnTo>
                  <a:pt x="731815" y="188704"/>
                </a:lnTo>
                <a:lnTo>
                  <a:pt x="739565" y="188704"/>
                </a:lnTo>
                <a:lnTo>
                  <a:pt x="739565" y="194254"/>
                </a:lnTo>
                <a:lnTo>
                  <a:pt x="747314" y="194254"/>
                </a:lnTo>
                <a:lnTo>
                  <a:pt x="747314" y="199804"/>
                </a:lnTo>
                <a:lnTo>
                  <a:pt x="755063" y="199804"/>
                </a:lnTo>
                <a:lnTo>
                  <a:pt x="762812" y="194254"/>
                </a:lnTo>
                <a:lnTo>
                  <a:pt x="770562" y="194254"/>
                </a:lnTo>
                <a:lnTo>
                  <a:pt x="778311" y="199804"/>
                </a:lnTo>
                <a:lnTo>
                  <a:pt x="778311" y="194254"/>
                </a:lnTo>
                <a:lnTo>
                  <a:pt x="786060" y="194254"/>
                </a:lnTo>
                <a:lnTo>
                  <a:pt x="793810" y="194254"/>
                </a:lnTo>
                <a:lnTo>
                  <a:pt x="793810" y="199804"/>
                </a:lnTo>
                <a:lnTo>
                  <a:pt x="801559" y="199804"/>
                </a:lnTo>
                <a:lnTo>
                  <a:pt x="809308" y="199804"/>
                </a:lnTo>
                <a:lnTo>
                  <a:pt x="809308" y="205355"/>
                </a:lnTo>
                <a:lnTo>
                  <a:pt x="817057" y="205355"/>
                </a:lnTo>
                <a:lnTo>
                  <a:pt x="824807" y="205355"/>
                </a:lnTo>
                <a:lnTo>
                  <a:pt x="824807" y="210905"/>
                </a:lnTo>
                <a:lnTo>
                  <a:pt x="832556" y="210905"/>
                </a:lnTo>
                <a:lnTo>
                  <a:pt x="840305" y="210905"/>
                </a:lnTo>
                <a:lnTo>
                  <a:pt x="848054" y="216455"/>
                </a:lnTo>
                <a:lnTo>
                  <a:pt x="855804" y="216455"/>
                </a:lnTo>
                <a:lnTo>
                  <a:pt x="855804" y="222005"/>
                </a:lnTo>
                <a:lnTo>
                  <a:pt x="855804" y="227555"/>
                </a:lnTo>
                <a:lnTo>
                  <a:pt x="848054" y="227555"/>
                </a:lnTo>
                <a:lnTo>
                  <a:pt x="848054" y="233105"/>
                </a:lnTo>
                <a:lnTo>
                  <a:pt x="840305" y="238655"/>
                </a:lnTo>
                <a:lnTo>
                  <a:pt x="840305" y="244205"/>
                </a:lnTo>
                <a:lnTo>
                  <a:pt x="848054" y="249755"/>
                </a:lnTo>
                <a:lnTo>
                  <a:pt x="848054" y="255306"/>
                </a:lnTo>
                <a:lnTo>
                  <a:pt x="855804" y="255306"/>
                </a:lnTo>
                <a:lnTo>
                  <a:pt x="855804" y="260856"/>
                </a:lnTo>
                <a:lnTo>
                  <a:pt x="855804" y="266406"/>
                </a:lnTo>
                <a:lnTo>
                  <a:pt x="855804" y="271956"/>
                </a:lnTo>
                <a:lnTo>
                  <a:pt x="848054" y="277506"/>
                </a:lnTo>
                <a:lnTo>
                  <a:pt x="840305" y="277506"/>
                </a:lnTo>
                <a:lnTo>
                  <a:pt x="840305" y="283056"/>
                </a:lnTo>
                <a:lnTo>
                  <a:pt x="832556" y="294156"/>
                </a:lnTo>
                <a:lnTo>
                  <a:pt x="840305" y="310807"/>
                </a:lnTo>
                <a:lnTo>
                  <a:pt x="840305" y="316357"/>
                </a:lnTo>
                <a:lnTo>
                  <a:pt x="840305" y="327457"/>
                </a:lnTo>
                <a:lnTo>
                  <a:pt x="840305" y="333007"/>
                </a:lnTo>
                <a:lnTo>
                  <a:pt x="840305" y="338557"/>
                </a:lnTo>
                <a:lnTo>
                  <a:pt x="832556" y="344108"/>
                </a:lnTo>
                <a:lnTo>
                  <a:pt x="832556" y="349658"/>
                </a:lnTo>
                <a:lnTo>
                  <a:pt x="840305" y="355208"/>
                </a:lnTo>
                <a:lnTo>
                  <a:pt x="840305" y="360758"/>
                </a:lnTo>
                <a:lnTo>
                  <a:pt x="832556" y="371858"/>
                </a:lnTo>
                <a:lnTo>
                  <a:pt x="840305" y="388508"/>
                </a:lnTo>
                <a:lnTo>
                  <a:pt x="855804" y="405159"/>
                </a:lnTo>
                <a:lnTo>
                  <a:pt x="894550" y="432909"/>
                </a:lnTo>
                <a:lnTo>
                  <a:pt x="894550" y="438460"/>
                </a:lnTo>
                <a:lnTo>
                  <a:pt x="879052" y="438460"/>
                </a:lnTo>
                <a:lnTo>
                  <a:pt x="871302" y="438460"/>
                </a:lnTo>
                <a:lnTo>
                  <a:pt x="855804" y="438460"/>
                </a:lnTo>
                <a:lnTo>
                  <a:pt x="848054" y="438460"/>
                </a:lnTo>
                <a:lnTo>
                  <a:pt x="817057" y="438460"/>
                </a:lnTo>
                <a:lnTo>
                  <a:pt x="801559" y="438460"/>
                </a:lnTo>
                <a:lnTo>
                  <a:pt x="793810" y="438460"/>
                </a:lnTo>
                <a:lnTo>
                  <a:pt x="786060" y="438460"/>
                </a:lnTo>
                <a:lnTo>
                  <a:pt x="778311" y="438460"/>
                </a:lnTo>
                <a:lnTo>
                  <a:pt x="755063" y="438460"/>
                </a:lnTo>
                <a:lnTo>
                  <a:pt x="739565" y="438460"/>
                </a:lnTo>
                <a:lnTo>
                  <a:pt x="724066" y="438460"/>
                </a:lnTo>
                <a:lnTo>
                  <a:pt x="708568" y="438460"/>
                </a:lnTo>
                <a:lnTo>
                  <a:pt x="700818" y="438460"/>
                </a:lnTo>
                <a:lnTo>
                  <a:pt x="677571" y="438460"/>
                </a:lnTo>
                <a:lnTo>
                  <a:pt x="669821" y="438460"/>
                </a:lnTo>
                <a:lnTo>
                  <a:pt x="662072" y="438460"/>
                </a:lnTo>
                <a:lnTo>
                  <a:pt x="654323" y="438460"/>
                </a:lnTo>
                <a:lnTo>
                  <a:pt x="646574" y="438460"/>
                </a:lnTo>
                <a:lnTo>
                  <a:pt x="631075" y="438460"/>
                </a:lnTo>
                <a:lnTo>
                  <a:pt x="623326" y="438460"/>
                </a:lnTo>
                <a:lnTo>
                  <a:pt x="592329" y="438460"/>
                </a:lnTo>
                <a:lnTo>
                  <a:pt x="569081" y="438460"/>
                </a:lnTo>
                <a:lnTo>
                  <a:pt x="514836" y="438460"/>
                </a:lnTo>
                <a:lnTo>
                  <a:pt x="476090" y="438460"/>
                </a:lnTo>
                <a:lnTo>
                  <a:pt x="468340" y="438460"/>
                </a:lnTo>
                <a:lnTo>
                  <a:pt x="460591" y="438460"/>
                </a:lnTo>
                <a:lnTo>
                  <a:pt x="460591" y="444010"/>
                </a:lnTo>
                <a:lnTo>
                  <a:pt x="452842" y="438460"/>
                </a:lnTo>
                <a:lnTo>
                  <a:pt x="445093" y="438460"/>
                </a:lnTo>
                <a:lnTo>
                  <a:pt x="429594" y="438460"/>
                </a:lnTo>
                <a:lnTo>
                  <a:pt x="398597" y="438460"/>
                </a:lnTo>
                <a:lnTo>
                  <a:pt x="383098" y="438460"/>
                </a:lnTo>
                <a:lnTo>
                  <a:pt x="359851" y="438460"/>
                </a:lnTo>
                <a:lnTo>
                  <a:pt x="344352" y="438460"/>
                </a:lnTo>
                <a:lnTo>
                  <a:pt x="290108" y="444010"/>
                </a:lnTo>
                <a:lnTo>
                  <a:pt x="282358" y="444010"/>
                </a:lnTo>
                <a:lnTo>
                  <a:pt x="274609" y="444010"/>
                </a:lnTo>
                <a:lnTo>
                  <a:pt x="259110" y="444010"/>
                </a:lnTo>
                <a:lnTo>
                  <a:pt x="251361" y="444010"/>
                </a:lnTo>
                <a:lnTo>
                  <a:pt x="235863" y="444010"/>
                </a:lnTo>
                <a:lnTo>
                  <a:pt x="220364" y="444010"/>
                </a:lnTo>
                <a:lnTo>
                  <a:pt x="212615" y="444010"/>
                </a:lnTo>
                <a:lnTo>
                  <a:pt x="204866" y="444010"/>
                </a:lnTo>
                <a:lnTo>
                  <a:pt x="197116" y="444010"/>
                </a:lnTo>
                <a:lnTo>
                  <a:pt x="189367" y="455110"/>
                </a:lnTo>
                <a:lnTo>
                  <a:pt x="181618" y="455110"/>
                </a:lnTo>
                <a:lnTo>
                  <a:pt x="181618" y="460660"/>
                </a:lnTo>
                <a:lnTo>
                  <a:pt x="173869" y="460660"/>
                </a:lnTo>
                <a:lnTo>
                  <a:pt x="166119" y="466210"/>
                </a:lnTo>
                <a:lnTo>
                  <a:pt x="150621" y="477310"/>
                </a:lnTo>
                <a:lnTo>
                  <a:pt x="150621" y="482860"/>
                </a:lnTo>
                <a:lnTo>
                  <a:pt x="130559" y="497229"/>
                </a:lnTo>
                <a:lnTo>
                  <a:pt x="118471" y="482667"/>
                </a:lnTo>
                <a:cubicBezTo>
                  <a:pt x="111222" y="473807"/>
                  <a:pt x="107516" y="462187"/>
                  <a:pt x="99421" y="454092"/>
                </a:cubicBezTo>
                <a:cubicBezTo>
                  <a:pt x="78723" y="433394"/>
                  <a:pt x="54971" y="415992"/>
                  <a:pt x="32746" y="396942"/>
                </a:cubicBezTo>
                <a:cubicBezTo>
                  <a:pt x="23782" y="397503"/>
                  <a:pt x="13551" y="400119"/>
                  <a:pt x="0" y="402605"/>
                </a:cubicBezTo>
                <a:cubicBezTo>
                  <a:pt x="2936" y="402156"/>
                  <a:pt x="5806" y="401478"/>
                  <a:pt x="8231" y="399861"/>
                </a:cubicBezTo>
                <a:cubicBezTo>
                  <a:pt x="28140" y="386589"/>
                  <a:pt x="37107" y="383308"/>
                  <a:pt x="51094" y="366524"/>
                </a:cubicBezTo>
                <a:cubicBezTo>
                  <a:pt x="54758" y="362127"/>
                  <a:pt x="57444" y="356999"/>
                  <a:pt x="60619" y="352236"/>
                </a:cubicBezTo>
                <a:cubicBezTo>
                  <a:pt x="60652" y="352219"/>
                  <a:pt x="81106" y="341275"/>
                  <a:pt x="89194" y="333186"/>
                </a:cubicBezTo>
                <a:cubicBezTo>
                  <a:pt x="94214" y="328166"/>
                  <a:pt x="95544" y="320486"/>
                  <a:pt x="98719" y="314136"/>
                </a:cubicBezTo>
                <a:cubicBezTo>
                  <a:pt x="103839" y="303897"/>
                  <a:pt x="112210" y="295568"/>
                  <a:pt x="117769" y="285561"/>
                </a:cubicBezTo>
                <a:cubicBezTo>
                  <a:pt x="120207" y="281173"/>
                  <a:pt x="120286" y="275764"/>
                  <a:pt x="122531" y="271274"/>
                </a:cubicBezTo>
                <a:cubicBezTo>
                  <a:pt x="140999" y="234338"/>
                  <a:pt x="124845" y="278616"/>
                  <a:pt x="136819" y="242699"/>
                </a:cubicBezTo>
                <a:lnTo>
                  <a:pt x="150764" y="233332"/>
                </a:lnTo>
                <a:cubicBezTo>
                  <a:pt x="155122" y="230375"/>
                  <a:pt x="138440" y="241772"/>
                  <a:pt x="170156" y="223649"/>
                </a:cubicBezTo>
                <a:cubicBezTo>
                  <a:pt x="189544" y="212570"/>
                  <a:pt x="181189" y="214985"/>
                  <a:pt x="186851" y="213201"/>
                </a:cubicBezTo>
                <a:lnTo>
                  <a:pt x="198731" y="209361"/>
                </a:lnTo>
                <a:cubicBezTo>
                  <a:pt x="236008" y="204702"/>
                  <a:pt x="237078" y="210337"/>
                  <a:pt x="265406" y="185549"/>
                </a:cubicBezTo>
                <a:cubicBezTo>
                  <a:pt x="269714" y="181780"/>
                  <a:pt x="271756" y="176024"/>
                  <a:pt x="274931" y="171261"/>
                </a:cubicBezTo>
                <a:cubicBezTo>
                  <a:pt x="288979" y="161896"/>
                  <a:pt x="292047" y="161200"/>
                  <a:pt x="303506" y="147449"/>
                </a:cubicBezTo>
                <a:cubicBezTo>
                  <a:pt x="307170" y="143052"/>
                  <a:pt x="309367" y="137558"/>
                  <a:pt x="313031" y="133161"/>
                </a:cubicBezTo>
                <a:cubicBezTo>
                  <a:pt x="317343" y="127987"/>
                  <a:pt x="322936" y="123988"/>
                  <a:pt x="327319" y="118874"/>
                </a:cubicBezTo>
                <a:cubicBezTo>
                  <a:pt x="332485" y="112848"/>
                  <a:pt x="336844" y="106174"/>
                  <a:pt x="341606" y="99824"/>
                </a:cubicBezTo>
                <a:cubicBezTo>
                  <a:pt x="349756" y="97107"/>
                  <a:pt x="364905" y="93449"/>
                  <a:pt x="370181" y="85536"/>
                </a:cubicBezTo>
                <a:cubicBezTo>
                  <a:pt x="373812" y="80090"/>
                  <a:pt x="372874" y="72696"/>
                  <a:pt x="374944" y="66486"/>
                </a:cubicBezTo>
                <a:cubicBezTo>
                  <a:pt x="378119" y="56961"/>
                  <a:pt x="380391" y="47086"/>
                  <a:pt x="384469" y="37911"/>
                </a:cubicBezTo>
                <a:cubicBezTo>
                  <a:pt x="386794" y="32681"/>
                  <a:pt x="391434" y="28743"/>
                  <a:pt x="393994" y="23624"/>
                </a:cubicBezTo>
                <a:cubicBezTo>
                  <a:pt x="394129" y="23354"/>
                  <a:pt x="394260" y="23083"/>
                  <a:pt x="394282" y="22761"/>
                </a:cubicBezTo>
                <a:lnTo>
                  <a:pt x="421845" y="16650"/>
                </a:lnTo>
                <a:close/>
              </a:path>
            </a:pathLst>
          </a:custGeom>
          <a:solidFill>
            <a:schemeClr val="accent2">
              <a:lumMod val="60000"/>
              <a:lumOff val="40000"/>
            </a:schemeClr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4" name="Freeform 16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5118681" y="3483924"/>
            <a:ext cx="1043745" cy="441730"/>
          </a:xfrm>
          <a:custGeom>
            <a:avLst/>
            <a:gdLst>
              <a:gd name="T0" fmla="*/ 1182 w 1452"/>
              <a:gd name="T1" fmla="*/ 138 h 858"/>
              <a:gd name="T2" fmla="*/ 1212 w 1452"/>
              <a:gd name="T3" fmla="*/ 156 h 858"/>
              <a:gd name="T4" fmla="*/ 1236 w 1452"/>
              <a:gd name="T5" fmla="*/ 174 h 858"/>
              <a:gd name="T6" fmla="*/ 1230 w 1452"/>
              <a:gd name="T7" fmla="*/ 216 h 858"/>
              <a:gd name="T8" fmla="*/ 1248 w 1452"/>
              <a:gd name="T9" fmla="*/ 228 h 858"/>
              <a:gd name="T10" fmla="*/ 1278 w 1452"/>
              <a:gd name="T11" fmla="*/ 216 h 858"/>
              <a:gd name="T12" fmla="*/ 1308 w 1452"/>
              <a:gd name="T13" fmla="*/ 204 h 858"/>
              <a:gd name="T14" fmla="*/ 1332 w 1452"/>
              <a:gd name="T15" fmla="*/ 204 h 858"/>
              <a:gd name="T16" fmla="*/ 1356 w 1452"/>
              <a:gd name="T17" fmla="*/ 210 h 858"/>
              <a:gd name="T18" fmla="*/ 1380 w 1452"/>
              <a:gd name="T19" fmla="*/ 216 h 858"/>
              <a:gd name="T20" fmla="*/ 1398 w 1452"/>
              <a:gd name="T21" fmla="*/ 222 h 858"/>
              <a:gd name="T22" fmla="*/ 1422 w 1452"/>
              <a:gd name="T23" fmla="*/ 240 h 858"/>
              <a:gd name="T24" fmla="*/ 1416 w 1452"/>
              <a:gd name="T25" fmla="*/ 270 h 858"/>
              <a:gd name="T26" fmla="*/ 1416 w 1452"/>
              <a:gd name="T27" fmla="*/ 300 h 858"/>
              <a:gd name="T28" fmla="*/ 1410 w 1452"/>
              <a:gd name="T29" fmla="*/ 354 h 858"/>
              <a:gd name="T30" fmla="*/ 1410 w 1452"/>
              <a:gd name="T31" fmla="*/ 390 h 858"/>
              <a:gd name="T32" fmla="*/ 1440 w 1452"/>
              <a:gd name="T33" fmla="*/ 474 h 858"/>
              <a:gd name="T34" fmla="*/ 1374 w 1452"/>
              <a:gd name="T35" fmla="*/ 474 h 858"/>
              <a:gd name="T36" fmla="*/ 1308 w 1452"/>
              <a:gd name="T37" fmla="*/ 474 h 858"/>
              <a:gd name="T38" fmla="*/ 1260 w 1452"/>
              <a:gd name="T39" fmla="*/ 474 h 858"/>
              <a:gd name="T40" fmla="*/ 1128 w 1452"/>
              <a:gd name="T41" fmla="*/ 474 h 858"/>
              <a:gd name="T42" fmla="*/ 1092 w 1452"/>
              <a:gd name="T43" fmla="*/ 474 h 858"/>
              <a:gd name="T44" fmla="*/ 978 w 1452"/>
              <a:gd name="T45" fmla="*/ 480 h 858"/>
              <a:gd name="T46" fmla="*/ 924 w 1452"/>
              <a:gd name="T47" fmla="*/ 480 h 858"/>
              <a:gd name="T48" fmla="*/ 894 w 1452"/>
              <a:gd name="T49" fmla="*/ 498 h 858"/>
              <a:gd name="T50" fmla="*/ 810 w 1452"/>
              <a:gd name="T51" fmla="*/ 588 h 858"/>
              <a:gd name="T52" fmla="*/ 780 w 1452"/>
              <a:gd name="T53" fmla="*/ 612 h 858"/>
              <a:gd name="T54" fmla="*/ 618 w 1452"/>
              <a:gd name="T55" fmla="*/ 774 h 858"/>
              <a:gd name="T56" fmla="*/ 498 w 1452"/>
              <a:gd name="T57" fmla="*/ 762 h 858"/>
              <a:gd name="T58" fmla="*/ 474 w 1452"/>
              <a:gd name="T59" fmla="*/ 744 h 858"/>
              <a:gd name="T60" fmla="*/ 450 w 1452"/>
              <a:gd name="T61" fmla="*/ 726 h 858"/>
              <a:gd name="T62" fmla="*/ 426 w 1452"/>
              <a:gd name="T63" fmla="*/ 738 h 858"/>
              <a:gd name="T64" fmla="*/ 402 w 1452"/>
              <a:gd name="T65" fmla="*/ 750 h 858"/>
              <a:gd name="T66" fmla="*/ 366 w 1452"/>
              <a:gd name="T67" fmla="*/ 762 h 858"/>
              <a:gd name="T68" fmla="*/ 318 w 1452"/>
              <a:gd name="T69" fmla="*/ 768 h 858"/>
              <a:gd name="T70" fmla="*/ 246 w 1452"/>
              <a:gd name="T71" fmla="*/ 774 h 858"/>
              <a:gd name="T72" fmla="*/ 216 w 1452"/>
              <a:gd name="T73" fmla="*/ 792 h 858"/>
              <a:gd name="T74" fmla="*/ 186 w 1452"/>
              <a:gd name="T75" fmla="*/ 810 h 858"/>
              <a:gd name="T76" fmla="*/ 168 w 1452"/>
              <a:gd name="T77" fmla="*/ 840 h 858"/>
              <a:gd name="T78" fmla="*/ 156 w 1452"/>
              <a:gd name="T79" fmla="*/ 852 h 858"/>
              <a:gd name="T80" fmla="*/ 126 w 1452"/>
              <a:gd name="T81" fmla="*/ 846 h 858"/>
              <a:gd name="T82" fmla="*/ 126 w 1452"/>
              <a:gd name="T83" fmla="*/ 834 h 858"/>
              <a:gd name="T84" fmla="*/ 102 w 1452"/>
              <a:gd name="T85" fmla="*/ 834 h 858"/>
              <a:gd name="T86" fmla="*/ 84 w 1452"/>
              <a:gd name="T87" fmla="*/ 816 h 858"/>
              <a:gd name="T88" fmla="*/ 72 w 1452"/>
              <a:gd name="T89" fmla="*/ 786 h 858"/>
              <a:gd name="T90" fmla="*/ 54 w 1452"/>
              <a:gd name="T91" fmla="*/ 762 h 858"/>
              <a:gd name="T92" fmla="*/ 30 w 1452"/>
              <a:gd name="T93" fmla="*/ 744 h 858"/>
              <a:gd name="T94" fmla="*/ 48 w 1452"/>
              <a:gd name="T95" fmla="*/ 672 h 858"/>
              <a:gd name="T96" fmla="*/ 96 w 1452"/>
              <a:gd name="T97" fmla="*/ 630 h 858"/>
              <a:gd name="T98" fmla="*/ 150 w 1452"/>
              <a:gd name="T99" fmla="*/ 414 h 858"/>
              <a:gd name="T100" fmla="*/ 414 w 1452"/>
              <a:gd name="T101" fmla="*/ 54 h 858"/>
              <a:gd name="T102" fmla="*/ 1128 w 1452"/>
              <a:gd name="T103" fmla="*/ 0 h 858"/>
              <a:gd name="T104" fmla="*/ 1128 w 1452"/>
              <a:gd name="T105" fmla="*/ 36 h 8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452" h="858">
                <a:moveTo>
                  <a:pt x="1164" y="96"/>
                </a:moveTo>
                <a:lnTo>
                  <a:pt x="1170" y="108"/>
                </a:lnTo>
                <a:lnTo>
                  <a:pt x="1170" y="126"/>
                </a:lnTo>
                <a:lnTo>
                  <a:pt x="1170" y="132"/>
                </a:lnTo>
                <a:lnTo>
                  <a:pt x="1176" y="132"/>
                </a:lnTo>
                <a:lnTo>
                  <a:pt x="1182" y="138"/>
                </a:lnTo>
                <a:lnTo>
                  <a:pt x="1188" y="144"/>
                </a:lnTo>
                <a:lnTo>
                  <a:pt x="1194" y="144"/>
                </a:lnTo>
                <a:lnTo>
                  <a:pt x="1194" y="150"/>
                </a:lnTo>
                <a:lnTo>
                  <a:pt x="1200" y="150"/>
                </a:lnTo>
                <a:lnTo>
                  <a:pt x="1206" y="156"/>
                </a:lnTo>
                <a:lnTo>
                  <a:pt x="1212" y="156"/>
                </a:lnTo>
                <a:lnTo>
                  <a:pt x="1212" y="162"/>
                </a:lnTo>
                <a:lnTo>
                  <a:pt x="1218" y="162"/>
                </a:lnTo>
                <a:lnTo>
                  <a:pt x="1224" y="168"/>
                </a:lnTo>
                <a:lnTo>
                  <a:pt x="1230" y="168"/>
                </a:lnTo>
                <a:lnTo>
                  <a:pt x="1230" y="174"/>
                </a:lnTo>
                <a:lnTo>
                  <a:pt x="1236" y="174"/>
                </a:lnTo>
                <a:lnTo>
                  <a:pt x="1236" y="180"/>
                </a:lnTo>
                <a:lnTo>
                  <a:pt x="1236" y="186"/>
                </a:lnTo>
                <a:lnTo>
                  <a:pt x="1236" y="192"/>
                </a:lnTo>
                <a:lnTo>
                  <a:pt x="1230" y="198"/>
                </a:lnTo>
                <a:lnTo>
                  <a:pt x="1230" y="204"/>
                </a:lnTo>
                <a:lnTo>
                  <a:pt x="1230" y="216"/>
                </a:lnTo>
                <a:lnTo>
                  <a:pt x="1230" y="222"/>
                </a:lnTo>
                <a:lnTo>
                  <a:pt x="1230" y="228"/>
                </a:lnTo>
                <a:lnTo>
                  <a:pt x="1236" y="228"/>
                </a:lnTo>
                <a:lnTo>
                  <a:pt x="1242" y="234"/>
                </a:lnTo>
                <a:lnTo>
                  <a:pt x="1242" y="228"/>
                </a:lnTo>
                <a:lnTo>
                  <a:pt x="1248" y="228"/>
                </a:lnTo>
                <a:lnTo>
                  <a:pt x="1254" y="222"/>
                </a:lnTo>
                <a:lnTo>
                  <a:pt x="1260" y="222"/>
                </a:lnTo>
                <a:lnTo>
                  <a:pt x="1266" y="222"/>
                </a:lnTo>
                <a:lnTo>
                  <a:pt x="1272" y="222"/>
                </a:lnTo>
                <a:lnTo>
                  <a:pt x="1272" y="216"/>
                </a:lnTo>
                <a:lnTo>
                  <a:pt x="1278" y="216"/>
                </a:lnTo>
                <a:lnTo>
                  <a:pt x="1284" y="210"/>
                </a:lnTo>
                <a:lnTo>
                  <a:pt x="1290" y="210"/>
                </a:lnTo>
                <a:lnTo>
                  <a:pt x="1290" y="204"/>
                </a:lnTo>
                <a:lnTo>
                  <a:pt x="1296" y="204"/>
                </a:lnTo>
                <a:lnTo>
                  <a:pt x="1302" y="204"/>
                </a:lnTo>
                <a:lnTo>
                  <a:pt x="1308" y="204"/>
                </a:lnTo>
                <a:lnTo>
                  <a:pt x="1308" y="198"/>
                </a:lnTo>
                <a:lnTo>
                  <a:pt x="1314" y="198"/>
                </a:lnTo>
                <a:lnTo>
                  <a:pt x="1314" y="204"/>
                </a:lnTo>
                <a:lnTo>
                  <a:pt x="1320" y="204"/>
                </a:lnTo>
                <a:lnTo>
                  <a:pt x="1326" y="204"/>
                </a:lnTo>
                <a:lnTo>
                  <a:pt x="1332" y="204"/>
                </a:lnTo>
                <a:lnTo>
                  <a:pt x="1332" y="210"/>
                </a:lnTo>
                <a:lnTo>
                  <a:pt x="1338" y="210"/>
                </a:lnTo>
                <a:lnTo>
                  <a:pt x="1338" y="216"/>
                </a:lnTo>
                <a:lnTo>
                  <a:pt x="1344" y="216"/>
                </a:lnTo>
                <a:lnTo>
                  <a:pt x="1350" y="210"/>
                </a:lnTo>
                <a:lnTo>
                  <a:pt x="1356" y="210"/>
                </a:lnTo>
                <a:lnTo>
                  <a:pt x="1362" y="216"/>
                </a:lnTo>
                <a:lnTo>
                  <a:pt x="1362" y="210"/>
                </a:lnTo>
                <a:lnTo>
                  <a:pt x="1368" y="210"/>
                </a:lnTo>
                <a:lnTo>
                  <a:pt x="1374" y="210"/>
                </a:lnTo>
                <a:lnTo>
                  <a:pt x="1374" y="216"/>
                </a:lnTo>
                <a:lnTo>
                  <a:pt x="1380" y="216"/>
                </a:lnTo>
                <a:lnTo>
                  <a:pt x="1386" y="216"/>
                </a:lnTo>
                <a:lnTo>
                  <a:pt x="1386" y="222"/>
                </a:lnTo>
                <a:lnTo>
                  <a:pt x="1392" y="222"/>
                </a:lnTo>
                <a:lnTo>
                  <a:pt x="1392" y="228"/>
                </a:lnTo>
                <a:lnTo>
                  <a:pt x="1392" y="222"/>
                </a:lnTo>
                <a:lnTo>
                  <a:pt x="1398" y="222"/>
                </a:lnTo>
                <a:lnTo>
                  <a:pt x="1398" y="228"/>
                </a:lnTo>
                <a:lnTo>
                  <a:pt x="1404" y="228"/>
                </a:lnTo>
                <a:lnTo>
                  <a:pt x="1410" y="228"/>
                </a:lnTo>
                <a:lnTo>
                  <a:pt x="1416" y="234"/>
                </a:lnTo>
                <a:lnTo>
                  <a:pt x="1422" y="234"/>
                </a:lnTo>
                <a:lnTo>
                  <a:pt x="1422" y="240"/>
                </a:lnTo>
                <a:lnTo>
                  <a:pt x="1422" y="246"/>
                </a:lnTo>
                <a:lnTo>
                  <a:pt x="1416" y="246"/>
                </a:lnTo>
                <a:lnTo>
                  <a:pt x="1416" y="252"/>
                </a:lnTo>
                <a:lnTo>
                  <a:pt x="1410" y="258"/>
                </a:lnTo>
                <a:lnTo>
                  <a:pt x="1410" y="264"/>
                </a:lnTo>
                <a:lnTo>
                  <a:pt x="1416" y="270"/>
                </a:lnTo>
                <a:lnTo>
                  <a:pt x="1416" y="276"/>
                </a:lnTo>
                <a:lnTo>
                  <a:pt x="1422" y="276"/>
                </a:lnTo>
                <a:lnTo>
                  <a:pt x="1422" y="282"/>
                </a:lnTo>
                <a:lnTo>
                  <a:pt x="1422" y="288"/>
                </a:lnTo>
                <a:lnTo>
                  <a:pt x="1422" y="294"/>
                </a:lnTo>
                <a:lnTo>
                  <a:pt x="1416" y="300"/>
                </a:lnTo>
                <a:lnTo>
                  <a:pt x="1410" y="300"/>
                </a:lnTo>
                <a:lnTo>
                  <a:pt x="1410" y="306"/>
                </a:lnTo>
                <a:lnTo>
                  <a:pt x="1404" y="318"/>
                </a:lnTo>
                <a:lnTo>
                  <a:pt x="1410" y="336"/>
                </a:lnTo>
                <a:lnTo>
                  <a:pt x="1410" y="342"/>
                </a:lnTo>
                <a:lnTo>
                  <a:pt x="1410" y="354"/>
                </a:lnTo>
                <a:lnTo>
                  <a:pt x="1410" y="360"/>
                </a:lnTo>
                <a:lnTo>
                  <a:pt x="1410" y="366"/>
                </a:lnTo>
                <a:lnTo>
                  <a:pt x="1404" y="372"/>
                </a:lnTo>
                <a:lnTo>
                  <a:pt x="1404" y="378"/>
                </a:lnTo>
                <a:lnTo>
                  <a:pt x="1410" y="384"/>
                </a:lnTo>
                <a:lnTo>
                  <a:pt x="1410" y="390"/>
                </a:lnTo>
                <a:lnTo>
                  <a:pt x="1404" y="402"/>
                </a:lnTo>
                <a:lnTo>
                  <a:pt x="1410" y="420"/>
                </a:lnTo>
                <a:lnTo>
                  <a:pt x="1422" y="438"/>
                </a:lnTo>
                <a:lnTo>
                  <a:pt x="1452" y="468"/>
                </a:lnTo>
                <a:lnTo>
                  <a:pt x="1452" y="474"/>
                </a:lnTo>
                <a:lnTo>
                  <a:pt x="1440" y="474"/>
                </a:lnTo>
                <a:lnTo>
                  <a:pt x="1434" y="474"/>
                </a:lnTo>
                <a:lnTo>
                  <a:pt x="1422" y="474"/>
                </a:lnTo>
                <a:lnTo>
                  <a:pt x="1416" y="474"/>
                </a:lnTo>
                <a:lnTo>
                  <a:pt x="1392" y="474"/>
                </a:lnTo>
                <a:lnTo>
                  <a:pt x="1380" y="474"/>
                </a:lnTo>
                <a:lnTo>
                  <a:pt x="1374" y="474"/>
                </a:lnTo>
                <a:lnTo>
                  <a:pt x="1368" y="474"/>
                </a:lnTo>
                <a:lnTo>
                  <a:pt x="1362" y="474"/>
                </a:lnTo>
                <a:lnTo>
                  <a:pt x="1344" y="474"/>
                </a:lnTo>
                <a:lnTo>
                  <a:pt x="1332" y="474"/>
                </a:lnTo>
                <a:lnTo>
                  <a:pt x="1320" y="474"/>
                </a:lnTo>
                <a:lnTo>
                  <a:pt x="1308" y="474"/>
                </a:lnTo>
                <a:lnTo>
                  <a:pt x="1302" y="474"/>
                </a:lnTo>
                <a:lnTo>
                  <a:pt x="1284" y="474"/>
                </a:lnTo>
                <a:lnTo>
                  <a:pt x="1278" y="474"/>
                </a:lnTo>
                <a:lnTo>
                  <a:pt x="1272" y="474"/>
                </a:lnTo>
                <a:lnTo>
                  <a:pt x="1266" y="474"/>
                </a:lnTo>
                <a:lnTo>
                  <a:pt x="1260" y="474"/>
                </a:lnTo>
                <a:lnTo>
                  <a:pt x="1248" y="474"/>
                </a:lnTo>
                <a:lnTo>
                  <a:pt x="1242" y="474"/>
                </a:lnTo>
                <a:lnTo>
                  <a:pt x="1218" y="474"/>
                </a:lnTo>
                <a:lnTo>
                  <a:pt x="1200" y="474"/>
                </a:lnTo>
                <a:lnTo>
                  <a:pt x="1158" y="474"/>
                </a:lnTo>
                <a:lnTo>
                  <a:pt x="1128" y="474"/>
                </a:lnTo>
                <a:lnTo>
                  <a:pt x="1122" y="474"/>
                </a:lnTo>
                <a:lnTo>
                  <a:pt x="1116" y="474"/>
                </a:lnTo>
                <a:lnTo>
                  <a:pt x="1116" y="480"/>
                </a:lnTo>
                <a:lnTo>
                  <a:pt x="1110" y="474"/>
                </a:lnTo>
                <a:lnTo>
                  <a:pt x="1104" y="474"/>
                </a:lnTo>
                <a:lnTo>
                  <a:pt x="1092" y="474"/>
                </a:lnTo>
                <a:lnTo>
                  <a:pt x="1068" y="474"/>
                </a:lnTo>
                <a:lnTo>
                  <a:pt x="1056" y="474"/>
                </a:lnTo>
                <a:lnTo>
                  <a:pt x="1038" y="474"/>
                </a:lnTo>
                <a:lnTo>
                  <a:pt x="1026" y="474"/>
                </a:lnTo>
                <a:lnTo>
                  <a:pt x="984" y="480"/>
                </a:lnTo>
                <a:lnTo>
                  <a:pt x="978" y="480"/>
                </a:lnTo>
                <a:lnTo>
                  <a:pt x="972" y="480"/>
                </a:lnTo>
                <a:lnTo>
                  <a:pt x="960" y="480"/>
                </a:lnTo>
                <a:lnTo>
                  <a:pt x="954" y="480"/>
                </a:lnTo>
                <a:lnTo>
                  <a:pt x="942" y="480"/>
                </a:lnTo>
                <a:lnTo>
                  <a:pt x="930" y="480"/>
                </a:lnTo>
                <a:lnTo>
                  <a:pt x="924" y="480"/>
                </a:lnTo>
                <a:lnTo>
                  <a:pt x="918" y="480"/>
                </a:lnTo>
                <a:lnTo>
                  <a:pt x="912" y="480"/>
                </a:lnTo>
                <a:lnTo>
                  <a:pt x="906" y="492"/>
                </a:lnTo>
                <a:lnTo>
                  <a:pt x="900" y="492"/>
                </a:lnTo>
                <a:lnTo>
                  <a:pt x="900" y="498"/>
                </a:lnTo>
                <a:lnTo>
                  <a:pt x="894" y="498"/>
                </a:lnTo>
                <a:lnTo>
                  <a:pt x="888" y="504"/>
                </a:lnTo>
                <a:lnTo>
                  <a:pt x="876" y="516"/>
                </a:lnTo>
                <a:lnTo>
                  <a:pt x="876" y="522"/>
                </a:lnTo>
                <a:lnTo>
                  <a:pt x="846" y="552"/>
                </a:lnTo>
                <a:lnTo>
                  <a:pt x="816" y="582"/>
                </a:lnTo>
                <a:lnTo>
                  <a:pt x="810" y="588"/>
                </a:lnTo>
                <a:lnTo>
                  <a:pt x="798" y="594"/>
                </a:lnTo>
                <a:lnTo>
                  <a:pt x="798" y="600"/>
                </a:lnTo>
                <a:lnTo>
                  <a:pt x="792" y="600"/>
                </a:lnTo>
                <a:lnTo>
                  <a:pt x="786" y="612"/>
                </a:lnTo>
                <a:lnTo>
                  <a:pt x="780" y="606"/>
                </a:lnTo>
                <a:lnTo>
                  <a:pt x="780" y="612"/>
                </a:lnTo>
                <a:lnTo>
                  <a:pt x="768" y="618"/>
                </a:lnTo>
                <a:lnTo>
                  <a:pt x="762" y="630"/>
                </a:lnTo>
                <a:lnTo>
                  <a:pt x="732" y="654"/>
                </a:lnTo>
                <a:lnTo>
                  <a:pt x="666" y="720"/>
                </a:lnTo>
                <a:lnTo>
                  <a:pt x="666" y="726"/>
                </a:lnTo>
                <a:lnTo>
                  <a:pt x="618" y="774"/>
                </a:lnTo>
                <a:lnTo>
                  <a:pt x="612" y="774"/>
                </a:lnTo>
                <a:lnTo>
                  <a:pt x="606" y="774"/>
                </a:lnTo>
                <a:lnTo>
                  <a:pt x="594" y="768"/>
                </a:lnTo>
                <a:lnTo>
                  <a:pt x="552" y="768"/>
                </a:lnTo>
                <a:lnTo>
                  <a:pt x="504" y="762"/>
                </a:lnTo>
                <a:lnTo>
                  <a:pt x="498" y="762"/>
                </a:lnTo>
                <a:lnTo>
                  <a:pt x="498" y="756"/>
                </a:lnTo>
                <a:lnTo>
                  <a:pt x="492" y="756"/>
                </a:lnTo>
                <a:lnTo>
                  <a:pt x="486" y="750"/>
                </a:lnTo>
                <a:lnTo>
                  <a:pt x="480" y="750"/>
                </a:lnTo>
                <a:lnTo>
                  <a:pt x="480" y="744"/>
                </a:lnTo>
                <a:lnTo>
                  <a:pt x="474" y="744"/>
                </a:lnTo>
                <a:lnTo>
                  <a:pt x="474" y="738"/>
                </a:lnTo>
                <a:lnTo>
                  <a:pt x="468" y="738"/>
                </a:lnTo>
                <a:lnTo>
                  <a:pt x="462" y="732"/>
                </a:lnTo>
                <a:lnTo>
                  <a:pt x="456" y="732"/>
                </a:lnTo>
                <a:lnTo>
                  <a:pt x="456" y="726"/>
                </a:lnTo>
                <a:lnTo>
                  <a:pt x="450" y="726"/>
                </a:lnTo>
                <a:lnTo>
                  <a:pt x="444" y="726"/>
                </a:lnTo>
                <a:lnTo>
                  <a:pt x="444" y="732"/>
                </a:lnTo>
                <a:lnTo>
                  <a:pt x="438" y="732"/>
                </a:lnTo>
                <a:lnTo>
                  <a:pt x="432" y="732"/>
                </a:lnTo>
                <a:lnTo>
                  <a:pt x="432" y="738"/>
                </a:lnTo>
                <a:lnTo>
                  <a:pt x="426" y="738"/>
                </a:lnTo>
                <a:lnTo>
                  <a:pt x="420" y="738"/>
                </a:lnTo>
                <a:lnTo>
                  <a:pt x="420" y="744"/>
                </a:lnTo>
                <a:lnTo>
                  <a:pt x="414" y="744"/>
                </a:lnTo>
                <a:lnTo>
                  <a:pt x="414" y="750"/>
                </a:lnTo>
                <a:lnTo>
                  <a:pt x="408" y="750"/>
                </a:lnTo>
                <a:lnTo>
                  <a:pt x="402" y="750"/>
                </a:lnTo>
                <a:lnTo>
                  <a:pt x="396" y="756"/>
                </a:lnTo>
                <a:lnTo>
                  <a:pt x="390" y="756"/>
                </a:lnTo>
                <a:lnTo>
                  <a:pt x="384" y="756"/>
                </a:lnTo>
                <a:lnTo>
                  <a:pt x="378" y="756"/>
                </a:lnTo>
                <a:lnTo>
                  <a:pt x="372" y="762"/>
                </a:lnTo>
                <a:lnTo>
                  <a:pt x="366" y="762"/>
                </a:lnTo>
                <a:lnTo>
                  <a:pt x="360" y="762"/>
                </a:lnTo>
                <a:lnTo>
                  <a:pt x="354" y="762"/>
                </a:lnTo>
                <a:lnTo>
                  <a:pt x="348" y="768"/>
                </a:lnTo>
                <a:lnTo>
                  <a:pt x="336" y="768"/>
                </a:lnTo>
                <a:lnTo>
                  <a:pt x="330" y="768"/>
                </a:lnTo>
                <a:lnTo>
                  <a:pt x="318" y="768"/>
                </a:lnTo>
                <a:lnTo>
                  <a:pt x="300" y="768"/>
                </a:lnTo>
                <a:lnTo>
                  <a:pt x="288" y="768"/>
                </a:lnTo>
                <a:lnTo>
                  <a:pt x="270" y="774"/>
                </a:lnTo>
                <a:lnTo>
                  <a:pt x="264" y="774"/>
                </a:lnTo>
                <a:lnTo>
                  <a:pt x="258" y="774"/>
                </a:lnTo>
                <a:lnTo>
                  <a:pt x="246" y="774"/>
                </a:lnTo>
                <a:lnTo>
                  <a:pt x="240" y="774"/>
                </a:lnTo>
                <a:lnTo>
                  <a:pt x="234" y="780"/>
                </a:lnTo>
                <a:lnTo>
                  <a:pt x="228" y="780"/>
                </a:lnTo>
                <a:lnTo>
                  <a:pt x="228" y="786"/>
                </a:lnTo>
                <a:lnTo>
                  <a:pt x="222" y="786"/>
                </a:lnTo>
                <a:lnTo>
                  <a:pt x="216" y="792"/>
                </a:lnTo>
                <a:lnTo>
                  <a:pt x="210" y="792"/>
                </a:lnTo>
                <a:lnTo>
                  <a:pt x="210" y="798"/>
                </a:lnTo>
                <a:lnTo>
                  <a:pt x="204" y="798"/>
                </a:lnTo>
                <a:lnTo>
                  <a:pt x="198" y="804"/>
                </a:lnTo>
                <a:lnTo>
                  <a:pt x="192" y="804"/>
                </a:lnTo>
                <a:lnTo>
                  <a:pt x="186" y="810"/>
                </a:lnTo>
                <a:lnTo>
                  <a:pt x="174" y="822"/>
                </a:lnTo>
                <a:lnTo>
                  <a:pt x="168" y="822"/>
                </a:lnTo>
                <a:lnTo>
                  <a:pt x="168" y="828"/>
                </a:lnTo>
                <a:lnTo>
                  <a:pt x="174" y="834"/>
                </a:lnTo>
                <a:lnTo>
                  <a:pt x="174" y="840"/>
                </a:lnTo>
                <a:lnTo>
                  <a:pt x="168" y="840"/>
                </a:lnTo>
                <a:lnTo>
                  <a:pt x="168" y="846"/>
                </a:lnTo>
                <a:lnTo>
                  <a:pt x="168" y="852"/>
                </a:lnTo>
                <a:lnTo>
                  <a:pt x="168" y="858"/>
                </a:lnTo>
                <a:lnTo>
                  <a:pt x="162" y="858"/>
                </a:lnTo>
                <a:lnTo>
                  <a:pt x="162" y="852"/>
                </a:lnTo>
                <a:lnTo>
                  <a:pt x="156" y="852"/>
                </a:lnTo>
                <a:lnTo>
                  <a:pt x="150" y="852"/>
                </a:lnTo>
                <a:lnTo>
                  <a:pt x="144" y="852"/>
                </a:lnTo>
                <a:lnTo>
                  <a:pt x="138" y="852"/>
                </a:lnTo>
                <a:lnTo>
                  <a:pt x="138" y="846"/>
                </a:lnTo>
                <a:lnTo>
                  <a:pt x="132" y="846"/>
                </a:lnTo>
                <a:lnTo>
                  <a:pt x="126" y="846"/>
                </a:lnTo>
                <a:lnTo>
                  <a:pt x="126" y="840"/>
                </a:lnTo>
                <a:lnTo>
                  <a:pt x="126" y="834"/>
                </a:lnTo>
                <a:lnTo>
                  <a:pt x="126" y="840"/>
                </a:lnTo>
                <a:lnTo>
                  <a:pt x="126" y="834"/>
                </a:lnTo>
                <a:lnTo>
                  <a:pt x="120" y="834"/>
                </a:lnTo>
                <a:lnTo>
                  <a:pt x="126" y="834"/>
                </a:lnTo>
                <a:lnTo>
                  <a:pt x="120" y="834"/>
                </a:lnTo>
                <a:lnTo>
                  <a:pt x="120" y="828"/>
                </a:lnTo>
                <a:lnTo>
                  <a:pt x="114" y="828"/>
                </a:lnTo>
                <a:lnTo>
                  <a:pt x="108" y="828"/>
                </a:lnTo>
                <a:lnTo>
                  <a:pt x="102" y="828"/>
                </a:lnTo>
                <a:lnTo>
                  <a:pt x="102" y="834"/>
                </a:lnTo>
                <a:lnTo>
                  <a:pt x="96" y="834"/>
                </a:lnTo>
                <a:lnTo>
                  <a:pt x="90" y="834"/>
                </a:lnTo>
                <a:lnTo>
                  <a:pt x="84" y="834"/>
                </a:lnTo>
                <a:lnTo>
                  <a:pt x="84" y="828"/>
                </a:lnTo>
                <a:lnTo>
                  <a:pt x="84" y="822"/>
                </a:lnTo>
                <a:lnTo>
                  <a:pt x="84" y="816"/>
                </a:lnTo>
                <a:lnTo>
                  <a:pt x="84" y="810"/>
                </a:lnTo>
                <a:lnTo>
                  <a:pt x="84" y="804"/>
                </a:lnTo>
                <a:lnTo>
                  <a:pt x="78" y="798"/>
                </a:lnTo>
                <a:lnTo>
                  <a:pt x="78" y="792"/>
                </a:lnTo>
                <a:lnTo>
                  <a:pt x="72" y="792"/>
                </a:lnTo>
                <a:lnTo>
                  <a:pt x="72" y="786"/>
                </a:lnTo>
                <a:lnTo>
                  <a:pt x="66" y="780"/>
                </a:lnTo>
                <a:lnTo>
                  <a:pt x="66" y="774"/>
                </a:lnTo>
                <a:lnTo>
                  <a:pt x="60" y="774"/>
                </a:lnTo>
                <a:lnTo>
                  <a:pt x="60" y="768"/>
                </a:lnTo>
                <a:lnTo>
                  <a:pt x="54" y="768"/>
                </a:lnTo>
                <a:lnTo>
                  <a:pt x="54" y="762"/>
                </a:lnTo>
                <a:lnTo>
                  <a:pt x="48" y="756"/>
                </a:lnTo>
                <a:lnTo>
                  <a:pt x="42" y="756"/>
                </a:lnTo>
                <a:lnTo>
                  <a:pt x="42" y="750"/>
                </a:lnTo>
                <a:lnTo>
                  <a:pt x="36" y="750"/>
                </a:lnTo>
                <a:lnTo>
                  <a:pt x="30" y="750"/>
                </a:lnTo>
                <a:lnTo>
                  <a:pt x="30" y="744"/>
                </a:lnTo>
                <a:lnTo>
                  <a:pt x="24" y="732"/>
                </a:lnTo>
                <a:lnTo>
                  <a:pt x="24" y="726"/>
                </a:lnTo>
                <a:lnTo>
                  <a:pt x="18" y="720"/>
                </a:lnTo>
                <a:lnTo>
                  <a:pt x="0" y="690"/>
                </a:lnTo>
                <a:lnTo>
                  <a:pt x="18" y="672"/>
                </a:lnTo>
                <a:lnTo>
                  <a:pt x="48" y="672"/>
                </a:lnTo>
                <a:lnTo>
                  <a:pt x="66" y="666"/>
                </a:lnTo>
                <a:lnTo>
                  <a:pt x="84" y="654"/>
                </a:lnTo>
                <a:lnTo>
                  <a:pt x="96" y="660"/>
                </a:lnTo>
                <a:lnTo>
                  <a:pt x="96" y="648"/>
                </a:lnTo>
                <a:lnTo>
                  <a:pt x="102" y="648"/>
                </a:lnTo>
                <a:lnTo>
                  <a:pt x="96" y="630"/>
                </a:lnTo>
                <a:lnTo>
                  <a:pt x="120" y="594"/>
                </a:lnTo>
                <a:lnTo>
                  <a:pt x="120" y="516"/>
                </a:lnTo>
                <a:lnTo>
                  <a:pt x="132" y="504"/>
                </a:lnTo>
                <a:lnTo>
                  <a:pt x="162" y="498"/>
                </a:lnTo>
                <a:lnTo>
                  <a:pt x="174" y="480"/>
                </a:lnTo>
                <a:lnTo>
                  <a:pt x="150" y="414"/>
                </a:lnTo>
                <a:lnTo>
                  <a:pt x="150" y="402"/>
                </a:lnTo>
                <a:lnTo>
                  <a:pt x="156" y="360"/>
                </a:lnTo>
                <a:lnTo>
                  <a:pt x="132" y="276"/>
                </a:lnTo>
                <a:lnTo>
                  <a:pt x="138" y="54"/>
                </a:lnTo>
                <a:lnTo>
                  <a:pt x="186" y="54"/>
                </a:lnTo>
                <a:lnTo>
                  <a:pt x="414" y="54"/>
                </a:lnTo>
                <a:lnTo>
                  <a:pt x="522" y="54"/>
                </a:lnTo>
                <a:lnTo>
                  <a:pt x="744" y="90"/>
                </a:lnTo>
                <a:lnTo>
                  <a:pt x="762" y="90"/>
                </a:lnTo>
                <a:lnTo>
                  <a:pt x="834" y="96"/>
                </a:lnTo>
                <a:lnTo>
                  <a:pt x="1086" y="18"/>
                </a:lnTo>
                <a:lnTo>
                  <a:pt x="1128" y="0"/>
                </a:lnTo>
                <a:lnTo>
                  <a:pt x="1128" y="6"/>
                </a:lnTo>
                <a:lnTo>
                  <a:pt x="1128" y="12"/>
                </a:lnTo>
                <a:lnTo>
                  <a:pt x="1122" y="18"/>
                </a:lnTo>
                <a:lnTo>
                  <a:pt x="1128" y="24"/>
                </a:lnTo>
                <a:lnTo>
                  <a:pt x="1128" y="30"/>
                </a:lnTo>
                <a:lnTo>
                  <a:pt x="1128" y="36"/>
                </a:lnTo>
                <a:lnTo>
                  <a:pt x="1128" y="42"/>
                </a:lnTo>
                <a:lnTo>
                  <a:pt x="1140" y="60"/>
                </a:lnTo>
                <a:lnTo>
                  <a:pt x="1146" y="66"/>
                </a:lnTo>
                <a:lnTo>
                  <a:pt x="1164" y="96"/>
                </a:lnTo>
                <a:close/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latin typeface="+mn-lt"/>
            </a:endParaRPr>
          </a:p>
        </p:txBody>
      </p:sp>
      <p:sp>
        <p:nvSpPr>
          <p:cNvPr id="125" name="Freeform 124"/>
          <p:cNvSpPr/>
          <p:nvPr>
            <p:custDataLst>
              <p:tags r:id="rId26"/>
            </p:custDataLst>
          </p:nvPr>
        </p:nvSpPr>
        <p:spPr bwMode="gray">
          <a:xfrm>
            <a:off x="4082626" y="2746470"/>
            <a:ext cx="542576" cy="669701"/>
          </a:xfrm>
          <a:custGeom>
            <a:avLst/>
            <a:gdLst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9530 w 1203960"/>
              <a:gd name="connsiteY52" fmla="*/ 739140 h 2065020"/>
              <a:gd name="connsiteX53" fmla="*/ 68580 w 1203960"/>
              <a:gd name="connsiteY53" fmla="*/ 681990 h 2065020"/>
              <a:gd name="connsiteX54" fmla="*/ 121920 w 1203960"/>
              <a:gd name="connsiteY54" fmla="*/ 670560 h 2065020"/>
              <a:gd name="connsiteX55" fmla="*/ 251460 w 1203960"/>
              <a:gd name="connsiteY55" fmla="*/ 662940 h 2065020"/>
              <a:gd name="connsiteX56" fmla="*/ 327660 w 1203960"/>
              <a:gd name="connsiteY56" fmla="*/ 681990 h 2065020"/>
              <a:gd name="connsiteX57" fmla="*/ 392430 w 1203960"/>
              <a:gd name="connsiteY57" fmla="*/ 662940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9530 w 1203960"/>
              <a:gd name="connsiteY52" fmla="*/ 739140 h 2065020"/>
              <a:gd name="connsiteX53" fmla="*/ 68580 w 1203960"/>
              <a:gd name="connsiteY53" fmla="*/ 681990 h 2065020"/>
              <a:gd name="connsiteX54" fmla="*/ 121920 w 1203960"/>
              <a:gd name="connsiteY54" fmla="*/ 670560 h 2065020"/>
              <a:gd name="connsiteX55" fmla="*/ 327660 w 1203960"/>
              <a:gd name="connsiteY55" fmla="*/ 681990 h 2065020"/>
              <a:gd name="connsiteX56" fmla="*/ 392430 w 1203960"/>
              <a:gd name="connsiteY56" fmla="*/ 662940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9530 w 1203960"/>
              <a:gd name="connsiteY52" fmla="*/ 739140 h 2065020"/>
              <a:gd name="connsiteX53" fmla="*/ 68580 w 1203960"/>
              <a:gd name="connsiteY53" fmla="*/ 681990 h 2065020"/>
              <a:gd name="connsiteX54" fmla="*/ 121920 w 1203960"/>
              <a:gd name="connsiteY54" fmla="*/ 670560 h 2065020"/>
              <a:gd name="connsiteX55" fmla="*/ 392430 w 1203960"/>
              <a:gd name="connsiteY55" fmla="*/ 662940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9530 w 1203960"/>
              <a:gd name="connsiteY52" fmla="*/ 739140 h 2065020"/>
              <a:gd name="connsiteX53" fmla="*/ 68580 w 1203960"/>
              <a:gd name="connsiteY53" fmla="*/ 68199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68580 w 1203960"/>
              <a:gd name="connsiteY53" fmla="*/ 68199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6670 w 1203960"/>
              <a:gd name="connsiteY47" fmla="*/ 937260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20040 w 1203960"/>
              <a:gd name="connsiteY41" fmla="*/ 1363980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9090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12420 w 1203960"/>
              <a:gd name="connsiteY36" fmla="*/ 1604010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89610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04800 w 1203960"/>
              <a:gd name="connsiteY36" fmla="*/ 1602105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04800 w 1203960"/>
              <a:gd name="connsiteY36" fmla="*/ 1602105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85800 w 1203960"/>
              <a:gd name="connsiteY7" fmla="*/ 45339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81050 w 1203960"/>
              <a:gd name="connsiteY10" fmla="*/ 499110 h 2065020"/>
              <a:gd name="connsiteX11" fmla="*/ 758190 w 1203960"/>
              <a:gd name="connsiteY11" fmla="*/ 53721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85800 w 1203960"/>
              <a:gd name="connsiteY7" fmla="*/ 45339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81050 w 1203960"/>
              <a:gd name="connsiteY10" fmla="*/ 499110 h 2065020"/>
              <a:gd name="connsiteX11" fmla="*/ 758190 w 1203960"/>
              <a:gd name="connsiteY11" fmla="*/ 53721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74370 w 1203960"/>
              <a:gd name="connsiteY7" fmla="*/ 42672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81050 w 1203960"/>
              <a:gd name="connsiteY10" fmla="*/ 499110 h 2065020"/>
              <a:gd name="connsiteX11" fmla="*/ 758190 w 1203960"/>
              <a:gd name="connsiteY11" fmla="*/ 53721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81050 w 1203960"/>
              <a:gd name="connsiteY9" fmla="*/ 499110 h 2065020"/>
              <a:gd name="connsiteX10" fmla="*/ 758190 w 1203960"/>
              <a:gd name="connsiteY10" fmla="*/ 53721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04800 w 1203960"/>
              <a:gd name="connsiteY36" fmla="*/ 1602105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83895 w 1203960"/>
              <a:gd name="connsiteY7" fmla="*/ 42672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81050 w 1203960"/>
              <a:gd name="connsiteY10" fmla="*/ 499110 h 2065020"/>
              <a:gd name="connsiteX11" fmla="*/ 758190 w 1203960"/>
              <a:gd name="connsiteY11" fmla="*/ 53721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83895 w 1203960"/>
              <a:gd name="connsiteY7" fmla="*/ 42672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73430 w 1203960"/>
              <a:gd name="connsiteY10" fmla="*/ 487680 h 2065020"/>
              <a:gd name="connsiteX11" fmla="*/ 758190 w 1203960"/>
              <a:gd name="connsiteY11" fmla="*/ 53721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683895 w 1203960"/>
              <a:gd name="connsiteY7" fmla="*/ 426720 h 2065020"/>
              <a:gd name="connsiteX8" fmla="*/ 731520 w 1203960"/>
              <a:gd name="connsiteY8" fmla="*/ 449580 h 2065020"/>
              <a:gd name="connsiteX9" fmla="*/ 765810 w 1203960"/>
              <a:gd name="connsiteY9" fmla="*/ 457200 h 2065020"/>
              <a:gd name="connsiteX10" fmla="*/ 773430 w 1203960"/>
              <a:gd name="connsiteY10" fmla="*/ 487680 h 2065020"/>
              <a:gd name="connsiteX11" fmla="*/ 746760 w 1203960"/>
              <a:gd name="connsiteY11" fmla="*/ 53340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2465 w 1203960"/>
              <a:gd name="connsiteY6" fmla="*/ 426720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04800 w 1203960"/>
              <a:gd name="connsiteY36" fmla="*/ 1602105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20090 w 1203960"/>
              <a:gd name="connsiteY11" fmla="*/ 537210 h 2065020"/>
              <a:gd name="connsiteX12" fmla="*/ 701040 w 1203960"/>
              <a:gd name="connsiteY12" fmla="*/ 571500 h 2065020"/>
              <a:gd name="connsiteX13" fmla="*/ 701040 w 1203960"/>
              <a:gd name="connsiteY13" fmla="*/ 586740 h 2065020"/>
              <a:gd name="connsiteX14" fmla="*/ 701040 w 1203960"/>
              <a:gd name="connsiteY14" fmla="*/ 598170 h 2065020"/>
              <a:gd name="connsiteX15" fmla="*/ 666750 w 1203960"/>
              <a:gd name="connsiteY15" fmla="*/ 632460 h 2065020"/>
              <a:gd name="connsiteX16" fmla="*/ 861060 w 1203960"/>
              <a:gd name="connsiteY16" fmla="*/ 632460 h 2065020"/>
              <a:gd name="connsiteX17" fmla="*/ 971550 w 1203960"/>
              <a:gd name="connsiteY17" fmla="*/ 830580 h 2065020"/>
              <a:gd name="connsiteX18" fmla="*/ 1169670 w 1203960"/>
              <a:gd name="connsiteY18" fmla="*/ 963930 h 2065020"/>
              <a:gd name="connsiteX19" fmla="*/ 1184910 w 1203960"/>
              <a:gd name="connsiteY19" fmla="*/ 1215390 h 2065020"/>
              <a:gd name="connsiteX20" fmla="*/ 1200150 w 1203960"/>
              <a:gd name="connsiteY20" fmla="*/ 1226820 h 2065020"/>
              <a:gd name="connsiteX21" fmla="*/ 1203960 w 1203960"/>
              <a:gd name="connsiteY21" fmla="*/ 1280160 h 2065020"/>
              <a:gd name="connsiteX22" fmla="*/ 1085850 w 1203960"/>
              <a:gd name="connsiteY22" fmla="*/ 1268730 h 2065020"/>
              <a:gd name="connsiteX23" fmla="*/ 1078230 w 1203960"/>
              <a:gd name="connsiteY23" fmla="*/ 1268730 h 2065020"/>
              <a:gd name="connsiteX24" fmla="*/ 1062990 w 1203960"/>
              <a:gd name="connsiteY24" fmla="*/ 1264920 h 2065020"/>
              <a:gd name="connsiteX25" fmla="*/ 887730 w 1203960"/>
              <a:gd name="connsiteY25" fmla="*/ 1466850 h 2065020"/>
              <a:gd name="connsiteX26" fmla="*/ 842010 w 1203960"/>
              <a:gd name="connsiteY26" fmla="*/ 1535430 h 2065020"/>
              <a:gd name="connsiteX27" fmla="*/ 739140 w 1203960"/>
              <a:gd name="connsiteY27" fmla="*/ 1718310 h 2065020"/>
              <a:gd name="connsiteX28" fmla="*/ 803910 w 1203960"/>
              <a:gd name="connsiteY28" fmla="*/ 1885950 h 2065020"/>
              <a:gd name="connsiteX29" fmla="*/ 819150 w 1203960"/>
              <a:gd name="connsiteY29" fmla="*/ 1962150 h 2065020"/>
              <a:gd name="connsiteX30" fmla="*/ 773430 w 1203960"/>
              <a:gd name="connsiteY30" fmla="*/ 2026920 h 2065020"/>
              <a:gd name="connsiteX31" fmla="*/ 750570 w 1203960"/>
              <a:gd name="connsiteY31" fmla="*/ 2065020 h 2065020"/>
              <a:gd name="connsiteX32" fmla="*/ 693420 w 1203960"/>
              <a:gd name="connsiteY32" fmla="*/ 2065020 h 2065020"/>
              <a:gd name="connsiteX33" fmla="*/ 541020 w 1203960"/>
              <a:gd name="connsiteY33" fmla="*/ 2007870 h 2065020"/>
              <a:gd name="connsiteX34" fmla="*/ 541020 w 1203960"/>
              <a:gd name="connsiteY34" fmla="*/ 1649730 h 2065020"/>
              <a:gd name="connsiteX35" fmla="*/ 320040 w 1203960"/>
              <a:gd name="connsiteY35" fmla="*/ 1630680 h 2065020"/>
              <a:gd name="connsiteX36" fmla="*/ 304800 w 1203960"/>
              <a:gd name="connsiteY36" fmla="*/ 1602105 h 2065020"/>
              <a:gd name="connsiteX37" fmla="*/ 316230 w 1203960"/>
              <a:gd name="connsiteY37" fmla="*/ 1558290 h 2065020"/>
              <a:gd name="connsiteX38" fmla="*/ 323850 w 1203960"/>
              <a:gd name="connsiteY38" fmla="*/ 1497330 h 2065020"/>
              <a:gd name="connsiteX39" fmla="*/ 331470 w 1203960"/>
              <a:gd name="connsiteY39" fmla="*/ 1447800 h 2065020"/>
              <a:gd name="connsiteX40" fmla="*/ 333375 w 1203960"/>
              <a:gd name="connsiteY40" fmla="*/ 1398270 h 2065020"/>
              <a:gd name="connsiteX41" fmla="*/ 310515 w 1203960"/>
              <a:gd name="connsiteY41" fmla="*/ 1373505 h 2065020"/>
              <a:gd name="connsiteX42" fmla="*/ 205740 w 1203960"/>
              <a:gd name="connsiteY42" fmla="*/ 1318260 h 2065020"/>
              <a:gd name="connsiteX43" fmla="*/ 87630 w 1203960"/>
              <a:gd name="connsiteY43" fmla="*/ 1238250 h 2065020"/>
              <a:gd name="connsiteX44" fmla="*/ 57150 w 1203960"/>
              <a:gd name="connsiteY44" fmla="*/ 1024890 h 2065020"/>
              <a:gd name="connsiteX45" fmla="*/ 87630 w 1203960"/>
              <a:gd name="connsiteY45" fmla="*/ 1017270 h 2065020"/>
              <a:gd name="connsiteX46" fmla="*/ 60960 w 1203960"/>
              <a:gd name="connsiteY46" fmla="*/ 982980 h 2065020"/>
              <a:gd name="connsiteX47" fmla="*/ 22860 w 1203960"/>
              <a:gd name="connsiteY47" fmla="*/ 958215 h 2065020"/>
              <a:gd name="connsiteX48" fmla="*/ 0 w 1203960"/>
              <a:gd name="connsiteY48" fmla="*/ 861060 h 2065020"/>
              <a:gd name="connsiteX49" fmla="*/ 60960 w 1203960"/>
              <a:gd name="connsiteY49" fmla="*/ 872490 h 2065020"/>
              <a:gd name="connsiteX50" fmla="*/ 87630 w 1203960"/>
              <a:gd name="connsiteY50" fmla="*/ 822960 h 2065020"/>
              <a:gd name="connsiteX51" fmla="*/ 64770 w 1203960"/>
              <a:gd name="connsiteY51" fmla="*/ 773430 h 2065020"/>
              <a:gd name="connsiteX52" fmla="*/ 41910 w 1203960"/>
              <a:gd name="connsiteY52" fmla="*/ 737235 h 2065020"/>
              <a:gd name="connsiteX53" fmla="*/ 57150 w 1203960"/>
              <a:gd name="connsiteY53" fmla="*/ 685800 h 2065020"/>
              <a:gd name="connsiteX54" fmla="*/ 121920 w 1203960"/>
              <a:gd name="connsiteY54" fmla="*/ 670560 h 2065020"/>
              <a:gd name="connsiteX55" fmla="*/ 161925 w 1203960"/>
              <a:gd name="connsiteY55" fmla="*/ 676275 h 2065020"/>
              <a:gd name="connsiteX56" fmla="*/ 266700 w 1203960"/>
              <a:gd name="connsiteY56" fmla="*/ 506730 h 2065020"/>
              <a:gd name="connsiteX57" fmla="*/ 285750 w 1203960"/>
              <a:gd name="connsiteY57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20090 w 1203960"/>
              <a:gd name="connsiteY12" fmla="*/ 537210 h 2065020"/>
              <a:gd name="connsiteX13" fmla="*/ 701040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20090 w 1203960"/>
              <a:gd name="connsiteY12" fmla="*/ 537210 h 2065020"/>
              <a:gd name="connsiteX13" fmla="*/ 695325 w 1203960"/>
              <a:gd name="connsiteY13" fmla="*/ 571500 h 2065020"/>
              <a:gd name="connsiteX14" fmla="*/ 701040 w 1203960"/>
              <a:gd name="connsiteY14" fmla="*/ 586740 h 2065020"/>
              <a:gd name="connsiteX15" fmla="*/ 701040 w 1203960"/>
              <a:gd name="connsiteY15" fmla="*/ 598170 h 2065020"/>
              <a:gd name="connsiteX16" fmla="*/ 666750 w 1203960"/>
              <a:gd name="connsiteY16" fmla="*/ 632460 h 2065020"/>
              <a:gd name="connsiteX17" fmla="*/ 861060 w 1203960"/>
              <a:gd name="connsiteY17" fmla="*/ 632460 h 2065020"/>
              <a:gd name="connsiteX18" fmla="*/ 971550 w 1203960"/>
              <a:gd name="connsiteY18" fmla="*/ 830580 h 2065020"/>
              <a:gd name="connsiteX19" fmla="*/ 1169670 w 1203960"/>
              <a:gd name="connsiteY19" fmla="*/ 963930 h 2065020"/>
              <a:gd name="connsiteX20" fmla="*/ 1184910 w 1203960"/>
              <a:gd name="connsiteY20" fmla="*/ 1215390 h 2065020"/>
              <a:gd name="connsiteX21" fmla="*/ 1200150 w 1203960"/>
              <a:gd name="connsiteY21" fmla="*/ 1226820 h 2065020"/>
              <a:gd name="connsiteX22" fmla="*/ 1203960 w 1203960"/>
              <a:gd name="connsiteY22" fmla="*/ 1280160 h 2065020"/>
              <a:gd name="connsiteX23" fmla="*/ 1085850 w 1203960"/>
              <a:gd name="connsiteY23" fmla="*/ 1268730 h 2065020"/>
              <a:gd name="connsiteX24" fmla="*/ 1078230 w 1203960"/>
              <a:gd name="connsiteY24" fmla="*/ 1268730 h 2065020"/>
              <a:gd name="connsiteX25" fmla="*/ 1062990 w 1203960"/>
              <a:gd name="connsiteY25" fmla="*/ 1264920 h 2065020"/>
              <a:gd name="connsiteX26" fmla="*/ 887730 w 1203960"/>
              <a:gd name="connsiteY26" fmla="*/ 1466850 h 2065020"/>
              <a:gd name="connsiteX27" fmla="*/ 842010 w 1203960"/>
              <a:gd name="connsiteY27" fmla="*/ 1535430 h 2065020"/>
              <a:gd name="connsiteX28" fmla="*/ 739140 w 1203960"/>
              <a:gd name="connsiteY28" fmla="*/ 1718310 h 2065020"/>
              <a:gd name="connsiteX29" fmla="*/ 803910 w 1203960"/>
              <a:gd name="connsiteY29" fmla="*/ 1885950 h 2065020"/>
              <a:gd name="connsiteX30" fmla="*/ 819150 w 1203960"/>
              <a:gd name="connsiteY30" fmla="*/ 1962150 h 2065020"/>
              <a:gd name="connsiteX31" fmla="*/ 773430 w 1203960"/>
              <a:gd name="connsiteY31" fmla="*/ 2026920 h 2065020"/>
              <a:gd name="connsiteX32" fmla="*/ 750570 w 1203960"/>
              <a:gd name="connsiteY32" fmla="*/ 2065020 h 2065020"/>
              <a:gd name="connsiteX33" fmla="*/ 693420 w 1203960"/>
              <a:gd name="connsiteY33" fmla="*/ 2065020 h 2065020"/>
              <a:gd name="connsiteX34" fmla="*/ 541020 w 1203960"/>
              <a:gd name="connsiteY34" fmla="*/ 2007870 h 2065020"/>
              <a:gd name="connsiteX35" fmla="*/ 541020 w 1203960"/>
              <a:gd name="connsiteY35" fmla="*/ 1649730 h 2065020"/>
              <a:gd name="connsiteX36" fmla="*/ 320040 w 1203960"/>
              <a:gd name="connsiteY36" fmla="*/ 1630680 h 2065020"/>
              <a:gd name="connsiteX37" fmla="*/ 304800 w 1203960"/>
              <a:gd name="connsiteY37" fmla="*/ 1602105 h 2065020"/>
              <a:gd name="connsiteX38" fmla="*/ 316230 w 1203960"/>
              <a:gd name="connsiteY38" fmla="*/ 1558290 h 2065020"/>
              <a:gd name="connsiteX39" fmla="*/ 323850 w 1203960"/>
              <a:gd name="connsiteY39" fmla="*/ 1497330 h 2065020"/>
              <a:gd name="connsiteX40" fmla="*/ 331470 w 1203960"/>
              <a:gd name="connsiteY40" fmla="*/ 1447800 h 2065020"/>
              <a:gd name="connsiteX41" fmla="*/ 333375 w 1203960"/>
              <a:gd name="connsiteY41" fmla="*/ 1398270 h 2065020"/>
              <a:gd name="connsiteX42" fmla="*/ 310515 w 1203960"/>
              <a:gd name="connsiteY42" fmla="*/ 1373505 h 2065020"/>
              <a:gd name="connsiteX43" fmla="*/ 205740 w 1203960"/>
              <a:gd name="connsiteY43" fmla="*/ 1318260 h 2065020"/>
              <a:gd name="connsiteX44" fmla="*/ 87630 w 1203960"/>
              <a:gd name="connsiteY44" fmla="*/ 1238250 h 2065020"/>
              <a:gd name="connsiteX45" fmla="*/ 57150 w 1203960"/>
              <a:gd name="connsiteY45" fmla="*/ 1024890 h 2065020"/>
              <a:gd name="connsiteX46" fmla="*/ 87630 w 1203960"/>
              <a:gd name="connsiteY46" fmla="*/ 1017270 h 2065020"/>
              <a:gd name="connsiteX47" fmla="*/ 60960 w 1203960"/>
              <a:gd name="connsiteY47" fmla="*/ 982980 h 2065020"/>
              <a:gd name="connsiteX48" fmla="*/ 22860 w 1203960"/>
              <a:gd name="connsiteY48" fmla="*/ 958215 h 2065020"/>
              <a:gd name="connsiteX49" fmla="*/ 0 w 1203960"/>
              <a:gd name="connsiteY49" fmla="*/ 861060 h 2065020"/>
              <a:gd name="connsiteX50" fmla="*/ 60960 w 1203960"/>
              <a:gd name="connsiteY50" fmla="*/ 872490 h 2065020"/>
              <a:gd name="connsiteX51" fmla="*/ 87630 w 1203960"/>
              <a:gd name="connsiteY51" fmla="*/ 822960 h 2065020"/>
              <a:gd name="connsiteX52" fmla="*/ 64770 w 1203960"/>
              <a:gd name="connsiteY52" fmla="*/ 773430 h 2065020"/>
              <a:gd name="connsiteX53" fmla="*/ 41910 w 1203960"/>
              <a:gd name="connsiteY53" fmla="*/ 737235 h 2065020"/>
              <a:gd name="connsiteX54" fmla="*/ 57150 w 1203960"/>
              <a:gd name="connsiteY54" fmla="*/ 685800 h 2065020"/>
              <a:gd name="connsiteX55" fmla="*/ 121920 w 1203960"/>
              <a:gd name="connsiteY55" fmla="*/ 670560 h 2065020"/>
              <a:gd name="connsiteX56" fmla="*/ 161925 w 1203960"/>
              <a:gd name="connsiteY56" fmla="*/ 676275 h 2065020"/>
              <a:gd name="connsiteX57" fmla="*/ 266700 w 1203960"/>
              <a:gd name="connsiteY57" fmla="*/ 506730 h 2065020"/>
              <a:gd name="connsiteX58" fmla="*/ 285750 w 1203960"/>
              <a:gd name="connsiteY58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20090 w 1203960"/>
              <a:gd name="connsiteY12" fmla="*/ 537210 h 2065020"/>
              <a:gd name="connsiteX13" fmla="*/ 710565 w 1203960"/>
              <a:gd name="connsiteY13" fmla="*/ 554355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66750 w 1203960"/>
              <a:gd name="connsiteY17" fmla="*/ 632460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20090 w 1203960"/>
              <a:gd name="connsiteY12" fmla="*/ 53721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66750 w 1203960"/>
              <a:gd name="connsiteY17" fmla="*/ 632460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20090 w 1203960"/>
              <a:gd name="connsiteY12" fmla="*/ 53721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81990 w 1203960"/>
              <a:gd name="connsiteY17" fmla="*/ 626745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14375 w 1203960"/>
              <a:gd name="connsiteY12" fmla="*/ 52959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81990 w 1203960"/>
              <a:gd name="connsiteY17" fmla="*/ 626745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14375 w 1203960"/>
              <a:gd name="connsiteY12" fmla="*/ 52959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55320 w 1203960"/>
              <a:gd name="connsiteY17" fmla="*/ 626745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14375 w 1203960"/>
              <a:gd name="connsiteY12" fmla="*/ 52959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55320 w 1203960"/>
              <a:gd name="connsiteY17" fmla="*/ 626745 h 2065020"/>
              <a:gd name="connsiteX18" fmla="*/ 861060 w 1203960"/>
              <a:gd name="connsiteY18" fmla="*/ 632460 h 2065020"/>
              <a:gd name="connsiteX19" fmla="*/ 971550 w 1203960"/>
              <a:gd name="connsiteY19" fmla="*/ 830580 h 2065020"/>
              <a:gd name="connsiteX20" fmla="*/ 1169670 w 1203960"/>
              <a:gd name="connsiteY20" fmla="*/ 963930 h 2065020"/>
              <a:gd name="connsiteX21" fmla="*/ 1184910 w 1203960"/>
              <a:gd name="connsiteY21" fmla="*/ 1215390 h 2065020"/>
              <a:gd name="connsiteX22" fmla="*/ 1200150 w 1203960"/>
              <a:gd name="connsiteY22" fmla="*/ 1226820 h 2065020"/>
              <a:gd name="connsiteX23" fmla="*/ 1203960 w 1203960"/>
              <a:gd name="connsiteY23" fmla="*/ 1280160 h 2065020"/>
              <a:gd name="connsiteX24" fmla="*/ 1085850 w 1203960"/>
              <a:gd name="connsiteY24" fmla="*/ 1268730 h 2065020"/>
              <a:gd name="connsiteX25" fmla="*/ 1078230 w 1203960"/>
              <a:gd name="connsiteY25" fmla="*/ 1268730 h 2065020"/>
              <a:gd name="connsiteX26" fmla="*/ 1062990 w 1203960"/>
              <a:gd name="connsiteY26" fmla="*/ 1264920 h 2065020"/>
              <a:gd name="connsiteX27" fmla="*/ 887730 w 1203960"/>
              <a:gd name="connsiteY27" fmla="*/ 1466850 h 2065020"/>
              <a:gd name="connsiteX28" fmla="*/ 842010 w 1203960"/>
              <a:gd name="connsiteY28" fmla="*/ 1535430 h 2065020"/>
              <a:gd name="connsiteX29" fmla="*/ 739140 w 1203960"/>
              <a:gd name="connsiteY29" fmla="*/ 1718310 h 2065020"/>
              <a:gd name="connsiteX30" fmla="*/ 803910 w 1203960"/>
              <a:gd name="connsiteY30" fmla="*/ 1885950 h 2065020"/>
              <a:gd name="connsiteX31" fmla="*/ 819150 w 1203960"/>
              <a:gd name="connsiteY31" fmla="*/ 1962150 h 2065020"/>
              <a:gd name="connsiteX32" fmla="*/ 773430 w 1203960"/>
              <a:gd name="connsiteY32" fmla="*/ 2026920 h 2065020"/>
              <a:gd name="connsiteX33" fmla="*/ 750570 w 1203960"/>
              <a:gd name="connsiteY33" fmla="*/ 2065020 h 2065020"/>
              <a:gd name="connsiteX34" fmla="*/ 693420 w 1203960"/>
              <a:gd name="connsiteY34" fmla="*/ 2065020 h 2065020"/>
              <a:gd name="connsiteX35" fmla="*/ 541020 w 1203960"/>
              <a:gd name="connsiteY35" fmla="*/ 2007870 h 2065020"/>
              <a:gd name="connsiteX36" fmla="*/ 541020 w 1203960"/>
              <a:gd name="connsiteY36" fmla="*/ 1649730 h 2065020"/>
              <a:gd name="connsiteX37" fmla="*/ 320040 w 1203960"/>
              <a:gd name="connsiteY37" fmla="*/ 1630680 h 2065020"/>
              <a:gd name="connsiteX38" fmla="*/ 304800 w 1203960"/>
              <a:gd name="connsiteY38" fmla="*/ 1602105 h 2065020"/>
              <a:gd name="connsiteX39" fmla="*/ 316230 w 1203960"/>
              <a:gd name="connsiteY39" fmla="*/ 1558290 h 2065020"/>
              <a:gd name="connsiteX40" fmla="*/ 323850 w 1203960"/>
              <a:gd name="connsiteY40" fmla="*/ 1497330 h 2065020"/>
              <a:gd name="connsiteX41" fmla="*/ 331470 w 1203960"/>
              <a:gd name="connsiteY41" fmla="*/ 1447800 h 2065020"/>
              <a:gd name="connsiteX42" fmla="*/ 333375 w 1203960"/>
              <a:gd name="connsiteY42" fmla="*/ 1398270 h 2065020"/>
              <a:gd name="connsiteX43" fmla="*/ 310515 w 1203960"/>
              <a:gd name="connsiteY43" fmla="*/ 1373505 h 2065020"/>
              <a:gd name="connsiteX44" fmla="*/ 205740 w 1203960"/>
              <a:gd name="connsiteY44" fmla="*/ 1318260 h 2065020"/>
              <a:gd name="connsiteX45" fmla="*/ 87630 w 1203960"/>
              <a:gd name="connsiteY45" fmla="*/ 1238250 h 2065020"/>
              <a:gd name="connsiteX46" fmla="*/ 57150 w 1203960"/>
              <a:gd name="connsiteY46" fmla="*/ 1024890 h 2065020"/>
              <a:gd name="connsiteX47" fmla="*/ 87630 w 1203960"/>
              <a:gd name="connsiteY47" fmla="*/ 1017270 h 2065020"/>
              <a:gd name="connsiteX48" fmla="*/ 60960 w 1203960"/>
              <a:gd name="connsiteY48" fmla="*/ 982980 h 2065020"/>
              <a:gd name="connsiteX49" fmla="*/ 22860 w 1203960"/>
              <a:gd name="connsiteY49" fmla="*/ 958215 h 2065020"/>
              <a:gd name="connsiteX50" fmla="*/ 0 w 1203960"/>
              <a:gd name="connsiteY50" fmla="*/ 861060 h 2065020"/>
              <a:gd name="connsiteX51" fmla="*/ 60960 w 1203960"/>
              <a:gd name="connsiteY51" fmla="*/ 872490 h 2065020"/>
              <a:gd name="connsiteX52" fmla="*/ 87630 w 1203960"/>
              <a:gd name="connsiteY52" fmla="*/ 822960 h 2065020"/>
              <a:gd name="connsiteX53" fmla="*/ 64770 w 1203960"/>
              <a:gd name="connsiteY53" fmla="*/ 773430 h 2065020"/>
              <a:gd name="connsiteX54" fmla="*/ 41910 w 1203960"/>
              <a:gd name="connsiteY54" fmla="*/ 737235 h 2065020"/>
              <a:gd name="connsiteX55" fmla="*/ 57150 w 1203960"/>
              <a:gd name="connsiteY55" fmla="*/ 685800 h 2065020"/>
              <a:gd name="connsiteX56" fmla="*/ 121920 w 1203960"/>
              <a:gd name="connsiteY56" fmla="*/ 670560 h 2065020"/>
              <a:gd name="connsiteX57" fmla="*/ 161925 w 1203960"/>
              <a:gd name="connsiteY57" fmla="*/ 676275 h 2065020"/>
              <a:gd name="connsiteX58" fmla="*/ 266700 w 1203960"/>
              <a:gd name="connsiteY58" fmla="*/ 506730 h 2065020"/>
              <a:gd name="connsiteX59" fmla="*/ 285750 w 1203960"/>
              <a:gd name="connsiteY59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14375 w 1203960"/>
              <a:gd name="connsiteY12" fmla="*/ 52959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78180 w 1203960"/>
              <a:gd name="connsiteY17" fmla="*/ 609600 h 2065020"/>
              <a:gd name="connsiteX18" fmla="*/ 655320 w 1203960"/>
              <a:gd name="connsiteY18" fmla="*/ 626745 h 2065020"/>
              <a:gd name="connsiteX19" fmla="*/ 861060 w 1203960"/>
              <a:gd name="connsiteY19" fmla="*/ 632460 h 2065020"/>
              <a:gd name="connsiteX20" fmla="*/ 971550 w 1203960"/>
              <a:gd name="connsiteY20" fmla="*/ 830580 h 2065020"/>
              <a:gd name="connsiteX21" fmla="*/ 1169670 w 1203960"/>
              <a:gd name="connsiteY21" fmla="*/ 963930 h 2065020"/>
              <a:gd name="connsiteX22" fmla="*/ 1184910 w 1203960"/>
              <a:gd name="connsiteY22" fmla="*/ 1215390 h 2065020"/>
              <a:gd name="connsiteX23" fmla="*/ 1200150 w 1203960"/>
              <a:gd name="connsiteY23" fmla="*/ 1226820 h 2065020"/>
              <a:gd name="connsiteX24" fmla="*/ 1203960 w 1203960"/>
              <a:gd name="connsiteY24" fmla="*/ 1280160 h 2065020"/>
              <a:gd name="connsiteX25" fmla="*/ 1085850 w 1203960"/>
              <a:gd name="connsiteY25" fmla="*/ 1268730 h 2065020"/>
              <a:gd name="connsiteX26" fmla="*/ 1078230 w 1203960"/>
              <a:gd name="connsiteY26" fmla="*/ 1268730 h 2065020"/>
              <a:gd name="connsiteX27" fmla="*/ 1062990 w 1203960"/>
              <a:gd name="connsiteY27" fmla="*/ 1264920 h 2065020"/>
              <a:gd name="connsiteX28" fmla="*/ 887730 w 1203960"/>
              <a:gd name="connsiteY28" fmla="*/ 1466850 h 2065020"/>
              <a:gd name="connsiteX29" fmla="*/ 842010 w 1203960"/>
              <a:gd name="connsiteY29" fmla="*/ 1535430 h 2065020"/>
              <a:gd name="connsiteX30" fmla="*/ 739140 w 1203960"/>
              <a:gd name="connsiteY30" fmla="*/ 1718310 h 2065020"/>
              <a:gd name="connsiteX31" fmla="*/ 803910 w 1203960"/>
              <a:gd name="connsiteY31" fmla="*/ 1885950 h 2065020"/>
              <a:gd name="connsiteX32" fmla="*/ 819150 w 1203960"/>
              <a:gd name="connsiteY32" fmla="*/ 1962150 h 2065020"/>
              <a:gd name="connsiteX33" fmla="*/ 773430 w 1203960"/>
              <a:gd name="connsiteY33" fmla="*/ 2026920 h 2065020"/>
              <a:gd name="connsiteX34" fmla="*/ 750570 w 1203960"/>
              <a:gd name="connsiteY34" fmla="*/ 2065020 h 2065020"/>
              <a:gd name="connsiteX35" fmla="*/ 693420 w 1203960"/>
              <a:gd name="connsiteY35" fmla="*/ 2065020 h 2065020"/>
              <a:gd name="connsiteX36" fmla="*/ 541020 w 1203960"/>
              <a:gd name="connsiteY36" fmla="*/ 2007870 h 2065020"/>
              <a:gd name="connsiteX37" fmla="*/ 541020 w 1203960"/>
              <a:gd name="connsiteY37" fmla="*/ 1649730 h 2065020"/>
              <a:gd name="connsiteX38" fmla="*/ 320040 w 1203960"/>
              <a:gd name="connsiteY38" fmla="*/ 1630680 h 2065020"/>
              <a:gd name="connsiteX39" fmla="*/ 304800 w 1203960"/>
              <a:gd name="connsiteY39" fmla="*/ 1602105 h 2065020"/>
              <a:gd name="connsiteX40" fmla="*/ 316230 w 1203960"/>
              <a:gd name="connsiteY40" fmla="*/ 1558290 h 2065020"/>
              <a:gd name="connsiteX41" fmla="*/ 323850 w 1203960"/>
              <a:gd name="connsiteY41" fmla="*/ 1497330 h 2065020"/>
              <a:gd name="connsiteX42" fmla="*/ 331470 w 1203960"/>
              <a:gd name="connsiteY42" fmla="*/ 1447800 h 2065020"/>
              <a:gd name="connsiteX43" fmla="*/ 333375 w 1203960"/>
              <a:gd name="connsiteY43" fmla="*/ 1398270 h 2065020"/>
              <a:gd name="connsiteX44" fmla="*/ 310515 w 1203960"/>
              <a:gd name="connsiteY44" fmla="*/ 1373505 h 2065020"/>
              <a:gd name="connsiteX45" fmla="*/ 205740 w 1203960"/>
              <a:gd name="connsiteY45" fmla="*/ 1318260 h 2065020"/>
              <a:gd name="connsiteX46" fmla="*/ 87630 w 1203960"/>
              <a:gd name="connsiteY46" fmla="*/ 1238250 h 2065020"/>
              <a:gd name="connsiteX47" fmla="*/ 57150 w 1203960"/>
              <a:gd name="connsiteY47" fmla="*/ 1024890 h 2065020"/>
              <a:gd name="connsiteX48" fmla="*/ 87630 w 1203960"/>
              <a:gd name="connsiteY48" fmla="*/ 1017270 h 2065020"/>
              <a:gd name="connsiteX49" fmla="*/ 60960 w 1203960"/>
              <a:gd name="connsiteY49" fmla="*/ 982980 h 2065020"/>
              <a:gd name="connsiteX50" fmla="*/ 22860 w 1203960"/>
              <a:gd name="connsiteY50" fmla="*/ 958215 h 2065020"/>
              <a:gd name="connsiteX51" fmla="*/ 0 w 1203960"/>
              <a:gd name="connsiteY51" fmla="*/ 861060 h 2065020"/>
              <a:gd name="connsiteX52" fmla="*/ 60960 w 1203960"/>
              <a:gd name="connsiteY52" fmla="*/ 872490 h 2065020"/>
              <a:gd name="connsiteX53" fmla="*/ 87630 w 1203960"/>
              <a:gd name="connsiteY53" fmla="*/ 822960 h 2065020"/>
              <a:gd name="connsiteX54" fmla="*/ 64770 w 1203960"/>
              <a:gd name="connsiteY54" fmla="*/ 773430 h 2065020"/>
              <a:gd name="connsiteX55" fmla="*/ 41910 w 1203960"/>
              <a:gd name="connsiteY55" fmla="*/ 737235 h 2065020"/>
              <a:gd name="connsiteX56" fmla="*/ 57150 w 1203960"/>
              <a:gd name="connsiteY56" fmla="*/ 685800 h 2065020"/>
              <a:gd name="connsiteX57" fmla="*/ 121920 w 1203960"/>
              <a:gd name="connsiteY57" fmla="*/ 670560 h 2065020"/>
              <a:gd name="connsiteX58" fmla="*/ 161925 w 1203960"/>
              <a:gd name="connsiteY58" fmla="*/ 676275 h 2065020"/>
              <a:gd name="connsiteX59" fmla="*/ 266700 w 1203960"/>
              <a:gd name="connsiteY59" fmla="*/ 506730 h 2065020"/>
              <a:gd name="connsiteX60" fmla="*/ 285750 w 1203960"/>
              <a:gd name="connsiteY60" fmla="*/ 464820 h 2065020"/>
              <a:gd name="connsiteX0" fmla="*/ 213360 w 1203960"/>
              <a:gd name="connsiteY0" fmla="*/ 312420 h 2065020"/>
              <a:gd name="connsiteX1" fmla="*/ 118110 w 1203960"/>
              <a:gd name="connsiteY1" fmla="*/ 148590 h 2065020"/>
              <a:gd name="connsiteX2" fmla="*/ 118110 w 1203960"/>
              <a:gd name="connsiteY2" fmla="*/ 0 h 2065020"/>
              <a:gd name="connsiteX3" fmla="*/ 765810 w 1203960"/>
              <a:gd name="connsiteY3" fmla="*/ 0 h 2065020"/>
              <a:gd name="connsiteX4" fmla="*/ 765810 w 1203960"/>
              <a:gd name="connsiteY4" fmla="*/ 331470 h 2065020"/>
              <a:gd name="connsiteX5" fmla="*/ 704850 w 1203960"/>
              <a:gd name="connsiteY5" fmla="*/ 392430 h 2065020"/>
              <a:gd name="connsiteX6" fmla="*/ 676275 w 1203960"/>
              <a:gd name="connsiteY6" fmla="*/ 421005 h 2065020"/>
              <a:gd name="connsiteX7" fmla="*/ 731520 w 1203960"/>
              <a:gd name="connsiteY7" fmla="*/ 449580 h 2065020"/>
              <a:gd name="connsiteX8" fmla="*/ 765810 w 1203960"/>
              <a:gd name="connsiteY8" fmla="*/ 457200 h 2065020"/>
              <a:gd name="connsiteX9" fmla="*/ 773430 w 1203960"/>
              <a:gd name="connsiteY9" fmla="*/ 487680 h 2065020"/>
              <a:gd name="connsiteX10" fmla="*/ 746760 w 1203960"/>
              <a:gd name="connsiteY10" fmla="*/ 533400 h 2065020"/>
              <a:gd name="connsiteX11" fmla="*/ 718185 w 1203960"/>
              <a:gd name="connsiteY11" fmla="*/ 533400 h 2065020"/>
              <a:gd name="connsiteX12" fmla="*/ 714375 w 1203960"/>
              <a:gd name="connsiteY12" fmla="*/ 529590 h 2065020"/>
              <a:gd name="connsiteX13" fmla="*/ 697230 w 1203960"/>
              <a:gd name="connsiteY13" fmla="*/ 552450 h 2065020"/>
              <a:gd name="connsiteX14" fmla="*/ 695325 w 1203960"/>
              <a:gd name="connsiteY14" fmla="*/ 571500 h 2065020"/>
              <a:gd name="connsiteX15" fmla="*/ 701040 w 1203960"/>
              <a:gd name="connsiteY15" fmla="*/ 586740 h 2065020"/>
              <a:gd name="connsiteX16" fmla="*/ 701040 w 1203960"/>
              <a:gd name="connsiteY16" fmla="*/ 598170 h 2065020"/>
              <a:gd name="connsiteX17" fmla="*/ 676275 w 1203960"/>
              <a:gd name="connsiteY17" fmla="*/ 603885 h 2065020"/>
              <a:gd name="connsiteX18" fmla="*/ 655320 w 1203960"/>
              <a:gd name="connsiteY18" fmla="*/ 626745 h 2065020"/>
              <a:gd name="connsiteX19" fmla="*/ 861060 w 1203960"/>
              <a:gd name="connsiteY19" fmla="*/ 632460 h 2065020"/>
              <a:gd name="connsiteX20" fmla="*/ 971550 w 1203960"/>
              <a:gd name="connsiteY20" fmla="*/ 830580 h 2065020"/>
              <a:gd name="connsiteX21" fmla="*/ 1169670 w 1203960"/>
              <a:gd name="connsiteY21" fmla="*/ 963930 h 2065020"/>
              <a:gd name="connsiteX22" fmla="*/ 1184910 w 1203960"/>
              <a:gd name="connsiteY22" fmla="*/ 1215390 h 2065020"/>
              <a:gd name="connsiteX23" fmla="*/ 1200150 w 1203960"/>
              <a:gd name="connsiteY23" fmla="*/ 1226820 h 2065020"/>
              <a:gd name="connsiteX24" fmla="*/ 1203960 w 1203960"/>
              <a:gd name="connsiteY24" fmla="*/ 1280160 h 2065020"/>
              <a:gd name="connsiteX25" fmla="*/ 1085850 w 1203960"/>
              <a:gd name="connsiteY25" fmla="*/ 1268730 h 2065020"/>
              <a:gd name="connsiteX26" fmla="*/ 1078230 w 1203960"/>
              <a:gd name="connsiteY26" fmla="*/ 1268730 h 2065020"/>
              <a:gd name="connsiteX27" fmla="*/ 1062990 w 1203960"/>
              <a:gd name="connsiteY27" fmla="*/ 1264920 h 2065020"/>
              <a:gd name="connsiteX28" fmla="*/ 887730 w 1203960"/>
              <a:gd name="connsiteY28" fmla="*/ 1466850 h 2065020"/>
              <a:gd name="connsiteX29" fmla="*/ 842010 w 1203960"/>
              <a:gd name="connsiteY29" fmla="*/ 1535430 h 2065020"/>
              <a:gd name="connsiteX30" fmla="*/ 739140 w 1203960"/>
              <a:gd name="connsiteY30" fmla="*/ 1718310 h 2065020"/>
              <a:gd name="connsiteX31" fmla="*/ 803910 w 1203960"/>
              <a:gd name="connsiteY31" fmla="*/ 1885950 h 2065020"/>
              <a:gd name="connsiteX32" fmla="*/ 819150 w 1203960"/>
              <a:gd name="connsiteY32" fmla="*/ 1962150 h 2065020"/>
              <a:gd name="connsiteX33" fmla="*/ 773430 w 1203960"/>
              <a:gd name="connsiteY33" fmla="*/ 2026920 h 2065020"/>
              <a:gd name="connsiteX34" fmla="*/ 750570 w 1203960"/>
              <a:gd name="connsiteY34" fmla="*/ 2065020 h 2065020"/>
              <a:gd name="connsiteX35" fmla="*/ 693420 w 1203960"/>
              <a:gd name="connsiteY35" fmla="*/ 2065020 h 2065020"/>
              <a:gd name="connsiteX36" fmla="*/ 541020 w 1203960"/>
              <a:gd name="connsiteY36" fmla="*/ 2007870 h 2065020"/>
              <a:gd name="connsiteX37" fmla="*/ 541020 w 1203960"/>
              <a:gd name="connsiteY37" fmla="*/ 1649730 h 2065020"/>
              <a:gd name="connsiteX38" fmla="*/ 320040 w 1203960"/>
              <a:gd name="connsiteY38" fmla="*/ 1630680 h 2065020"/>
              <a:gd name="connsiteX39" fmla="*/ 304800 w 1203960"/>
              <a:gd name="connsiteY39" fmla="*/ 1602105 h 2065020"/>
              <a:gd name="connsiteX40" fmla="*/ 316230 w 1203960"/>
              <a:gd name="connsiteY40" fmla="*/ 1558290 h 2065020"/>
              <a:gd name="connsiteX41" fmla="*/ 323850 w 1203960"/>
              <a:gd name="connsiteY41" fmla="*/ 1497330 h 2065020"/>
              <a:gd name="connsiteX42" fmla="*/ 331470 w 1203960"/>
              <a:gd name="connsiteY42" fmla="*/ 1447800 h 2065020"/>
              <a:gd name="connsiteX43" fmla="*/ 333375 w 1203960"/>
              <a:gd name="connsiteY43" fmla="*/ 1398270 h 2065020"/>
              <a:gd name="connsiteX44" fmla="*/ 310515 w 1203960"/>
              <a:gd name="connsiteY44" fmla="*/ 1373505 h 2065020"/>
              <a:gd name="connsiteX45" fmla="*/ 205740 w 1203960"/>
              <a:gd name="connsiteY45" fmla="*/ 1318260 h 2065020"/>
              <a:gd name="connsiteX46" fmla="*/ 87630 w 1203960"/>
              <a:gd name="connsiteY46" fmla="*/ 1238250 h 2065020"/>
              <a:gd name="connsiteX47" fmla="*/ 57150 w 1203960"/>
              <a:gd name="connsiteY47" fmla="*/ 1024890 h 2065020"/>
              <a:gd name="connsiteX48" fmla="*/ 87630 w 1203960"/>
              <a:gd name="connsiteY48" fmla="*/ 1017270 h 2065020"/>
              <a:gd name="connsiteX49" fmla="*/ 60960 w 1203960"/>
              <a:gd name="connsiteY49" fmla="*/ 982980 h 2065020"/>
              <a:gd name="connsiteX50" fmla="*/ 22860 w 1203960"/>
              <a:gd name="connsiteY50" fmla="*/ 958215 h 2065020"/>
              <a:gd name="connsiteX51" fmla="*/ 0 w 1203960"/>
              <a:gd name="connsiteY51" fmla="*/ 861060 h 2065020"/>
              <a:gd name="connsiteX52" fmla="*/ 60960 w 1203960"/>
              <a:gd name="connsiteY52" fmla="*/ 872490 h 2065020"/>
              <a:gd name="connsiteX53" fmla="*/ 87630 w 1203960"/>
              <a:gd name="connsiteY53" fmla="*/ 822960 h 2065020"/>
              <a:gd name="connsiteX54" fmla="*/ 64770 w 1203960"/>
              <a:gd name="connsiteY54" fmla="*/ 773430 h 2065020"/>
              <a:gd name="connsiteX55" fmla="*/ 41910 w 1203960"/>
              <a:gd name="connsiteY55" fmla="*/ 737235 h 2065020"/>
              <a:gd name="connsiteX56" fmla="*/ 57150 w 1203960"/>
              <a:gd name="connsiteY56" fmla="*/ 685800 h 2065020"/>
              <a:gd name="connsiteX57" fmla="*/ 121920 w 1203960"/>
              <a:gd name="connsiteY57" fmla="*/ 670560 h 2065020"/>
              <a:gd name="connsiteX58" fmla="*/ 161925 w 1203960"/>
              <a:gd name="connsiteY58" fmla="*/ 676275 h 2065020"/>
              <a:gd name="connsiteX59" fmla="*/ 266700 w 1203960"/>
              <a:gd name="connsiteY59" fmla="*/ 506730 h 2065020"/>
              <a:gd name="connsiteX60" fmla="*/ 285750 w 1203960"/>
              <a:gd name="connsiteY60" fmla="*/ 464820 h 2065020"/>
              <a:gd name="connsiteX0" fmla="*/ 213360 w 1200150"/>
              <a:gd name="connsiteY0" fmla="*/ 312420 h 2065020"/>
              <a:gd name="connsiteX1" fmla="*/ 118110 w 1200150"/>
              <a:gd name="connsiteY1" fmla="*/ 148590 h 2065020"/>
              <a:gd name="connsiteX2" fmla="*/ 118110 w 1200150"/>
              <a:gd name="connsiteY2" fmla="*/ 0 h 2065020"/>
              <a:gd name="connsiteX3" fmla="*/ 765810 w 1200150"/>
              <a:gd name="connsiteY3" fmla="*/ 0 h 2065020"/>
              <a:gd name="connsiteX4" fmla="*/ 765810 w 1200150"/>
              <a:gd name="connsiteY4" fmla="*/ 331470 h 2065020"/>
              <a:gd name="connsiteX5" fmla="*/ 704850 w 1200150"/>
              <a:gd name="connsiteY5" fmla="*/ 392430 h 2065020"/>
              <a:gd name="connsiteX6" fmla="*/ 676275 w 1200150"/>
              <a:gd name="connsiteY6" fmla="*/ 421005 h 2065020"/>
              <a:gd name="connsiteX7" fmla="*/ 731520 w 1200150"/>
              <a:gd name="connsiteY7" fmla="*/ 449580 h 2065020"/>
              <a:gd name="connsiteX8" fmla="*/ 765810 w 1200150"/>
              <a:gd name="connsiteY8" fmla="*/ 457200 h 2065020"/>
              <a:gd name="connsiteX9" fmla="*/ 773430 w 1200150"/>
              <a:gd name="connsiteY9" fmla="*/ 487680 h 2065020"/>
              <a:gd name="connsiteX10" fmla="*/ 746760 w 1200150"/>
              <a:gd name="connsiteY10" fmla="*/ 533400 h 2065020"/>
              <a:gd name="connsiteX11" fmla="*/ 718185 w 1200150"/>
              <a:gd name="connsiteY11" fmla="*/ 533400 h 2065020"/>
              <a:gd name="connsiteX12" fmla="*/ 714375 w 1200150"/>
              <a:gd name="connsiteY12" fmla="*/ 529590 h 2065020"/>
              <a:gd name="connsiteX13" fmla="*/ 697230 w 1200150"/>
              <a:gd name="connsiteY13" fmla="*/ 552450 h 2065020"/>
              <a:gd name="connsiteX14" fmla="*/ 695325 w 1200150"/>
              <a:gd name="connsiteY14" fmla="*/ 571500 h 2065020"/>
              <a:gd name="connsiteX15" fmla="*/ 701040 w 1200150"/>
              <a:gd name="connsiteY15" fmla="*/ 586740 h 2065020"/>
              <a:gd name="connsiteX16" fmla="*/ 701040 w 1200150"/>
              <a:gd name="connsiteY16" fmla="*/ 598170 h 2065020"/>
              <a:gd name="connsiteX17" fmla="*/ 676275 w 1200150"/>
              <a:gd name="connsiteY17" fmla="*/ 603885 h 2065020"/>
              <a:gd name="connsiteX18" fmla="*/ 655320 w 1200150"/>
              <a:gd name="connsiteY18" fmla="*/ 626745 h 2065020"/>
              <a:gd name="connsiteX19" fmla="*/ 861060 w 1200150"/>
              <a:gd name="connsiteY19" fmla="*/ 632460 h 2065020"/>
              <a:gd name="connsiteX20" fmla="*/ 971550 w 1200150"/>
              <a:gd name="connsiteY20" fmla="*/ 830580 h 2065020"/>
              <a:gd name="connsiteX21" fmla="*/ 1169670 w 1200150"/>
              <a:gd name="connsiteY21" fmla="*/ 963930 h 2065020"/>
              <a:gd name="connsiteX22" fmla="*/ 1184910 w 1200150"/>
              <a:gd name="connsiteY22" fmla="*/ 1215390 h 2065020"/>
              <a:gd name="connsiteX23" fmla="*/ 1200150 w 1200150"/>
              <a:gd name="connsiteY23" fmla="*/ 1226820 h 2065020"/>
              <a:gd name="connsiteX24" fmla="*/ 1198245 w 1200150"/>
              <a:gd name="connsiteY24" fmla="*/ 1282065 h 2065020"/>
              <a:gd name="connsiteX25" fmla="*/ 1085850 w 1200150"/>
              <a:gd name="connsiteY25" fmla="*/ 1268730 h 2065020"/>
              <a:gd name="connsiteX26" fmla="*/ 1078230 w 1200150"/>
              <a:gd name="connsiteY26" fmla="*/ 1268730 h 2065020"/>
              <a:gd name="connsiteX27" fmla="*/ 1062990 w 1200150"/>
              <a:gd name="connsiteY27" fmla="*/ 1264920 h 2065020"/>
              <a:gd name="connsiteX28" fmla="*/ 887730 w 1200150"/>
              <a:gd name="connsiteY28" fmla="*/ 1466850 h 2065020"/>
              <a:gd name="connsiteX29" fmla="*/ 842010 w 1200150"/>
              <a:gd name="connsiteY29" fmla="*/ 1535430 h 2065020"/>
              <a:gd name="connsiteX30" fmla="*/ 739140 w 1200150"/>
              <a:gd name="connsiteY30" fmla="*/ 1718310 h 2065020"/>
              <a:gd name="connsiteX31" fmla="*/ 803910 w 1200150"/>
              <a:gd name="connsiteY31" fmla="*/ 1885950 h 2065020"/>
              <a:gd name="connsiteX32" fmla="*/ 819150 w 1200150"/>
              <a:gd name="connsiteY32" fmla="*/ 1962150 h 2065020"/>
              <a:gd name="connsiteX33" fmla="*/ 773430 w 1200150"/>
              <a:gd name="connsiteY33" fmla="*/ 2026920 h 2065020"/>
              <a:gd name="connsiteX34" fmla="*/ 750570 w 1200150"/>
              <a:gd name="connsiteY34" fmla="*/ 2065020 h 2065020"/>
              <a:gd name="connsiteX35" fmla="*/ 693420 w 1200150"/>
              <a:gd name="connsiteY35" fmla="*/ 2065020 h 2065020"/>
              <a:gd name="connsiteX36" fmla="*/ 541020 w 1200150"/>
              <a:gd name="connsiteY36" fmla="*/ 2007870 h 2065020"/>
              <a:gd name="connsiteX37" fmla="*/ 541020 w 1200150"/>
              <a:gd name="connsiteY37" fmla="*/ 1649730 h 2065020"/>
              <a:gd name="connsiteX38" fmla="*/ 320040 w 1200150"/>
              <a:gd name="connsiteY38" fmla="*/ 1630680 h 2065020"/>
              <a:gd name="connsiteX39" fmla="*/ 304800 w 1200150"/>
              <a:gd name="connsiteY39" fmla="*/ 1602105 h 2065020"/>
              <a:gd name="connsiteX40" fmla="*/ 316230 w 1200150"/>
              <a:gd name="connsiteY40" fmla="*/ 1558290 h 2065020"/>
              <a:gd name="connsiteX41" fmla="*/ 323850 w 1200150"/>
              <a:gd name="connsiteY41" fmla="*/ 1497330 h 2065020"/>
              <a:gd name="connsiteX42" fmla="*/ 331470 w 1200150"/>
              <a:gd name="connsiteY42" fmla="*/ 1447800 h 2065020"/>
              <a:gd name="connsiteX43" fmla="*/ 333375 w 1200150"/>
              <a:gd name="connsiteY43" fmla="*/ 1398270 h 2065020"/>
              <a:gd name="connsiteX44" fmla="*/ 310515 w 1200150"/>
              <a:gd name="connsiteY44" fmla="*/ 1373505 h 2065020"/>
              <a:gd name="connsiteX45" fmla="*/ 205740 w 1200150"/>
              <a:gd name="connsiteY45" fmla="*/ 1318260 h 2065020"/>
              <a:gd name="connsiteX46" fmla="*/ 87630 w 1200150"/>
              <a:gd name="connsiteY46" fmla="*/ 1238250 h 2065020"/>
              <a:gd name="connsiteX47" fmla="*/ 57150 w 1200150"/>
              <a:gd name="connsiteY47" fmla="*/ 1024890 h 2065020"/>
              <a:gd name="connsiteX48" fmla="*/ 87630 w 1200150"/>
              <a:gd name="connsiteY48" fmla="*/ 1017270 h 2065020"/>
              <a:gd name="connsiteX49" fmla="*/ 60960 w 1200150"/>
              <a:gd name="connsiteY49" fmla="*/ 982980 h 2065020"/>
              <a:gd name="connsiteX50" fmla="*/ 22860 w 1200150"/>
              <a:gd name="connsiteY50" fmla="*/ 958215 h 2065020"/>
              <a:gd name="connsiteX51" fmla="*/ 0 w 1200150"/>
              <a:gd name="connsiteY51" fmla="*/ 861060 h 2065020"/>
              <a:gd name="connsiteX52" fmla="*/ 60960 w 1200150"/>
              <a:gd name="connsiteY52" fmla="*/ 872490 h 2065020"/>
              <a:gd name="connsiteX53" fmla="*/ 87630 w 1200150"/>
              <a:gd name="connsiteY53" fmla="*/ 822960 h 2065020"/>
              <a:gd name="connsiteX54" fmla="*/ 64770 w 1200150"/>
              <a:gd name="connsiteY54" fmla="*/ 773430 h 2065020"/>
              <a:gd name="connsiteX55" fmla="*/ 41910 w 1200150"/>
              <a:gd name="connsiteY55" fmla="*/ 737235 h 2065020"/>
              <a:gd name="connsiteX56" fmla="*/ 57150 w 1200150"/>
              <a:gd name="connsiteY56" fmla="*/ 685800 h 2065020"/>
              <a:gd name="connsiteX57" fmla="*/ 121920 w 1200150"/>
              <a:gd name="connsiteY57" fmla="*/ 670560 h 2065020"/>
              <a:gd name="connsiteX58" fmla="*/ 161925 w 1200150"/>
              <a:gd name="connsiteY58" fmla="*/ 676275 h 2065020"/>
              <a:gd name="connsiteX59" fmla="*/ 266700 w 1200150"/>
              <a:gd name="connsiteY59" fmla="*/ 506730 h 2065020"/>
              <a:gd name="connsiteX60" fmla="*/ 285750 w 1200150"/>
              <a:gd name="connsiteY60" fmla="*/ 464820 h 2065020"/>
              <a:gd name="connsiteX0" fmla="*/ 213360 w 1198245"/>
              <a:gd name="connsiteY0" fmla="*/ 312420 h 2065020"/>
              <a:gd name="connsiteX1" fmla="*/ 118110 w 1198245"/>
              <a:gd name="connsiteY1" fmla="*/ 148590 h 2065020"/>
              <a:gd name="connsiteX2" fmla="*/ 118110 w 1198245"/>
              <a:gd name="connsiteY2" fmla="*/ 0 h 2065020"/>
              <a:gd name="connsiteX3" fmla="*/ 765810 w 1198245"/>
              <a:gd name="connsiteY3" fmla="*/ 0 h 2065020"/>
              <a:gd name="connsiteX4" fmla="*/ 765810 w 1198245"/>
              <a:gd name="connsiteY4" fmla="*/ 331470 h 2065020"/>
              <a:gd name="connsiteX5" fmla="*/ 704850 w 1198245"/>
              <a:gd name="connsiteY5" fmla="*/ 392430 h 2065020"/>
              <a:gd name="connsiteX6" fmla="*/ 676275 w 1198245"/>
              <a:gd name="connsiteY6" fmla="*/ 421005 h 2065020"/>
              <a:gd name="connsiteX7" fmla="*/ 731520 w 1198245"/>
              <a:gd name="connsiteY7" fmla="*/ 449580 h 2065020"/>
              <a:gd name="connsiteX8" fmla="*/ 765810 w 1198245"/>
              <a:gd name="connsiteY8" fmla="*/ 457200 h 2065020"/>
              <a:gd name="connsiteX9" fmla="*/ 773430 w 1198245"/>
              <a:gd name="connsiteY9" fmla="*/ 487680 h 2065020"/>
              <a:gd name="connsiteX10" fmla="*/ 746760 w 1198245"/>
              <a:gd name="connsiteY10" fmla="*/ 533400 h 2065020"/>
              <a:gd name="connsiteX11" fmla="*/ 718185 w 1198245"/>
              <a:gd name="connsiteY11" fmla="*/ 533400 h 2065020"/>
              <a:gd name="connsiteX12" fmla="*/ 714375 w 1198245"/>
              <a:gd name="connsiteY12" fmla="*/ 529590 h 2065020"/>
              <a:gd name="connsiteX13" fmla="*/ 697230 w 1198245"/>
              <a:gd name="connsiteY13" fmla="*/ 552450 h 2065020"/>
              <a:gd name="connsiteX14" fmla="*/ 695325 w 1198245"/>
              <a:gd name="connsiteY14" fmla="*/ 571500 h 2065020"/>
              <a:gd name="connsiteX15" fmla="*/ 701040 w 1198245"/>
              <a:gd name="connsiteY15" fmla="*/ 586740 h 2065020"/>
              <a:gd name="connsiteX16" fmla="*/ 701040 w 1198245"/>
              <a:gd name="connsiteY16" fmla="*/ 598170 h 2065020"/>
              <a:gd name="connsiteX17" fmla="*/ 676275 w 1198245"/>
              <a:gd name="connsiteY17" fmla="*/ 603885 h 2065020"/>
              <a:gd name="connsiteX18" fmla="*/ 655320 w 1198245"/>
              <a:gd name="connsiteY18" fmla="*/ 626745 h 2065020"/>
              <a:gd name="connsiteX19" fmla="*/ 861060 w 1198245"/>
              <a:gd name="connsiteY19" fmla="*/ 632460 h 2065020"/>
              <a:gd name="connsiteX20" fmla="*/ 971550 w 1198245"/>
              <a:gd name="connsiteY20" fmla="*/ 830580 h 2065020"/>
              <a:gd name="connsiteX21" fmla="*/ 1169670 w 1198245"/>
              <a:gd name="connsiteY21" fmla="*/ 963930 h 2065020"/>
              <a:gd name="connsiteX22" fmla="*/ 1184910 w 1198245"/>
              <a:gd name="connsiteY22" fmla="*/ 1215390 h 2065020"/>
              <a:gd name="connsiteX23" fmla="*/ 1196340 w 1198245"/>
              <a:gd name="connsiteY23" fmla="*/ 1232535 h 2065020"/>
              <a:gd name="connsiteX24" fmla="*/ 1198245 w 1198245"/>
              <a:gd name="connsiteY24" fmla="*/ 1282065 h 2065020"/>
              <a:gd name="connsiteX25" fmla="*/ 1085850 w 1198245"/>
              <a:gd name="connsiteY25" fmla="*/ 1268730 h 2065020"/>
              <a:gd name="connsiteX26" fmla="*/ 1078230 w 1198245"/>
              <a:gd name="connsiteY26" fmla="*/ 1268730 h 2065020"/>
              <a:gd name="connsiteX27" fmla="*/ 1062990 w 1198245"/>
              <a:gd name="connsiteY27" fmla="*/ 1264920 h 2065020"/>
              <a:gd name="connsiteX28" fmla="*/ 887730 w 1198245"/>
              <a:gd name="connsiteY28" fmla="*/ 1466850 h 2065020"/>
              <a:gd name="connsiteX29" fmla="*/ 842010 w 1198245"/>
              <a:gd name="connsiteY29" fmla="*/ 1535430 h 2065020"/>
              <a:gd name="connsiteX30" fmla="*/ 739140 w 1198245"/>
              <a:gd name="connsiteY30" fmla="*/ 1718310 h 2065020"/>
              <a:gd name="connsiteX31" fmla="*/ 803910 w 1198245"/>
              <a:gd name="connsiteY31" fmla="*/ 1885950 h 2065020"/>
              <a:gd name="connsiteX32" fmla="*/ 819150 w 1198245"/>
              <a:gd name="connsiteY32" fmla="*/ 1962150 h 2065020"/>
              <a:gd name="connsiteX33" fmla="*/ 773430 w 1198245"/>
              <a:gd name="connsiteY33" fmla="*/ 2026920 h 2065020"/>
              <a:gd name="connsiteX34" fmla="*/ 750570 w 1198245"/>
              <a:gd name="connsiteY34" fmla="*/ 2065020 h 2065020"/>
              <a:gd name="connsiteX35" fmla="*/ 693420 w 1198245"/>
              <a:gd name="connsiteY35" fmla="*/ 2065020 h 2065020"/>
              <a:gd name="connsiteX36" fmla="*/ 541020 w 1198245"/>
              <a:gd name="connsiteY36" fmla="*/ 2007870 h 2065020"/>
              <a:gd name="connsiteX37" fmla="*/ 541020 w 1198245"/>
              <a:gd name="connsiteY37" fmla="*/ 1649730 h 2065020"/>
              <a:gd name="connsiteX38" fmla="*/ 320040 w 1198245"/>
              <a:gd name="connsiteY38" fmla="*/ 1630680 h 2065020"/>
              <a:gd name="connsiteX39" fmla="*/ 304800 w 1198245"/>
              <a:gd name="connsiteY39" fmla="*/ 1602105 h 2065020"/>
              <a:gd name="connsiteX40" fmla="*/ 316230 w 1198245"/>
              <a:gd name="connsiteY40" fmla="*/ 1558290 h 2065020"/>
              <a:gd name="connsiteX41" fmla="*/ 323850 w 1198245"/>
              <a:gd name="connsiteY41" fmla="*/ 1497330 h 2065020"/>
              <a:gd name="connsiteX42" fmla="*/ 331470 w 1198245"/>
              <a:gd name="connsiteY42" fmla="*/ 1447800 h 2065020"/>
              <a:gd name="connsiteX43" fmla="*/ 333375 w 1198245"/>
              <a:gd name="connsiteY43" fmla="*/ 1398270 h 2065020"/>
              <a:gd name="connsiteX44" fmla="*/ 310515 w 1198245"/>
              <a:gd name="connsiteY44" fmla="*/ 1373505 h 2065020"/>
              <a:gd name="connsiteX45" fmla="*/ 205740 w 1198245"/>
              <a:gd name="connsiteY45" fmla="*/ 1318260 h 2065020"/>
              <a:gd name="connsiteX46" fmla="*/ 87630 w 1198245"/>
              <a:gd name="connsiteY46" fmla="*/ 1238250 h 2065020"/>
              <a:gd name="connsiteX47" fmla="*/ 57150 w 1198245"/>
              <a:gd name="connsiteY47" fmla="*/ 1024890 h 2065020"/>
              <a:gd name="connsiteX48" fmla="*/ 87630 w 1198245"/>
              <a:gd name="connsiteY48" fmla="*/ 1017270 h 2065020"/>
              <a:gd name="connsiteX49" fmla="*/ 60960 w 1198245"/>
              <a:gd name="connsiteY49" fmla="*/ 982980 h 2065020"/>
              <a:gd name="connsiteX50" fmla="*/ 22860 w 1198245"/>
              <a:gd name="connsiteY50" fmla="*/ 958215 h 2065020"/>
              <a:gd name="connsiteX51" fmla="*/ 0 w 1198245"/>
              <a:gd name="connsiteY51" fmla="*/ 861060 h 2065020"/>
              <a:gd name="connsiteX52" fmla="*/ 60960 w 1198245"/>
              <a:gd name="connsiteY52" fmla="*/ 872490 h 2065020"/>
              <a:gd name="connsiteX53" fmla="*/ 87630 w 1198245"/>
              <a:gd name="connsiteY53" fmla="*/ 822960 h 2065020"/>
              <a:gd name="connsiteX54" fmla="*/ 64770 w 1198245"/>
              <a:gd name="connsiteY54" fmla="*/ 773430 h 2065020"/>
              <a:gd name="connsiteX55" fmla="*/ 41910 w 1198245"/>
              <a:gd name="connsiteY55" fmla="*/ 737235 h 2065020"/>
              <a:gd name="connsiteX56" fmla="*/ 57150 w 1198245"/>
              <a:gd name="connsiteY56" fmla="*/ 685800 h 2065020"/>
              <a:gd name="connsiteX57" fmla="*/ 121920 w 1198245"/>
              <a:gd name="connsiteY57" fmla="*/ 670560 h 2065020"/>
              <a:gd name="connsiteX58" fmla="*/ 161925 w 1198245"/>
              <a:gd name="connsiteY58" fmla="*/ 676275 h 2065020"/>
              <a:gd name="connsiteX59" fmla="*/ 266700 w 1198245"/>
              <a:gd name="connsiteY59" fmla="*/ 506730 h 2065020"/>
              <a:gd name="connsiteX60" fmla="*/ 285750 w 1198245"/>
              <a:gd name="connsiteY60" fmla="*/ 464820 h 2065020"/>
              <a:gd name="connsiteX0" fmla="*/ 213360 w 1198245"/>
              <a:gd name="connsiteY0" fmla="*/ 312420 h 2065020"/>
              <a:gd name="connsiteX1" fmla="*/ 118110 w 1198245"/>
              <a:gd name="connsiteY1" fmla="*/ 148590 h 2065020"/>
              <a:gd name="connsiteX2" fmla="*/ 118110 w 1198245"/>
              <a:gd name="connsiteY2" fmla="*/ 0 h 2065020"/>
              <a:gd name="connsiteX3" fmla="*/ 765810 w 1198245"/>
              <a:gd name="connsiteY3" fmla="*/ 0 h 2065020"/>
              <a:gd name="connsiteX4" fmla="*/ 765810 w 1198245"/>
              <a:gd name="connsiteY4" fmla="*/ 331470 h 2065020"/>
              <a:gd name="connsiteX5" fmla="*/ 704850 w 1198245"/>
              <a:gd name="connsiteY5" fmla="*/ 392430 h 2065020"/>
              <a:gd name="connsiteX6" fmla="*/ 676275 w 1198245"/>
              <a:gd name="connsiteY6" fmla="*/ 421005 h 2065020"/>
              <a:gd name="connsiteX7" fmla="*/ 731520 w 1198245"/>
              <a:gd name="connsiteY7" fmla="*/ 449580 h 2065020"/>
              <a:gd name="connsiteX8" fmla="*/ 765810 w 1198245"/>
              <a:gd name="connsiteY8" fmla="*/ 457200 h 2065020"/>
              <a:gd name="connsiteX9" fmla="*/ 773430 w 1198245"/>
              <a:gd name="connsiteY9" fmla="*/ 487680 h 2065020"/>
              <a:gd name="connsiteX10" fmla="*/ 746760 w 1198245"/>
              <a:gd name="connsiteY10" fmla="*/ 533400 h 2065020"/>
              <a:gd name="connsiteX11" fmla="*/ 718185 w 1198245"/>
              <a:gd name="connsiteY11" fmla="*/ 533400 h 2065020"/>
              <a:gd name="connsiteX12" fmla="*/ 714375 w 1198245"/>
              <a:gd name="connsiteY12" fmla="*/ 529590 h 2065020"/>
              <a:gd name="connsiteX13" fmla="*/ 697230 w 1198245"/>
              <a:gd name="connsiteY13" fmla="*/ 552450 h 2065020"/>
              <a:gd name="connsiteX14" fmla="*/ 695325 w 1198245"/>
              <a:gd name="connsiteY14" fmla="*/ 571500 h 2065020"/>
              <a:gd name="connsiteX15" fmla="*/ 701040 w 1198245"/>
              <a:gd name="connsiteY15" fmla="*/ 586740 h 2065020"/>
              <a:gd name="connsiteX16" fmla="*/ 701040 w 1198245"/>
              <a:gd name="connsiteY16" fmla="*/ 598170 h 2065020"/>
              <a:gd name="connsiteX17" fmla="*/ 676275 w 1198245"/>
              <a:gd name="connsiteY17" fmla="*/ 603885 h 2065020"/>
              <a:gd name="connsiteX18" fmla="*/ 655320 w 1198245"/>
              <a:gd name="connsiteY18" fmla="*/ 626745 h 2065020"/>
              <a:gd name="connsiteX19" fmla="*/ 861060 w 1198245"/>
              <a:gd name="connsiteY19" fmla="*/ 632460 h 2065020"/>
              <a:gd name="connsiteX20" fmla="*/ 971550 w 1198245"/>
              <a:gd name="connsiteY20" fmla="*/ 830580 h 2065020"/>
              <a:gd name="connsiteX21" fmla="*/ 1169670 w 1198245"/>
              <a:gd name="connsiteY21" fmla="*/ 963930 h 2065020"/>
              <a:gd name="connsiteX22" fmla="*/ 1184910 w 1198245"/>
              <a:gd name="connsiteY22" fmla="*/ 1215390 h 2065020"/>
              <a:gd name="connsiteX23" fmla="*/ 1196340 w 1198245"/>
              <a:gd name="connsiteY23" fmla="*/ 1232535 h 2065020"/>
              <a:gd name="connsiteX24" fmla="*/ 1198245 w 1198245"/>
              <a:gd name="connsiteY24" fmla="*/ 1282065 h 2065020"/>
              <a:gd name="connsiteX25" fmla="*/ 1085850 w 1198245"/>
              <a:gd name="connsiteY25" fmla="*/ 1268730 h 2065020"/>
              <a:gd name="connsiteX26" fmla="*/ 1078230 w 1198245"/>
              <a:gd name="connsiteY26" fmla="*/ 1268730 h 2065020"/>
              <a:gd name="connsiteX27" fmla="*/ 1062990 w 1198245"/>
              <a:gd name="connsiteY27" fmla="*/ 1264920 h 2065020"/>
              <a:gd name="connsiteX28" fmla="*/ 887730 w 1198245"/>
              <a:gd name="connsiteY28" fmla="*/ 1466850 h 2065020"/>
              <a:gd name="connsiteX29" fmla="*/ 842010 w 1198245"/>
              <a:gd name="connsiteY29" fmla="*/ 1535430 h 2065020"/>
              <a:gd name="connsiteX30" fmla="*/ 739140 w 1198245"/>
              <a:gd name="connsiteY30" fmla="*/ 1718310 h 2065020"/>
              <a:gd name="connsiteX31" fmla="*/ 803910 w 1198245"/>
              <a:gd name="connsiteY31" fmla="*/ 1885950 h 2065020"/>
              <a:gd name="connsiteX32" fmla="*/ 819150 w 1198245"/>
              <a:gd name="connsiteY32" fmla="*/ 1962150 h 2065020"/>
              <a:gd name="connsiteX33" fmla="*/ 773430 w 1198245"/>
              <a:gd name="connsiteY33" fmla="*/ 2026920 h 2065020"/>
              <a:gd name="connsiteX34" fmla="*/ 750570 w 1198245"/>
              <a:gd name="connsiteY34" fmla="*/ 2065020 h 2065020"/>
              <a:gd name="connsiteX35" fmla="*/ 693420 w 1198245"/>
              <a:gd name="connsiteY35" fmla="*/ 2065020 h 2065020"/>
              <a:gd name="connsiteX36" fmla="*/ 541020 w 1198245"/>
              <a:gd name="connsiteY36" fmla="*/ 2007870 h 2065020"/>
              <a:gd name="connsiteX37" fmla="*/ 541020 w 1198245"/>
              <a:gd name="connsiteY37" fmla="*/ 1649730 h 2065020"/>
              <a:gd name="connsiteX38" fmla="*/ 320040 w 1198245"/>
              <a:gd name="connsiteY38" fmla="*/ 1630680 h 2065020"/>
              <a:gd name="connsiteX39" fmla="*/ 304800 w 1198245"/>
              <a:gd name="connsiteY39" fmla="*/ 1602105 h 2065020"/>
              <a:gd name="connsiteX40" fmla="*/ 316230 w 1198245"/>
              <a:gd name="connsiteY40" fmla="*/ 1558290 h 2065020"/>
              <a:gd name="connsiteX41" fmla="*/ 323850 w 1198245"/>
              <a:gd name="connsiteY41" fmla="*/ 1497330 h 2065020"/>
              <a:gd name="connsiteX42" fmla="*/ 331470 w 1198245"/>
              <a:gd name="connsiteY42" fmla="*/ 1447800 h 2065020"/>
              <a:gd name="connsiteX43" fmla="*/ 333375 w 1198245"/>
              <a:gd name="connsiteY43" fmla="*/ 1398270 h 2065020"/>
              <a:gd name="connsiteX44" fmla="*/ 310515 w 1198245"/>
              <a:gd name="connsiteY44" fmla="*/ 1373505 h 2065020"/>
              <a:gd name="connsiteX45" fmla="*/ 205740 w 1198245"/>
              <a:gd name="connsiteY45" fmla="*/ 1318260 h 2065020"/>
              <a:gd name="connsiteX46" fmla="*/ 87630 w 1198245"/>
              <a:gd name="connsiteY46" fmla="*/ 1238250 h 2065020"/>
              <a:gd name="connsiteX47" fmla="*/ 57150 w 1198245"/>
              <a:gd name="connsiteY47" fmla="*/ 1024890 h 2065020"/>
              <a:gd name="connsiteX48" fmla="*/ 87630 w 1198245"/>
              <a:gd name="connsiteY48" fmla="*/ 1017270 h 2065020"/>
              <a:gd name="connsiteX49" fmla="*/ 60960 w 1198245"/>
              <a:gd name="connsiteY49" fmla="*/ 982980 h 2065020"/>
              <a:gd name="connsiteX50" fmla="*/ 22860 w 1198245"/>
              <a:gd name="connsiteY50" fmla="*/ 958215 h 2065020"/>
              <a:gd name="connsiteX51" fmla="*/ 0 w 1198245"/>
              <a:gd name="connsiteY51" fmla="*/ 861060 h 2065020"/>
              <a:gd name="connsiteX52" fmla="*/ 60960 w 1198245"/>
              <a:gd name="connsiteY52" fmla="*/ 872490 h 2065020"/>
              <a:gd name="connsiteX53" fmla="*/ 87630 w 1198245"/>
              <a:gd name="connsiteY53" fmla="*/ 822960 h 2065020"/>
              <a:gd name="connsiteX54" fmla="*/ 64770 w 1198245"/>
              <a:gd name="connsiteY54" fmla="*/ 773430 h 2065020"/>
              <a:gd name="connsiteX55" fmla="*/ 41910 w 1198245"/>
              <a:gd name="connsiteY55" fmla="*/ 737235 h 2065020"/>
              <a:gd name="connsiteX56" fmla="*/ 57150 w 1198245"/>
              <a:gd name="connsiteY56" fmla="*/ 685800 h 2065020"/>
              <a:gd name="connsiteX57" fmla="*/ 121920 w 1198245"/>
              <a:gd name="connsiteY57" fmla="*/ 670560 h 2065020"/>
              <a:gd name="connsiteX58" fmla="*/ 161925 w 1198245"/>
              <a:gd name="connsiteY58" fmla="*/ 676275 h 2065020"/>
              <a:gd name="connsiteX59" fmla="*/ 266700 w 1198245"/>
              <a:gd name="connsiteY59" fmla="*/ 506730 h 2065020"/>
              <a:gd name="connsiteX60" fmla="*/ 312091 w 1198245"/>
              <a:gd name="connsiteY60" fmla="*/ 432126 h 2065020"/>
              <a:gd name="connsiteX0" fmla="*/ 213360 w 1198245"/>
              <a:gd name="connsiteY0" fmla="*/ 312420 h 2065020"/>
              <a:gd name="connsiteX1" fmla="*/ 118110 w 1198245"/>
              <a:gd name="connsiteY1" fmla="*/ 148590 h 2065020"/>
              <a:gd name="connsiteX2" fmla="*/ 118110 w 1198245"/>
              <a:gd name="connsiteY2" fmla="*/ 0 h 2065020"/>
              <a:gd name="connsiteX3" fmla="*/ 765810 w 1198245"/>
              <a:gd name="connsiteY3" fmla="*/ 0 h 2065020"/>
              <a:gd name="connsiteX4" fmla="*/ 765810 w 1198245"/>
              <a:gd name="connsiteY4" fmla="*/ 331470 h 2065020"/>
              <a:gd name="connsiteX5" fmla="*/ 704850 w 1198245"/>
              <a:gd name="connsiteY5" fmla="*/ 392430 h 2065020"/>
              <a:gd name="connsiteX6" fmla="*/ 676275 w 1198245"/>
              <a:gd name="connsiteY6" fmla="*/ 421005 h 2065020"/>
              <a:gd name="connsiteX7" fmla="*/ 731520 w 1198245"/>
              <a:gd name="connsiteY7" fmla="*/ 449580 h 2065020"/>
              <a:gd name="connsiteX8" fmla="*/ 765810 w 1198245"/>
              <a:gd name="connsiteY8" fmla="*/ 457200 h 2065020"/>
              <a:gd name="connsiteX9" fmla="*/ 773430 w 1198245"/>
              <a:gd name="connsiteY9" fmla="*/ 487680 h 2065020"/>
              <a:gd name="connsiteX10" fmla="*/ 746760 w 1198245"/>
              <a:gd name="connsiteY10" fmla="*/ 533400 h 2065020"/>
              <a:gd name="connsiteX11" fmla="*/ 718185 w 1198245"/>
              <a:gd name="connsiteY11" fmla="*/ 533400 h 2065020"/>
              <a:gd name="connsiteX12" fmla="*/ 714375 w 1198245"/>
              <a:gd name="connsiteY12" fmla="*/ 529590 h 2065020"/>
              <a:gd name="connsiteX13" fmla="*/ 697230 w 1198245"/>
              <a:gd name="connsiteY13" fmla="*/ 552450 h 2065020"/>
              <a:gd name="connsiteX14" fmla="*/ 695325 w 1198245"/>
              <a:gd name="connsiteY14" fmla="*/ 571500 h 2065020"/>
              <a:gd name="connsiteX15" fmla="*/ 701040 w 1198245"/>
              <a:gd name="connsiteY15" fmla="*/ 586740 h 2065020"/>
              <a:gd name="connsiteX16" fmla="*/ 701040 w 1198245"/>
              <a:gd name="connsiteY16" fmla="*/ 598170 h 2065020"/>
              <a:gd name="connsiteX17" fmla="*/ 676275 w 1198245"/>
              <a:gd name="connsiteY17" fmla="*/ 603885 h 2065020"/>
              <a:gd name="connsiteX18" fmla="*/ 655320 w 1198245"/>
              <a:gd name="connsiteY18" fmla="*/ 626745 h 2065020"/>
              <a:gd name="connsiteX19" fmla="*/ 861060 w 1198245"/>
              <a:gd name="connsiteY19" fmla="*/ 632460 h 2065020"/>
              <a:gd name="connsiteX20" fmla="*/ 971550 w 1198245"/>
              <a:gd name="connsiteY20" fmla="*/ 830580 h 2065020"/>
              <a:gd name="connsiteX21" fmla="*/ 1169670 w 1198245"/>
              <a:gd name="connsiteY21" fmla="*/ 963930 h 2065020"/>
              <a:gd name="connsiteX22" fmla="*/ 1184910 w 1198245"/>
              <a:gd name="connsiteY22" fmla="*/ 1215390 h 2065020"/>
              <a:gd name="connsiteX23" fmla="*/ 1196340 w 1198245"/>
              <a:gd name="connsiteY23" fmla="*/ 1232535 h 2065020"/>
              <a:gd name="connsiteX24" fmla="*/ 1198245 w 1198245"/>
              <a:gd name="connsiteY24" fmla="*/ 1282065 h 2065020"/>
              <a:gd name="connsiteX25" fmla="*/ 1085850 w 1198245"/>
              <a:gd name="connsiteY25" fmla="*/ 1268730 h 2065020"/>
              <a:gd name="connsiteX26" fmla="*/ 1078230 w 1198245"/>
              <a:gd name="connsiteY26" fmla="*/ 1268730 h 2065020"/>
              <a:gd name="connsiteX27" fmla="*/ 1062990 w 1198245"/>
              <a:gd name="connsiteY27" fmla="*/ 1264920 h 2065020"/>
              <a:gd name="connsiteX28" fmla="*/ 887730 w 1198245"/>
              <a:gd name="connsiteY28" fmla="*/ 1466850 h 2065020"/>
              <a:gd name="connsiteX29" fmla="*/ 842010 w 1198245"/>
              <a:gd name="connsiteY29" fmla="*/ 1535430 h 2065020"/>
              <a:gd name="connsiteX30" fmla="*/ 739140 w 1198245"/>
              <a:gd name="connsiteY30" fmla="*/ 1718310 h 2065020"/>
              <a:gd name="connsiteX31" fmla="*/ 803910 w 1198245"/>
              <a:gd name="connsiteY31" fmla="*/ 1885950 h 2065020"/>
              <a:gd name="connsiteX32" fmla="*/ 819150 w 1198245"/>
              <a:gd name="connsiteY32" fmla="*/ 1962150 h 2065020"/>
              <a:gd name="connsiteX33" fmla="*/ 773430 w 1198245"/>
              <a:gd name="connsiteY33" fmla="*/ 2026920 h 2065020"/>
              <a:gd name="connsiteX34" fmla="*/ 750570 w 1198245"/>
              <a:gd name="connsiteY34" fmla="*/ 2065020 h 2065020"/>
              <a:gd name="connsiteX35" fmla="*/ 693420 w 1198245"/>
              <a:gd name="connsiteY35" fmla="*/ 2065020 h 2065020"/>
              <a:gd name="connsiteX36" fmla="*/ 541020 w 1198245"/>
              <a:gd name="connsiteY36" fmla="*/ 2007870 h 2065020"/>
              <a:gd name="connsiteX37" fmla="*/ 541020 w 1198245"/>
              <a:gd name="connsiteY37" fmla="*/ 1649730 h 2065020"/>
              <a:gd name="connsiteX38" fmla="*/ 320040 w 1198245"/>
              <a:gd name="connsiteY38" fmla="*/ 1630680 h 2065020"/>
              <a:gd name="connsiteX39" fmla="*/ 304800 w 1198245"/>
              <a:gd name="connsiteY39" fmla="*/ 1602105 h 2065020"/>
              <a:gd name="connsiteX40" fmla="*/ 316230 w 1198245"/>
              <a:gd name="connsiteY40" fmla="*/ 1558290 h 2065020"/>
              <a:gd name="connsiteX41" fmla="*/ 323850 w 1198245"/>
              <a:gd name="connsiteY41" fmla="*/ 1497330 h 2065020"/>
              <a:gd name="connsiteX42" fmla="*/ 331470 w 1198245"/>
              <a:gd name="connsiteY42" fmla="*/ 1447800 h 2065020"/>
              <a:gd name="connsiteX43" fmla="*/ 333375 w 1198245"/>
              <a:gd name="connsiteY43" fmla="*/ 1398270 h 2065020"/>
              <a:gd name="connsiteX44" fmla="*/ 310515 w 1198245"/>
              <a:gd name="connsiteY44" fmla="*/ 1373505 h 2065020"/>
              <a:gd name="connsiteX45" fmla="*/ 205740 w 1198245"/>
              <a:gd name="connsiteY45" fmla="*/ 1318260 h 2065020"/>
              <a:gd name="connsiteX46" fmla="*/ 87630 w 1198245"/>
              <a:gd name="connsiteY46" fmla="*/ 1238250 h 2065020"/>
              <a:gd name="connsiteX47" fmla="*/ 57150 w 1198245"/>
              <a:gd name="connsiteY47" fmla="*/ 1024890 h 2065020"/>
              <a:gd name="connsiteX48" fmla="*/ 87630 w 1198245"/>
              <a:gd name="connsiteY48" fmla="*/ 1017270 h 2065020"/>
              <a:gd name="connsiteX49" fmla="*/ 60960 w 1198245"/>
              <a:gd name="connsiteY49" fmla="*/ 982980 h 2065020"/>
              <a:gd name="connsiteX50" fmla="*/ 22860 w 1198245"/>
              <a:gd name="connsiteY50" fmla="*/ 958215 h 2065020"/>
              <a:gd name="connsiteX51" fmla="*/ 0 w 1198245"/>
              <a:gd name="connsiteY51" fmla="*/ 861060 h 2065020"/>
              <a:gd name="connsiteX52" fmla="*/ 60960 w 1198245"/>
              <a:gd name="connsiteY52" fmla="*/ 872490 h 2065020"/>
              <a:gd name="connsiteX53" fmla="*/ 87630 w 1198245"/>
              <a:gd name="connsiteY53" fmla="*/ 822960 h 2065020"/>
              <a:gd name="connsiteX54" fmla="*/ 64770 w 1198245"/>
              <a:gd name="connsiteY54" fmla="*/ 773430 h 2065020"/>
              <a:gd name="connsiteX55" fmla="*/ 41910 w 1198245"/>
              <a:gd name="connsiteY55" fmla="*/ 737235 h 2065020"/>
              <a:gd name="connsiteX56" fmla="*/ 57150 w 1198245"/>
              <a:gd name="connsiteY56" fmla="*/ 685800 h 2065020"/>
              <a:gd name="connsiteX57" fmla="*/ 121920 w 1198245"/>
              <a:gd name="connsiteY57" fmla="*/ 670560 h 2065020"/>
              <a:gd name="connsiteX58" fmla="*/ 161925 w 1198245"/>
              <a:gd name="connsiteY58" fmla="*/ 676275 h 2065020"/>
              <a:gd name="connsiteX59" fmla="*/ 266700 w 1198245"/>
              <a:gd name="connsiteY59" fmla="*/ 506730 h 2065020"/>
              <a:gd name="connsiteX60" fmla="*/ 295805 w 1198245"/>
              <a:gd name="connsiteY60" fmla="*/ 463229 h 2065020"/>
              <a:gd name="connsiteX61" fmla="*/ 312091 w 1198245"/>
              <a:gd name="connsiteY61" fmla="*/ 432126 h 2065020"/>
              <a:gd name="connsiteX0" fmla="*/ 213360 w 1198245"/>
              <a:gd name="connsiteY0" fmla="*/ 312420 h 2065020"/>
              <a:gd name="connsiteX1" fmla="*/ 118110 w 1198245"/>
              <a:gd name="connsiteY1" fmla="*/ 148590 h 2065020"/>
              <a:gd name="connsiteX2" fmla="*/ 118110 w 1198245"/>
              <a:gd name="connsiteY2" fmla="*/ 0 h 2065020"/>
              <a:gd name="connsiteX3" fmla="*/ 765810 w 1198245"/>
              <a:gd name="connsiteY3" fmla="*/ 0 h 2065020"/>
              <a:gd name="connsiteX4" fmla="*/ 765810 w 1198245"/>
              <a:gd name="connsiteY4" fmla="*/ 331470 h 2065020"/>
              <a:gd name="connsiteX5" fmla="*/ 704850 w 1198245"/>
              <a:gd name="connsiteY5" fmla="*/ 392430 h 2065020"/>
              <a:gd name="connsiteX6" fmla="*/ 676275 w 1198245"/>
              <a:gd name="connsiteY6" fmla="*/ 421005 h 2065020"/>
              <a:gd name="connsiteX7" fmla="*/ 731520 w 1198245"/>
              <a:gd name="connsiteY7" fmla="*/ 449580 h 2065020"/>
              <a:gd name="connsiteX8" fmla="*/ 765810 w 1198245"/>
              <a:gd name="connsiteY8" fmla="*/ 457200 h 2065020"/>
              <a:gd name="connsiteX9" fmla="*/ 773430 w 1198245"/>
              <a:gd name="connsiteY9" fmla="*/ 487680 h 2065020"/>
              <a:gd name="connsiteX10" fmla="*/ 746760 w 1198245"/>
              <a:gd name="connsiteY10" fmla="*/ 533400 h 2065020"/>
              <a:gd name="connsiteX11" fmla="*/ 718185 w 1198245"/>
              <a:gd name="connsiteY11" fmla="*/ 533400 h 2065020"/>
              <a:gd name="connsiteX12" fmla="*/ 714375 w 1198245"/>
              <a:gd name="connsiteY12" fmla="*/ 529590 h 2065020"/>
              <a:gd name="connsiteX13" fmla="*/ 697230 w 1198245"/>
              <a:gd name="connsiteY13" fmla="*/ 552450 h 2065020"/>
              <a:gd name="connsiteX14" fmla="*/ 695325 w 1198245"/>
              <a:gd name="connsiteY14" fmla="*/ 571500 h 2065020"/>
              <a:gd name="connsiteX15" fmla="*/ 701040 w 1198245"/>
              <a:gd name="connsiteY15" fmla="*/ 586740 h 2065020"/>
              <a:gd name="connsiteX16" fmla="*/ 701040 w 1198245"/>
              <a:gd name="connsiteY16" fmla="*/ 598170 h 2065020"/>
              <a:gd name="connsiteX17" fmla="*/ 676275 w 1198245"/>
              <a:gd name="connsiteY17" fmla="*/ 603885 h 2065020"/>
              <a:gd name="connsiteX18" fmla="*/ 655320 w 1198245"/>
              <a:gd name="connsiteY18" fmla="*/ 626745 h 2065020"/>
              <a:gd name="connsiteX19" fmla="*/ 861060 w 1198245"/>
              <a:gd name="connsiteY19" fmla="*/ 632460 h 2065020"/>
              <a:gd name="connsiteX20" fmla="*/ 971550 w 1198245"/>
              <a:gd name="connsiteY20" fmla="*/ 830580 h 2065020"/>
              <a:gd name="connsiteX21" fmla="*/ 1169670 w 1198245"/>
              <a:gd name="connsiteY21" fmla="*/ 963930 h 2065020"/>
              <a:gd name="connsiteX22" fmla="*/ 1184910 w 1198245"/>
              <a:gd name="connsiteY22" fmla="*/ 1215390 h 2065020"/>
              <a:gd name="connsiteX23" fmla="*/ 1196340 w 1198245"/>
              <a:gd name="connsiteY23" fmla="*/ 1232535 h 2065020"/>
              <a:gd name="connsiteX24" fmla="*/ 1198245 w 1198245"/>
              <a:gd name="connsiteY24" fmla="*/ 1282065 h 2065020"/>
              <a:gd name="connsiteX25" fmla="*/ 1085850 w 1198245"/>
              <a:gd name="connsiteY25" fmla="*/ 1268730 h 2065020"/>
              <a:gd name="connsiteX26" fmla="*/ 1078230 w 1198245"/>
              <a:gd name="connsiteY26" fmla="*/ 1268730 h 2065020"/>
              <a:gd name="connsiteX27" fmla="*/ 1062990 w 1198245"/>
              <a:gd name="connsiteY27" fmla="*/ 1264920 h 2065020"/>
              <a:gd name="connsiteX28" fmla="*/ 887730 w 1198245"/>
              <a:gd name="connsiteY28" fmla="*/ 1466850 h 2065020"/>
              <a:gd name="connsiteX29" fmla="*/ 842010 w 1198245"/>
              <a:gd name="connsiteY29" fmla="*/ 1535430 h 2065020"/>
              <a:gd name="connsiteX30" fmla="*/ 739140 w 1198245"/>
              <a:gd name="connsiteY30" fmla="*/ 1718310 h 2065020"/>
              <a:gd name="connsiteX31" fmla="*/ 803910 w 1198245"/>
              <a:gd name="connsiteY31" fmla="*/ 1885950 h 2065020"/>
              <a:gd name="connsiteX32" fmla="*/ 819150 w 1198245"/>
              <a:gd name="connsiteY32" fmla="*/ 1962150 h 2065020"/>
              <a:gd name="connsiteX33" fmla="*/ 773430 w 1198245"/>
              <a:gd name="connsiteY33" fmla="*/ 2026920 h 2065020"/>
              <a:gd name="connsiteX34" fmla="*/ 750570 w 1198245"/>
              <a:gd name="connsiteY34" fmla="*/ 2065020 h 2065020"/>
              <a:gd name="connsiteX35" fmla="*/ 693420 w 1198245"/>
              <a:gd name="connsiteY35" fmla="*/ 2065020 h 2065020"/>
              <a:gd name="connsiteX36" fmla="*/ 541020 w 1198245"/>
              <a:gd name="connsiteY36" fmla="*/ 2007870 h 2065020"/>
              <a:gd name="connsiteX37" fmla="*/ 541020 w 1198245"/>
              <a:gd name="connsiteY37" fmla="*/ 1649730 h 2065020"/>
              <a:gd name="connsiteX38" fmla="*/ 320040 w 1198245"/>
              <a:gd name="connsiteY38" fmla="*/ 1630680 h 2065020"/>
              <a:gd name="connsiteX39" fmla="*/ 304800 w 1198245"/>
              <a:gd name="connsiteY39" fmla="*/ 1602105 h 2065020"/>
              <a:gd name="connsiteX40" fmla="*/ 316230 w 1198245"/>
              <a:gd name="connsiteY40" fmla="*/ 1558290 h 2065020"/>
              <a:gd name="connsiteX41" fmla="*/ 323850 w 1198245"/>
              <a:gd name="connsiteY41" fmla="*/ 1497330 h 2065020"/>
              <a:gd name="connsiteX42" fmla="*/ 331470 w 1198245"/>
              <a:gd name="connsiteY42" fmla="*/ 1447800 h 2065020"/>
              <a:gd name="connsiteX43" fmla="*/ 333375 w 1198245"/>
              <a:gd name="connsiteY43" fmla="*/ 1398270 h 2065020"/>
              <a:gd name="connsiteX44" fmla="*/ 310515 w 1198245"/>
              <a:gd name="connsiteY44" fmla="*/ 1373505 h 2065020"/>
              <a:gd name="connsiteX45" fmla="*/ 205740 w 1198245"/>
              <a:gd name="connsiteY45" fmla="*/ 1318260 h 2065020"/>
              <a:gd name="connsiteX46" fmla="*/ 87630 w 1198245"/>
              <a:gd name="connsiteY46" fmla="*/ 1238250 h 2065020"/>
              <a:gd name="connsiteX47" fmla="*/ 57150 w 1198245"/>
              <a:gd name="connsiteY47" fmla="*/ 1024890 h 2065020"/>
              <a:gd name="connsiteX48" fmla="*/ 87630 w 1198245"/>
              <a:gd name="connsiteY48" fmla="*/ 1017270 h 2065020"/>
              <a:gd name="connsiteX49" fmla="*/ 60960 w 1198245"/>
              <a:gd name="connsiteY49" fmla="*/ 982980 h 2065020"/>
              <a:gd name="connsiteX50" fmla="*/ 22860 w 1198245"/>
              <a:gd name="connsiteY50" fmla="*/ 958215 h 2065020"/>
              <a:gd name="connsiteX51" fmla="*/ 0 w 1198245"/>
              <a:gd name="connsiteY51" fmla="*/ 861060 h 2065020"/>
              <a:gd name="connsiteX52" fmla="*/ 60960 w 1198245"/>
              <a:gd name="connsiteY52" fmla="*/ 872490 h 2065020"/>
              <a:gd name="connsiteX53" fmla="*/ 87630 w 1198245"/>
              <a:gd name="connsiteY53" fmla="*/ 822960 h 2065020"/>
              <a:gd name="connsiteX54" fmla="*/ 64770 w 1198245"/>
              <a:gd name="connsiteY54" fmla="*/ 773430 h 2065020"/>
              <a:gd name="connsiteX55" fmla="*/ 41910 w 1198245"/>
              <a:gd name="connsiteY55" fmla="*/ 737235 h 2065020"/>
              <a:gd name="connsiteX56" fmla="*/ 57150 w 1198245"/>
              <a:gd name="connsiteY56" fmla="*/ 685800 h 2065020"/>
              <a:gd name="connsiteX57" fmla="*/ 121920 w 1198245"/>
              <a:gd name="connsiteY57" fmla="*/ 670560 h 2065020"/>
              <a:gd name="connsiteX58" fmla="*/ 161925 w 1198245"/>
              <a:gd name="connsiteY58" fmla="*/ 676275 h 2065020"/>
              <a:gd name="connsiteX59" fmla="*/ 266700 w 1198245"/>
              <a:gd name="connsiteY59" fmla="*/ 506730 h 2065020"/>
              <a:gd name="connsiteX60" fmla="*/ 295805 w 1198245"/>
              <a:gd name="connsiteY60" fmla="*/ 463229 h 2065020"/>
              <a:gd name="connsiteX61" fmla="*/ 209651 w 1198245"/>
              <a:gd name="connsiteY61" fmla="*/ 301354 h 20650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</a:cxnLst>
            <a:rect l="l" t="t" r="r" b="b"/>
            <a:pathLst>
              <a:path w="1198245" h="2065020">
                <a:moveTo>
                  <a:pt x="213360" y="312420"/>
                </a:moveTo>
                <a:lnTo>
                  <a:pt x="118110" y="148590"/>
                </a:lnTo>
                <a:lnTo>
                  <a:pt x="118110" y="0"/>
                </a:lnTo>
                <a:lnTo>
                  <a:pt x="765810" y="0"/>
                </a:lnTo>
                <a:lnTo>
                  <a:pt x="765810" y="331470"/>
                </a:lnTo>
                <a:lnTo>
                  <a:pt x="704850" y="392430"/>
                </a:lnTo>
                <a:lnTo>
                  <a:pt x="676275" y="421005"/>
                </a:lnTo>
                <a:cubicBezTo>
                  <a:pt x="680720" y="430530"/>
                  <a:pt x="715963" y="444500"/>
                  <a:pt x="731520" y="449580"/>
                </a:cubicBezTo>
                <a:lnTo>
                  <a:pt x="765810" y="457200"/>
                </a:lnTo>
                <a:lnTo>
                  <a:pt x="773430" y="487680"/>
                </a:lnTo>
                <a:lnTo>
                  <a:pt x="746760" y="533400"/>
                </a:lnTo>
                <a:lnTo>
                  <a:pt x="718185" y="533400"/>
                </a:lnTo>
                <a:lnTo>
                  <a:pt x="714375" y="529590"/>
                </a:lnTo>
                <a:lnTo>
                  <a:pt x="697230" y="552450"/>
                </a:lnTo>
                <a:lnTo>
                  <a:pt x="695325" y="571500"/>
                </a:lnTo>
                <a:cubicBezTo>
                  <a:pt x="697230" y="576580"/>
                  <a:pt x="700088" y="582295"/>
                  <a:pt x="701040" y="586740"/>
                </a:cubicBezTo>
                <a:cubicBezTo>
                  <a:pt x="701993" y="591185"/>
                  <a:pt x="704850" y="594360"/>
                  <a:pt x="701040" y="598170"/>
                </a:cubicBezTo>
                <a:cubicBezTo>
                  <a:pt x="697230" y="601980"/>
                  <a:pt x="683895" y="599123"/>
                  <a:pt x="676275" y="603885"/>
                </a:cubicBezTo>
                <a:cubicBezTo>
                  <a:pt x="668655" y="608647"/>
                  <a:pt x="624840" y="622935"/>
                  <a:pt x="655320" y="626745"/>
                </a:cubicBezTo>
                <a:lnTo>
                  <a:pt x="861060" y="632460"/>
                </a:lnTo>
                <a:lnTo>
                  <a:pt x="971550" y="830580"/>
                </a:lnTo>
                <a:lnTo>
                  <a:pt x="1169670" y="963930"/>
                </a:lnTo>
                <a:lnTo>
                  <a:pt x="1184910" y="1215390"/>
                </a:lnTo>
                <a:lnTo>
                  <a:pt x="1196340" y="1232535"/>
                </a:lnTo>
                <a:lnTo>
                  <a:pt x="1198245" y="1282065"/>
                </a:lnTo>
                <a:lnTo>
                  <a:pt x="1085850" y="1268730"/>
                </a:lnTo>
                <a:lnTo>
                  <a:pt x="1078230" y="1268730"/>
                </a:lnTo>
                <a:lnTo>
                  <a:pt x="1062990" y="1264920"/>
                </a:lnTo>
                <a:lnTo>
                  <a:pt x="887730" y="1466850"/>
                </a:lnTo>
                <a:lnTo>
                  <a:pt x="842010" y="1535430"/>
                </a:lnTo>
                <a:lnTo>
                  <a:pt x="739140" y="1718310"/>
                </a:lnTo>
                <a:lnTo>
                  <a:pt x="803910" y="1885950"/>
                </a:lnTo>
                <a:lnTo>
                  <a:pt x="819150" y="1962150"/>
                </a:lnTo>
                <a:lnTo>
                  <a:pt x="773430" y="2026920"/>
                </a:lnTo>
                <a:lnTo>
                  <a:pt x="750570" y="2065020"/>
                </a:lnTo>
                <a:lnTo>
                  <a:pt x="693420" y="2065020"/>
                </a:lnTo>
                <a:lnTo>
                  <a:pt x="541020" y="2007870"/>
                </a:lnTo>
                <a:lnTo>
                  <a:pt x="541020" y="1649730"/>
                </a:lnTo>
                <a:lnTo>
                  <a:pt x="320040" y="1630680"/>
                </a:lnTo>
                <a:lnTo>
                  <a:pt x="304800" y="1602105"/>
                </a:lnTo>
                <a:lnTo>
                  <a:pt x="316230" y="1558290"/>
                </a:lnTo>
                <a:lnTo>
                  <a:pt x="323850" y="1497330"/>
                </a:lnTo>
                <a:cubicBezTo>
                  <a:pt x="326390" y="1480820"/>
                  <a:pt x="329882" y="1464310"/>
                  <a:pt x="331470" y="1447800"/>
                </a:cubicBezTo>
                <a:cubicBezTo>
                  <a:pt x="333058" y="1431290"/>
                  <a:pt x="332740" y="1414780"/>
                  <a:pt x="333375" y="1398270"/>
                </a:cubicBezTo>
                <a:lnTo>
                  <a:pt x="310515" y="1373505"/>
                </a:lnTo>
                <a:lnTo>
                  <a:pt x="205740" y="1318260"/>
                </a:lnTo>
                <a:lnTo>
                  <a:pt x="87630" y="1238250"/>
                </a:lnTo>
                <a:lnTo>
                  <a:pt x="57150" y="1024890"/>
                </a:lnTo>
                <a:lnTo>
                  <a:pt x="87630" y="1017270"/>
                </a:lnTo>
                <a:lnTo>
                  <a:pt x="60960" y="982980"/>
                </a:lnTo>
                <a:lnTo>
                  <a:pt x="22860" y="958215"/>
                </a:lnTo>
                <a:lnTo>
                  <a:pt x="0" y="861060"/>
                </a:lnTo>
                <a:lnTo>
                  <a:pt x="60960" y="872490"/>
                </a:lnTo>
                <a:lnTo>
                  <a:pt x="87630" y="822960"/>
                </a:lnTo>
                <a:lnTo>
                  <a:pt x="64770" y="773430"/>
                </a:lnTo>
                <a:lnTo>
                  <a:pt x="41910" y="737235"/>
                </a:lnTo>
                <a:cubicBezTo>
                  <a:pt x="46990" y="720090"/>
                  <a:pt x="38735" y="708660"/>
                  <a:pt x="57150" y="685800"/>
                </a:cubicBezTo>
                <a:lnTo>
                  <a:pt x="121920" y="670560"/>
                </a:lnTo>
                <a:lnTo>
                  <a:pt x="161925" y="676275"/>
                </a:lnTo>
                <a:lnTo>
                  <a:pt x="266700" y="506730"/>
                </a:lnTo>
                <a:cubicBezTo>
                  <a:pt x="289013" y="471222"/>
                  <a:pt x="288240" y="475663"/>
                  <a:pt x="295805" y="463229"/>
                </a:cubicBezTo>
                <a:cubicBezTo>
                  <a:pt x="303370" y="450795"/>
                  <a:pt x="206937" y="306538"/>
                  <a:pt x="209651" y="301354"/>
                </a:cubicBezTo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latin typeface="+mn-lt"/>
            </a:endParaRPr>
          </a:p>
        </p:txBody>
      </p:sp>
      <p:sp>
        <p:nvSpPr>
          <p:cNvPr id="34" name="Freeform 33"/>
          <p:cNvSpPr/>
          <p:nvPr/>
        </p:nvSpPr>
        <p:spPr>
          <a:xfrm>
            <a:off x="3944877" y="2961640"/>
            <a:ext cx="217354" cy="172292"/>
          </a:xfrm>
          <a:custGeom>
            <a:avLst/>
            <a:gdLst>
              <a:gd name="connsiteX0" fmla="*/ 0 w 390525"/>
              <a:gd name="connsiteY0" fmla="*/ 309562 h 309562"/>
              <a:gd name="connsiteX1" fmla="*/ 247650 w 390525"/>
              <a:gd name="connsiteY1" fmla="*/ 221456 h 309562"/>
              <a:gd name="connsiteX2" fmla="*/ 250031 w 390525"/>
              <a:gd name="connsiteY2" fmla="*/ 211931 h 309562"/>
              <a:gd name="connsiteX3" fmla="*/ 269081 w 390525"/>
              <a:gd name="connsiteY3" fmla="*/ 211931 h 309562"/>
              <a:gd name="connsiteX4" fmla="*/ 269081 w 390525"/>
              <a:gd name="connsiteY4" fmla="*/ 211931 h 309562"/>
              <a:gd name="connsiteX5" fmla="*/ 314325 w 390525"/>
              <a:gd name="connsiteY5" fmla="*/ 209550 h 309562"/>
              <a:gd name="connsiteX6" fmla="*/ 307181 w 390525"/>
              <a:gd name="connsiteY6" fmla="*/ 190500 h 309562"/>
              <a:gd name="connsiteX7" fmla="*/ 285750 w 390525"/>
              <a:gd name="connsiteY7" fmla="*/ 180975 h 309562"/>
              <a:gd name="connsiteX8" fmla="*/ 278606 w 390525"/>
              <a:gd name="connsiteY8" fmla="*/ 178593 h 309562"/>
              <a:gd name="connsiteX9" fmla="*/ 271462 w 390525"/>
              <a:gd name="connsiteY9" fmla="*/ 176212 h 309562"/>
              <a:gd name="connsiteX10" fmla="*/ 264319 w 390525"/>
              <a:gd name="connsiteY10" fmla="*/ 173831 h 309562"/>
              <a:gd name="connsiteX11" fmla="*/ 250031 w 390525"/>
              <a:gd name="connsiteY11" fmla="*/ 145256 h 309562"/>
              <a:gd name="connsiteX12" fmla="*/ 247650 w 390525"/>
              <a:gd name="connsiteY12" fmla="*/ 138112 h 309562"/>
              <a:gd name="connsiteX13" fmla="*/ 245269 w 390525"/>
              <a:gd name="connsiteY13" fmla="*/ 121443 h 309562"/>
              <a:gd name="connsiteX14" fmla="*/ 247650 w 390525"/>
              <a:gd name="connsiteY14" fmla="*/ 109537 h 309562"/>
              <a:gd name="connsiteX15" fmla="*/ 271462 w 390525"/>
              <a:gd name="connsiteY15" fmla="*/ 111918 h 309562"/>
              <a:gd name="connsiteX16" fmla="*/ 276225 w 390525"/>
              <a:gd name="connsiteY16" fmla="*/ 119062 h 309562"/>
              <a:gd name="connsiteX17" fmla="*/ 290512 w 390525"/>
              <a:gd name="connsiteY17" fmla="*/ 123825 h 309562"/>
              <a:gd name="connsiteX18" fmla="*/ 302419 w 390525"/>
              <a:gd name="connsiteY18" fmla="*/ 121443 h 309562"/>
              <a:gd name="connsiteX19" fmla="*/ 307181 w 390525"/>
              <a:gd name="connsiteY19" fmla="*/ 107156 h 309562"/>
              <a:gd name="connsiteX20" fmla="*/ 309562 w 390525"/>
              <a:gd name="connsiteY20" fmla="*/ 100012 h 309562"/>
              <a:gd name="connsiteX21" fmla="*/ 307181 w 390525"/>
              <a:gd name="connsiteY21" fmla="*/ 73818 h 309562"/>
              <a:gd name="connsiteX22" fmla="*/ 290512 w 390525"/>
              <a:gd name="connsiteY22" fmla="*/ 54768 h 309562"/>
              <a:gd name="connsiteX23" fmla="*/ 285750 w 390525"/>
              <a:gd name="connsiteY23" fmla="*/ 47625 h 309562"/>
              <a:gd name="connsiteX24" fmla="*/ 276225 w 390525"/>
              <a:gd name="connsiteY24" fmla="*/ 38100 h 309562"/>
              <a:gd name="connsiteX25" fmla="*/ 278606 w 390525"/>
              <a:gd name="connsiteY25" fmla="*/ 28575 h 309562"/>
              <a:gd name="connsiteX26" fmla="*/ 285750 w 390525"/>
              <a:gd name="connsiteY26" fmla="*/ 26193 h 309562"/>
              <a:gd name="connsiteX27" fmla="*/ 300037 w 390525"/>
              <a:gd name="connsiteY27" fmla="*/ 14287 h 309562"/>
              <a:gd name="connsiteX28" fmla="*/ 307181 w 390525"/>
              <a:gd name="connsiteY28" fmla="*/ 11906 h 309562"/>
              <a:gd name="connsiteX29" fmla="*/ 376237 w 390525"/>
              <a:gd name="connsiteY29" fmla="*/ 4762 h 309562"/>
              <a:gd name="connsiteX30" fmla="*/ 390525 w 390525"/>
              <a:gd name="connsiteY30" fmla="*/ 0 h 309562"/>
              <a:gd name="connsiteX31" fmla="*/ 390525 w 390525"/>
              <a:gd name="connsiteY31" fmla="*/ 0 h 3095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</a:cxnLst>
            <a:rect l="l" t="t" r="r" b="b"/>
            <a:pathLst>
              <a:path w="390525" h="309562">
                <a:moveTo>
                  <a:pt x="0" y="309562"/>
                </a:moveTo>
                <a:lnTo>
                  <a:pt x="247650" y="221456"/>
                </a:lnTo>
                <a:lnTo>
                  <a:pt x="250031" y="211931"/>
                </a:lnTo>
                <a:lnTo>
                  <a:pt x="269081" y="211931"/>
                </a:lnTo>
                <a:lnTo>
                  <a:pt x="269081" y="211931"/>
                </a:lnTo>
                <a:cubicBezTo>
                  <a:pt x="284162" y="211137"/>
                  <a:pt x="299998" y="214326"/>
                  <a:pt x="314325" y="209550"/>
                </a:cubicBezTo>
                <a:cubicBezTo>
                  <a:pt x="319438" y="207846"/>
                  <a:pt x="308494" y="191813"/>
                  <a:pt x="307181" y="190500"/>
                </a:cubicBezTo>
                <a:cubicBezTo>
                  <a:pt x="301519" y="184838"/>
                  <a:pt x="292828" y="183334"/>
                  <a:pt x="285750" y="180975"/>
                </a:cubicBezTo>
                <a:lnTo>
                  <a:pt x="278606" y="178593"/>
                </a:lnTo>
                <a:lnTo>
                  <a:pt x="271462" y="176212"/>
                </a:lnTo>
                <a:lnTo>
                  <a:pt x="264319" y="173831"/>
                </a:lnTo>
                <a:cubicBezTo>
                  <a:pt x="252011" y="155368"/>
                  <a:pt x="256603" y="164971"/>
                  <a:pt x="250031" y="145256"/>
                </a:cubicBezTo>
                <a:lnTo>
                  <a:pt x="247650" y="138112"/>
                </a:lnTo>
                <a:cubicBezTo>
                  <a:pt x="246856" y="132556"/>
                  <a:pt x="245269" y="127056"/>
                  <a:pt x="245269" y="121443"/>
                </a:cubicBezTo>
                <a:cubicBezTo>
                  <a:pt x="245269" y="117396"/>
                  <a:pt x="243846" y="110920"/>
                  <a:pt x="247650" y="109537"/>
                </a:cubicBezTo>
                <a:cubicBezTo>
                  <a:pt x="255147" y="106811"/>
                  <a:pt x="263525" y="111124"/>
                  <a:pt x="271462" y="111918"/>
                </a:cubicBezTo>
                <a:cubicBezTo>
                  <a:pt x="273050" y="114299"/>
                  <a:pt x="273798" y="117545"/>
                  <a:pt x="276225" y="119062"/>
                </a:cubicBezTo>
                <a:cubicBezTo>
                  <a:pt x="280482" y="121723"/>
                  <a:pt x="290512" y="123825"/>
                  <a:pt x="290512" y="123825"/>
                </a:cubicBezTo>
                <a:cubicBezTo>
                  <a:pt x="294481" y="123031"/>
                  <a:pt x="299557" y="124305"/>
                  <a:pt x="302419" y="121443"/>
                </a:cubicBezTo>
                <a:cubicBezTo>
                  <a:pt x="305969" y="117893"/>
                  <a:pt x="305594" y="111918"/>
                  <a:pt x="307181" y="107156"/>
                </a:cubicBezTo>
                <a:lnTo>
                  <a:pt x="309562" y="100012"/>
                </a:lnTo>
                <a:cubicBezTo>
                  <a:pt x="308768" y="91281"/>
                  <a:pt x="309655" y="82229"/>
                  <a:pt x="307181" y="73818"/>
                </a:cubicBezTo>
                <a:cubicBezTo>
                  <a:pt x="303793" y="62300"/>
                  <a:pt x="298555" y="60131"/>
                  <a:pt x="290512" y="54768"/>
                </a:cubicBezTo>
                <a:cubicBezTo>
                  <a:pt x="288925" y="52387"/>
                  <a:pt x="287985" y="49413"/>
                  <a:pt x="285750" y="47625"/>
                </a:cubicBezTo>
                <a:cubicBezTo>
                  <a:pt x="274205" y="38389"/>
                  <a:pt x="281420" y="53684"/>
                  <a:pt x="276225" y="38100"/>
                </a:cubicBezTo>
                <a:cubicBezTo>
                  <a:pt x="277019" y="34925"/>
                  <a:pt x="276562" y="31131"/>
                  <a:pt x="278606" y="28575"/>
                </a:cubicBezTo>
                <a:cubicBezTo>
                  <a:pt x="280174" y="26615"/>
                  <a:pt x="283505" y="27316"/>
                  <a:pt x="285750" y="26193"/>
                </a:cubicBezTo>
                <a:cubicBezTo>
                  <a:pt x="301341" y="18398"/>
                  <a:pt x="284229" y="24826"/>
                  <a:pt x="300037" y="14287"/>
                </a:cubicBezTo>
                <a:cubicBezTo>
                  <a:pt x="302126" y="12895"/>
                  <a:pt x="304800" y="12700"/>
                  <a:pt x="307181" y="11906"/>
                </a:cubicBezTo>
                <a:cubicBezTo>
                  <a:pt x="332375" y="-4891"/>
                  <a:pt x="305216" y="11420"/>
                  <a:pt x="376237" y="4762"/>
                </a:cubicBezTo>
                <a:cubicBezTo>
                  <a:pt x="381235" y="4293"/>
                  <a:pt x="390525" y="0"/>
                  <a:pt x="390525" y="0"/>
                </a:cubicBezTo>
                <a:lnTo>
                  <a:pt x="390525" y="0"/>
                </a:lnTo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157" name="Freeform 156"/>
          <p:cNvSpPr/>
          <p:nvPr/>
        </p:nvSpPr>
        <p:spPr>
          <a:xfrm>
            <a:off x="4734331" y="2867099"/>
            <a:ext cx="683415" cy="430416"/>
          </a:xfrm>
          <a:custGeom>
            <a:avLst/>
            <a:gdLst>
              <a:gd name="connsiteX0" fmla="*/ 156754 w 1227908"/>
              <a:gd name="connsiteY0" fmla="*/ 740229 h 740229"/>
              <a:gd name="connsiteX1" fmla="*/ 156754 w 1227908"/>
              <a:gd name="connsiteY1" fmla="*/ 740229 h 740229"/>
              <a:gd name="connsiteX2" fmla="*/ 139337 w 1227908"/>
              <a:gd name="connsiteY2" fmla="*/ 661851 h 740229"/>
              <a:gd name="connsiteX3" fmla="*/ 87085 w 1227908"/>
              <a:gd name="connsiteY3" fmla="*/ 592183 h 740229"/>
              <a:gd name="connsiteX4" fmla="*/ 104503 w 1227908"/>
              <a:gd name="connsiteY4" fmla="*/ 574766 h 740229"/>
              <a:gd name="connsiteX5" fmla="*/ 78377 w 1227908"/>
              <a:gd name="connsiteY5" fmla="*/ 522514 h 740229"/>
              <a:gd name="connsiteX6" fmla="*/ 60960 w 1227908"/>
              <a:gd name="connsiteY6" fmla="*/ 461554 h 740229"/>
              <a:gd name="connsiteX7" fmla="*/ 34834 w 1227908"/>
              <a:gd name="connsiteY7" fmla="*/ 444137 h 740229"/>
              <a:gd name="connsiteX8" fmla="*/ 17417 w 1227908"/>
              <a:gd name="connsiteY8" fmla="*/ 269966 h 740229"/>
              <a:gd name="connsiteX9" fmla="*/ 0 w 1227908"/>
              <a:gd name="connsiteY9" fmla="*/ 243840 h 740229"/>
              <a:gd name="connsiteX10" fmla="*/ 8708 w 1227908"/>
              <a:gd name="connsiteY10" fmla="*/ 139337 h 740229"/>
              <a:gd name="connsiteX11" fmla="*/ 60960 w 1227908"/>
              <a:gd name="connsiteY11" fmla="*/ 104503 h 740229"/>
              <a:gd name="connsiteX12" fmla="*/ 69668 w 1227908"/>
              <a:gd name="connsiteY12" fmla="*/ 26126 h 740229"/>
              <a:gd name="connsiteX13" fmla="*/ 121920 w 1227908"/>
              <a:gd name="connsiteY13" fmla="*/ 8709 h 740229"/>
              <a:gd name="connsiteX14" fmla="*/ 148045 w 1227908"/>
              <a:gd name="connsiteY14" fmla="*/ 0 h 740229"/>
              <a:gd name="connsiteX15" fmla="*/ 174171 w 1227908"/>
              <a:gd name="connsiteY15" fmla="*/ 8709 h 740229"/>
              <a:gd name="connsiteX16" fmla="*/ 409303 w 1227908"/>
              <a:gd name="connsiteY16" fmla="*/ 26126 h 740229"/>
              <a:gd name="connsiteX17" fmla="*/ 435428 w 1227908"/>
              <a:gd name="connsiteY17" fmla="*/ 34834 h 740229"/>
              <a:gd name="connsiteX18" fmla="*/ 487680 w 1227908"/>
              <a:gd name="connsiteY18" fmla="*/ 69669 h 740229"/>
              <a:gd name="connsiteX19" fmla="*/ 548640 w 1227908"/>
              <a:gd name="connsiteY19" fmla="*/ 87086 h 740229"/>
              <a:gd name="connsiteX20" fmla="*/ 644434 w 1227908"/>
              <a:gd name="connsiteY20" fmla="*/ 95794 h 740229"/>
              <a:gd name="connsiteX21" fmla="*/ 679268 w 1227908"/>
              <a:gd name="connsiteY21" fmla="*/ 174171 h 740229"/>
              <a:gd name="connsiteX22" fmla="*/ 696685 w 1227908"/>
              <a:gd name="connsiteY22" fmla="*/ 191589 h 740229"/>
              <a:gd name="connsiteX23" fmla="*/ 705394 w 1227908"/>
              <a:gd name="connsiteY23" fmla="*/ 217714 h 740229"/>
              <a:gd name="connsiteX24" fmla="*/ 731520 w 1227908"/>
              <a:gd name="connsiteY24" fmla="*/ 235131 h 740229"/>
              <a:gd name="connsiteX25" fmla="*/ 775063 w 1227908"/>
              <a:gd name="connsiteY25" fmla="*/ 261257 h 740229"/>
              <a:gd name="connsiteX26" fmla="*/ 801188 w 1227908"/>
              <a:gd name="connsiteY26" fmla="*/ 252549 h 740229"/>
              <a:gd name="connsiteX27" fmla="*/ 818605 w 1227908"/>
              <a:gd name="connsiteY27" fmla="*/ 235131 h 740229"/>
              <a:gd name="connsiteX28" fmla="*/ 870857 w 1227908"/>
              <a:gd name="connsiteY28" fmla="*/ 217714 h 740229"/>
              <a:gd name="connsiteX29" fmla="*/ 896983 w 1227908"/>
              <a:gd name="connsiteY29" fmla="*/ 200297 h 740229"/>
              <a:gd name="connsiteX30" fmla="*/ 931817 w 1227908"/>
              <a:gd name="connsiteY30" fmla="*/ 191589 h 740229"/>
              <a:gd name="connsiteX31" fmla="*/ 966651 w 1227908"/>
              <a:gd name="connsiteY31" fmla="*/ 200297 h 740229"/>
              <a:gd name="connsiteX32" fmla="*/ 992777 w 1227908"/>
              <a:gd name="connsiteY32" fmla="*/ 209006 h 740229"/>
              <a:gd name="connsiteX33" fmla="*/ 1010194 w 1227908"/>
              <a:gd name="connsiteY33" fmla="*/ 261257 h 740229"/>
              <a:gd name="connsiteX34" fmla="*/ 1036320 w 1227908"/>
              <a:gd name="connsiteY34" fmla="*/ 313509 h 740229"/>
              <a:gd name="connsiteX35" fmla="*/ 1079863 w 1227908"/>
              <a:gd name="connsiteY35" fmla="*/ 383177 h 740229"/>
              <a:gd name="connsiteX36" fmla="*/ 1158240 w 1227908"/>
              <a:gd name="connsiteY36" fmla="*/ 391886 h 740229"/>
              <a:gd name="connsiteX37" fmla="*/ 1175657 w 1227908"/>
              <a:gd name="connsiteY37" fmla="*/ 418011 h 740229"/>
              <a:gd name="connsiteX38" fmla="*/ 1158240 w 1227908"/>
              <a:gd name="connsiteY38" fmla="*/ 435429 h 740229"/>
              <a:gd name="connsiteX39" fmla="*/ 1140823 w 1227908"/>
              <a:gd name="connsiteY39" fmla="*/ 461554 h 740229"/>
              <a:gd name="connsiteX40" fmla="*/ 1219200 w 1227908"/>
              <a:gd name="connsiteY40" fmla="*/ 505097 h 740229"/>
              <a:gd name="connsiteX41" fmla="*/ 1227908 w 1227908"/>
              <a:gd name="connsiteY41" fmla="*/ 505097 h 740229"/>
              <a:gd name="connsiteX42" fmla="*/ 1227908 w 1227908"/>
              <a:gd name="connsiteY42" fmla="*/ 505097 h 7402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1227908" h="740229">
                <a:moveTo>
                  <a:pt x="156754" y="740229"/>
                </a:moveTo>
                <a:lnTo>
                  <a:pt x="156754" y="740229"/>
                </a:lnTo>
                <a:cubicBezTo>
                  <a:pt x="150948" y="714103"/>
                  <a:pt x="149277" y="686700"/>
                  <a:pt x="139337" y="661851"/>
                </a:cubicBezTo>
                <a:cubicBezTo>
                  <a:pt x="126207" y="629025"/>
                  <a:pt x="109005" y="614102"/>
                  <a:pt x="87085" y="592183"/>
                </a:cubicBezTo>
                <a:cubicBezTo>
                  <a:pt x="92891" y="586377"/>
                  <a:pt x="102893" y="582817"/>
                  <a:pt x="104503" y="574766"/>
                </a:cubicBezTo>
                <a:cubicBezTo>
                  <a:pt x="107276" y="560900"/>
                  <a:pt x="84020" y="530979"/>
                  <a:pt x="78377" y="522514"/>
                </a:cubicBezTo>
                <a:cubicBezTo>
                  <a:pt x="77809" y="520242"/>
                  <a:pt x="65501" y="467230"/>
                  <a:pt x="60960" y="461554"/>
                </a:cubicBezTo>
                <a:cubicBezTo>
                  <a:pt x="54422" y="453381"/>
                  <a:pt x="43543" y="449943"/>
                  <a:pt x="34834" y="444137"/>
                </a:cubicBezTo>
                <a:cubicBezTo>
                  <a:pt x="34564" y="440350"/>
                  <a:pt x="28621" y="303578"/>
                  <a:pt x="17417" y="269966"/>
                </a:cubicBezTo>
                <a:cubicBezTo>
                  <a:pt x="14107" y="260037"/>
                  <a:pt x="5806" y="252549"/>
                  <a:pt x="0" y="243840"/>
                </a:cubicBezTo>
                <a:cubicBezTo>
                  <a:pt x="2903" y="209006"/>
                  <a:pt x="-5303" y="171361"/>
                  <a:pt x="8708" y="139337"/>
                </a:cubicBezTo>
                <a:cubicBezTo>
                  <a:pt x="17098" y="120159"/>
                  <a:pt x="60960" y="104503"/>
                  <a:pt x="60960" y="104503"/>
                </a:cubicBezTo>
                <a:cubicBezTo>
                  <a:pt x="63863" y="78377"/>
                  <a:pt x="55555" y="48303"/>
                  <a:pt x="69668" y="26126"/>
                </a:cubicBezTo>
                <a:cubicBezTo>
                  <a:pt x="79525" y="10637"/>
                  <a:pt x="104503" y="14515"/>
                  <a:pt x="121920" y="8709"/>
                </a:cubicBezTo>
                <a:lnTo>
                  <a:pt x="148045" y="0"/>
                </a:lnTo>
                <a:cubicBezTo>
                  <a:pt x="156754" y="2903"/>
                  <a:pt x="165037" y="7796"/>
                  <a:pt x="174171" y="8709"/>
                </a:cubicBezTo>
                <a:cubicBezTo>
                  <a:pt x="252373" y="16529"/>
                  <a:pt x="409303" y="26126"/>
                  <a:pt x="409303" y="26126"/>
                </a:cubicBezTo>
                <a:cubicBezTo>
                  <a:pt x="418011" y="29029"/>
                  <a:pt x="427404" y="30376"/>
                  <a:pt x="435428" y="34834"/>
                </a:cubicBezTo>
                <a:cubicBezTo>
                  <a:pt x="453727" y="45000"/>
                  <a:pt x="467821" y="63050"/>
                  <a:pt x="487680" y="69669"/>
                </a:cubicBezTo>
                <a:cubicBezTo>
                  <a:pt x="505589" y="75638"/>
                  <a:pt x="530418" y="84656"/>
                  <a:pt x="548640" y="87086"/>
                </a:cubicBezTo>
                <a:cubicBezTo>
                  <a:pt x="580422" y="91324"/>
                  <a:pt x="612503" y="92891"/>
                  <a:pt x="644434" y="95794"/>
                </a:cubicBezTo>
                <a:cubicBezTo>
                  <a:pt x="658245" y="137229"/>
                  <a:pt x="655609" y="144597"/>
                  <a:pt x="679268" y="174171"/>
                </a:cubicBezTo>
                <a:cubicBezTo>
                  <a:pt x="684397" y="180582"/>
                  <a:pt x="690879" y="185783"/>
                  <a:pt x="696685" y="191589"/>
                </a:cubicBezTo>
                <a:cubicBezTo>
                  <a:pt x="699588" y="200297"/>
                  <a:pt x="699659" y="210546"/>
                  <a:pt x="705394" y="217714"/>
                </a:cubicBezTo>
                <a:cubicBezTo>
                  <a:pt x="711933" y="225887"/>
                  <a:pt x="723347" y="228593"/>
                  <a:pt x="731520" y="235131"/>
                </a:cubicBezTo>
                <a:cubicBezTo>
                  <a:pt x="765675" y="262456"/>
                  <a:pt x="729691" y="246134"/>
                  <a:pt x="775063" y="261257"/>
                </a:cubicBezTo>
                <a:cubicBezTo>
                  <a:pt x="783771" y="258354"/>
                  <a:pt x="793317" y="257272"/>
                  <a:pt x="801188" y="252549"/>
                </a:cubicBezTo>
                <a:cubicBezTo>
                  <a:pt x="808229" y="248325"/>
                  <a:pt x="811261" y="238803"/>
                  <a:pt x="818605" y="235131"/>
                </a:cubicBezTo>
                <a:cubicBezTo>
                  <a:pt x="835026" y="226920"/>
                  <a:pt x="853440" y="223520"/>
                  <a:pt x="870857" y="217714"/>
                </a:cubicBezTo>
                <a:cubicBezTo>
                  <a:pt x="880786" y="214404"/>
                  <a:pt x="887363" y="204420"/>
                  <a:pt x="896983" y="200297"/>
                </a:cubicBezTo>
                <a:cubicBezTo>
                  <a:pt x="907984" y="195582"/>
                  <a:pt x="920206" y="194492"/>
                  <a:pt x="931817" y="191589"/>
                </a:cubicBezTo>
                <a:cubicBezTo>
                  <a:pt x="943428" y="194492"/>
                  <a:pt x="955143" y="197009"/>
                  <a:pt x="966651" y="200297"/>
                </a:cubicBezTo>
                <a:cubicBezTo>
                  <a:pt x="975478" y="202819"/>
                  <a:pt x="987441" y="201536"/>
                  <a:pt x="992777" y="209006"/>
                </a:cubicBezTo>
                <a:cubicBezTo>
                  <a:pt x="1003448" y="223945"/>
                  <a:pt x="1004388" y="243840"/>
                  <a:pt x="1010194" y="261257"/>
                </a:cubicBezTo>
                <a:cubicBezTo>
                  <a:pt x="1022212" y="297311"/>
                  <a:pt x="1013812" y="279746"/>
                  <a:pt x="1036320" y="313509"/>
                </a:cubicBezTo>
                <a:cubicBezTo>
                  <a:pt x="1046044" y="342680"/>
                  <a:pt x="1044734" y="374395"/>
                  <a:pt x="1079863" y="383177"/>
                </a:cubicBezTo>
                <a:cubicBezTo>
                  <a:pt x="1105365" y="389552"/>
                  <a:pt x="1132114" y="388983"/>
                  <a:pt x="1158240" y="391886"/>
                </a:cubicBezTo>
                <a:cubicBezTo>
                  <a:pt x="1164046" y="400594"/>
                  <a:pt x="1175657" y="407545"/>
                  <a:pt x="1175657" y="418011"/>
                </a:cubicBezTo>
                <a:cubicBezTo>
                  <a:pt x="1175657" y="426222"/>
                  <a:pt x="1163369" y="429018"/>
                  <a:pt x="1158240" y="435429"/>
                </a:cubicBezTo>
                <a:cubicBezTo>
                  <a:pt x="1151702" y="443602"/>
                  <a:pt x="1146629" y="452846"/>
                  <a:pt x="1140823" y="461554"/>
                </a:cubicBezTo>
                <a:cubicBezTo>
                  <a:pt x="1179744" y="487502"/>
                  <a:pt x="1182410" y="495900"/>
                  <a:pt x="1219200" y="505097"/>
                </a:cubicBezTo>
                <a:cubicBezTo>
                  <a:pt x="1222016" y="505801"/>
                  <a:pt x="1225005" y="505097"/>
                  <a:pt x="1227908" y="505097"/>
                </a:cubicBezTo>
                <a:lnTo>
                  <a:pt x="1227908" y="505097"/>
                </a:lnTo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35" name="Freeform 34"/>
          <p:cNvSpPr/>
          <p:nvPr/>
        </p:nvSpPr>
        <p:spPr>
          <a:xfrm>
            <a:off x="4888511" y="2823806"/>
            <a:ext cx="12173" cy="57185"/>
          </a:xfrm>
          <a:custGeom>
            <a:avLst/>
            <a:gdLst>
              <a:gd name="connsiteX0" fmla="*/ 7144 w 21872"/>
              <a:gd name="connsiteY0" fmla="*/ 0 h 102745"/>
              <a:gd name="connsiteX1" fmla="*/ 7144 w 21872"/>
              <a:gd name="connsiteY1" fmla="*/ 0 h 102745"/>
              <a:gd name="connsiteX2" fmla="*/ 4762 w 21872"/>
              <a:gd name="connsiteY2" fmla="*/ 21431 h 102745"/>
              <a:gd name="connsiteX3" fmla="*/ 0 w 21872"/>
              <a:gd name="connsiteY3" fmla="*/ 35718 h 102745"/>
              <a:gd name="connsiteX4" fmla="*/ 4762 w 21872"/>
              <a:gd name="connsiteY4" fmla="*/ 42862 h 102745"/>
              <a:gd name="connsiteX5" fmla="*/ 11906 w 21872"/>
              <a:gd name="connsiteY5" fmla="*/ 45243 h 102745"/>
              <a:gd name="connsiteX6" fmla="*/ 19050 w 21872"/>
              <a:gd name="connsiteY6" fmla="*/ 88106 h 102745"/>
              <a:gd name="connsiteX7" fmla="*/ 19050 w 21872"/>
              <a:gd name="connsiteY7" fmla="*/ 102393 h 102745"/>
              <a:gd name="connsiteX8" fmla="*/ 21431 w 21872"/>
              <a:gd name="connsiteY8" fmla="*/ 102393 h 102745"/>
              <a:gd name="connsiteX9" fmla="*/ 21431 w 21872"/>
              <a:gd name="connsiteY9" fmla="*/ 102393 h 1027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1872" h="102745">
                <a:moveTo>
                  <a:pt x="7144" y="0"/>
                </a:moveTo>
                <a:lnTo>
                  <a:pt x="7144" y="0"/>
                </a:lnTo>
                <a:cubicBezTo>
                  <a:pt x="6350" y="7144"/>
                  <a:pt x="6172" y="14383"/>
                  <a:pt x="4762" y="21431"/>
                </a:cubicBezTo>
                <a:cubicBezTo>
                  <a:pt x="3777" y="26353"/>
                  <a:pt x="0" y="35718"/>
                  <a:pt x="0" y="35718"/>
                </a:cubicBezTo>
                <a:cubicBezTo>
                  <a:pt x="1587" y="38099"/>
                  <a:pt x="2527" y="41074"/>
                  <a:pt x="4762" y="42862"/>
                </a:cubicBezTo>
                <a:cubicBezTo>
                  <a:pt x="6722" y="44430"/>
                  <a:pt x="11297" y="42808"/>
                  <a:pt x="11906" y="45243"/>
                </a:cubicBezTo>
                <a:cubicBezTo>
                  <a:pt x="25793" y="100789"/>
                  <a:pt x="4954" y="66963"/>
                  <a:pt x="19050" y="88106"/>
                </a:cubicBezTo>
                <a:cubicBezTo>
                  <a:pt x="25400" y="107158"/>
                  <a:pt x="19050" y="83343"/>
                  <a:pt x="19050" y="102393"/>
                </a:cubicBezTo>
                <a:cubicBezTo>
                  <a:pt x="19050" y="103187"/>
                  <a:pt x="20637" y="102393"/>
                  <a:pt x="21431" y="102393"/>
                </a:cubicBezTo>
                <a:lnTo>
                  <a:pt x="21431" y="102393"/>
                </a:lnTo>
              </a:path>
            </a:pathLst>
          </a:custGeom>
          <a:noFill/>
          <a:ln w="3175">
            <a:solidFill>
              <a:schemeClr val="accent6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sz="2000">
              <a:solidFill>
                <a:schemeClr val="tx1"/>
              </a:solidFill>
              <a:ea typeface="MS PGothic" pitchFamily="34" charset="-128"/>
              <a:cs typeface="Arial" charset="0"/>
            </a:endParaRPr>
          </a:p>
        </p:txBody>
      </p:sp>
      <p:sp>
        <p:nvSpPr>
          <p:cNvPr id="45" name="Freeform 44"/>
          <p:cNvSpPr/>
          <p:nvPr/>
        </p:nvSpPr>
        <p:spPr>
          <a:xfrm>
            <a:off x="3764632" y="2794648"/>
            <a:ext cx="414828" cy="78195"/>
          </a:xfrm>
          <a:custGeom>
            <a:avLst/>
            <a:gdLst>
              <a:gd name="connsiteX0" fmla="*/ 0 w 745331"/>
              <a:gd name="connsiteY0" fmla="*/ 0 h 140494"/>
              <a:gd name="connsiteX1" fmla="*/ 28575 w 745331"/>
              <a:gd name="connsiteY1" fmla="*/ 85725 h 140494"/>
              <a:gd name="connsiteX2" fmla="*/ 90487 w 745331"/>
              <a:gd name="connsiteY2" fmla="*/ 121444 h 140494"/>
              <a:gd name="connsiteX3" fmla="*/ 169069 w 745331"/>
              <a:gd name="connsiteY3" fmla="*/ 140494 h 140494"/>
              <a:gd name="connsiteX4" fmla="*/ 431006 w 745331"/>
              <a:gd name="connsiteY4" fmla="*/ 92869 h 140494"/>
              <a:gd name="connsiteX5" fmla="*/ 614362 w 745331"/>
              <a:gd name="connsiteY5" fmla="*/ 95250 h 140494"/>
              <a:gd name="connsiteX6" fmla="*/ 688181 w 745331"/>
              <a:gd name="connsiteY6" fmla="*/ 102394 h 140494"/>
              <a:gd name="connsiteX7" fmla="*/ 745331 w 745331"/>
              <a:gd name="connsiteY7" fmla="*/ 100013 h 1404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45331" h="140494">
                <a:moveTo>
                  <a:pt x="0" y="0"/>
                </a:moveTo>
                <a:lnTo>
                  <a:pt x="28575" y="85725"/>
                </a:lnTo>
                <a:lnTo>
                  <a:pt x="90487" y="121444"/>
                </a:lnTo>
                <a:lnTo>
                  <a:pt x="169069" y="140494"/>
                </a:lnTo>
                <a:lnTo>
                  <a:pt x="431006" y="92869"/>
                </a:lnTo>
                <a:lnTo>
                  <a:pt x="614362" y="95250"/>
                </a:lnTo>
                <a:lnTo>
                  <a:pt x="688181" y="102394"/>
                </a:lnTo>
                <a:lnTo>
                  <a:pt x="745331" y="100013"/>
                </a:lnTo>
              </a:path>
            </a:pathLst>
          </a:custGeom>
          <a:noFill/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/>
          </a:p>
        </p:txBody>
      </p:sp>
      <p:grpSp>
        <p:nvGrpSpPr>
          <p:cNvPr id="11" name="Group 10"/>
          <p:cNvGrpSpPr/>
          <p:nvPr>
            <p:custDataLst>
              <p:tags r:id="rId27"/>
            </p:custDataLst>
          </p:nvPr>
        </p:nvGrpSpPr>
        <p:grpSpPr>
          <a:xfrm>
            <a:off x="6300395" y="2617783"/>
            <a:ext cx="2390925" cy="1628403"/>
            <a:chOff x="3239427" y="4229100"/>
            <a:chExt cx="2390925" cy="1628403"/>
          </a:xfrm>
        </p:grpSpPr>
        <p:sp>
          <p:nvSpPr>
            <p:cNvPr id="63" name="Rectangle 62"/>
            <p:cNvSpPr>
              <a:spLocks/>
            </p:cNvSpPr>
            <p:nvPr>
              <p:custDataLst>
                <p:tags r:id="rId32"/>
              </p:custDataLst>
            </p:nvPr>
          </p:nvSpPr>
          <p:spPr>
            <a:xfrm>
              <a:off x="3239427" y="4229100"/>
              <a:ext cx="2390925" cy="1628403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1500" dirty="0" err="1"/>
            </a:p>
          </p:txBody>
        </p:sp>
        <p:sp>
          <p:nvSpPr>
            <p:cNvPr id="57" name="TextBox 48"/>
            <p:cNvSpPr txBox="1"/>
            <p:nvPr>
              <p:custDataLst>
                <p:tags r:id="rId33"/>
              </p:custDataLst>
            </p:nvPr>
          </p:nvSpPr>
          <p:spPr>
            <a:xfrm>
              <a:off x="3441856" y="4304909"/>
              <a:ext cx="371753" cy="371753"/>
            </a:xfrm>
            <a:prstGeom prst="ellipse">
              <a:avLst/>
            </a:pr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tx2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ctr" anchorCtr="1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>
                <a:defRPr sz="1500">
                  <a:latin typeface="+mn-lt"/>
                </a:defRPr>
              </a:lvl1pPr>
            </a:lstStyle>
            <a:p>
              <a:pPr algn="ctr"/>
              <a:r>
                <a:rPr lang="en-US" b="1" dirty="0"/>
                <a:t>2</a:t>
              </a:r>
            </a:p>
          </p:txBody>
        </p:sp>
        <p:sp>
          <p:nvSpPr>
            <p:cNvPr id="58" name="Rectangle 51"/>
            <p:cNvSpPr txBox="1"/>
            <p:nvPr>
              <p:custDataLst>
                <p:tags r:id="rId34"/>
              </p:custDataLst>
            </p:nvPr>
          </p:nvSpPr>
          <p:spPr>
            <a:xfrm>
              <a:off x="3441856" y="4934173"/>
              <a:ext cx="2151062" cy="92333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500" b="1" dirty="0">
                  <a:solidFill>
                    <a:schemeClr val="accent4"/>
                  </a:solidFill>
                </a:rPr>
                <a:t>Phase 2: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Western Flood Plains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Ironstone Plateau</a:t>
              </a:r>
            </a:p>
            <a:p>
              <a:pPr lvl="1"/>
              <a:r>
                <a:rPr lang="en-US" sz="1500" b="1" dirty="0">
                  <a:solidFill>
                    <a:schemeClr val="accent4"/>
                  </a:solidFill>
                </a:rPr>
                <a:t>Arid</a:t>
              </a:r>
            </a:p>
          </p:txBody>
        </p:sp>
        <p:sp>
          <p:nvSpPr>
            <p:cNvPr id="74" name="Freeform 73"/>
            <p:cNvSpPr/>
            <p:nvPr>
              <p:custDataLst>
                <p:tags r:id="rId35"/>
              </p:custDataLst>
            </p:nvPr>
          </p:nvSpPr>
          <p:spPr>
            <a:xfrm>
              <a:off x="3983994" y="4324296"/>
              <a:ext cx="1182735" cy="668011"/>
            </a:xfrm>
            <a:custGeom>
              <a:avLst/>
              <a:gdLst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57325 w 3128973"/>
                <a:gd name="connsiteY158" fmla="*/ 1047750 h 1752600"/>
                <a:gd name="connsiteX159" fmla="*/ 1443037 w 3128973"/>
                <a:gd name="connsiteY159" fmla="*/ 103822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9200 w 3128973"/>
                <a:gd name="connsiteY169" fmla="*/ 900112 h 1752600"/>
                <a:gd name="connsiteX170" fmla="*/ 1204912 w 3128973"/>
                <a:gd name="connsiteY170" fmla="*/ 895350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52525 w 3128973"/>
                <a:gd name="connsiteY173" fmla="*/ 8620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57325 w 3128973"/>
                <a:gd name="connsiteY158" fmla="*/ 1047750 h 1752600"/>
                <a:gd name="connsiteX159" fmla="*/ 1443037 w 3128973"/>
                <a:gd name="connsiteY159" fmla="*/ 103822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9200 w 3128973"/>
                <a:gd name="connsiteY169" fmla="*/ 900112 h 1752600"/>
                <a:gd name="connsiteX170" fmla="*/ 1204912 w 3128973"/>
                <a:gd name="connsiteY170" fmla="*/ 895350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57325 w 3128973"/>
                <a:gd name="connsiteY158" fmla="*/ 1047750 h 1752600"/>
                <a:gd name="connsiteX159" fmla="*/ 1443037 w 3128973"/>
                <a:gd name="connsiteY159" fmla="*/ 103822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4912 w 3128973"/>
                <a:gd name="connsiteY170" fmla="*/ 895350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57325 w 3128973"/>
                <a:gd name="connsiteY158" fmla="*/ 1047750 h 1752600"/>
                <a:gd name="connsiteX159" fmla="*/ 1443037 w 3128973"/>
                <a:gd name="connsiteY159" fmla="*/ 103822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57325 w 3128973"/>
                <a:gd name="connsiteY158" fmla="*/ 104775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33462 h 1752600"/>
                <a:gd name="connsiteX161" fmla="*/ 1409700 w 3128973"/>
                <a:gd name="connsiteY161" fmla="*/ 1028700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33462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90812 w 3128973"/>
                <a:gd name="connsiteY116" fmla="*/ 15097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9916 w 3128973"/>
                <a:gd name="connsiteY115" fmla="*/ 152051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52725 w 3128973"/>
                <a:gd name="connsiteY113" fmla="*/ 1543050 h 1752600"/>
                <a:gd name="connsiteX114" fmla="*/ 2738437 w 3128973"/>
                <a:gd name="connsiteY114" fmla="*/ 1533525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38437 w 3128973"/>
                <a:gd name="connsiteY114" fmla="*/ 1533525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76250 w 3128973"/>
                <a:gd name="connsiteY203" fmla="*/ 4286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54025 w 3128973"/>
                <a:gd name="connsiteY203" fmla="*/ 466725 h 1752600"/>
                <a:gd name="connsiteX204" fmla="*/ 461962 w 3128973"/>
                <a:gd name="connsiteY204" fmla="*/ 419100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38150 h 1752600"/>
                <a:gd name="connsiteX203" fmla="*/ 454025 w 3128973"/>
                <a:gd name="connsiteY203" fmla="*/ 466725 h 1752600"/>
                <a:gd name="connsiteX204" fmla="*/ 407987 w 3128973"/>
                <a:gd name="connsiteY204" fmla="*/ 473075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19112 w 3128973"/>
                <a:gd name="connsiteY201" fmla="*/ 447675 h 1752600"/>
                <a:gd name="connsiteX202" fmla="*/ 504825 w 3128973"/>
                <a:gd name="connsiteY202" fmla="*/ 466725 h 1752600"/>
                <a:gd name="connsiteX203" fmla="*/ 454025 w 3128973"/>
                <a:gd name="connsiteY203" fmla="*/ 466725 h 1752600"/>
                <a:gd name="connsiteX204" fmla="*/ 407987 w 3128973"/>
                <a:gd name="connsiteY204" fmla="*/ 473075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109662 w 3128973"/>
                <a:gd name="connsiteY174" fmla="*/ 852487 h 1752600"/>
                <a:gd name="connsiteX175" fmla="*/ 1095375 w 3128973"/>
                <a:gd name="connsiteY175" fmla="*/ 847725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25462 w 3128973"/>
                <a:gd name="connsiteY201" fmla="*/ 485775 h 1752600"/>
                <a:gd name="connsiteX202" fmla="*/ 504825 w 3128973"/>
                <a:gd name="connsiteY202" fmla="*/ 466725 h 1752600"/>
                <a:gd name="connsiteX203" fmla="*/ 454025 w 3128973"/>
                <a:gd name="connsiteY203" fmla="*/ 466725 h 1752600"/>
                <a:gd name="connsiteX204" fmla="*/ 407987 w 3128973"/>
                <a:gd name="connsiteY204" fmla="*/ 473075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85750 w 3128973"/>
                <a:gd name="connsiteY209" fmla="*/ 371475 h 1752600"/>
                <a:gd name="connsiteX210" fmla="*/ 271462 w 3128973"/>
                <a:gd name="connsiteY210" fmla="*/ 366712 h 1752600"/>
                <a:gd name="connsiteX211" fmla="*/ 257175 w 3128973"/>
                <a:gd name="connsiteY211" fmla="*/ 357187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66812 w 3128973"/>
                <a:gd name="connsiteY172" fmla="*/ 871537 h 1752600"/>
                <a:gd name="connsiteX173" fmla="*/ 1133475 w 3128973"/>
                <a:gd name="connsiteY173" fmla="*/ 925512 h 1752600"/>
                <a:gd name="connsiteX174" fmla="*/ 1095375 w 3128973"/>
                <a:gd name="connsiteY174" fmla="*/ 847725 h 1752600"/>
                <a:gd name="connsiteX175" fmla="*/ 1071562 w 3128973"/>
                <a:gd name="connsiteY175" fmla="*/ 842962 h 1752600"/>
                <a:gd name="connsiteX176" fmla="*/ 1047750 w 3128973"/>
                <a:gd name="connsiteY176" fmla="*/ 819150 h 1752600"/>
                <a:gd name="connsiteX177" fmla="*/ 1028700 w 3128973"/>
                <a:gd name="connsiteY177" fmla="*/ 804862 h 1752600"/>
                <a:gd name="connsiteX178" fmla="*/ 1018076 w 3128973"/>
                <a:gd name="connsiteY178" fmla="*/ 794816 h 1752600"/>
                <a:gd name="connsiteX179" fmla="*/ 1000125 w 3128973"/>
                <a:gd name="connsiteY179" fmla="*/ 785812 h 1752600"/>
                <a:gd name="connsiteX180" fmla="*/ 984342 w 3128973"/>
                <a:gd name="connsiteY180" fmla="*/ 773578 h 1752600"/>
                <a:gd name="connsiteX181" fmla="*/ 957262 w 3128973"/>
                <a:gd name="connsiteY181" fmla="*/ 766762 h 1752600"/>
                <a:gd name="connsiteX182" fmla="*/ 938212 w 3128973"/>
                <a:gd name="connsiteY182" fmla="*/ 757237 h 1752600"/>
                <a:gd name="connsiteX183" fmla="*/ 904875 w 3128973"/>
                <a:gd name="connsiteY183" fmla="*/ 747712 h 1752600"/>
                <a:gd name="connsiteX184" fmla="*/ 862012 w 3128973"/>
                <a:gd name="connsiteY184" fmla="*/ 723900 h 1752600"/>
                <a:gd name="connsiteX185" fmla="*/ 795337 w 3128973"/>
                <a:gd name="connsiteY185" fmla="*/ 685800 h 1752600"/>
                <a:gd name="connsiteX186" fmla="*/ 776287 w 3128973"/>
                <a:gd name="connsiteY186" fmla="*/ 666750 h 1752600"/>
                <a:gd name="connsiteX187" fmla="*/ 762000 w 3128973"/>
                <a:gd name="connsiteY187" fmla="*/ 661987 h 1752600"/>
                <a:gd name="connsiteX188" fmla="*/ 742950 w 3128973"/>
                <a:gd name="connsiteY188" fmla="*/ 647700 h 1752600"/>
                <a:gd name="connsiteX189" fmla="*/ 709612 w 3128973"/>
                <a:gd name="connsiteY189" fmla="*/ 638175 h 1752600"/>
                <a:gd name="connsiteX190" fmla="*/ 695325 w 3128973"/>
                <a:gd name="connsiteY190" fmla="*/ 628650 h 1752600"/>
                <a:gd name="connsiteX191" fmla="*/ 681037 w 3128973"/>
                <a:gd name="connsiteY191" fmla="*/ 623887 h 1752600"/>
                <a:gd name="connsiteX192" fmla="*/ 676275 w 3128973"/>
                <a:gd name="connsiteY192" fmla="*/ 604837 h 1752600"/>
                <a:gd name="connsiteX193" fmla="*/ 666750 w 3128973"/>
                <a:gd name="connsiteY193" fmla="*/ 576262 h 1752600"/>
                <a:gd name="connsiteX194" fmla="*/ 661987 w 3128973"/>
                <a:gd name="connsiteY194" fmla="*/ 561975 h 1752600"/>
                <a:gd name="connsiteX195" fmla="*/ 666750 w 3128973"/>
                <a:gd name="connsiteY195" fmla="*/ 538162 h 1752600"/>
                <a:gd name="connsiteX196" fmla="*/ 638175 w 3128973"/>
                <a:gd name="connsiteY196" fmla="*/ 514350 h 1752600"/>
                <a:gd name="connsiteX197" fmla="*/ 619125 w 3128973"/>
                <a:gd name="connsiteY197" fmla="*/ 500062 h 1752600"/>
                <a:gd name="connsiteX198" fmla="*/ 576262 w 3128973"/>
                <a:gd name="connsiteY198" fmla="*/ 490537 h 1752600"/>
                <a:gd name="connsiteX199" fmla="*/ 542925 w 3128973"/>
                <a:gd name="connsiteY199" fmla="*/ 452437 h 1752600"/>
                <a:gd name="connsiteX200" fmla="*/ 525462 w 3128973"/>
                <a:gd name="connsiteY200" fmla="*/ 485775 h 1752600"/>
                <a:gd name="connsiteX201" fmla="*/ 504825 w 3128973"/>
                <a:gd name="connsiteY201" fmla="*/ 466725 h 1752600"/>
                <a:gd name="connsiteX202" fmla="*/ 454025 w 3128973"/>
                <a:gd name="connsiteY202" fmla="*/ 466725 h 1752600"/>
                <a:gd name="connsiteX203" fmla="*/ 407987 w 3128973"/>
                <a:gd name="connsiteY203" fmla="*/ 473075 h 1752600"/>
                <a:gd name="connsiteX204" fmla="*/ 395287 w 3128973"/>
                <a:gd name="connsiteY204" fmla="*/ 409575 h 1752600"/>
                <a:gd name="connsiteX205" fmla="*/ 376237 w 3128973"/>
                <a:gd name="connsiteY205" fmla="*/ 404812 h 1752600"/>
                <a:gd name="connsiteX206" fmla="*/ 342900 w 3128973"/>
                <a:gd name="connsiteY206" fmla="*/ 400050 h 1752600"/>
                <a:gd name="connsiteX207" fmla="*/ 314325 w 3128973"/>
                <a:gd name="connsiteY207" fmla="*/ 390525 h 1752600"/>
                <a:gd name="connsiteX208" fmla="*/ 285750 w 3128973"/>
                <a:gd name="connsiteY208" fmla="*/ 371475 h 1752600"/>
                <a:gd name="connsiteX209" fmla="*/ 271462 w 3128973"/>
                <a:gd name="connsiteY209" fmla="*/ 366712 h 1752600"/>
                <a:gd name="connsiteX210" fmla="*/ 257175 w 3128973"/>
                <a:gd name="connsiteY210" fmla="*/ 357187 h 1752600"/>
                <a:gd name="connsiteX211" fmla="*/ 223837 w 3128973"/>
                <a:gd name="connsiteY211" fmla="*/ 347662 h 1752600"/>
                <a:gd name="connsiteX212" fmla="*/ 190500 w 3128973"/>
                <a:gd name="connsiteY212" fmla="*/ 338137 h 1752600"/>
                <a:gd name="connsiteX213" fmla="*/ 147637 w 3128973"/>
                <a:gd name="connsiteY213" fmla="*/ 333375 h 1752600"/>
                <a:gd name="connsiteX214" fmla="*/ 119062 w 3128973"/>
                <a:gd name="connsiteY214" fmla="*/ 323850 h 1752600"/>
                <a:gd name="connsiteX215" fmla="*/ 104775 w 3128973"/>
                <a:gd name="connsiteY215" fmla="*/ 319087 h 1752600"/>
                <a:gd name="connsiteX216" fmla="*/ 61912 w 3128973"/>
                <a:gd name="connsiteY216" fmla="*/ 300037 h 1752600"/>
                <a:gd name="connsiteX217" fmla="*/ 23812 w 3128973"/>
                <a:gd name="connsiteY217" fmla="*/ 290512 h 1752600"/>
                <a:gd name="connsiteX218" fmla="*/ 9525 w 3128973"/>
                <a:gd name="connsiteY218" fmla="*/ 261937 h 1752600"/>
                <a:gd name="connsiteX219" fmla="*/ 0 w 3128973"/>
                <a:gd name="connsiteY219" fmla="*/ 290512 h 1752600"/>
                <a:gd name="connsiteX220" fmla="*/ 4762 w 3128973"/>
                <a:gd name="connsiteY220" fmla="*/ 247650 h 1752600"/>
                <a:gd name="connsiteX221" fmla="*/ 19050 w 3128973"/>
                <a:gd name="connsiteY221" fmla="*/ 200025 h 1752600"/>
                <a:gd name="connsiteX222" fmla="*/ 23812 w 3128973"/>
                <a:gd name="connsiteY222" fmla="*/ 185737 h 1752600"/>
                <a:gd name="connsiteX223" fmla="*/ 71437 w 3128973"/>
                <a:gd name="connsiteY223" fmla="*/ 171450 h 1752600"/>
                <a:gd name="connsiteX224" fmla="*/ 85725 w 3128973"/>
                <a:gd name="connsiteY224" fmla="*/ 166687 h 1752600"/>
                <a:gd name="connsiteX225" fmla="*/ 100012 w 3128973"/>
                <a:gd name="connsiteY225" fmla="*/ 161925 h 1752600"/>
                <a:gd name="connsiteX226" fmla="*/ 114300 w 3128973"/>
                <a:gd name="connsiteY226" fmla="*/ 152400 h 1752600"/>
                <a:gd name="connsiteX227" fmla="*/ 133350 w 3128973"/>
                <a:gd name="connsiteY227" fmla="*/ 123825 h 1752600"/>
                <a:gd name="connsiteX228" fmla="*/ 138112 w 3128973"/>
                <a:gd name="connsiteY228" fmla="*/ 109537 h 1752600"/>
                <a:gd name="connsiteX229" fmla="*/ 135467 w 3128973"/>
                <a:gd name="connsiteY229" fmla="*/ 97059 h 1752600"/>
                <a:gd name="connsiteX230" fmla="*/ 142875 w 3128973"/>
                <a:gd name="connsiteY230" fmla="*/ 71437 h 1752600"/>
                <a:gd name="connsiteX231" fmla="*/ 157162 w 3128973"/>
                <a:gd name="connsiteY231" fmla="*/ 57150 h 1752600"/>
                <a:gd name="connsiteX232" fmla="*/ 200025 w 3128973"/>
                <a:gd name="connsiteY232" fmla="*/ 33337 h 1752600"/>
                <a:gd name="connsiteX233" fmla="*/ 309562 w 3128973"/>
                <a:gd name="connsiteY233" fmla="*/ 28575 h 1752600"/>
                <a:gd name="connsiteX234" fmla="*/ 400050 w 3128973"/>
                <a:gd name="connsiteY234" fmla="*/ 14287 h 1752600"/>
                <a:gd name="connsiteX235" fmla="*/ 414337 w 3128973"/>
                <a:gd name="connsiteY235" fmla="*/ 9525 h 1752600"/>
                <a:gd name="connsiteX236" fmla="*/ 481012 w 3128973"/>
                <a:gd name="connsiteY236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504950 w 3128973"/>
                <a:gd name="connsiteY156" fmla="*/ 1066800 h 1752600"/>
                <a:gd name="connsiteX157" fmla="*/ 1490662 w 3128973"/>
                <a:gd name="connsiteY157" fmla="*/ 106203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95412 w 3128973"/>
                <a:gd name="connsiteY162" fmla="*/ 1019175 h 1752600"/>
                <a:gd name="connsiteX163" fmla="*/ 1381125 w 3128973"/>
                <a:gd name="connsiteY163" fmla="*/ 1014412 h 1752600"/>
                <a:gd name="connsiteX164" fmla="*/ 1352550 w 3128973"/>
                <a:gd name="connsiteY164" fmla="*/ 995362 h 1752600"/>
                <a:gd name="connsiteX165" fmla="*/ 1333500 w 3128973"/>
                <a:gd name="connsiteY165" fmla="*/ 990600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33475 w 3128973"/>
                <a:gd name="connsiteY172" fmla="*/ 925512 h 1752600"/>
                <a:gd name="connsiteX173" fmla="*/ 1095375 w 3128973"/>
                <a:gd name="connsiteY173" fmla="*/ 847725 h 1752600"/>
                <a:gd name="connsiteX174" fmla="*/ 1071562 w 3128973"/>
                <a:gd name="connsiteY174" fmla="*/ 842962 h 1752600"/>
                <a:gd name="connsiteX175" fmla="*/ 1047750 w 3128973"/>
                <a:gd name="connsiteY175" fmla="*/ 819150 h 1752600"/>
                <a:gd name="connsiteX176" fmla="*/ 1028700 w 3128973"/>
                <a:gd name="connsiteY176" fmla="*/ 804862 h 1752600"/>
                <a:gd name="connsiteX177" fmla="*/ 1018076 w 3128973"/>
                <a:gd name="connsiteY177" fmla="*/ 794816 h 1752600"/>
                <a:gd name="connsiteX178" fmla="*/ 1000125 w 3128973"/>
                <a:gd name="connsiteY178" fmla="*/ 785812 h 1752600"/>
                <a:gd name="connsiteX179" fmla="*/ 984342 w 3128973"/>
                <a:gd name="connsiteY179" fmla="*/ 773578 h 1752600"/>
                <a:gd name="connsiteX180" fmla="*/ 957262 w 3128973"/>
                <a:gd name="connsiteY180" fmla="*/ 766762 h 1752600"/>
                <a:gd name="connsiteX181" fmla="*/ 938212 w 3128973"/>
                <a:gd name="connsiteY181" fmla="*/ 757237 h 1752600"/>
                <a:gd name="connsiteX182" fmla="*/ 904875 w 3128973"/>
                <a:gd name="connsiteY182" fmla="*/ 747712 h 1752600"/>
                <a:gd name="connsiteX183" fmla="*/ 862012 w 3128973"/>
                <a:gd name="connsiteY183" fmla="*/ 723900 h 1752600"/>
                <a:gd name="connsiteX184" fmla="*/ 795337 w 3128973"/>
                <a:gd name="connsiteY184" fmla="*/ 685800 h 1752600"/>
                <a:gd name="connsiteX185" fmla="*/ 776287 w 3128973"/>
                <a:gd name="connsiteY185" fmla="*/ 666750 h 1752600"/>
                <a:gd name="connsiteX186" fmla="*/ 762000 w 3128973"/>
                <a:gd name="connsiteY186" fmla="*/ 661987 h 1752600"/>
                <a:gd name="connsiteX187" fmla="*/ 742950 w 3128973"/>
                <a:gd name="connsiteY187" fmla="*/ 647700 h 1752600"/>
                <a:gd name="connsiteX188" fmla="*/ 709612 w 3128973"/>
                <a:gd name="connsiteY188" fmla="*/ 638175 h 1752600"/>
                <a:gd name="connsiteX189" fmla="*/ 695325 w 3128973"/>
                <a:gd name="connsiteY189" fmla="*/ 628650 h 1752600"/>
                <a:gd name="connsiteX190" fmla="*/ 681037 w 3128973"/>
                <a:gd name="connsiteY190" fmla="*/ 623887 h 1752600"/>
                <a:gd name="connsiteX191" fmla="*/ 676275 w 3128973"/>
                <a:gd name="connsiteY191" fmla="*/ 604837 h 1752600"/>
                <a:gd name="connsiteX192" fmla="*/ 666750 w 3128973"/>
                <a:gd name="connsiteY192" fmla="*/ 576262 h 1752600"/>
                <a:gd name="connsiteX193" fmla="*/ 661987 w 3128973"/>
                <a:gd name="connsiteY193" fmla="*/ 561975 h 1752600"/>
                <a:gd name="connsiteX194" fmla="*/ 666750 w 3128973"/>
                <a:gd name="connsiteY194" fmla="*/ 538162 h 1752600"/>
                <a:gd name="connsiteX195" fmla="*/ 638175 w 3128973"/>
                <a:gd name="connsiteY195" fmla="*/ 514350 h 1752600"/>
                <a:gd name="connsiteX196" fmla="*/ 619125 w 3128973"/>
                <a:gd name="connsiteY196" fmla="*/ 500062 h 1752600"/>
                <a:gd name="connsiteX197" fmla="*/ 576262 w 3128973"/>
                <a:gd name="connsiteY197" fmla="*/ 490537 h 1752600"/>
                <a:gd name="connsiteX198" fmla="*/ 542925 w 3128973"/>
                <a:gd name="connsiteY198" fmla="*/ 452437 h 1752600"/>
                <a:gd name="connsiteX199" fmla="*/ 525462 w 3128973"/>
                <a:gd name="connsiteY199" fmla="*/ 485775 h 1752600"/>
                <a:gd name="connsiteX200" fmla="*/ 504825 w 3128973"/>
                <a:gd name="connsiteY200" fmla="*/ 466725 h 1752600"/>
                <a:gd name="connsiteX201" fmla="*/ 454025 w 3128973"/>
                <a:gd name="connsiteY201" fmla="*/ 466725 h 1752600"/>
                <a:gd name="connsiteX202" fmla="*/ 407987 w 3128973"/>
                <a:gd name="connsiteY202" fmla="*/ 473075 h 1752600"/>
                <a:gd name="connsiteX203" fmla="*/ 395287 w 3128973"/>
                <a:gd name="connsiteY203" fmla="*/ 409575 h 1752600"/>
                <a:gd name="connsiteX204" fmla="*/ 376237 w 3128973"/>
                <a:gd name="connsiteY204" fmla="*/ 404812 h 1752600"/>
                <a:gd name="connsiteX205" fmla="*/ 342900 w 3128973"/>
                <a:gd name="connsiteY205" fmla="*/ 400050 h 1752600"/>
                <a:gd name="connsiteX206" fmla="*/ 314325 w 3128973"/>
                <a:gd name="connsiteY206" fmla="*/ 390525 h 1752600"/>
                <a:gd name="connsiteX207" fmla="*/ 285750 w 3128973"/>
                <a:gd name="connsiteY207" fmla="*/ 371475 h 1752600"/>
                <a:gd name="connsiteX208" fmla="*/ 271462 w 3128973"/>
                <a:gd name="connsiteY208" fmla="*/ 366712 h 1752600"/>
                <a:gd name="connsiteX209" fmla="*/ 257175 w 3128973"/>
                <a:gd name="connsiteY209" fmla="*/ 357187 h 1752600"/>
                <a:gd name="connsiteX210" fmla="*/ 223837 w 3128973"/>
                <a:gd name="connsiteY210" fmla="*/ 347662 h 1752600"/>
                <a:gd name="connsiteX211" fmla="*/ 190500 w 3128973"/>
                <a:gd name="connsiteY211" fmla="*/ 338137 h 1752600"/>
                <a:gd name="connsiteX212" fmla="*/ 147637 w 3128973"/>
                <a:gd name="connsiteY212" fmla="*/ 333375 h 1752600"/>
                <a:gd name="connsiteX213" fmla="*/ 119062 w 3128973"/>
                <a:gd name="connsiteY213" fmla="*/ 323850 h 1752600"/>
                <a:gd name="connsiteX214" fmla="*/ 104775 w 3128973"/>
                <a:gd name="connsiteY214" fmla="*/ 319087 h 1752600"/>
                <a:gd name="connsiteX215" fmla="*/ 61912 w 3128973"/>
                <a:gd name="connsiteY215" fmla="*/ 300037 h 1752600"/>
                <a:gd name="connsiteX216" fmla="*/ 23812 w 3128973"/>
                <a:gd name="connsiteY216" fmla="*/ 290512 h 1752600"/>
                <a:gd name="connsiteX217" fmla="*/ 9525 w 3128973"/>
                <a:gd name="connsiteY217" fmla="*/ 261937 h 1752600"/>
                <a:gd name="connsiteX218" fmla="*/ 0 w 3128973"/>
                <a:gd name="connsiteY218" fmla="*/ 290512 h 1752600"/>
                <a:gd name="connsiteX219" fmla="*/ 4762 w 3128973"/>
                <a:gd name="connsiteY219" fmla="*/ 247650 h 1752600"/>
                <a:gd name="connsiteX220" fmla="*/ 19050 w 3128973"/>
                <a:gd name="connsiteY220" fmla="*/ 200025 h 1752600"/>
                <a:gd name="connsiteX221" fmla="*/ 23812 w 3128973"/>
                <a:gd name="connsiteY221" fmla="*/ 185737 h 1752600"/>
                <a:gd name="connsiteX222" fmla="*/ 71437 w 3128973"/>
                <a:gd name="connsiteY222" fmla="*/ 171450 h 1752600"/>
                <a:gd name="connsiteX223" fmla="*/ 85725 w 3128973"/>
                <a:gd name="connsiteY223" fmla="*/ 166687 h 1752600"/>
                <a:gd name="connsiteX224" fmla="*/ 100012 w 3128973"/>
                <a:gd name="connsiteY224" fmla="*/ 161925 h 1752600"/>
                <a:gd name="connsiteX225" fmla="*/ 114300 w 3128973"/>
                <a:gd name="connsiteY225" fmla="*/ 152400 h 1752600"/>
                <a:gd name="connsiteX226" fmla="*/ 133350 w 3128973"/>
                <a:gd name="connsiteY226" fmla="*/ 123825 h 1752600"/>
                <a:gd name="connsiteX227" fmla="*/ 138112 w 3128973"/>
                <a:gd name="connsiteY227" fmla="*/ 109537 h 1752600"/>
                <a:gd name="connsiteX228" fmla="*/ 135467 w 3128973"/>
                <a:gd name="connsiteY228" fmla="*/ 97059 h 1752600"/>
                <a:gd name="connsiteX229" fmla="*/ 142875 w 3128973"/>
                <a:gd name="connsiteY229" fmla="*/ 71437 h 1752600"/>
                <a:gd name="connsiteX230" fmla="*/ 157162 w 3128973"/>
                <a:gd name="connsiteY230" fmla="*/ 57150 h 1752600"/>
                <a:gd name="connsiteX231" fmla="*/ 200025 w 3128973"/>
                <a:gd name="connsiteY231" fmla="*/ 33337 h 1752600"/>
                <a:gd name="connsiteX232" fmla="*/ 309562 w 3128973"/>
                <a:gd name="connsiteY232" fmla="*/ 28575 h 1752600"/>
                <a:gd name="connsiteX233" fmla="*/ 400050 w 3128973"/>
                <a:gd name="connsiteY233" fmla="*/ 14287 h 1752600"/>
                <a:gd name="connsiteX234" fmla="*/ 414337 w 3128973"/>
                <a:gd name="connsiteY234" fmla="*/ 9525 h 1752600"/>
                <a:gd name="connsiteX235" fmla="*/ 481012 w 3128973"/>
                <a:gd name="connsiteY235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90662 w 3128973"/>
                <a:gd name="connsiteY156" fmla="*/ 1062037 h 1752600"/>
                <a:gd name="connsiteX157" fmla="*/ 1470025 w 3128973"/>
                <a:gd name="connsiteY157" fmla="*/ 1130300 h 1752600"/>
                <a:gd name="connsiteX158" fmla="*/ 1433512 w 3128973"/>
                <a:gd name="connsiteY158" fmla="*/ 1108075 h 1752600"/>
                <a:gd name="connsiteX159" fmla="*/ 1423987 w 3128973"/>
                <a:gd name="connsiteY159" fmla="*/ 1087437 h 1752600"/>
                <a:gd name="connsiteX160" fmla="*/ 1381125 w 3128973"/>
                <a:gd name="connsiteY160" fmla="*/ 1095375 h 1752600"/>
                <a:gd name="connsiteX161" fmla="*/ 1395412 w 3128973"/>
                <a:gd name="connsiteY161" fmla="*/ 1019175 h 1752600"/>
                <a:gd name="connsiteX162" fmla="*/ 1381125 w 3128973"/>
                <a:gd name="connsiteY162" fmla="*/ 1014412 h 1752600"/>
                <a:gd name="connsiteX163" fmla="*/ 1352550 w 3128973"/>
                <a:gd name="connsiteY163" fmla="*/ 995362 h 1752600"/>
                <a:gd name="connsiteX164" fmla="*/ 1333500 w 3128973"/>
                <a:gd name="connsiteY164" fmla="*/ 990600 h 1752600"/>
                <a:gd name="connsiteX165" fmla="*/ 1295400 w 3128973"/>
                <a:gd name="connsiteY165" fmla="*/ 976312 h 1752600"/>
                <a:gd name="connsiteX166" fmla="*/ 1281112 w 3128973"/>
                <a:gd name="connsiteY166" fmla="*/ 966787 h 1752600"/>
                <a:gd name="connsiteX167" fmla="*/ 1238250 w 3128973"/>
                <a:gd name="connsiteY167" fmla="*/ 947737 h 1752600"/>
                <a:gd name="connsiteX168" fmla="*/ 1212850 w 3128973"/>
                <a:gd name="connsiteY168" fmla="*/ 995362 h 1752600"/>
                <a:gd name="connsiteX169" fmla="*/ 1201737 w 3128973"/>
                <a:gd name="connsiteY169" fmla="*/ 987425 h 1752600"/>
                <a:gd name="connsiteX170" fmla="*/ 1163637 w 3128973"/>
                <a:gd name="connsiteY170" fmla="*/ 952277 h 1752600"/>
                <a:gd name="connsiteX171" fmla="*/ 1133475 w 3128973"/>
                <a:gd name="connsiteY171" fmla="*/ 925512 h 1752600"/>
                <a:gd name="connsiteX172" fmla="*/ 1095375 w 3128973"/>
                <a:gd name="connsiteY172" fmla="*/ 847725 h 1752600"/>
                <a:gd name="connsiteX173" fmla="*/ 1071562 w 3128973"/>
                <a:gd name="connsiteY173" fmla="*/ 842962 h 1752600"/>
                <a:gd name="connsiteX174" fmla="*/ 1047750 w 3128973"/>
                <a:gd name="connsiteY174" fmla="*/ 819150 h 1752600"/>
                <a:gd name="connsiteX175" fmla="*/ 1028700 w 3128973"/>
                <a:gd name="connsiteY175" fmla="*/ 804862 h 1752600"/>
                <a:gd name="connsiteX176" fmla="*/ 1018076 w 3128973"/>
                <a:gd name="connsiteY176" fmla="*/ 794816 h 1752600"/>
                <a:gd name="connsiteX177" fmla="*/ 1000125 w 3128973"/>
                <a:gd name="connsiteY177" fmla="*/ 785812 h 1752600"/>
                <a:gd name="connsiteX178" fmla="*/ 984342 w 3128973"/>
                <a:gd name="connsiteY178" fmla="*/ 773578 h 1752600"/>
                <a:gd name="connsiteX179" fmla="*/ 957262 w 3128973"/>
                <a:gd name="connsiteY179" fmla="*/ 766762 h 1752600"/>
                <a:gd name="connsiteX180" fmla="*/ 938212 w 3128973"/>
                <a:gd name="connsiteY180" fmla="*/ 757237 h 1752600"/>
                <a:gd name="connsiteX181" fmla="*/ 904875 w 3128973"/>
                <a:gd name="connsiteY181" fmla="*/ 747712 h 1752600"/>
                <a:gd name="connsiteX182" fmla="*/ 862012 w 3128973"/>
                <a:gd name="connsiteY182" fmla="*/ 723900 h 1752600"/>
                <a:gd name="connsiteX183" fmla="*/ 795337 w 3128973"/>
                <a:gd name="connsiteY183" fmla="*/ 685800 h 1752600"/>
                <a:gd name="connsiteX184" fmla="*/ 776287 w 3128973"/>
                <a:gd name="connsiteY184" fmla="*/ 666750 h 1752600"/>
                <a:gd name="connsiteX185" fmla="*/ 762000 w 3128973"/>
                <a:gd name="connsiteY185" fmla="*/ 661987 h 1752600"/>
                <a:gd name="connsiteX186" fmla="*/ 742950 w 3128973"/>
                <a:gd name="connsiteY186" fmla="*/ 647700 h 1752600"/>
                <a:gd name="connsiteX187" fmla="*/ 709612 w 3128973"/>
                <a:gd name="connsiteY187" fmla="*/ 638175 h 1752600"/>
                <a:gd name="connsiteX188" fmla="*/ 695325 w 3128973"/>
                <a:gd name="connsiteY188" fmla="*/ 628650 h 1752600"/>
                <a:gd name="connsiteX189" fmla="*/ 681037 w 3128973"/>
                <a:gd name="connsiteY189" fmla="*/ 623887 h 1752600"/>
                <a:gd name="connsiteX190" fmla="*/ 676275 w 3128973"/>
                <a:gd name="connsiteY190" fmla="*/ 604837 h 1752600"/>
                <a:gd name="connsiteX191" fmla="*/ 666750 w 3128973"/>
                <a:gd name="connsiteY191" fmla="*/ 576262 h 1752600"/>
                <a:gd name="connsiteX192" fmla="*/ 661987 w 3128973"/>
                <a:gd name="connsiteY192" fmla="*/ 561975 h 1752600"/>
                <a:gd name="connsiteX193" fmla="*/ 666750 w 3128973"/>
                <a:gd name="connsiteY193" fmla="*/ 538162 h 1752600"/>
                <a:gd name="connsiteX194" fmla="*/ 638175 w 3128973"/>
                <a:gd name="connsiteY194" fmla="*/ 514350 h 1752600"/>
                <a:gd name="connsiteX195" fmla="*/ 619125 w 3128973"/>
                <a:gd name="connsiteY195" fmla="*/ 500062 h 1752600"/>
                <a:gd name="connsiteX196" fmla="*/ 576262 w 3128973"/>
                <a:gd name="connsiteY196" fmla="*/ 490537 h 1752600"/>
                <a:gd name="connsiteX197" fmla="*/ 542925 w 3128973"/>
                <a:gd name="connsiteY197" fmla="*/ 452437 h 1752600"/>
                <a:gd name="connsiteX198" fmla="*/ 525462 w 3128973"/>
                <a:gd name="connsiteY198" fmla="*/ 485775 h 1752600"/>
                <a:gd name="connsiteX199" fmla="*/ 504825 w 3128973"/>
                <a:gd name="connsiteY199" fmla="*/ 466725 h 1752600"/>
                <a:gd name="connsiteX200" fmla="*/ 454025 w 3128973"/>
                <a:gd name="connsiteY200" fmla="*/ 466725 h 1752600"/>
                <a:gd name="connsiteX201" fmla="*/ 407987 w 3128973"/>
                <a:gd name="connsiteY201" fmla="*/ 473075 h 1752600"/>
                <a:gd name="connsiteX202" fmla="*/ 395287 w 3128973"/>
                <a:gd name="connsiteY202" fmla="*/ 409575 h 1752600"/>
                <a:gd name="connsiteX203" fmla="*/ 376237 w 3128973"/>
                <a:gd name="connsiteY203" fmla="*/ 404812 h 1752600"/>
                <a:gd name="connsiteX204" fmla="*/ 342900 w 3128973"/>
                <a:gd name="connsiteY204" fmla="*/ 400050 h 1752600"/>
                <a:gd name="connsiteX205" fmla="*/ 314325 w 3128973"/>
                <a:gd name="connsiteY205" fmla="*/ 390525 h 1752600"/>
                <a:gd name="connsiteX206" fmla="*/ 285750 w 3128973"/>
                <a:gd name="connsiteY206" fmla="*/ 371475 h 1752600"/>
                <a:gd name="connsiteX207" fmla="*/ 271462 w 3128973"/>
                <a:gd name="connsiteY207" fmla="*/ 366712 h 1752600"/>
                <a:gd name="connsiteX208" fmla="*/ 257175 w 3128973"/>
                <a:gd name="connsiteY208" fmla="*/ 357187 h 1752600"/>
                <a:gd name="connsiteX209" fmla="*/ 223837 w 3128973"/>
                <a:gd name="connsiteY209" fmla="*/ 347662 h 1752600"/>
                <a:gd name="connsiteX210" fmla="*/ 190500 w 3128973"/>
                <a:gd name="connsiteY210" fmla="*/ 338137 h 1752600"/>
                <a:gd name="connsiteX211" fmla="*/ 147637 w 3128973"/>
                <a:gd name="connsiteY211" fmla="*/ 333375 h 1752600"/>
                <a:gd name="connsiteX212" fmla="*/ 119062 w 3128973"/>
                <a:gd name="connsiteY212" fmla="*/ 323850 h 1752600"/>
                <a:gd name="connsiteX213" fmla="*/ 104775 w 3128973"/>
                <a:gd name="connsiteY213" fmla="*/ 319087 h 1752600"/>
                <a:gd name="connsiteX214" fmla="*/ 61912 w 3128973"/>
                <a:gd name="connsiteY214" fmla="*/ 300037 h 1752600"/>
                <a:gd name="connsiteX215" fmla="*/ 23812 w 3128973"/>
                <a:gd name="connsiteY215" fmla="*/ 290512 h 1752600"/>
                <a:gd name="connsiteX216" fmla="*/ 9525 w 3128973"/>
                <a:gd name="connsiteY216" fmla="*/ 261937 h 1752600"/>
                <a:gd name="connsiteX217" fmla="*/ 0 w 3128973"/>
                <a:gd name="connsiteY217" fmla="*/ 290512 h 1752600"/>
                <a:gd name="connsiteX218" fmla="*/ 4762 w 3128973"/>
                <a:gd name="connsiteY218" fmla="*/ 247650 h 1752600"/>
                <a:gd name="connsiteX219" fmla="*/ 19050 w 3128973"/>
                <a:gd name="connsiteY219" fmla="*/ 200025 h 1752600"/>
                <a:gd name="connsiteX220" fmla="*/ 23812 w 3128973"/>
                <a:gd name="connsiteY220" fmla="*/ 185737 h 1752600"/>
                <a:gd name="connsiteX221" fmla="*/ 71437 w 3128973"/>
                <a:gd name="connsiteY221" fmla="*/ 171450 h 1752600"/>
                <a:gd name="connsiteX222" fmla="*/ 85725 w 3128973"/>
                <a:gd name="connsiteY222" fmla="*/ 166687 h 1752600"/>
                <a:gd name="connsiteX223" fmla="*/ 100012 w 3128973"/>
                <a:gd name="connsiteY223" fmla="*/ 161925 h 1752600"/>
                <a:gd name="connsiteX224" fmla="*/ 114300 w 3128973"/>
                <a:gd name="connsiteY224" fmla="*/ 152400 h 1752600"/>
                <a:gd name="connsiteX225" fmla="*/ 133350 w 3128973"/>
                <a:gd name="connsiteY225" fmla="*/ 123825 h 1752600"/>
                <a:gd name="connsiteX226" fmla="*/ 138112 w 3128973"/>
                <a:gd name="connsiteY226" fmla="*/ 109537 h 1752600"/>
                <a:gd name="connsiteX227" fmla="*/ 135467 w 3128973"/>
                <a:gd name="connsiteY227" fmla="*/ 97059 h 1752600"/>
                <a:gd name="connsiteX228" fmla="*/ 142875 w 3128973"/>
                <a:gd name="connsiteY228" fmla="*/ 71437 h 1752600"/>
                <a:gd name="connsiteX229" fmla="*/ 157162 w 3128973"/>
                <a:gd name="connsiteY229" fmla="*/ 57150 h 1752600"/>
                <a:gd name="connsiteX230" fmla="*/ 200025 w 3128973"/>
                <a:gd name="connsiteY230" fmla="*/ 33337 h 1752600"/>
                <a:gd name="connsiteX231" fmla="*/ 309562 w 3128973"/>
                <a:gd name="connsiteY231" fmla="*/ 28575 h 1752600"/>
                <a:gd name="connsiteX232" fmla="*/ 400050 w 3128973"/>
                <a:gd name="connsiteY232" fmla="*/ 14287 h 1752600"/>
                <a:gd name="connsiteX233" fmla="*/ 414337 w 3128973"/>
                <a:gd name="connsiteY233" fmla="*/ 9525 h 1752600"/>
                <a:gd name="connsiteX234" fmla="*/ 481012 w 3128973"/>
                <a:gd name="connsiteY234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14425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95375 w 3128973"/>
                <a:gd name="connsiteY171" fmla="*/ 847725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76387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95375 w 3128973"/>
                <a:gd name="connsiteY171" fmla="*/ 847725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76450 w 3128973"/>
                <a:gd name="connsiteY138" fmla="*/ 1281112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95375 w 3128973"/>
                <a:gd name="connsiteY171" fmla="*/ 847725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62162 w 3128973"/>
                <a:gd name="connsiteY139" fmla="*/ 1276350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95375 w 3128973"/>
                <a:gd name="connsiteY171" fmla="*/ 847725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95375 w 3128973"/>
                <a:gd name="connsiteY171" fmla="*/ 847725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95412 w 3128973"/>
                <a:gd name="connsiteY160" fmla="*/ 1019175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81125 w 3128973"/>
                <a:gd name="connsiteY161" fmla="*/ 1014412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52550 w 3128973"/>
                <a:gd name="connsiteY162" fmla="*/ 995362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35881 w 3128973"/>
                <a:gd name="connsiteY162" fmla="*/ 1007268 h 1752600"/>
                <a:gd name="connsiteX163" fmla="*/ 1333500 w 3128973"/>
                <a:gd name="connsiteY163" fmla="*/ 990600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35881 w 3128973"/>
                <a:gd name="connsiteY162" fmla="*/ 1007268 h 1752600"/>
                <a:gd name="connsiteX163" fmla="*/ 1319213 w 3128973"/>
                <a:gd name="connsiteY163" fmla="*/ 1007268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85750 w 3128973"/>
                <a:gd name="connsiteY205" fmla="*/ 371475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35881 w 3128973"/>
                <a:gd name="connsiteY162" fmla="*/ 1007268 h 1752600"/>
                <a:gd name="connsiteX163" fmla="*/ 1319213 w 3128973"/>
                <a:gd name="connsiteY163" fmla="*/ 1007268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73844 w 3128973"/>
                <a:gd name="connsiteY205" fmla="*/ 383382 h 1752600"/>
                <a:gd name="connsiteX206" fmla="*/ 271462 w 3128973"/>
                <a:gd name="connsiteY206" fmla="*/ 366712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35881 w 3128973"/>
                <a:gd name="connsiteY162" fmla="*/ 1007268 h 1752600"/>
                <a:gd name="connsiteX163" fmla="*/ 1319213 w 3128973"/>
                <a:gd name="connsiteY163" fmla="*/ 1007268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73844 w 3128973"/>
                <a:gd name="connsiteY205" fmla="*/ 383382 h 1752600"/>
                <a:gd name="connsiteX206" fmla="*/ 257175 w 3128973"/>
                <a:gd name="connsiteY206" fmla="*/ 371475 h 1752600"/>
                <a:gd name="connsiteX207" fmla="*/ 257175 w 3128973"/>
                <a:gd name="connsiteY207" fmla="*/ 357187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6801 w 3128973"/>
                <a:gd name="connsiteY22" fmla="*/ 262295 h 1752600"/>
                <a:gd name="connsiteX23" fmla="*/ 2033587 w 3128973"/>
                <a:gd name="connsiteY23" fmla="*/ 266700 h 1752600"/>
                <a:gd name="connsiteX24" fmla="*/ 2019300 w 3128973"/>
                <a:gd name="connsiteY24" fmla="*/ 280987 h 1752600"/>
                <a:gd name="connsiteX25" fmla="*/ 1990725 w 3128973"/>
                <a:gd name="connsiteY25" fmla="*/ 300037 h 1752600"/>
                <a:gd name="connsiteX26" fmla="*/ 1981200 w 3128973"/>
                <a:gd name="connsiteY26" fmla="*/ 314325 h 1752600"/>
                <a:gd name="connsiteX27" fmla="*/ 1981200 w 3128973"/>
                <a:gd name="connsiteY27" fmla="*/ 419100 h 1752600"/>
                <a:gd name="connsiteX28" fmla="*/ 1985962 w 3128973"/>
                <a:gd name="connsiteY28" fmla="*/ 433387 h 1752600"/>
                <a:gd name="connsiteX29" fmla="*/ 2000250 w 3128973"/>
                <a:gd name="connsiteY29" fmla="*/ 442912 h 1752600"/>
                <a:gd name="connsiteX30" fmla="*/ 2005012 w 3128973"/>
                <a:gd name="connsiteY30" fmla="*/ 457200 h 1752600"/>
                <a:gd name="connsiteX31" fmla="*/ 2005012 w 3128973"/>
                <a:gd name="connsiteY31" fmla="*/ 561975 h 1752600"/>
                <a:gd name="connsiteX32" fmla="*/ 2009775 w 3128973"/>
                <a:gd name="connsiteY32" fmla="*/ 576262 h 1752600"/>
                <a:gd name="connsiteX33" fmla="*/ 2024062 w 3128973"/>
                <a:gd name="connsiteY33" fmla="*/ 581025 h 1752600"/>
                <a:gd name="connsiteX34" fmla="*/ 2038350 w 3128973"/>
                <a:gd name="connsiteY34" fmla="*/ 595312 h 1752600"/>
                <a:gd name="connsiteX35" fmla="*/ 2052637 w 3128973"/>
                <a:gd name="connsiteY35" fmla="*/ 600075 h 1752600"/>
                <a:gd name="connsiteX36" fmla="*/ 2133600 w 3128973"/>
                <a:gd name="connsiteY36" fmla="*/ 590550 h 1752600"/>
                <a:gd name="connsiteX37" fmla="*/ 2147887 w 3128973"/>
                <a:gd name="connsiteY37" fmla="*/ 585787 h 1752600"/>
                <a:gd name="connsiteX38" fmla="*/ 2195512 w 3128973"/>
                <a:gd name="connsiteY38" fmla="*/ 600075 h 1752600"/>
                <a:gd name="connsiteX39" fmla="*/ 2205037 w 3128973"/>
                <a:gd name="connsiteY39" fmla="*/ 614362 h 1752600"/>
                <a:gd name="connsiteX40" fmla="*/ 2219325 w 3128973"/>
                <a:gd name="connsiteY40" fmla="*/ 628650 h 1752600"/>
                <a:gd name="connsiteX41" fmla="*/ 2224087 w 3128973"/>
                <a:gd name="connsiteY41" fmla="*/ 642937 h 1752600"/>
                <a:gd name="connsiteX42" fmla="*/ 2233612 w 3128973"/>
                <a:gd name="connsiteY42" fmla="*/ 657225 h 1752600"/>
                <a:gd name="connsiteX43" fmla="*/ 2247900 w 3128973"/>
                <a:gd name="connsiteY43" fmla="*/ 685800 h 1752600"/>
                <a:gd name="connsiteX44" fmla="*/ 2262187 w 3128973"/>
                <a:gd name="connsiteY44" fmla="*/ 733425 h 1752600"/>
                <a:gd name="connsiteX45" fmla="*/ 2305050 w 3128973"/>
                <a:gd name="connsiteY45" fmla="*/ 771525 h 1752600"/>
                <a:gd name="connsiteX46" fmla="*/ 2319337 w 3128973"/>
                <a:gd name="connsiteY46" fmla="*/ 804862 h 1752600"/>
                <a:gd name="connsiteX47" fmla="*/ 2333625 w 3128973"/>
                <a:gd name="connsiteY47" fmla="*/ 819150 h 1752600"/>
                <a:gd name="connsiteX48" fmla="*/ 2338387 w 3128973"/>
                <a:gd name="connsiteY48" fmla="*/ 833437 h 1752600"/>
                <a:gd name="connsiteX49" fmla="*/ 2352675 w 3128973"/>
                <a:gd name="connsiteY49" fmla="*/ 847725 h 1752600"/>
                <a:gd name="connsiteX50" fmla="*/ 2395537 w 3128973"/>
                <a:gd name="connsiteY50" fmla="*/ 871537 h 1752600"/>
                <a:gd name="connsiteX51" fmla="*/ 2409825 w 3128973"/>
                <a:gd name="connsiteY51" fmla="*/ 890587 h 1752600"/>
                <a:gd name="connsiteX52" fmla="*/ 2424112 w 3128973"/>
                <a:gd name="connsiteY52" fmla="*/ 895350 h 1752600"/>
                <a:gd name="connsiteX53" fmla="*/ 2433637 w 3128973"/>
                <a:gd name="connsiteY53" fmla="*/ 914400 h 1752600"/>
                <a:gd name="connsiteX54" fmla="*/ 2466975 w 3128973"/>
                <a:gd name="connsiteY54" fmla="*/ 942975 h 1752600"/>
                <a:gd name="connsiteX55" fmla="*/ 2474637 w 3128973"/>
                <a:gd name="connsiteY55" fmla="*/ 954728 h 1752600"/>
                <a:gd name="connsiteX56" fmla="*/ 2495550 w 3128973"/>
                <a:gd name="connsiteY56" fmla="*/ 971550 h 1752600"/>
                <a:gd name="connsiteX57" fmla="*/ 2508776 w 3128973"/>
                <a:gd name="connsiteY57" fmla="*/ 983894 h 1752600"/>
                <a:gd name="connsiteX58" fmla="*/ 2533650 w 3128973"/>
                <a:gd name="connsiteY58" fmla="*/ 1000125 h 1752600"/>
                <a:gd name="connsiteX59" fmla="*/ 2547937 w 3128973"/>
                <a:gd name="connsiteY59" fmla="*/ 1028700 h 1752600"/>
                <a:gd name="connsiteX60" fmla="*/ 2552700 w 3128973"/>
                <a:gd name="connsiteY60" fmla="*/ 1042987 h 1752600"/>
                <a:gd name="connsiteX61" fmla="*/ 2576512 w 3128973"/>
                <a:gd name="connsiteY61" fmla="*/ 1071562 h 1752600"/>
                <a:gd name="connsiteX62" fmla="*/ 2584921 w 3128973"/>
                <a:gd name="connsiteY62" fmla="*/ 1082873 h 1752600"/>
                <a:gd name="connsiteX63" fmla="*/ 2600325 w 3128973"/>
                <a:gd name="connsiteY63" fmla="*/ 1095375 h 1752600"/>
                <a:gd name="connsiteX64" fmla="*/ 2609850 w 3128973"/>
                <a:gd name="connsiteY64" fmla="*/ 1109662 h 1752600"/>
                <a:gd name="connsiteX65" fmla="*/ 2652712 w 3128973"/>
                <a:gd name="connsiteY65" fmla="*/ 1143000 h 1752600"/>
                <a:gd name="connsiteX66" fmla="*/ 2681287 w 3128973"/>
                <a:gd name="connsiteY66" fmla="*/ 1152525 h 1752600"/>
                <a:gd name="connsiteX67" fmla="*/ 2700337 w 3128973"/>
                <a:gd name="connsiteY67" fmla="*/ 1162050 h 1752600"/>
                <a:gd name="connsiteX68" fmla="*/ 2714625 w 3128973"/>
                <a:gd name="connsiteY68" fmla="*/ 1171575 h 1752600"/>
                <a:gd name="connsiteX69" fmla="*/ 2752725 w 3128973"/>
                <a:gd name="connsiteY69" fmla="*/ 1181100 h 1752600"/>
                <a:gd name="connsiteX70" fmla="*/ 2767012 w 3128973"/>
                <a:gd name="connsiteY70" fmla="*/ 1195387 h 1752600"/>
                <a:gd name="connsiteX71" fmla="*/ 2781300 w 3128973"/>
                <a:gd name="connsiteY71" fmla="*/ 1200150 h 1752600"/>
                <a:gd name="connsiteX72" fmla="*/ 2795587 w 3128973"/>
                <a:gd name="connsiteY72" fmla="*/ 1209675 h 1752600"/>
                <a:gd name="connsiteX73" fmla="*/ 2805112 w 3128973"/>
                <a:gd name="connsiteY73" fmla="*/ 1223962 h 1752600"/>
                <a:gd name="connsiteX74" fmla="*/ 2809875 w 3128973"/>
                <a:gd name="connsiteY74" fmla="*/ 1238250 h 1752600"/>
                <a:gd name="connsiteX75" fmla="*/ 2833687 w 3128973"/>
                <a:gd name="connsiteY75" fmla="*/ 1276350 h 1752600"/>
                <a:gd name="connsiteX76" fmla="*/ 2895600 w 3128973"/>
                <a:gd name="connsiteY76" fmla="*/ 1333500 h 1752600"/>
                <a:gd name="connsiteX77" fmla="*/ 2900362 w 3128973"/>
                <a:gd name="connsiteY77" fmla="*/ 1352550 h 1752600"/>
                <a:gd name="connsiteX78" fmla="*/ 2928937 w 3128973"/>
                <a:gd name="connsiteY78" fmla="*/ 1395412 h 1752600"/>
                <a:gd name="connsiteX79" fmla="*/ 2943225 w 3128973"/>
                <a:gd name="connsiteY79" fmla="*/ 1404937 h 1752600"/>
                <a:gd name="connsiteX80" fmla="*/ 2957512 w 3128973"/>
                <a:gd name="connsiteY80" fmla="*/ 1419225 h 1752600"/>
                <a:gd name="connsiteX81" fmla="*/ 2986087 w 3128973"/>
                <a:gd name="connsiteY81" fmla="*/ 1443037 h 1752600"/>
                <a:gd name="connsiteX82" fmla="*/ 3000375 w 3128973"/>
                <a:gd name="connsiteY82" fmla="*/ 1462087 h 1752600"/>
                <a:gd name="connsiteX83" fmla="*/ 3016395 w 3128973"/>
                <a:gd name="connsiteY83" fmla="*/ 1476222 h 1752600"/>
                <a:gd name="connsiteX84" fmla="*/ 3028950 w 3128973"/>
                <a:gd name="connsiteY84" fmla="*/ 1495425 h 1752600"/>
                <a:gd name="connsiteX85" fmla="*/ 3043237 w 3128973"/>
                <a:gd name="connsiteY85" fmla="*/ 1552575 h 1752600"/>
                <a:gd name="connsiteX86" fmla="*/ 3052762 w 3128973"/>
                <a:gd name="connsiteY86" fmla="*/ 1566862 h 1752600"/>
                <a:gd name="connsiteX87" fmla="*/ 3057525 w 3128973"/>
                <a:gd name="connsiteY87" fmla="*/ 1581150 h 1752600"/>
                <a:gd name="connsiteX88" fmla="*/ 3067050 w 3128973"/>
                <a:gd name="connsiteY88" fmla="*/ 1662112 h 1752600"/>
                <a:gd name="connsiteX89" fmla="*/ 3071812 w 3128973"/>
                <a:gd name="connsiteY89" fmla="*/ 1676400 h 1752600"/>
                <a:gd name="connsiteX90" fmla="*/ 3100387 w 3128973"/>
                <a:gd name="connsiteY90" fmla="*/ 1690687 h 1752600"/>
                <a:gd name="connsiteX91" fmla="*/ 3114675 w 3128973"/>
                <a:gd name="connsiteY91" fmla="*/ 1685925 h 1752600"/>
                <a:gd name="connsiteX92" fmla="*/ 3124200 w 3128973"/>
                <a:gd name="connsiteY92" fmla="*/ 1671637 h 1752600"/>
                <a:gd name="connsiteX93" fmla="*/ 3128973 w 3128973"/>
                <a:gd name="connsiteY93" fmla="*/ 1651467 h 1752600"/>
                <a:gd name="connsiteX94" fmla="*/ 3128021 w 3128973"/>
                <a:gd name="connsiteY94" fmla="*/ 1710279 h 1752600"/>
                <a:gd name="connsiteX95" fmla="*/ 3043237 w 3128973"/>
                <a:gd name="connsiteY95" fmla="*/ 1714500 h 1752600"/>
                <a:gd name="connsiteX96" fmla="*/ 3028950 w 3128973"/>
                <a:gd name="connsiteY96" fmla="*/ 1728787 h 1752600"/>
                <a:gd name="connsiteX97" fmla="*/ 2986087 w 3128973"/>
                <a:gd name="connsiteY97" fmla="*/ 1738312 h 1752600"/>
                <a:gd name="connsiteX98" fmla="*/ 2971800 w 3128973"/>
                <a:gd name="connsiteY98" fmla="*/ 1743075 h 1752600"/>
                <a:gd name="connsiteX99" fmla="*/ 2943225 w 3128973"/>
                <a:gd name="connsiteY99" fmla="*/ 1738312 h 1752600"/>
                <a:gd name="connsiteX100" fmla="*/ 2928937 w 3128973"/>
                <a:gd name="connsiteY100" fmla="*/ 1747837 h 1752600"/>
                <a:gd name="connsiteX101" fmla="*/ 2914650 w 3128973"/>
                <a:gd name="connsiteY101" fmla="*/ 1752600 h 1752600"/>
                <a:gd name="connsiteX102" fmla="*/ 2895600 w 3128973"/>
                <a:gd name="connsiteY102" fmla="*/ 1724025 h 1752600"/>
                <a:gd name="connsiteX103" fmla="*/ 2883310 w 3128973"/>
                <a:gd name="connsiteY103" fmla="*/ 1701201 h 1752600"/>
                <a:gd name="connsiteX104" fmla="*/ 2883805 w 3128973"/>
                <a:gd name="connsiteY104" fmla="*/ 1696138 h 1752600"/>
                <a:gd name="connsiteX105" fmla="*/ 2871787 w 3128973"/>
                <a:gd name="connsiteY105" fmla="*/ 1685925 h 1752600"/>
                <a:gd name="connsiteX106" fmla="*/ 2847975 w 3128973"/>
                <a:gd name="connsiteY106" fmla="*/ 1657350 h 1752600"/>
                <a:gd name="connsiteX107" fmla="*/ 2834034 w 3128973"/>
                <a:gd name="connsiteY107" fmla="*/ 1637762 h 1752600"/>
                <a:gd name="connsiteX108" fmla="*/ 2814637 w 3128973"/>
                <a:gd name="connsiteY108" fmla="*/ 1619250 h 1752600"/>
                <a:gd name="connsiteX109" fmla="*/ 2809875 w 3128973"/>
                <a:gd name="connsiteY109" fmla="*/ 1604962 h 1752600"/>
                <a:gd name="connsiteX110" fmla="*/ 2795587 w 3128973"/>
                <a:gd name="connsiteY110" fmla="*/ 1600200 h 1752600"/>
                <a:gd name="connsiteX111" fmla="*/ 2781300 w 3128973"/>
                <a:gd name="connsiteY111" fmla="*/ 1590675 h 1752600"/>
                <a:gd name="connsiteX112" fmla="*/ 2752725 w 3128973"/>
                <a:gd name="connsiteY112" fmla="*/ 1581150 h 1752600"/>
                <a:gd name="connsiteX113" fmla="*/ 2733675 w 3128973"/>
                <a:gd name="connsiteY113" fmla="*/ 1625600 h 1752600"/>
                <a:gd name="connsiteX114" fmla="*/ 2709862 w 3128973"/>
                <a:gd name="connsiteY114" fmla="*/ 1619250 h 1752600"/>
                <a:gd name="connsiteX115" fmla="*/ 2723566 w 3128973"/>
                <a:gd name="connsiteY115" fmla="*/ 1590361 h 1752600"/>
                <a:gd name="connsiteX116" fmla="*/ 2674937 w 3128973"/>
                <a:gd name="connsiteY116" fmla="*/ 1560512 h 1752600"/>
                <a:gd name="connsiteX117" fmla="*/ 2643187 w 3128973"/>
                <a:gd name="connsiteY117" fmla="*/ 1495425 h 1752600"/>
                <a:gd name="connsiteX118" fmla="*/ 2628900 w 3128973"/>
                <a:gd name="connsiteY118" fmla="*/ 1490662 h 1752600"/>
                <a:gd name="connsiteX119" fmla="*/ 2595562 w 3128973"/>
                <a:gd name="connsiteY119" fmla="*/ 1481137 h 1752600"/>
                <a:gd name="connsiteX120" fmla="*/ 2581275 w 3128973"/>
                <a:gd name="connsiteY120" fmla="*/ 1466850 h 1752600"/>
                <a:gd name="connsiteX121" fmla="*/ 2552700 w 3128973"/>
                <a:gd name="connsiteY121" fmla="*/ 1457325 h 1752600"/>
                <a:gd name="connsiteX122" fmla="*/ 2538412 w 3128973"/>
                <a:gd name="connsiteY122" fmla="*/ 1447800 h 1752600"/>
                <a:gd name="connsiteX123" fmla="*/ 2519362 w 3128973"/>
                <a:gd name="connsiteY123" fmla="*/ 1443037 h 1752600"/>
                <a:gd name="connsiteX124" fmla="*/ 2490787 w 3128973"/>
                <a:gd name="connsiteY124" fmla="*/ 1433512 h 1752600"/>
                <a:gd name="connsiteX125" fmla="*/ 2476500 w 3128973"/>
                <a:gd name="connsiteY125" fmla="*/ 1428750 h 1752600"/>
                <a:gd name="connsiteX126" fmla="*/ 2466975 w 3128973"/>
                <a:gd name="connsiteY126" fmla="*/ 1414462 h 1752600"/>
                <a:gd name="connsiteX127" fmla="*/ 2447925 w 3128973"/>
                <a:gd name="connsiteY127" fmla="*/ 1409700 h 1752600"/>
                <a:gd name="connsiteX128" fmla="*/ 2309812 w 3128973"/>
                <a:gd name="connsiteY128" fmla="*/ 1395412 h 1752600"/>
                <a:gd name="connsiteX129" fmla="*/ 2295525 w 3128973"/>
                <a:gd name="connsiteY129" fmla="*/ 1390650 h 1752600"/>
                <a:gd name="connsiteX130" fmla="*/ 2257425 w 3128973"/>
                <a:gd name="connsiteY130" fmla="*/ 1381125 h 1752600"/>
                <a:gd name="connsiteX131" fmla="*/ 2238375 w 3128973"/>
                <a:gd name="connsiteY131" fmla="*/ 1366837 h 1752600"/>
                <a:gd name="connsiteX132" fmla="*/ 2224087 w 3128973"/>
                <a:gd name="connsiteY132" fmla="*/ 1362075 h 1752600"/>
                <a:gd name="connsiteX133" fmla="*/ 2176462 w 3128973"/>
                <a:gd name="connsiteY133" fmla="*/ 1338262 h 1752600"/>
                <a:gd name="connsiteX134" fmla="*/ 2162175 w 3128973"/>
                <a:gd name="connsiteY134" fmla="*/ 1328737 h 1752600"/>
                <a:gd name="connsiteX135" fmla="*/ 2114550 w 3128973"/>
                <a:gd name="connsiteY135" fmla="*/ 1314450 h 1752600"/>
                <a:gd name="connsiteX136" fmla="*/ 2100262 w 3128973"/>
                <a:gd name="connsiteY136" fmla="*/ 1300162 h 1752600"/>
                <a:gd name="connsiteX137" fmla="*/ 2085975 w 3128973"/>
                <a:gd name="connsiteY137" fmla="*/ 1295400 h 1752600"/>
                <a:gd name="connsiteX138" fmla="*/ 2055019 w 3128973"/>
                <a:gd name="connsiteY138" fmla="*/ 1290637 h 1752600"/>
                <a:gd name="connsiteX139" fmla="*/ 2028824 w 3128973"/>
                <a:gd name="connsiteY139" fmla="*/ 1283494 h 1752600"/>
                <a:gd name="connsiteX140" fmla="*/ 2005012 w 3128973"/>
                <a:gd name="connsiteY140" fmla="*/ 1271587 h 1752600"/>
                <a:gd name="connsiteX141" fmla="*/ 1985962 w 3128973"/>
                <a:gd name="connsiteY141" fmla="*/ 1262062 h 1752600"/>
                <a:gd name="connsiteX142" fmla="*/ 1971675 w 3128973"/>
                <a:gd name="connsiteY142" fmla="*/ 1257300 h 1752600"/>
                <a:gd name="connsiteX143" fmla="*/ 1943100 w 3128973"/>
                <a:gd name="connsiteY143" fmla="*/ 1238250 h 1752600"/>
                <a:gd name="connsiteX144" fmla="*/ 1914525 w 3128973"/>
                <a:gd name="connsiteY144" fmla="*/ 1219200 h 1752600"/>
                <a:gd name="connsiteX145" fmla="*/ 1885950 w 3128973"/>
                <a:gd name="connsiteY145" fmla="*/ 1209675 h 1752600"/>
                <a:gd name="connsiteX146" fmla="*/ 1843087 w 3128973"/>
                <a:gd name="connsiteY146" fmla="*/ 1195387 h 1752600"/>
                <a:gd name="connsiteX147" fmla="*/ 1757362 w 3128973"/>
                <a:gd name="connsiteY147" fmla="*/ 1185862 h 1752600"/>
                <a:gd name="connsiteX148" fmla="*/ 1700212 w 3128973"/>
                <a:gd name="connsiteY148" fmla="*/ 1166812 h 1752600"/>
                <a:gd name="connsiteX149" fmla="*/ 1671637 w 3128973"/>
                <a:gd name="connsiteY149" fmla="*/ 1147762 h 1752600"/>
                <a:gd name="connsiteX150" fmla="*/ 1652587 w 3128973"/>
                <a:gd name="connsiteY150" fmla="*/ 1138237 h 1752600"/>
                <a:gd name="connsiteX151" fmla="*/ 1638300 w 3128973"/>
                <a:gd name="connsiteY151" fmla="*/ 1128712 h 1752600"/>
                <a:gd name="connsiteX152" fmla="*/ 1590675 w 3128973"/>
                <a:gd name="connsiteY152" fmla="*/ 1138238 h 1752600"/>
                <a:gd name="connsiteX153" fmla="*/ 1559719 w 3128973"/>
                <a:gd name="connsiteY153" fmla="*/ 1109662 h 1752600"/>
                <a:gd name="connsiteX154" fmla="*/ 1528762 w 3128973"/>
                <a:gd name="connsiteY154" fmla="*/ 1085850 h 1752600"/>
                <a:gd name="connsiteX155" fmla="*/ 1514475 w 3128973"/>
                <a:gd name="connsiteY155" fmla="*/ 1081087 h 1752600"/>
                <a:gd name="connsiteX156" fmla="*/ 1470025 w 3128973"/>
                <a:gd name="connsiteY156" fmla="*/ 1130300 h 1752600"/>
                <a:gd name="connsiteX157" fmla="*/ 1433512 w 3128973"/>
                <a:gd name="connsiteY157" fmla="*/ 1108075 h 1752600"/>
                <a:gd name="connsiteX158" fmla="*/ 1423987 w 3128973"/>
                <a:gd name="connsiteY158" fmla="*/ 1087437 h 1752600"/>
                <a:gd name="connsiteX159" fmla="*/ 1381125 w 3128973"/>
                <a:gd name="connsiteY159" fmla="*/ 1095375 h 1752600"/>
                <a:gd name="connsiteX160" fmla="*/ 1383506 w 3128973"/>
                <a:gd name="connsiteY160" fmla="*/ 1028700 h 1752600"/>
                <a:gd name="connsiteX161" fmla="*/ 1366838 w 3128973"/>
                <a:gd name="connsiteY161" fmla="*/ 1019175 h 1752600"/>
                <a:gd name="connsiteX162" fmla="*/ 1335881 w 3128973"/>
                <a:gd name="connsiteY162" fmla="*/ 1007268 h 1752600"/>
                <a:gd name="connsiteX163" fmla="*/ 1319213 w 3128973"/>
                <a:gd name="connsiteY163" fmla="*/ 1007268 h 1752600"/>
                <a:gd name="connsiteX164" fmla="*/ 1295400 w 3128973"/>
                <a:gd name="connsiteY164" fmla="*/ 976312 h 1752600"/>
                <a:gd name="connsiteX165" fmla="*/ 1281112 w 3128973"/>
                <a:gd name="connsiteY165" fmla="*/ 966787 h 1752600"/>
                <a:gd name="connsiteX166" fmla="*/ 1238250 w 3128973"/>
                <a:gd name="connsiteY166" fmla="*/ 947737 h 1752600"/>
                <a:gd name="connsiteX167" fmla="*/ 1212850 w 3128973"/>
                <a:gd name="connsiteY167" fmla="*/ 995362 h 1752600"/>
                <a:gd name="connsiteX168" fmla="*/ 1201737 w 3128973"/>
                <a:gd name="connsiteY168" fmla="*/ 987425 h 1752600"/>
                <a:gd name="connsiteX169" fmla="*/ 1163637 w 3128973"/>
                <a:gd name="connsiteY169" fmla="*/ 952277 h 1752600"/>
                <a:gd name="connsiteX170" fmla="*/ 1133475 w 3128973"/>
                <a:gd name="connsiteY170" fmla="*/ 925512 h 1752600"/>
                <a:gd name="connsiteX171" fmla="*/ 1085850 w 3128973"/>
                <a:gd name="connsiteY171" fmla="*/ 859631 h 1752600"/>
                <a:gd name="connsiteX172" fmla="*/ 1071562 w 3128973"/>
                <a:gd name="connsiteY172" fmla="*/ 842962 h 1752600"/>
                <a:gd name="connsiteX173" fmla="*/ 1047750 w 3128973"/>
                <a:gd name="connsiteY173" fmla="*/ 819150 h 1752600"/>
                <a:gd name="connsiteX174" fmla="*/ 1028700 w 3128973"/>
                <a:gd name="connsiteY174" fmla="*/ 804862 h 1752600"/>
                <a:gd name="connsiteX175" fmla="*/ 1018076 w 3128973"/>
                <a:gd name="connsiteY175" fmla="*/ 794816 h 1752600"/>
                <a:gd name="connsiteX176" fmla="*/ 1000125 w 3128973"/>
                <a:gd name="connsiteY176" fmla="*/ 785812 h 1752600"/>
                <a:gd name="connsiteX177" fmla="*/ 984342 w 3128973"/>
                <a:gd name="connsiteY177" fmla="*/ 773578 h 1752600"/>
                <a:gd name="connsiteX178" fmla="*/ 957262 w 3128973"/>
                <a:gd name="connsiteY178" fmla="*/ 766762 h 1752600"/>
                <a:gd name="connsiteX179" fmla="*/ 938212 w 3128973"/>
                <a:gd name="connsiteY179" fmla="*/ 757237 h 1752600"/>
                <a:gd name="connsiteX180" fmla="*/ 904875 w 3128973"/>
                <a:gd name="connsiteY180" fmla="*/ 747712 h 1752600"/>
                <a:gd name="connsiteX181" fmla="*/ 862012 w 3128973"/>
                <a:gd name="connsiteY181" fmla="*/ 723900 h 1752600"/>
                <a:gd name="connsiteX182" fmla="*/ 795337 w 3128973"/>
                <a:gd name="connsiteY182" fmla="*/ 685800 h 1752600"/>
                <a:gd name="connsiteX183" fmla="*/ 776287 w 3128973"/>
                <a:gd name="connsiteY183" fmla="*/ 666750 h 1752600"/>
                <a:gd name="connsiteX184" fmla="*/ 762000 w 3128973"/>
                <a:gd name="connsiteY184" fmla="*/ 661987 h 1752600"/>
                <a:gd name="connsiteX185" fmla="*/ 742950 w 3128973"/>
                <a:gd name="connsiteY185" fmla="*/ 647700 h 1752600"/>
                <a:gd name="connsiteX186" fmla="*/ 709612 w 3128973"/>
                <a:gd name="connsiteY186" fmla="*/ 638175 h 1752600"/>
                <a:gd name="connsiteX187" fmla="*/ 695325 w 3128973"/>
                <a:gd name="connsiteY187" fmla="*/ 628650 h 1752600"/>
                <a:gd name="connsiteX188" fmla="*/ 681037 w 3128973"/>
                <a:gd name="connsiteY188" fmla="*/ 623887 h 1752600"/>
                <a:gd name="connsiteX189" fmla="*/ 676275 w 3128973"/>
                <a:gd name="connsiteY189" fmla="*/ 604837 h 1752600"/>
                <a:gd name="connsiteX190" fmla="*/ 666750 w 3128973"/>
                <a:gd name="connsiteY190" fmla="*/ 576262 h 1752600"/>
                <a:gd name="connsiteX191" fmla="*/ 661987 w 3128973"/>
                <a:gd name="connsiteY191" fmla="*/ 561975 h 1752600"/>
                <a:gd name="connsiteX192" fmla="*/ 666750 w 3128973"/>
                <a:gd name="connsiteY192" fmla="*/ 538162 h 1752600"/>
                <a:gd name="connsiteX193" fmla="*/ 638175 w 3128973"/>
                <a:gd name="connsiteY193" fmla="*/ 514350 h 1752600"/>
                <a:gd name="connsiteX194" fmla="*/ 619125 w 3128973"/>
                <a:gd name="connsiteY194" fmla="*/ 500062 h 1752600"/>
                <a:gd name="connsiteX195" fmla="*/ 576262 w 3128973"/>
                <a:gd name="connsiteY195" fmla="*/ 490537 h 1752600"/>
                <a:gd name="connsiteX196" fmla="*/ 542925 w 3128973"/>
                <a:gd name="connsiteY196" fmla="*/ 452437 h 1752600"/>
                <a:gd name="connsiteX197" fmla="*/ 525462 w 3128973"/>
                <a:gd name="connsiteY197" fmla="*/ 485775 h 1752600"/>
                <a:gd name="connsiteX198" fmla="*/ 504825 w 3128973"/>
                <a:gd name="connsiteY198" fmla="*/ 466725 h 1752600"/>
                <a:gd name="connsiteX199" fmla="*/ 454025 w 3128973"/>
                <a:gd name="connsiteY199" fmla="*/ 466725 h 1752600"/>
                <a:gd name="connsiteX200" fmla="*/ 407987 w 3128973"/>
                <a:gd name="connsiteY200" fmla="*/ 473075 h 1752600"/>
                <a:gd name="connsiteX201" fmla="*/ 395287 w 3128973"/>
                <a:gd name="connsiteY201" fmla="*/ 409575 h 1752600"/>
                <a:gd name="connsiteX202" fmla="*/ 376237 w 3128973"/>
                <a:gd name="connsiteY202" fmla="*/ 404812 h 1752600"/>
                <a:gd name="connsiteX203" fmla="*/ 342900 w 3128973"/>
                <a:gd name="connsiteY203" fmla="*/ 400050 h 1752600"/>
                <a:gd name="connsiteX204" fmla="*/ 314325 w 3128973"/>
                <a:gd name="connsiteY204" fmla="*/ 390525 h 1752600"/>
                <a:gd name="connsiteX205" fmla="*/ 273844 w 3128973"/>
                <a:gd name="connsiteY205" fmla="*/ 383382 h 1752600"/>
                <a:gd name="connsiteX206" fmla="*/ 257175 w 3128973"/>
                <a:gd name="connsiteY206" fmla="*/ 371475 h 1752600"/>
                <a:gd name="connsiteX207" fmla="*/ 245269 w 3128973"/>
                <a:gd name="connsiteY207" fmla="*/ 364331 h 1752600"/>
                <a:gd name="connsiteX208" fmla="*/ 223837 w 3128973"/>
                <a:gd name="connsiteY208" fmla="*/ 347662 h 1752600"/>
                <a:gd name="connsiteX209" fmla="*/ 190500 w 3128973"/>
                <a:gd name="connsiteY209" fmla="*/ 338137 h 1752600"/>
                <a:gd name="connsiteX210" fmla="*/ 147637 w 3128973"/>
                <a:gd name="connsiteY210" fmla="*/ 333375 h 1752600"/>
                <a:gd name="connsiteX211" fmla="*/ 119062 w 3128973"/>
                <a:gd name="connsiteY211" fmla="*/ 323850 h 1752600"/>
                <a:gd name="connsiteX212" fmla="*/ 104775 w 3128973"/>
                <a:gd name="connsiteY212" fmla="*/ 319087 h 1752600"/>
                <a:gd name="connsiteX213" fmla="*/ 61912 w 3128973"/>
                <a:gd name="connsiteY213" fmla="*/ 300037 h 1752600"/>
                <a:gd name="connsiteX214" fmla="*/ 23812 w 3128973"/>
                <a:gd name="connsiteY214" fmla="*/ 290512 h 1752600"/>
                <a:gd name="connsiteX215" fmla="*/ 9525 w 3128973"/>
                <a:gd name="connsiteY215" fmla="*/ 261937 h 1752600"/>
                <a:gd name="connsiteX216" fmla="*/ 0 w 3128973"/>
                <a:gd name="connsiteY216" fmla="*/ 290512 h 1752600"/>
                <a:gd name="connsiteX217" fmla="*/ 4762 w 3128973"/>
                <a:gd name="connsiteY217" fmla="*/ 247650 h 1752600"/>
                <a:gd name="connsiteX218" fmla="*/ 19050 w 3128973"/>
                <a:gd name="connsiteY218" fmla="*/ 200025 h 1752600"/>
                <a:gd name="connsiteX219" fmla="*/ 23812 w 3128973"/>
                <a:gd name="connsiteY219" fmla="*/ 185737 h 1752600"/>
                <a:gd name="connsiteX220" fmla="*/ 71437 w 3128973"/>
                <a:gd name="connsiteY220" fmla="*/ 171450 h 1752600"/>
                <a:gd name="connsiteX221" fmla="*/ 85725 w 3128973"/>
                <a:gd name="connsiteY221" fmla="*/ 166687 h 1752600"/>
                <a:gd name="connsiteX222" fmla="*/ 100012 w 3128973"/>
                <a:gd name="connsiteY222" fmla="*/ 161925 h 1752600"/>
                <a:gd name="connsiteX223" fmla="*/ 114300 w 3128973"/>
                <a:gd name="connsiteY223" fmla="*/ 152400 h 1752600"/>
                <a:gd name="connsiteX224" fmla="*/ 133350 w 3128973"/>
                <a:gd name="connsiteY224" fmla="*/ 123825 h 1752600"/>
                <a:gd name="connsiteX225" fmla="*/ 138112 w 3128973"/>
                <a:gd name="connsiteY225" fmla="*/ 109537 h 1752600"/>
                <a:gd name="connsiteX226" fmla="*/ 135467 w 3128973"/>
                <a:gd name="connsiteY226" fmla="*/ 97059 h 1752600"/>
                <a:gd name="connsiteX227" fmla="*/ 142875 w 3128973"/>
                <a:gd name="connsiteY227" fmla="*/ 71437 h 1752600"/>
                <a:gd name="connsiteX228" fmla="*/ 157162 w 3128973"/>
                <a:gd name="connsiteY228" fmla="*/ 57150 h 1752600"/>
                <a:gd name="connsiteX229" fmla="*/ 200025 w 3128973"/>
                <a:gd name="connsiteY229" fmla="*/ 33337 h 1752600"/>
                <a:gd name="connsiteX230" fmla="*/ 309562 w 3128973"/>
                <a:gd name="connsiteY230" fmla="*/ 28575 h 1752600"/>
                <a:gd name="connsiteX231" fmla="*/ 400050 w 3128973"/>
                <a:gd name="connsiteY231" fmla="*/ 14287 h 1752600"/>
                <a:gd name="connsiteX232" fmla="*/ 414337 w 3128973"/>
                <a:gd name="connsiteY232" fmla="*/ 9525 h 1752600"/>
                <a:gd name="connsiteX233" fmla="*/ 481012 w 3128973"/>
                <a:gd name="connsiteY23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45493 w 3128973"/>
                <a:gd name="connsiteY22" fmla="*/ 242228 h 1752600"/>
                <a:gd name="connsiteX23" fmla="*/ 2046801 w 3128973"/>
                <a:gd name="connsiteY23" fmla="*/ 262295 h 1752600"/>
                <a:gd name="connsiteX24" fmla="*/ 2033587 w 3128973"/>
                <a:gd name="connsiteY24" fmla="*/ 266700 h 1752600"/>
                <a:gd name="connsiteX25" fmla="*/ 2019300 w 3128973"/>
                <a:gd name="connsiteY25" fmla="*/ 280987 h 1752600"/>
                <a:gd name="connsiteX26" fmla="*/ 1990725 w 3128973"/>
                <a:gd name="connsiteY26" fmla="*/ 300037 h 1752600"/>
                <a:gd name="connsiteX27" fmla="*/ 1981200 w 3128973"/>
                <a:gd name="connsiteY27" fmla="*/ 314325 h 1752600"/>
                <a:gd name="connsiteX28" fmla="*/ 1981200 w 3128973"/>
                <a:gd name="connsiteY28" fmla="*/ 419100 h 1752600"/>
                <a:gd name="connsiteX29" fmla="*/ 1985962 w 3128973"/>
                <a:gd name="connsiteY29" fmla="*/ 433387 h 1752600"/>
                <a:gd name="connsiteX30" fmla="*/ 2000250 w 3128973"/>
                <a:gd name="connsiteY30" fmla="*/ 442912 h 1752600"/>
                <a:gd name="connsiteX31" fmla="*/ 2005012 w 3128973"/>
                <a:gd name="connsiteY31" fmla="*/ 457200 h 1752600"/>
                <a:gd name="connsiteX32" fmla="*/ 2005012 w 3128973"/>
                <a:gd name="connsiteY32" fmla="*/ 561975 h 1752600"/>
                <a:gd name="connsiteX33" fmla="*/ 2009775 w 3128973"/>
                <a:gd name="connsiteY33" fmla="*/ 576262 h 1752600"/>
                <a:gd name="connsiteX34" fmla="*/ 2024062 w 3128973"/>
                <a:gd name="connsiteY34" fmla="*/ 581025 h 1752600"/>
                <a:gd name="connsiteX35" fmla="*/ 2038350 w 3128973"/>
                <a:gd name="connsiteY35" fmla="*/ 595312 h 1752600"/>
                <a:gd name="connsiteX36" fmla="*/ 2052637 w 3128973"/>
                <a:gd name="connsiteY36" fmla="*/ 600075 h 1752600"/>
                <a:gd name="connsiteX37" fmla="*/ 2133600 w 3128973"/>
                <a:gd name="connsiteY37" fmla="*/ 590550 h 1752600"/>
                <a:gd name="connsiteX38" fmla="*/ 2147887 w 3128973"/>
                <a:gd name="connsiteY38" fmla="*/ 585787 h 1752600"/>
                <a:gd name="connsiteX39" fmla="*/ 2195512 w 3128973"/>
                <a:gd name="connsiteY39" fmla="*/ 600075 h 1752600"/>
                <a:gd name="connsiteX40" fmla="*/ 2205037 w 3128973"/>
                <a:gd name="connsiteY40" fmla="*/ 614362 h 1752600"/>
                <a:gd name="connsiteX41" fmla="*/ 2219325 w 3128973"/>
                <a:gd name="connsiteY41" fmla="*/ 628650 h 1752600"/>
                <a:gd name="connsiteX42" fmla="*/ 2224087 w 3128973"/>
                <a:gd name="connsiteY42" fmla="*/ 642937 h 1752600"/>
                <a:gd name="connsiteX43" fmla="*/ 2233612 w 3128973"/>
                <a:gd name="connsiteY43" fmla="*/ 657225 h 1752600"/>
                <a:gd name="connsiteX44" fmla="*/ 2247900 w 3128973"/>
                <a:gd name="connsiteY44" fmla="*/ 685800 h 1752600"/>
                <a:gd name="connsiteX45" fmla="*/ 2262187 w 3128973"/>
                <a:gd name="connsiteY45" fmla="*/ 733425 h 1752600"/>
                <a:gd name="connsiteX46" fmla="*/ 2305050 w 3128973"/>
                <a:gd name="connsiteY46" fmla="*/ 771525 h 1752600"/>
                <a:gd name="connsiteX47" fmla="*/ 2319337 w 3128973"/>
                <a:gd name="connsiteY47" fmla="*/ 804862 h 1752600"/>
                <a:gd name="connsiteX48" fmla="*/ 2333625 w 3128973"/>
                <a:gd name="connsiteY48" fmla="*/ 819150 h 1752600"/>
                <a:gd name="connsiteX49" fmla="*/ 2338387 w 3128973"/>
                <a:gd name="connsiteY49" fmla="*/ 833437 h 1752600"/>
                <a:gd name="connsiteX50" fmla="*/ 2352675 w 3128973"/>
                <a:gd name="connsiteY50" fmla="*/ 847725 h 1752600"/>
                <a:gd name="connsiteX51" fmla="*/ 2395537 w 3128973"/>
                <a:gd name="connsiteY51" fmla="*/ 871537 h 1752600"/>
                <a:gd name="connsiteX52" fmla="*/ 2409825 w 3128973"/>
                <a:gd name="connsiteY52" fmla="*/ 890587 h 1752600"/>
                <a:gd name="connsiteX53" fmla="*/ 2424112 w 3128973"/>
                <a:gd name="connsiteY53" fmla="*/ 895350 h 1752600"/>
                <a:gd name="connsiteX54" fmla="*/ 2433637 w 3128973"/>
                <a:gd name="connsiteY54" fmla="*/ 914400 h 1752600"/>
                <a:gd name="connsiteX55" fmla="*/ 2466975 w 3128973"/>
                <a:gd name="connsiteY55" fmla="*/ 942975 h 1752600"/>
                <a:gd name="connsiteX56" fmla="*/ 2474637 w 3128973"/>
                <a:gd name="connsiteY56" fmla="*/ 954728 h 1752600"/>
                <a:gd name="connsiteX57" fmla="*/ 2495550 w 3128973"/>
                <a:gd name="connsiteY57" fmla="*/ 971550 h 1752600"/>
                <a:gd name="connsiteX58" fmla="*/ 2508776 w 3128973"/>
                <a:gd name="connsiteY58" fmla="*/ 983894 h 1752600"/>
                <a:gd name="connsiteX59" fmla="*/ 2533650 w 3128973"/>
                <a:gd name="connsiteY59" fmla="*/ 1000125 h 1752600"/>
                <a:gd name="connsiteX60" fmla="*/ 2547937 w 3128973"/>
                <a:gd name="connsiteY60" fmla="*/ 1028700 h 1752600"/>
                <a:gd name="connsiteX61" fmla="*/ 2552700 w 3128973"/>
                <a:gd name="connsiteY61" fmla="*/ 1042987 h 1752600"/>
                <a:gd name="connsiteX62" fmla="*/ 2576512 w 3128973"/>
                <a:gd name="connsiteY62" fmla="*/ 1071562 h 1752600"/>
                <a:gd name="connsiteX63" fmla="*/ 2584921 w 3128973"/>
                <a:gd name="connsiteY63" fmla="*/ 1082873 h 1752600"/>
                <a:gd name="connsiteX64" fmla="*/ 2600325 w 3128973"/>
                <a:gd name="connsiteY64" fmla="*/ 1095375 h 1752600"/>
                <a:gd name="connsiteX65" fmla="*/ 2609850 w 3128973"/>
                <a:gd name="connsiteY65" fmla="*/ 1109662 h 1752600"/>
                <a:gd name="connsiteX66" fmla="*/ 2652712 w 3128973"/>
                <a:gd name="connsiteY66" fmla="*/ 1143000 h 1752600"/>
                <a:gd name="connsiteX67" fmla="*/ 2681287 w 3128973"/>
                <a:gd name="connsiteY67" fmla="*/ 1152525 h 1752600"/>
                <a:gd name="connsiteX68" fmla="*/ 2700337 w 3128973"/>
                <a:gd name="connsiteY68" fmla="*/ 1162050 h 1752600"/>
                <a:gd name="connsiteX69" fmla="*/ 2714625 w 3128973"/>
                <a:gd name="connsiteY69" fmla="*/ 1171575 h 1752600"/>
                <a:gd name="connsiteX70" fmla="*/ 2752725 w 3128973"/>
                <a:gd name="connsiteY70" fmla="*/ 1181100 h 1752600"/>
                <a:gd name="connsiteX71" fmla="*/ 2767012 w 3128973"/>
                <a:gd name="connsiteY71" fmla="*/ 1195387 h 1752600"/>
                <a:gd name="connsiteX72" fmla="*/ 2781300 w 3128973"/>
                <a:gd name="connsiteY72" fmla="*/ 1200150 h 1752600"/>
                <a:gd name="connsiteX73" fmla="*/ 2795587 w 3128973"/>
                <a:gd name="connsiteY73" fmla="*/ 1209675 h 1752600"/>
                <a:gd name="connsiteX74" fmla="*/ 2805112 w 3128973"/>
                <a:gd name="connsiteY74" fmla="*/ 1223962 h 1752600"/>
                <a:gd name="connsiteX75" fmla="*/ 2809875 w 3128973"/>
                <a:gd name="connsiteY75" fmla="*/ 1238250 h 1752600"/>
                <a:gd name="connsiteX76" fmla="*/ 2833687 w 3128973"/>
                <a:gd name="connsiteY76" fmla="*/ 1276350 h 1752600"/>
                <a:gd name="connsiteX77" fmla="*/ 2895600 w 3128973"/>
                <a:gd name="connsiteY77" fmla="*/ 1333500 h 1752600"/>
                <a:gd name="connsiteX78" fmla="*/ 2900362 w 3128973"/>
                <a:gd name="connsiteY78" fmla="*/ 1352550 h 1752600"/>
                <a:gd name="connsiteX79" fmla="*/ 2928937 w 3128973"/>
                <a:gd name="connsiteY79" fmla="*/ 1395412 h 1752600"/>
                <a:gd name="connsiteX80" fmla="*/ 2943225 w 3128973"/>
                <a:gd name="connsiteY80" fmla="*/ 1404937 h 1752600"/>
                <a:gd name="connsiteX81" fmla="*/ 2957512 w 3128973"/>
                <a:gd name="connsiteY81" fmla="*/ 1419225 h 1752600"/>
                <a:gd name="connsiteX82" fmla="*/ 2986087 w 3128973"/>
                <a:gd name="connsiteY82" fmla="*/ 1443037 h 1752600"/>
                <a:gd name="connsiteX83" fmla="*/ 3000375 w 3128973"/>
                <a:gd name="connsiteY83" fmla="*/ 1462087 h 1752600"/>
                <a:gd name="connsiteX84" fmla="*/ 3016395 w 3128973"/>
                <a:gd name="connsiteY84" fmla="*/ 1476222 h 1752600"/>
                <a:gd name="connsiteX85" fmla="*/ 3028950 w 3128973"/>
                <a:gd name="connsiteY85" fmla="*/ 1495425 h 1752600"/>
                <a:gd name="connsiteX86" fmla="*/ 3043237 w 3128973"/>
                <a:gd name="connsiteY86" fmla="*/ 1552575 h 1752600"/>
                <a:gd name="connsiteX87" fmla="*/ 3052762 w 3128973"/>
                <a:gd name="connsiteY87" fmla="*/ 1566862 h 1752600"/>
                <a:gd name="connsiteX88" fmla="*/ 3057525 w 3128973"/>
                <a:gd name="connsiteY88" fmla="*/ 1581150 h 1752600"/>
                <a:gd name="connsiteX89" fmla="*/ 3067050 w 3128973"/>
                <a:gd name="connsiteY89" fmla="*/ 1662112 h 1752600"/>
                <a:gd name="connsiteX90" fmla="*/ 3071812 w 3128973"/>
                <a:gd name="connsiteY90" fmla="*/ 1676400 h 1752600"/>
                <a:gd name="connsiteX91" fmla="*/ 3100387 w 3128973"/>
                <a:gd name="connsiteY91" fmla="*/ 1690687 h 1752600"/>
                <a:gd name="connsiteX92" fmla="*/ 3114675 w 3128973"/>
                <a:gd name="connsiteY92" fmla="*/ 1685925 h 1752600"/>
                <a:gd name="connsiteX93" fmla="*/ 3124200 w 3128973"/>
                <a:gd name="connsiteY93" fmla="*/ 1671637 h 1752600"/>
                <a:gd name="connsiteX94" fmla="*/ 3128973 w 3128973"/>
                <a:gd name="connsiteY94" fmla="*/ 1651467 h 1752600"/>
                <a:gd name="connsiteX95" fmla="*/ 3128021 w 3128973"/>
                <a:gd name="connsiteY95" fmla="*/ 1710279 h 1752600"/>
                <a:gd name="connsiteX96" fmla="*/ 3043237 w 3128973"/>
                <a:gd name="connsiteY96" fmla="*/ 1714500 h 1752600"/>
                <a:gd name="connsiteX97" fmla="*/ 3028950 w 3128973"/>
                <a:gd name="connsiteY97" fmla="*/ 1728787 h 1752600"/>
                <a:gd name="connsiteX98" fmla="*/ 2986087 w 3128973"/>
                <a:gd name="connsiteY98" fmla="*/ 1738312 h 1752600"/>
                <a:gd name="connsiteX99" fmla="*/ 2971800 w 3128973"/>
                <a:gd name="connsiteY99" fmla="*/ 1743075 h 1752600"/>
                <a:gd name="connsiteX100" fmla="*/ 2943225 w 3128973"/>
                <a:gd name="connsiteY100" fmla="*/ 1738312 h 1752600"/>
                <a:gd name="connsiteX101" fmla="*/ 2928937 w 3128973"/>
                <a:gd name="connsiteY101" fmla="*/ 1747837 h 1752600"/>
                <a:gd name="connsiteX102" fmla="*/ 2914650 w 3128973"/>
                <a:gd name="connsiteY102" fmla="*/ 1752600 h 1752600"/>
                <a:gd name="connsiteX103" fmla="*/ 2895600 w 3128973"/>
                <a:gd name="connsiteY103" fmla="*/ 1724025 h 1752600"/>
                <a:gd name="connsiteX104" fmla="*/ 2883310 w 3128973"/>
                <a:gd name="connsiteY104" fmla="*/ 1701201 h 1752600"/>
                <a:gd name="connsiteX105" fmla="*/ 2883805 w 3128973"/>
                <a:gd name="connsiteY105" fmla="*/ 1696138 h 1752600"/>
                <a:gd name="connsiteX106" fmla="*/ 2871787 w 3128973"/>
                <a:gd name="connsiteY106" fmla="*/ 1685925 h 1752600"/>
                <a:gd name="connsiteX107" fmla="*/ 2847975 w 3128973"/>
                <a:gd name="connsiteY107" fmla="*/ 1657350 h 1752600"/>
                <a:gd name="connsiteX108" fmla="*/ 2834034 w 3128973"/>
                <a:gd name="connsiteY108" fmla="*/ 1637762 h 1752600"/>
                <a:gd name="connsiteX109" fmla="*/ 2814637 w 3128973"/>
                <a:gd name="connsiteY109" fmla="*/ 1619250 h 1752600"/>
                <a:gd name="connsiteX110" fmla="*/ 2809875 w 3128973"/>
                <a:gd name="connsiteY110" fmla="*/ 1604962 h 1752600"/>
                <a:gd name="connsiteX111" fmla="*/ 2795587 w 3128973"/>
                <a:gd name="connsiteY111" fmla="*/ 1600200 h 1752600"/>
                <a:gd name="connsiteX112" fmla="*/ 2781300 w 3128973"/>
                <a:gd name="connsiteY112" fmla="*/ 1590675 h 1752600"/>
                <a:gd name="connsiteX113" fmla="*/ 2752725 w 3128973"/>
                <a:gd name="connsiteY113" fmla="*/ 1581150 h 1752600"/>
                <a:gd name="connsiteX114" fmla="*/ 2733675 w 3128973"/>
                <a:gd name="connsiteY114" fmla="*/ 1625600 h 1752600"/>
                <a:gd name="connsiteX115" fmla="*/ 2709862 w 3128973"/>
                <a:gd name="connsiteY115" fmla="*/ 1619250 h 1752600"/>
                <a:gd name="connsiteX116" fmla="*/ 2723566 w 3128973"/>
                <a:gd name="connsiteY116" fmla="*/ 1590361 h 1752600"/>
                <a:gd name="connsiteX117" fmla="*/ 2674937 w 3128973"/>
                <a:gd name="connsiteY117" fmla="*/ 1560512 h 1752600"/>
                <a:gd name="connsiteX118" fmla="*/ 2643187 w 3128973"/>
                <a:gd name="connsiteY118" fmla="*/ 1495425 h 1752600"/>
                <a:gd name="connsiteX119" fmla="*/ 2628900 w 3128973"/>
                <a:gd name="connsiteY119" fmla="*/ 1490662 h 1752600"/>
                <a:gd name="connsiteX120" fmla="*/ 2595562 w 3128973"/>
                <a:gd name="connsiteY120" fmla="*/ 1481137 h 1752600"/>
                <a:gd name="connsiteX121" fmla="*/ 2581275 w 3128973"/>
                <a:gd name="connsiteY121" fmla="*/ 1466850 h 1752600"/>
                <a:gd name="connsiteX122" fmla="*/ 2552700 w 3128973"/>
                <a:gd name="connsiteY122" fmla="*/ 1457325 h 1752600"/>
                <a:gd name="connsiteX123" fmla="*/ 2538412 w 3128973"/>
                <a:gd name="connsiteY123" fmla="*/ 1447800 h 1752600"/>
                <a:gd name="connsiteX124" fmla="*/ 2519362 w 3128973"/>
                <a:gd name="connsiteY124" fmla="*/ 1443037 h 1752600"/>
                <a:gd name="connsiteX125" fmla="*/ 2490787 w 3128973"/>
                <a:gd name="connsiteY125" fmla="*/ 1433512 h 1752600"/>
                <a:gd name="connsiteX126" fmla="*/ 2476500 w 3128973"/>
                <a:gd name="connsiteY126" fmla="*/ 1428750 h 1752600"/>
                <a:gd name="connsiteX127" fmla="*/ 2466975 w 3128973"/>
                <a:gd name="connsiteY127" fmla="*/ 1414462 h 1752600"/>
                <a:gd name="connsiteX128" fmla="*/ 2447925 w 3128973"/>
                <a:gd name="connsiteY128" fmla="*/ 1409700 h 1752600"/>
                <a:gd name="connsiteX129" fmla="*/ 2309812 w 3128973"/>
                <a:gd name="connsiteY129" fmla="*/ 1395412 h 1752600"/>
                <a:gd name="connsiteX130" fmla="*/ 2295525 w 3128973"/>
                <a:gd name="connsiteY130" fmla="*/ 1390650 h 1752600"/>
                <a:gd name="connsiteX131" fmla="*/ 2257425 w 3128973"/>
                <a:gd name="connsiteY131" fmla="*/ 1381125 h 1752600"/>
                <a:gd name="connsiteX132" fmla="*/ 2238375 w 3128973"/>
                <a:gd name="connsiteY132" fmla="*/ 1366837 h 1752600"/>
                <a:gd name="connsiteX133" fmla="*/ 2224087 w 3128973"/>
                <a:gd name="connsiteY133" fmla="*/ 1362075 h 1752600"/>
                <a:gd name="connsiteX134" fmla="*/ 2176462 w 3128973"/>
                <a:gd name="connsiteY134" fmla="*/ 1338262 h 1752600"/>
                <a:gd name="connsiteX135" fmla="*/ 2162175 w 3128973"/>
                <a:gd name="connsiteY135" fmla="*/ 1328737 h 1752600"/>
                <a:gd name="connsiteX136" fmla="*/ 2114550 w 3128973"/>
                <a:gd name="connsiteY136" fmla="*/ 1314450 h 1752600"/>
                <a:gd name="connsiteX137" fmla="*/ 2100262 w 3128973"/>
                <a:gd name="connsiteY137" fmla="*/ 1300162 h 1752600"/>
                <a:gd name="connsiteX138" fmla="*/ 2085975 w 3128973"/>
                <a:gd name="connsiteY138" fmla="*/ 1295400 h 1752600"/>
                <a:gd name="connsiteX139" fmla="*/ 2055019 w 3128973"/>
                <a:gd name="connsiteY139" fmla="*/ 1290637 h 1752600"/>
                <a:gd name="connsiteX140" fmla="*/ 2028824 w 3128973"/>
                <a:gd name="connsiteY140" fmla="*/ 1283494 h 1752600"/>
                <a:gd name="connsiteX141" fmla="*/ 2005012 w 3128973"/>
                <a:gd name="connsiteY141" fmla="*/ 1271587 h 1752600"/>
                <a:gd name="connsiteX142" fmla="*/ 1985962 w 3128973"/>
                <a:gd name="connsiteY142" fmla="*/ 1262062 h 1752600"/>
                <a:gd name="connsiteX143" fmla="*/ 1971675 w 3128973"/>
                <a:gd name="connsiteY143" fmla="*/ 1257300 h 1752600"/>
                <a:gd name="connsiteX144" fmla="*/ 1943100 w 3128973"/>
                <a:gd name="connsiteY144" fmla="*/ 1238250 h 1752600"/>
                <a:gd name="connsiteX145" fmla="*/ 1914525 w 3128973"/>
                <a:gd name="connsiteY145" fmla="*/ 1219200 h 1752600"/>
                <a:gd name="connsiteX146" fmla="*/ 1885950 w 3128973"/>
                <a:gd name="connsiteY146" fmla="*/ 1209675 h 1752600"/>
                <a:gd name="connsiteX147" fmla="*/ 1843087 w 3128973"/>
                <a:gd name="connsiteY147" fmla="*/ 1195387 h 1752600"/>
                <a:gd name="connsiteX148" fmla="*/ 1757362 w 3128973"/>
                <a:gd name="connsiteY148" fmla="*/ 1185862 h 1752600"/>
                <a:gd name="connsiteX149" fmla="*/ 1700212 w 3128973"/>
                <a:gd name="connsiteY149" fmla="*/ 1166812 h 1752600"/>
                <a:gd name="connsiteX150" fmla="*/ 1671637 w 3128973"/>
                <a:gd name="connsiteY150" fmla="*/ 1147762 h 1752600"/>
                <a:gd name="connsiteX151" fmla="*/ 1652587 w 3128973"/>
                <a:gd name="connsiteY151" fmla="*/ 1138237 h 1752600"/>
                <a:gd name="connsiteX152" fmla="*/ 1638300 w 3128973"/>
                <a:gd name="connsiteY152" fmla="*/ 1128712 h 1752600"/>
                <a:gd name="connsiteX153" fmla="*/ 1590675 w 3128973"/>
                <a:gd name="connsiteY153" fmla="*/ 1138238 h 1752600"/>
                <a:gd name="connsiteX154" fmla="*/ 1559719 w 3128973"/>
                <a:gd name="connsiteY154" fmla="*/ 1109662 h 1752600"/>
                <a:gd name="connsiteX155" fmla="*/ 1528762 w 3128973"/>
                <a:gd name="connsiteY155" fmla="*/ 1085850 h 1752600"/>
                <a:gd name="connsiteX156" fmla="*/ 1514475 w 3128973"/>
                <a:gd name="connsiteY156" fmla="*/ 1081087 h 1752600"/>
                <a:gd name="connsiteX157" fmla="*/ 1470025 w 3128973"/>
                <a:gd name="connsiteY157" fmla="*/ 1130300 h 1752600"/>
                <a:gd name="connsiteX158" fmla="*/ 1433512 w 3128973"/>
                <a:gd name="connsiteY158" fmla="*/ 1108075 h 1752600"/>
                <a:gd name="connsiteX159" fmla="*/ 1423987 w 3128973"/>
                <a:gd name="connsiteY159" fmla="*/ 1087437 h 1752600"/>
                <a:gd name="connsiteX160" fmla="*/ 1381125 w 3128973"/>
                <a:gd name="connsiteY160" fmla="*/ 1095375 h 1752600"/>
                <a:gd name="connsiteX161" fmla="*/ 1383506 w 3128973"/>
                <a:gd name="connsiteY161" fmla="*/ 1028700 h 1752600"/>
                <a:gd name="connsiteX162" fmla="*/ 1366838 w 3128973"/>
                <a:gd name="connsiteY162" fmla="*/ 1019175 h 1752600"/>
                <a:gd name="connsiteX163" fmla="*/ 1335881 w 3128973"/>
                <a:gd name="connsiteY163" fmla="*/ 1007268 h 1752600"/>
                <a:gd name="connsiteX164" fmla="*/ 1319213 w 3128973"/>
                <a:gd name="connsiteY164" fmla="*/ 1007268 h 1752600"/>
                <a:gd name="connsiteX165" fmla="*/ 1295400 w 3128973"/>
                <a:gd name="connsiteY165" fmla="*/ 976312 h 1752600"/>
                <a:gd name="connsiteX166" fmla="*/ 1281112 w 3128973"/>
                <a:gd name="connsiteY166" fmla="*/ 966787 h 1752600"/>
                <a:gd name="connsiteX167" fmla="*/ 1238250 w 3128973"/>
                <a:gd name="connsiteY167" fmla="*/ 947737 h 1752600"/>
                <a:gd name="connsiteX168" fmla="*/ 1212850 w 3128973"/>
                <a:gd name="connsiteY168" fmla="*/ 995362 h 1752600"/>
                <a:gd name="connsiteX169" fmla="*/ 1201737 w 3128973"/>
                <a:gd name="connsiteY169" fmla="*/ 987425 h 1752600"/>
                <a:gd name="connsiteX170" fmla="*/ 1163637 w 3128973"/>
                <a:gd name="connsiteY170" fmla="*/ 952277 h 1752600"/>
                <a:gd name="connsiteX171" fmla="*/ 1133475 w 3128973"/>
                <a:gd name="connsiteY171" fmla="*/ 925512 h 1752600"/>
                <a:gd name="connsiteX172" fmla="*/ 1085850 w 3128973"/>
                <a:gd name="connsiteY172" fmla="*/ 859631 h 1752600"/>
                <a:gd name="connsiteX173" fmla="*/ 1071562 w 3128973"/>
                <a:gd name="connsiteY173" fmla="*/ 842962 h 1752600"/>
                <a:gd name="connsiteX174" fmla="*/ 1047750 w 3128973"/>
                <a:gd name="connsiteY174" fmla="*/ 819150 h 1752600"/>
                <a:gd name="connsiteX175" fmla="*/ 1028700 w 3128973"/>
                <a:gd name="connsiteY175" fmla="*/ 804862 h 1752600"/>
                <a:gd name="connsiteX176" fmla="*/ 1018076 w 3128973"/>
                <a:gd name="connsiteY176" fmla="*/ 794816 h 1752600"/>
                <a:gd name="connsiteX177" fmla="*/ 1000125 w 3128973"/>
                <a:gd name="connsiteY177" fmla="*/ 785812 h 1752600"/>
                <a:gd name="connsiteX178" fmla="*/ 984342 w 3128973"/>
                <a:gd name="connsiteY178" fmla="*/ 773578 h 1752600"/>
                <a:gd name="connsiteX179" fmla="*/ 957262 w 3128973"/>
                <a:gd name="connsiteY179" fmla="*/ 766762 h 1752600"/>
                <a:gd name="connsiteX180" fmla="*/ 938212 w 3128973"/>
                <a:gd name="connsiteY180" fmla="*/ 757237 h 1752600"/>
                <a:gd name="connsiteX181" fmla="*/ 904875 w 3128973"/>
                <a:gd name="connsiteY181" fmla="*/ 747712 h 1752600"/>
                <a:gd name="connsiteX182" fmla="*/ 862012 w 3128973"/>
                <a:gd name="connsiteY182" fmla="*/ 723900 h 1752600"/>
                <a:gd name="connsiteX183" fmla="*/ 795337 w 3128973"/>
                <a:gd name="connsiteY183" fmla="*/ 685800 h 1752600"/>
                <a:gd name="connsiteX184" fmla="*/ 776287 w 3128973"/>
                <a:gd name="connsiteY184" fmla="*/ 666750 h 1752600"/>
                <a:gd name="connsiteX185" fmla="*/ 762000 w 3128973"/>
                <a:gd name="connsiteY185" fmla="*/ 661987 h 1752600"/>
                <a:gd name="connsiteX186" fmla="*/ 742950 w 3128973"/>
                <a:gd name="connsiteY186" fmla="*/ 647700 h 1752600"/>
                <a:gd name="connsiteX187" fmla="*/ 709612 w 3128973"/>
                <a:gd name="connsiteY187" fmla="*/ 638175 h 1752600"/>
                <a:gd name="connsiteX188" fmla="*/ 695325 w 3128973"/>
                <a:gd name="connsiteY188" fmla="*/ 628650 h 1752600"/>
                <a:gd name="connsiteX189" fmla="*/ 681037 w 3128973"/>
                <a:gd name="connsiteY189" fmla="*/ 623887 h 1752600"/>
                <a:gd name="connsiteX190" fmla="*/ 676275 w 3128973"/>
                <a:gd name="connsiteY190" fmla="*/ 604837 h 1752600"/>
                <a:gd name="connsiteX191" fmla="*/ 666750 w 3128973"/>
                <a:gd name="connsiteY191" fmla="*/ 576262 h 1752600"/>
                <a:gd name="connsiteX192" fmla="*/ 661987 w 3128973"/>
                <a:gd name="connsiteY192" fmla="*/ 561975 h 1752600"/>
                <a:gd name="connsiteX193" fmla="*/ 666750 w 3128973"/>
                <a:gd name="connsiteY193" fmla="*/ 538162 h 1752600"/>
                <a:gd name="connsiteX194" fmla="*/ 638175 w 3128973"/>
                <a:gd name="connsiteY194" fmla="*/ 514350 h 1752600"/>
                <a:gd name="connsiteX195" fmla="*/ 619125 w 3128973"/>
                <a:gd name="connsiteY195" fmla="*/ 500062 h 1752600"/>
                <a:gd name="connsiteX196" fmla="*/ 576262 w 3128973"/>
                <a:gd name="connsiteY196" fmla="*/ 490537 h 1752600"/>
                <a:gd name="connsiteX197" fmla="*/ 542925 w 3128973"/>
                <a:gd name="connsiteY197" fmla="*/ 452437 h 1752600"/>
                <a:gd name="connsiteX198" fmla="*/ 525462 w 3128973"/>
                <a:gd name="connsiteY198" fmla="*/ 485775 h 1752600"/>
                <a:gd name="connsiteX199" fmla="*/ 504825 w 3128973"/>
                <a:gd name="connsiteY199" fmla="*/ 466725 h 1752600"/>
                <a:gd name="connsiteX200" fmla="*/ 454025 w 3128973"/>
                <a:gd name="connsiteY200" fmla="*/ 466725 h 1752600"/>
                <a:gd name="connsiteX201" fmla="*/ 407987 w 3128973"/>
                <a:gd name="connsiteY201" fmla="*/ 473075 h 1752600"/>
                <a:gd name="connsiteX202" fmla="*/ 395287 w 3128973"/>
                <a:gd name="connsiteY202" fmla="*/ 409575 h 1752600"/>
                <a:gd name="connsiteX203" fmla="*/ 376237 w 3128973"/>
                <a:gd name="connsiteY203" fmla="*/ 404812 h 1752600"/>
                <a:gd name="connsiteX204" fmla="*/ 342900 w 3128973"/>
                <a:gd name="connsiteY204" fmla="*/ 400050 h 1752600"/>
                <a:gd name="connsiteX205" fmla="*/ 314325 w 3128973"/>
                <a:gd name="connsiteY205" fmla="*/ 390525 h 1752600"/>
                <a:gd name="connsiteX206" fmla="*/ 273844 w 3128973"/>
                <a:gd name="connsiteY206" fmla="*/ 383382 h 1752600"/>
                <a:gd name="connsiteX207" fmla="*/ 257175 w 3128973"/>
                <a:gd name="connsiteY207" fmla="*/ 371475 h 1752600"/>
                <a:gd name="connsiteX208" fmla="*/ 245269 w 3128973"/>
                <a:gd name="connsiteY208" fmla="*/ 364331 h 1752600"/>
                <a:gd name="connsiteX209" fmla="*/ 223837 w 3128973"/>
                <a:gd name="connsiteY209" fmla="*/ 347662 h 1752600"/>
                <a:gd name="connsiteX210" fmla="*/ 190500 w 3128973"/>
                <a:gd name="connsiteY210" fmla="*/ 338137 h 1752600"/>
                <a:gd name="connsiteX211" fmla="*/ 147637 w 3128973"/>
                <a:gd name="connsiteY211" fmla="*/ 333375 h 1752600"/>
                <a:gd name="connsiteX212" fmla="*/ 119062 w 3128973"/>
                <a:gd name="connsiteY212" fmla="*/ 323850 h 1752600"/>
                <a:gd name="connsiteX213" fmla="*/ 104775 w 3128973"/>
                <a:gd name="connsiteY213" fmla="*/ 319087 h 1752600"/>
                <a:gd name="connsiteX214" fmla="*/ 61912 w 3128973"/>
                <a:gd name="connsiteY214" fmla="*/ 300037 h 1752600"/>
                <a:gd name="connsiteX215" fmla="*/ 23812 w 3128973"/>
                <a:gd name="connsiteY215" fmla="*/ 290512 h 1752600"/>
                <a:gd name="connsiteX216" fmla="*/ 9525 w 3128973"/>
                <a:gd name="connsiteY216" fmla="*/ 261937 h 1752600"/>
                <a:gd name="connsiteX217" fmla="*/ 0 w 3128973"/>
                <a:gd name="connsiteY217" fmla="*/ 290512 h 1752600"/>
                <a:gd name="connsiteX218" fmla="*/ 4762 w 3128973"/>
                <a:gd name="connsiteY218" fmla="*/ 247650 h 1752600"/>
                <a:gd name="connsiteX219" fmla="*/ 19050 w 3128973"/>
                <a:gd name="connsiteY219" fmla="*/ 200025 h 1752600"/>
                <a:gd name="connsiteX220" fmla="*/ 23812 w 3128973"/>
                <a:gd name="connsiteY220" fmla="*/ 185737 h 1752600"/>
                <a:gd name="connsiteX221" fmla="*/ 71437 w 3128973"/>
                <a:gd name="connsiteY221" fmla="*/ 171450 h 1752600"/>
                <a:gd name="connsiteX222" fmla="*/ 85725 w 3128973"/>
                <a:gd name="connsiteY222" fmla="*/ 166687 h 1752600"/>
                <a:gd name="connsiteX223" fmla="*/ 100012 w 3128973"/>
                <a:gd name="connsiteY223" fmla="*/ 161925 h 1752600"/>
                <a:gd name="connsiteX224" fmla="*/ 114300 w 3128973"/>
                <a:gd name="connsiteY224" fmla="*/ 152400 h 1752600"/>
                <a:gd name="connsiteX225" fmla="*/ 133350 w 3128973"/>
                <a:gd name="connsiteY225" fmla="*/ 123825 h 1752600"/>
                <a:gd name="connsiteX226" fmla="*/ 138112 w 3128973"/>
                <a:gd name="connsiteY226" fmla="*/ 109537 h 1752600"/>
                <a:gd name="connsiteX227" fmla="*/ 135467 w 3128973"/>
                <a:gd name="connsiteY227" fmla="*/ 97059 h 1752600"/>
                <a:gd name="connsiteX228" fmla="*/ 142875 w 3128973"/>
                <a:gd name="connsiteY228" fmla="*/ 71437 h 1752600"/>
                <a:gd name="connsiteX229" fmla="*/ 157162 w 3128973"/>
                <a:gd name="connsiteY229" fmla="*/ 57150 h 1752600"/>
                <a:gd name="connsiteX230" fmla="*/ 200025 w 3128973"/>
                <a:gd name="connsiteY230" fmla="*/ 33337 h 1752600"/>
                <a:gd name="connsiteX231" fmla="*/ 309562 w 3128973"/>
                <a:gd name="connsiteY231" fmla="*/ 28575 h 1752600"/>
                <a:gd name="connsiteX232" fmla="*/ 400050 w 3128973"/>
                <a:gd name="connsiteY232" fmla="*/ 14287 h 1752600"/>
                <a:gd name="connsiteX233" fmla="*/ 414337 w 3128973"/>
                <a:gd name="connsiteY233" fmla="*/ 9525 h 1752600"/>
                <a:gd name="connsiteX234" fmla="*/ 481012 w 3128973"/>
                <a:gd name="connsiteY234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38362 w 3128973"/>
                <a:gd name="connsiteY22" fmla="*/ 220975 h 1752600"/>
                <a:gd name="connsiteX23" fmla="*/ 2046801 w 3128973"/>
                <a:gd name="connsiteY23" fmla="*/ 262295 h 1752600"/>
                <a:gd name="connsiteX24" fmla="*/ 2033587 w 3128973"/>
                <a:gd name="connsiteY24" fmla="*/ 266700 h 1752600"/>
                <a:gd name="connsiteX25" fmla="*/ 2019300 w 3128973"/>
                <a:gd name="connsiteY25" fmla="*/ 280987 h 1752600"/>
                <a:gd name="connsiteX26" fmla="*/ 1990725 w 3128973"/>
                <a:gd name="connsiteY26" fmla="*/ 300037 h 1752600"/>
                <a:gd name="connsiteX27" fmla="*/ 1981200 w 3128973"/>
                <a:gd name="connsiteY27" fmla="*/ 314325 h 1752600"/>
                <a:gd name="connsiteX28" fmla="*/ 1981200 w 3128973"/>
                <a:gd name="connsiteY28" fmla="*/ 419100 h 1752600"/>
                <a:gd name="connsiteX29" fmla="*/ 1985962 w 3128973"/>
                <a:gd name="connsiteY29" fmla="*/ 433387 h 1752600"/>
                <a:gd name="connsiteX30" fmla="*/ 2000250 w 3128973"/>
                <a:gd name="connsiteY30" fmla="*/ 442912 h 1752600"/>
                <a:gd name="connsiteX31" fmla="*/ 2005012 w 3128973"/>
                <a:gd name="connsiteY31" fmla="*/ 457200 h 1752600"/>
                <a:gd name="connsiteX32" fmla="*/ 2005012 w 3128973"/>
                <a:gd name="connsiteY32" fmla="*/ 561975 h 1752600"/>
                <a:gd name="connsiteX33" fmla="*/ 2009775 w 3128973"/>
                <a:gd name="connsiteY33" fmla="*/ 576262 h 1752600"/>
                <a:gd name="connsiteX34" fmla="*/ 2024062 w 3128973"/>
                <a:gd name="connsiteY34" fmla="*/ 581025 h 1752600"/>
                <a:gd name="connsiteX35" fmla="*/ 2038350 w 3128973"/>
                <a:gd name="connsiteY35" fmla="*/ 595312 h 1752600"/>
                <a:gd name="connsiteX36" fmla="*/ 2052637 w 3128973"/>
                <a:gd name="connsiteY36" fmla="*/ 600075 h 1752600"/>
                <a:gd name="connsiteX37" fmla="*/ 2133600 w 3128973"/>
                <a:gd name="connsiteY37" fmla="*/ 590550 h 1752600"/>
                <a:gd name="connsiteX38" fmla="*/ 2147887 w 3128973"/>
                <a:gd name="connsiteY38" fmla="*/ 585787 h 1752600"/>
                <a:gd name="connsiteX39" fmla="*/ 2195512 w 3128973"/>
                <a:gd name="connsiteY39" fmla="*/ 600075 h 1752600"/>
                <a:gd name="connsiteX40" fmla="*/ 2205037 w 3128973"/>
                <a:gd name="connsiteY40" fmla="*/ 614362 h 1752600"/>
                <a:gd name="connsiteX41" fmla="*/ 2219325 w 3128973"/>
                <a:gd name="connsiteY41" fmla="*/ 628650 h 1752600"/>
                <a:gd name="connsiteX42" fmla="*/ 2224087 w 3128973"/>
                <a:gd name="connsiteY42" fmla="*/ 642937 h 1752600"/>
                <a:gd name="connsiteX43" fmla="*/ 2233612 w 3128973"/>
                <a:gd name="connsiteY43" fmla="*/ 657225 h 1752600"/>
                <a:gd name="connsiteX44" fmla="*/ 2247900 w 3128973"/>
                <a:gd name="connsiteY44" fmla="*/ 685800 h 1752600"/>
                <a:gd name="connsiteX45" fmla="*/ 2262187 w 3128973"/>
                <a:gd name="connsiteY45" fmla="*/ 733425 h 1752600"/>
                <a:gd name="connsiteX46" fmla="*/ 2305050 w 3128973"/>
                <a:gd name="connsiteY46" fmla="*/ 771525 h 1752600"/>
                <a:gd name="connsiteX47" fmla="*/ 2319337 w 3128973"/>
                <a:gd name="connsiteY47" fmla="*/ 804862 h 1752600"/>
                <a:gd name="connsiteX48" fmla="*/ 2333625 w 3128973"/>
                <a:gd name="connsiteY48" fmla="*/ 819150 h 1752600"/>
                <a:gd name="connsiteX49" fmla="*/ 2338387 w 3128973"/>
                <a:gd name="connsiteY49" fmla="*/ 833437 h 1752600"/>
                <a:gd name="connsiteX50" fmla="*/ 2352675 w 3128973"/>
                <a:gd name="connsiteY50" fmla="*/ 847725 h 1752600"/>
                <a:gd name="connsiteX51" fmla="*/ 2395537 w 3128973"/>
                <a:gd name="connsiteY51" fmla="*/ 871537 h 1752600"/>
                <a:gd name="connsiteX52" fmla="*/ 2409825 w 3128973"/>
                <a:gd name="connsiteY52" fmla="*/ 890587 h 1752600"/>
                <a:gd name="connsiteX53" fmla="*/ 2424112 w 3128973"/>
                <a:gd name="connsiteY53" fmla="*/ 895350 h 1752600"/>
                <a:gd name="connsiteX54" fmla="*/ 2433637 w 3128973"/>
                <a:gd name="connsiteY54" fmla="*/ 914400 h 1752600"/>
                <a:gd name="connsiteX55" fmla="*/ 2466975 w 3128973"/>
                <a:gd name="connsiteY55" fmla="*/ 942975 h 1752600"/>
                <a:gd name="connsiteX56" fmla="*/ 2474637 w 3128973"/>
                <a:gd name="connsiteY56" fmla="*/ 954728 h 1752600"/>
                <a:gd name="connsiteX57" fmla="*/ 2495550 w 3128973"/>
                <a:gd name="connsiteY57" fmla="*/ 971550 h 1752600"/>
                <a:gd name="connsiteX58" fmla="*/ 2508776 w 3128973"/>
                <a:gd name="connsiteY58" fmla="*/ 983894 h 1752600"/>
                <a:gd name="connsiteX59" fmla="*/ 2533650 w 3128973"/>
                <a:gd name="connsiteY59" fmla="*/ 1000125 h 1752600"/>
                <a:gd name="connsiteX60" fmla="*/ 2547937 w 3128973"/>
                <a:gd name="connsiteY60" fmla="*/ 1028700 h 1752600"/>
                <a:gd name="connsiteX61" fmla="*/ 2552700 w 3128973"/>
                <a:gd name="connsiteY61" fmla="*/ 1042987 h 1752600"/>
                <a:gd name="connsiteX62" fmla="*/ 2576512 w 3128973"/>
                <a:gd name="connsiteY62" fmla="*/ 1071562 h 1752600"/>
                <a:gd name="connsiteX63" fmla="*/ 2584921 w 3128973"/>
                <a:gd name="connsiteY63" fmla="*/ 1082873 h 1752600"/>
                <a:gd name="connsiteX64" fmla="*/ 2600325 w 3128973"/>
                <a:gd name="connsiteY64" fmla="*/ 1095375 h 1752600"/>
                <a:gd name="connsiteX65" fmla="*/ 2609850 w 3128973"/>
                <a:gd name="connsiteY65" fmla="*/ 1109662 h 1752600"/>
                <a:gd name="connsiteX66" fmla="*/ 2652712 w 3128973"/>
                <a:gd name="connsiteY66" fmla="*/ 1143000 h 1752600"/>
                <a:gd name="connsiteX67" fmla="*/ 2681287 w 3128973"/>
                <a:gd name="connsiteY67" fmla="*/ 1152525 h 1752600"/>
                <a:gd name="connsiteX68" fmla="*/ 2700337 w 3128973"/>
                <a:gd name="connsiteY68" fmla="*/ 1162050 h 1752600"/>
                <a:gd name="connsiteX69" fmla="*/ 2714625 w 3128973"/>
                <a:gd name="connsiteY69" fmla="*/ 1171575 h 1752600"/>
                <a:gd name="connsiteX70" fmla="*/ 2752725 w 3128973"/>
                <a:gd name="connsiteY70" fmla="*/ 1181100 h 1752600"/>
                <a:gd name="connsiteX71" fmla="*/ 2767012 w 3128973"/>
                <a:gd name="connsiteY71" fmla="*/ 1195387 h 1752600"/>
                <a:gd name="connsiteX72" fmla="*/ 2781300 w 3128973"/>
                <a:gd name="connsiteY72" fmla="*/ 1200150 h 1752600"/>
                <a:gd name="connsiteX73" fmla="*/ 2795587 w 3128973"/>
                <a:gd name="connsiteY73" fmla="*/ 1209675 h 1752600"/>
                <a:gd name="connsiteX74" fmla="*/ 2805112 w 3128973"/>
                <a:gd name="connsiteY74" fmla="*/ 1223962 h 1752600"/>
                <a:gd name="connsiteX75" fmla="*/ 2809875 w 3128973"/>
                <a:gd name="connsiteY75" fmla="*/ 1238250 h 1752600"/>
                <a:gd name="connsiteX76" fmla="*/ 2833687 w 3128973"/>
                <a:gd name="connsiteY76" fmla="*/ 1276350 h 1752600"/>
                <a:gd name="connsiteX77" fmla="*/ 2895600 w 3128973"/>
                <a:gd name="connsiteY77" fmla="*/ 1333500 h 1752600"/>
                <a:gd name="connsiteX78" fmla="*/ 2900362 w 3128973"/>
                <a:gd name="connsiteY78" fmla="*/ 1352550 h 1752600"/>
                <a:gd name="connsiteX79" fmla="*/ 2928937 w 3128973"/>
                <a:gd name="connsiteY79" fmla="*/ 1395412 h 1752600"/>
                <a:gd name="connsiteX80" fmla="*/ 2943225 w 3128973"/>
                <a:gd name="connsiteY80" fmla="*/ 1404937 h 1752600"/>
                <a:gd name="connsiteX81" fmla="*/ 2957512 w 3128973"/>
                <a:gd name="connsiteY81" fmla="*/ 1419225 h 1752600"/>
                <a:gd name="connsiteX82" fmla="*/ 2986087 w 3128973"/>
                <a:gd name="connsiteY82" fmla="*/ 1443037 h 1752600"/>
                <a:gd name="connsiteX83" fmla="*/ 3000375 w 3128973"/>
                <a:gd name="connsiteY83" fmla="*/ 1462087 h 1752600"/>
                <a:gd name="connsiteX84" fmla="*/ 3016395 w 3128973"/>
                <a:gd name="connsiteY84" fmla="*/ 1476222 h 1752600"/>
                <a:gd name="connsiteX85" fmla="*/ 3028950 w 3128973"/>
                <a:gd name="connsiteY85" fmla="*/ 1495425 h 1752600"/>
                <a:gd name="connsiteX86" fmla="*/ 3043237 w 3128973"/>
                <a:gd name="connsiteY86" fmla="*/ 1552575 h 1752600"/>
                <a:gd name="connsiteX87" fmla="*/ 3052762 w 3128973"/>
                <a:gd name="connsiteY87" fmla="*/ 1566862 h 1752600"/>
                <a:gd name="connsiteX88" fmla="*/ 3057525 w 3128973"/>
                <a:gd name="connsiteY88" fmla="*/ 1581150 h 1752600"/>
                <a:gd name="connsiteX89" fmla="*/ 3067050 w 3128973"/>
                <a:gd name="connsiteY89" fmla="*/ 1662112 h 1752600"/>
                <a:gd name="connsiteX90" fmla="*/ 3071812 w 3128973"/>
                <a:gd name="connsiteY90" fmla="*/ 1676400 h 1752600"/>
                <a:gd name="connsiteX91" fmla="*/ 3100387 w 3128973"/>
                <a:gd name="connsiteY91" fmla="*/ 1690687 h 1752600"/>
                <a:gd name="connsiteX92" fmla="*/ 3114675 w 3128973"/>
                <a:gd name="connsiteY92" fmla="*/ 1685925 h 1752600"/>
                <a:gd name="connsiteX93" fmla="*/ 3124200 w 3128973"/>
                <a:gd name="connsiteY93" fmla="*/ 1671637 h 1752600"/>
                <a:gd name="connsiteX94" fmla="*/ 3128973 w 3128973"/>
                <a:gd name="connsiteY94" fmla="*/ 1651467 h 1752600"/>
                <a:gd name="connsiteX95" fmla="*/ 3128021 w 3128973"/>
                <a:gd name="connsiteY95" fmla="*/ 1710279 h 1752600"/>
                <a:gd name="connsiteX96" fmla="*/ 3043237 w 3128973"/>
                <a:gd name="connsiteY96" fmla="*/ 1714500 h 1752600"/>
                <a:gd name="connsiteX97" fmla="*/ 3028950 w 3128973"/>
                <a:gd name="connsiteY97" fmla="*/ 1728787 h 1752600"/>
                <a:gd name="connsiteX98" fmla="*/ 2986087 w 3128973"/>
                <a:gd name="connsiteY98" fmla="*/ 1738312 h 1752600"/>
                <a:gd name="connsiteX99" fmla="*/ 2971800 w 3128973"/>
                <a:gd name="connsiteY99" fmla="*/ 1743075 h 1752600"/>
                <a:gd name="connsiteX100" fmla="*/ 2943225 w 3128973"/>
                <a:gd name="connsiteY100" fmla="*/ 1738312 h 1752600"/>
                <a:gd name="connsiteX101" fmla="*/ 2928937 w 3128973"/>
                <a:gd name="connsiteY101" fmla="*/ 1747837 h 1752600"/>
                <a:gd name="connsiteX102" fmla="*/ 2914650 w 3128973"/>
                <a:gd name="connsiteY102" fmla="*/ 1752600 h 1752600"/>
                <a:gd name="connsiteX103" fmla="*/ 2895600 w 3128973"/>
                <a:gd name="connsiteY103" fmla="*/ 1724025 h 1752600"/>
                <a:gd name="connsiteX104" fmla="*/ 2883310 w 3128973"/>
                <a:gd name="connsiteY104" fmla="*/ 1701201 h 1752600"/>
                <a:gd name="connsiteX105" fmla="*/ 2883805 w 3128973"/>
                <a:gd name="connsiteY105" fmla="*/ 1696138 h 1752600"/>
                <a:gd name="connsiteX106" fmla="*/ 2871787 w 3128973"/>
                <a:gd name="connsiteY106" fmla="*/ 1685925 h 1752600"/>
                <a:gd name="connsiteX107" fmla="*/ 2847975 w 3128973"/>
                <a:gd name="connsiteY107" fmla="*/ 1657350 h 1752600"/>
                <a:gd name="connsiteX108" fmla="*/ 2834034 w 3128973"/>
                <a:gd name="connsiteY108" fmla="*/ 1637762 h 1752600"/>
                <a:gd name="connsiteX109" fmla="*/ 2814637 w 3128973"/>
                <a:gd name="connsiteY109" fmla="*/ 1619250 h 1752600"/>
                <a:gd name="connsiteX110" fmla="*/ 2809875 w 3128973"/>
                <a:gd name="connsiteY110" fmla="*/ 1604962 h 1752600"/>
                <a:gd name="connsiteX111" fmla="*/ 2795587 w 3128973"/>
                <a:gd name="connsiteY111" fmla="*/ 1600200 h 1752600"/>
                <a:gd name="connsiteX112" fmla="*/ 2781300 w 3128973"/>
                <a:gd name="connsiteY112" fmla="*/ 1590675 h 1752600"/>
                <a:gd name="connsiteX113" fmla="*/ 2752725 w 3128973"/>
                <a:gd name="connsiteY113" fmla="*/ 1581150 h 1752600"/>
                <a:gd name="connsiteX114" fmla="*/ 2733675 w 3128973"/>
                <a:gd name="connsiteY114" fmla="*/ 1625600 h 1752600"/>
                <a:gd name="connsiteX115" fmla="*/ 2709862 w 3128973"/>
                <a:gd name="connsiteY115" fmla="*/ 1619250 h 1752600"/>
                <a:gd name="connsiteX116" fmla="*/ 2723566 w 3128973"/>
                <a:gd name="connsiteY116" fmla="*/ 1590361 h 1752600"/>
                <a:gd name="connsiteX117" fmla="*/ 2674937 w 3128973"/>
                <a:gd name="connsiteY117" fmla="*/ 1560512 h 1752600"/>
                <a:gd name="connsiteX118" fmla="*/ 2643187 w 3128973"/>
                <a:gd name="connsiteY118" fmla="*/ 1495425 h 1752600"/>
                <a:gd name="connsiteX119" fmla="*/ 2628900 w 3128973"/>
                <a:gd name="connsiteY119" fmla="*/ 1490662 h 1752600"/>
                <a:gd name="connsiteX120" fmla="*/ 2595562 w 3128973"/>
                <a:gd name="connsiteY120" fmla="*/ 1481137 h 1752600"/>
                <a:gd name="connsiteX121" fmla="*/ 2581275 w 3128973"/>
                <a:gd name="connsiteY121" fmla="*/ 1466850 h 1752600"/>
                <a:gd name="connsiteX122" fmla="*/ 2552700 w 3128973"/>
                <a:gd name="connsiteY122" fmla="*/ 1457325 h 1752600"/>
                <a:gd name="connsiteX123" fmla="*/ 2538412 w 3128973"/>
                <a:gd name="connsiteY123" fmla="*/ 1447800 h 1752600"/>
                <a:gd name="connsiteX124" fmla="*/ 2519362 w 3128973"/>
                <a:gd name="connsiteY124" fmla="*/ 1443037 h 1752600"/>
                <a:gd name="connsiteX125" fmla="*/ 2490787 w 3128973"/>
                <a:gd name="connsiteY125" fmla="*/ 1433512 h 1752600"/>
                <a:gd name="connsiteX126" fmla="*/ 2476500 w 3128973"/>
                <a:gd name="connsiteY126" fmla="*/ 1428750 h 1752600"/>
                <a:gd name="connsiteX127" fmla="*/ 2466975 w 3128973"/>
                <a:gd name="connsiteY127" fmla="*/ 1414462 h 1752600"/>
                <a:gd name="connsiteX128" fmla="*/ 2447925 w 3128973"/>
                <a:gd name="connsiteY128" fmla="*/ 1409700 h 1752600"/>
                <a:gd name="connsiteX129" fmla="*/ 2309812 w 3128973"/>
                <a:gd name="connsiteY129" fmla="*/ 1395412 h 1752600"/>
                <a:gd name="connsiteX130" fmla="*/ 2295525 w 3128973"/>
                <a:gd name="connsiteY130" fmla="*/ 1390650 h 1752600"/>
                <a:gd name="connsiteX131" fmla="*/ 2257425 w 3128973"/>
                <a:gd name="connsiteY131" fmla="*/ 1381125 h 1752600"/>
                <a:gd name="connsiteX132" fmla="*/ 2238375 w 3128973"/>
                <a:gd name="connsiteY132" fmla="*/ 1366837 h 1752600"/>
                <a:gd name="connsiteX133" fmla="*/ 2224087 w 3128973"/>
                <a:gd name="connsiteY133" fmla="*/ 1362075 h 1752600"/>
                <a:gd name="connsiteX134" fmla="*/ 2176462 w 3128973"/>
                <a:gd name="connsiteY134" fmla="*/ 1338262 h 1752600"/>
                <a:gd name="connsiteX135" fmla="*/ 2162175 w 3128973"/>
                <a:gd name="connsiteY135" fmla="*/ 1328737 h 1752600"/>
                <a:gd name="connsiteX136" fmla="*/ 2114550 w 3128973"/>
                <a:gd name="connsiteY136" fmla="*/ 1314450 h 1752600"/>
                <a:gd name="connsiteX137" fmla="*/ 2100262 w 3128973"/>
                <a:gd name="connsiteY137" fmla="*/ 1300162 h 1752600"/>
                <a:gd name="connsiteX138" fmla="*/ 2085975 w 3128973"/>
                <a:gd name="connsiteY138" fmla="*/ 1295400 h 1752600"/>
                <a:gd name="connsiteX139" fmla="*/ 2055019 w 3128973"/>
                <a:gd name="connsiteY139" fmla="*/ 1290637 h 1752600"/>
                <a:gd name="connsiteX140" fmla="*/ 2028824 w 3128973"/>
                <a:gd name="connsiteY140" fmla="*/ 1283494 h 1752600"/>
                <a:gd name="connsiteX141" fmla="*/ 2005012 w 3128973"/>
                <a:gd name="connsiteY141" fmla="*/ 1271587 h 1752600"/>
                <a:gd name="connsiteX142" fmla="*/ 1985962 w 3128973"/>
                <a:gd name="connsiteY142" fmla="*/ 1262062 h 1752600"/>
                <a:gd name="connsiteX143" fmla="*/ 1971675 w 3128973"/>
                <a:gd name="connsiteY143" fmla="*/ 1257300 h 1752600"/>
                <a:gd name="connsiteX144" fmla="*/ 1943100 w 3128973"/>
                <a:gd name="connsiteY144" fmla="*/ 1238250 h 1752600"/>
                <a:gd name="connsiteX145" fmla="*/ 1914525 w 3128973"/>
                <a:gd name="connsiteY145" fmla="*/ 1219200 h 1752600"/>
                <a:gd name="connsiteX146" fmla="*/ 1885950 w 3128973"/>
                <a:gd name="connsiteY146" fmla="*/ 1209675 h 1752600"/>
                <a:gd name="connsiteX147" fmla="*/ 1843087 w 3128973"/>
                <a:gd name="connsiteY147" fmla="*/ 1195387 h 1752600"/>
                <a:gd name="connsiteX148" fmla="*/ 1757362 w 3128973"/>
                <a:gd name="connsiteY148" fmla="*/ 1185862 h 1752600"/>
                <a:gd name="connsiteX149" fmla="*/ 1700212 w 3128973"/>
                <a:gd name="connsiteY149" fmla="*/ 1166812 h 1752600"/>
                <a:gd name="connsiteX150" fmla="*/ 1671637 w 3128973"/>
                <a:gd name="connsiteY150" fmla="*/ 1147762 h 1752600"/>
                <a:gd name="connsiteX151" fmla="*/ 1652587 w 3128973"/>
                <a:gd name="connsiteY151" fmla="*/ 1138237 h 1752600"/>
                <a:gd name="connsiteX152" fmla="*/ 1638300 w 3128973"/>
                <a:gd name="connsiteY152" fmla="*/ 1128712 h 1752600"/>
                <a:gd name="connsiteX153" fmla="*/ 1590675 w 3128973"/>
                <a:gd name="connsiteY153" fmla="*/ 1138238 h 1752600"/>
                <a:gd name="connsiteX154" fmla="*/ 1559719 w 3128973"/>
                <a:gd name="connsiteY154" fmla="*/ 1109662 h 1752600"/>
                <a:gd name="connsiteX155" fmla="*/ 1528762 w 3128973"/>
                <a:gd name="connsiteY155" fmla="*/ 1085850 h 1752600"/>
                <a:gd name="connsiteX156" fmla="*/ 1514475 w 3128973"/>
                <a:gd name="connsiteY156" fmla="*/ 1081087 h 1752600"/>
                <a:gd name="connsiteX157" fmla="*/ 1470025 w 3128973"/>
                <a:gd name="connsiteY157" fmla="*/ 1130300 h 1752600"/>
                <a:gd name="connsiteX158" fmla="*/ 1433512 w 3128973"/>
                <a:gd name="connsiteY158" fmla="*/ 1108075 h 1752600"/>
                <a:gd name="connsiteX159" fmla="*/ 1423987 w 3128973"/>
                <a:gd name="connsiteY159" fmla="*/ 1087437 h 1752600"/>
                <a:gd name="connsiteX160" fmla="*/ 1381125 w 3128973"/>
                <a:gd name="connsiteY160" fmla="*/ 1095375 h 1752600"/>
                <a:gd name="connsiteX161" fmla="*/ 1383506 w 3128973"/>
                <a:gd name="connsiteY161" fmla="*/ 1028700 h 1752600"/>
                <a:gd name="connsiteX162" fmla="*/ 1366838 w 3128973"/>
                <a:gd name="connsiteY162" fmla="*/ 1019175 h 1752600"/>
                <a:gd name="connsiteX163" fmla="*/ 1335881 w 3128973"/>
                <a:gd name="connsiteY163" fmla="*/ 1007268 h 1752600"/>
                <a:gd name="connsiteX164" fmla="*/ 1319213 w 3128973"/>
                <a:gd name="connsiteY164" fmla="*/ 1007268 h 1752600"/>
                <a:gd name="connsiteX165" fmla="*/ 1295400 w 3128973"/>
                <a:gd name="connsiteY165" fmla="*/ 976312 h 1752600"/>
                <a:gd name="connsiteX166" fmla="*/ 1281112 w 3128973"/>
                <a:gd name="connsiteY166" fmla="*/ 966787 h 1752600"/>
                <a:gd name="connsiteX167" fmla="*/ 1238250 w 3128973"/>
                <a:gd name="connsiteY167" fmla="*/ 947737 h 1752600"/>
                <a:gd name="connsiteX168" fmla="*/ 1212850 w 3128973"/>
                <a:gd name="connsiteY168" fmla="*/ 995362 h 1752600"/>
                <a:gd name="connsiteX169" fmla="*/ 1201737 w 3128973"/>
                <a:gd name="connsiteY169" fmla="*/ 987425 h 1752600"/>
                <a:gd name="connsiteX170" fmla="*/ 1163637 w 3128973"/>
                <a:gd name="connsiteY170" fmla="*/ 952277 h 1752600"/>
                <a:gd name="connsiteX171" fmla="*/ 1133475 w 3128973"/>
                <a:gd name="connsiteY171" fmla="*/ 925512 h 1752600"/>
                <a:gd name="connsiteX172" fmla="*/ 1085850 w 3128973"/>
                <a:gd name="connsiteY172" fmla="*/ 859631 h 1752600"/>
                <a:gd name="connsiteX173" fmla="*/ 1071562 w 3128973"/>
                <a:gd name="connsiteY173" fmla="*/ 842962 h 1752600"/>
                <a:gd name="connsiteX174" fmla="*/ 1047750 w 3128973"/>
                <a:gd name="connsiteY174" fmla="*/ 819150 h 1752600"/>
                <a:gd name="connsiteX175" fmla="*/ 1028700 w 3128973"/>
                <a:gd name="connsiteY175" fmla="*/ 804862 h 1752600"/>
                <a:gd name="connsiteX176" fmla="*/ 1018076 w 3128973"/>
                <a:gd name="connsiteY176" fmla="*/ 794816 h 1752600"/>
                <a:gd name="connsiteX177" fmla="*/ 1000125 w 3128973"/>
                <a:gd name="connsiteY177" fmla="*/ 785812 h 1752600"/>
                <a:gd name="connsiteX178" fmla="*/ 984342 w 3128973"/>
                <a:gd name="connsiteY178" fmla="*/ 773578 h 1752600"/>
                <a:gd name="connsiteX179" fmla="*/ 957262 w 3128973"/>
                <a:gd name="connsiteY179" fmla="*/ 766762 h 1752600"/>
                <a:gd name="connsiteX180" fmla="*/ 938212 w 3128973"/>
                <a:gd name="connsiteY180" fmla="*/ 757237 h 1752600"/>
                <a:gd name="connsiteX181" fmla="*/ 904875 w 3128973"/>
                <a:gd name="connsiteY181" fmla="*/ 747712 h 1752600"/>
                <a:gd name="connsiteX182" fmla="*/ 862012 w 3128973"/>
                <a:gd name="connsiteY182" fmla="*/ 723900 h 1752600"/>
                <a:gd name="connsiteX183" fmla="*/ 795337 w 3128973"/>
                <a:gd name="connsiteY183" fmla="*/ 685800 h 1752600"/>
                <a:gd name="connsiteX184" fmla="*/ 776287 w 3128973"/>
                <a:gd name="connsiteY184" fmla="*/ 666750 h 1752600"/>
                <a:gd name="connsiteX185" fmla="*/ 762000 w 3128973"/>
                <a:gd name="connsiteY185" fmla="*/ 661987 h 1752600"/>
                <a:gd name="connsiteX186" fmla="*/ 742950 w 3128973"/>
                <a:gd name="connsiteY186" fmla="*/ 647700 h 1752600"/>
                <a:gd name="connsiteX187" fmla="*/ 709612 w 3128973"/>
                <a:gd name="connsiteY187" fmla="*/ 638175 h 1752600"/>
                <a:gd name="connsiteX188" fmla="*/ 695325 w 3128973"/>
                <a:gd name="connsiteY188" fmla="*/ 628650 h 1752600"/>
                <a:gd name="connsiteX189" fmla="*/ 681037 w 3128973"/>
                <a:gd name="connsiteY189" fmla="*/ 623887 h 1752600"/>
                <a:gd name="connsiteX190" fmla="*/ 676275 w 3128973"/>
                <a:gd name="connsiteY190" fmla="*/ 604837 h 1752600"/>
                <a:gd name="connsiteX191" fmla="*/ 666750 w 3128973"/>
                <a:gd name="connsiteY191" fmla="*/ 576262 h 1752600"/>
                <a:gd name="connsiteX192" fmla="*/ 661987 w 3128973"/>
                <a:gd name="connsiteY192" fmla="*/ 561975 h 1752600"/>
                <a:gd name="connsiteX193" fmla="*/ 666750 w 3128973"/>
                <a:gd name="connsiteY193" fmla="*/ 538162 h 1752600"/>
                <a:gd name="connsiteX194" fmla="*/ 638175 w 3128973"/>
                <a:gd name="connsiteY194" fmla="*/ 514350 h 1752600"/>
                <a:gd name="connsiteX195" fmla="*/ 619125 w 3128973"/>
                <a:gd name="connsiteY195" fmla="*/ 500062 h 1752600"/>
                <a:gd name="connsiteX196" fmla="*/ 576262 w 3128973"/>
                <a:gd name="connsiteY196" fmla="*/ 490537 h 1752600"/>
                <a:gd name="connsiteX197" fmla="*/ 542925 w 3128973"/>
                <a:gd name="connsiteY197" fmla="*/ 452437 h 1752600"/>
                <a:gd name="connsiteX198" fmla="*/ 525462 w 3128973"/>
                <a:gd name="connsiteY198" fmla="*/ 485775 h 1752600"/>
                <a:gd name="connsiteX199" fmla="*/ 504825 w 3128973"/>
                <a:gd name="connsiteY199" fmla="*/ 466725 h 1752600"/>
                <a:gd name="connsiteX200" fmla="*/ 454025 w 3128973"/>
                <a:gd name="connsiteY200" fmla="*/ 466725 h 1752600"/>
                <a:gd name="connsiteX201" fmla="*/ 407987 w 3128973"/>
                <a:gd name="connsiteY201" fmla="*/ 473075 h 1752600"/>
                <a:gd name="connsiteX202" fmla="*/ 395287 w 3128973"/>
                <a:gd name="connsiteY202" fmla="*/ 409575 h 1752600"/>
                <a:gd name="connsiteX203" fmla="*/ 376237 w 3128973"/>
                <a:gd name="connsiteY203" fmla="*/ 404812 h 1752600"/>
                <a:gd name="connsiteX204" fmla="*/ 342900 w 3128973"/>
                <a:gd name="connsiteY204" fmla="*/ 400050 h 1752600"/>
                <a:gd name="connsiteX205" fmla="*/ 314325 w 3128973"/>
                <a:gd name="connsiteY205" fmla="*/ 390525 h 1752600"/>
                <a:gd name="connsiteX206" fmla="*/ 273844 w 3128973"/>
                <a:gd name="connsiteY206" fmla="*/ 383382 h 1752600"/>
                <a:gd name="connsiteX207" fmla="*/ 257175 w 3128973"/>
                <a:gd name="connsiteY207" fmla="*/ 371475 h 1752600"/>
                <a:gd name="connsiteX208" fmla="*/ 245269 w 3128973"/>
                <a:gd name="connsiteY208" fmla="*/ 364331 h 1752600"/>
                <a:gd name="connsiteX209" fmla="*/ 223837 w 3128973"/>
                <a:gd name="connsiteY209" fmla="*/ 347662 h 1752600"/>
                <a:gd name="connsiteX210" fmla="*/ 190500 w 3128973"/>
                <a:gd name="connsiteY210" fmla="*/ 338137 h 1752600"/>
                <a:gd name="connsiteX211" fmla="*/ 147637 w 3128973"/>
                <a:gd name="connsiteY211" fmla="*/ 333375 h 1752600"/>
                <a:gd name="connsiteX212" fmla="*/ 119062 w 3128973"/>
                <a:gd name="connsiteY212" fmla="*/ 323850 h 1752600"/>
                <a:gd name="connsiteX213" fmla="*/ 104775 w 3128973"/>
                <a:gd name="connsiteY213" fmla="*/ 319087 h 1752600"/>
                <a:gd name="connsiteX214" fmla="*/ 61912 w 3128973"/>
                <a:gd name="connsiteY214" fmla="*/ 300037 h 1752600"/>
                <a:gd name="connsiteX215" fmla="*/ 23812 w 3128973"/>
                <a:gd name="connsiteY215" fmla="*/ 290512 h 1752600"/>
                <a:gd name="connsiteX216" fmla="*/ 9525 w 3128973"/>
                <a:gd name="connsiteY216" fmla="*/ 261937 h 1752600"/>
                <a:gd name="connsiteX217" fmla="*/ 0 w 3128973"/>
                <a:gd name="connsiteY217" fmla="*/ 290512 h 1752600"/>
                <a:gd name="connsiteX218" fmla="*/ 4762 w 3128973"/>
                <a:gd name="connsiteY218" fmla="*/ 247650 h 1752600"/>
                <a:gd name="connsiteX219" fmla="*/ 19050 w 3128973"/>
                <a:gd name="connsiteY219" fmla="*/ 200025 h 1752600"/>
                <a:gd name="connsiteX220" fmla="*/ 23812 w 3128973"/>
                <a:gd name="connsiteY220" fmla="*/ 185737 h 1752600"/>
                <a:gd name="connsiteX221" fmla="*/ 71437 w 3128973"/>
                <a:gd name="connsiteY221" fmla="*/ 171450 h 1752600"/>
                <a:gd name="connsiteX222" fmla="*/ 85725 w 3128973"/>
                <a:gd name="connsiteY222" fmla="*/ 166687 h 1752600"/>
                <a:gd name="connsiteX223" fmla="*/ 100012 w 3128973"/>
                <a:gd name="connsiteY223" fmla="*/ 161925 h 1752600"/>
                <a:gd name="connsiteX224" fmla="*/ 114300 w 3128973"/>
                <a:gd name="connsiteY224" fmla="*/ 152400 h 1752600"/>
                <a:gd name="connsiteX225" fmla="*/ 133350 w 3128973"/>
                <a:gd name="connsiteY225" fmla="*/ 123825 h 1752600"/>
                <a:gd name="connsiteX226" fmla="*/ 138112 w 3128973"/>
                <a:gd name="connsiteY226" fmla="*/ 109537 h 1752600"/>
                <a:gd name="connsiteX227" fmla="*/ 135467 w 3128973"/>
                <a:gd name="connsiteY227" fmla="*/ 97059 h 1752600"/>
                <a:gd name="connsiteX228" fmla="*/ 142875 w 3128973"/>
                <a:gd name="connsiteY228" fmla="*/ 71437 h 1752600"/>
                <a:gd name="connsiteX229" fmla="*/ 157162 w 3128973"/>
                <a:gd name="connsiteY229" fmla="*/ 57150 h 1752600"/>
                <a:gd name="connsiteX230" fmla="*/ 200025 w 3128973"/>
                <a:gd name="connsiteY230" fmla="*/ 33337 h 1752600"/>
                <a:gd name="connsiteX231" fmla="*/ 309562 w 3128973"/>
                <a:gd name="connsiteY231" fmla="*/ 28575 h 1752600"/>
                <a:gd name="connsiteX232" fmla="*/ 400050 w 3128973"/>
                <a:gd name="connsiteY232" fmla="*/ 14287 h 1752600"/>
                <a:gd name="connsiteX233" fmla="*/ 414337 w 3128973"/>
                <a:gd name="connsiteY233" fmla="*/ 9525 h 1752600"/>
                <a:gd name="connsiteX234" fmla="*/ 481012 w 3128973"/>
                <a:gd name="connsiteY234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38362 w 3128973"/>
                <a:gd name="connsiteY22" fmla="*/ 220975 h 1752600"/>
                <a:gd name="connsiteX23" fmla="*/ 2121693 w 3128973"/>
                <a:gd name="connsiteY23" fmla="*/ 220975 h 1752600"/>
                <a:gd name="connsiteX24" fmla="*/ 2046801 w 3128973"/>
                <a:gd name="connsiteY24" fmla="*/ 262295 h 1752600"/>
                <a:gd name="connsiteX25" fmla="*/ 2033587 w 3128973"/>
                <a:gd name="connsiteY25" fmla="*/ 266700 h 1752600"/>
                <a:gd name="connsiteX26" fmla="*/ 2019300 w 3128973"/>
                <a:gd name="connsiteY26" fmla="*/ 280987 h 1752600"/>
                <a:gd name="connsiteX27" fmla="*/ 1990725 w 3128973"/>
                <a:gd name="connsiteY27" fmla="*/ 300037 h 1752600"/>
                <a:gd name="connsiteX28" fmla="*/ 1981200 w 3128973"/>
                <a:gd name="connsiteY28" fmla="*/ 314325 h 1752600"/>
                <a:gd name="connsiteX29" fmla="*/ 1981200 w 3128973"/>
                <a:gd name="connsiteY29" fmla="*/ 419100 h 1752600"/>
                <a:gd name="connsiteX30" fmla="*/ 1985962 w 3128973"/>
                <a:gd name="connsiteY30" fmla="*/ 433387 h 1752600"/>
                <a:gd name="connsiteX31" fmla="*/ 2000250 w 3128973"/>
                <a:gd name="connsiteY31" fmla="*/ 442912 h 1752600"/>
                <a:gd name="connsiteX32" fmla="*/ 2005012 w 3128973"/>
                <a:gd name="connsiteY32" fmla="*/ 457200 h 1752600"/>
                <a:gd name="connsiteX33" fmla="*/ 2005012 w 3128973"/>
                <a:gd name="connsiteY33" fmla="*/ 561975 h 1752600"/>
                <a:gd name="connsiteX34" fmla="*/ 2009775 w 3128973"/>
                <a:gd name="connsiteY34" fmla="*/ 576262 h 1752600"/>
                <a:gd name="connsiteX35" fmla="*/ 2024062 w 3128973"/>
                <a:gd name="connsiteY35" fmla="*/ 581025 h 1752600"/>
                <a:gd name="connsiteX36" fmla="*/ 2038350 w 3128973"/>
                <a:gd name="connsiteY36" fmla="*/ 595312 h 1752600"/>
                <a:gd name="connsiteX37" fmla="*/ 2052637 w 3128973"/>
                <a:gd name="connsiteY37" fmla="*/ 600075 h 1752600"/>
                <a:gd name="connsiteX38" fmla="*/ 2133600 w 3128973"/>
                <a:gd name="connsiteY38" fmla="*/ 590550 h 1752600"/>
                <a:gd name="connsiteX39" fmla="*/ 2147887 w 3128973"/>
                <a:gd name="connsiteY39" fmla="*/ 585787 h 1752600"/>
                <a:gd name="connsiteX40" fmla="*/ 2195512 w 3128973"/>
                <a:gd name="connsiteY40" fmla="*/ 600075 h 1752600"/>
                <a:gd name="connsiteX41" fmla="*/ 2205037 w 3128973"/>
                <a:gd name="connsiteY41" fmla="*/ 614362 h 1752600"/>
                <a:gd name="connsiteX42" fmla="*/ 2219325 w 3128973"/>
                <a:gd name="connsiteY42" fmla="*/ 628650 h 1752600"/>
                <a:gd name="connsiteX43" fmla="*/ 2224087 w 3128973"/>
                <a:gd name="connsiteY43" fmla="*/ 642937 h 1752600"/>
                <a:gd name="connsiteX44" fmla="*/ 2233612 w 3128973"/>
                <a:gd name="connsiteY44" fmla="*/ 657225 h 1752600"/>
                <a:gd name="connsiteX45" fmla="*/ 2247900 w 3128973"/>
                <a:gd name="connsiteY45" fmla="*/ 685800 h 1752600"/>
                <a:gd name="connsiteX46" fmla="*/ 2262187 w 3128973"/>
                <a:gd name="connsiteY46" fmla="*/ 733425 h 1752600"/>
                <a:gd name="connsiteX47" fmla="*/ 2305050 w 3128973"/>
                <a:gd name="connsiteY47" fmla="*/ 771525 h 1752600"/>
                <a:gd name="connsiteX48" fmla="*/ 2319337 w 3128973"/>
                <a:gd name="connsiteY48" fmla="*/ 804862 h 1752600"/>
                <a:gd name="connsiteX49" fmla="*/ 2333625 w 3128973"/>
                <a:gd name="connsiteY49" fmla="*/ 819150 h 1752600"/>
                <a:gd name="connsiteX50" fmla="*/ 2338387 w 3128973"/>
                <a:gd name="connsiteY50" fmla="*/ 833437 h 1752600"/>
                <a:gd name="connsiteX51" fmla="*/ 2352675 w 3128973"/>
                <a:gd name="connsiteY51" fmla="*/ 847725 h 1752600"/>
                <a:gd name="connsiteX52" fmla="*/ 2395537 w 3128973"/>
                <a:gd name="connsiteY52" fmla="*/ 871537 h 1752600"/>
                <a:gd name="connsiteX53" fmla="*/ 2409825 w 3128973"/>
                <a:gd name="connsiteY53" fmla="*/ 890587 h 1752600"/>
                <a:gd name="connsiteX54" fmla="*/ 2424112 w 3128973"/>
                <a:gd name="connsiteY54" fmla="*/ 895350 h 1752600"/>
                <a:gd name="connsiteX55" fmla="*/ 2433637 w 3128973"/>
                <a:gd name="connsiteY55" fmla="*/ 914400 h 1752600"/>
                <a:gd name="connsiteX56" fmla="*/ 2466975 w 3128973"/>
                <a:gd name="connsiteY56" fmla="*/ 942975 h 1752600"/>
                <a:gd name="connsiteX57" fmla="*/ 2474637 w 3128973"/>
                <a:gd name="connsiteY57" fmla="*/ 954728 h 1752600"/>
                <a:gd name="connsiteX58" fmla="*/ 2495550 w 3128973"/>
                <a:gd name="connsiteY58" fmla="*/ 971550 h 1752600"/>
                <a:gd name="connsiteX59" fmla="*/ 2508776 w 3128973"/>
                <a:gd name="connsiteY59" fmla="*/ 983894 h 1752600"/>
                <a:gd name="connsiteX60" fmla="*/ 2533650 w 3128973"/>
                <a:gd name="connsiteY60" fmla="*/ 1000125 h 1752600"/>
                <a:gd name="connsiteX61" fmla="*/ 2547937 w 3128973"/>
                <a:gd name="connsiteY61" fmla="*/ 1028700 h 1752600"/>
                <a:gd name="connsiteX62" fmla="*/ 2552700 w 3128973"/>
                <a:gd name="connsiteY62" fmla="*/ 1042987 h 1752600"/>
                <a:gd name="connsiteX63" fmla="*/ 2576512 w 3128973"/>
                <a:gd name="connsiteY63" fmla="*/ 1071562 h 1752600"/>
                <a:gd name="connsiteX64" fmla="*/ 2584921 w 3128973"/>
                <a:gd name="connsiteY64" fmla="*/ 1082873 h 1752600"/>
                <a:gd name="connsiteX65" fmla="*/ 2600325 w 3128973"/>
                <a:gd name="connsiteY65" fmla="*/ 1095375 h 1752600"/>
                <a:gd name="connsiteX66" fmla="*/ 2609850 w 3128973"/>
                <a:gd name="connsiteY66" fmla="*/ 1109662 h 1752600"/>
                <a:gd name="connsiteX67" fmla="*/ 2652712 w 3128973"/>
                <a:gd name="connsiteY67" fmla="*/ 1143000 h 1752600"/>
                <a:gd name="connsiteX68" fmla="*/ 2681287 w 3128973"/>
                <a:gd name="connsiteY68" fmla="*/ 1152525 h 1752600"/>
                <a:gd name="connsiteX69" fmla="*/ 2700337 w 3128973"/>
                <a:gd name="connsiteY69" fmla="*/ 1162050 h 1752600"/>
                <a:gd name="connsiteX70" fmla="*/ 2714625 w 3128973"/>
                <a:gd name="connsiteY70" fmla="*/ 1171575 h 1752600"/>
                <a:gd name="connsiteX71" fmla="*/ 2752725 w 3128973"/>
                <a:gd name="connsiteY71" fmla="*/ 1181100 h 1752600"/>
                <a:gd name="connsiteX72" fmla="*/ 2767012 w 3128973"/>
                <a:gd name="connsiteY72" fmla="*/ 1195387 h 1752600"/>
                <a:gd name="connsiteX73" fmla="*/ 2781300 w 3128973"/>
                <a:gd name="connsiteY73" fmla="*/ 1200150 h 1752600"/>
                <a:gd name="connsiteX74" fmla="*/ 2795587 w 3128973"/>
                <a:gd name="connsiteY74" fmla="*/ 1209675 h 1752600"/>
                <a:gd name="connsiteX75" fmla="*/ 2805112 w 3128973"/>
                <a:gd name="connsiteY75" fmla="*/ 1223962 h 1752600"/>
                <a:gd name="connsiteX76" fmla="*/ 2809875 w 3128973"/>
                <a:gd name="connsiteY76" fmla="*/ 1238250 h 1752600"/>
                <a:gd name="connsiteX77" fmla="*/ 2833687 w 3128973"/>
                <a:gd name="connsiteY77" fmla="*/ 1276350 h 1752600"/>
                <a:gd name="connsiteX78" fmla="*/ 2895600 w 3128973"/>
                <a:gd name="connsiteY78" fmla="*/ 1333500 h 1752600"/>
                <a:gd name="connsiteX79" fmla="*/ 2900362 w 3128973"/>
                <a:gd name="connsiteY79" fmla="*/ 1352550 h 1752600"/>
                <a:gd name="connsiteX80" fmla="*/ 2928937 w 3128973"/>
                <a:gd name="connsiteY80" fmla="*/ 1395412 h 1752600"/>
                <a:gd name="connsiteX81" fmla="*/ 2943225 w 3128973"/>
                <a:gd name="connsiteY81" fmla="*/ 1404937 h 1752600"/>
                <a:gd name="connsiteX82" fmla="*/ 2957512 w 3128973"/>
                <a:gd name="connsiteY82" fmla="*/ 1419225 h 1752600"/>
                <a:gd name="connsiteX83" fmla="*/ 2986087 w 3128973"/>
                <a:gd name="connsiteY83" fmla="*/ 1443037 h 1752600"/>
                <a:gd name="connsiteX84" fmla="*/ 3000375 w 3128973"/>
                <a:gd name="connsiteY84" fmla="*/ 1462087 h 1752600"/>
                <a:gd name="connsiteX85" fmla="*/ 3016395 w 3128973"/>
                <a:gd name="connsiteY85" fmla="*/ 1476222 h 1752600"/>
                <a:gd name="connsiteX86" fmla="*/ 3028950 w 3128973"/>
                <a:gd name="connsiteY86" fmla="*/ 1495425 h 1752600"/>
                <a:gd name="connsiteX87" fmla="*/ 3043237 w 3128973"/>
                <a:gd name="connsiteY87" fmla="*/ 1552575 h 1752600"/>
                <a:gd name="connsiteX88" fmla="*/ 3052762 w 3128973"/>
                <a:gd name="connsiteY88" fmla="*/ 1566862 h 1752600"/>
                <a:gd name="connsiteX89" fmla="*/ 3057525 w 3128973"/>
                <a:gd name="connsiteY89" fmla="*/ 1581150 h 1752600"/>
                <a:gd name="connsiteX90" fmla="*/ 3067050 w 3128973"/>
                <a:gd name="connsiteY90" fmla="*/ 1662112 h 1752600"/>
                <a:gd name="connsiteX91" fmla="*/ 3071812 w 3128973"/>
                <a:gd name="connsiteY91" fmla="*/ 1676400 h 1752600"/>
                <a:gd name="connsiteX92" fmla="*/ 3100387 w 3128973"/>
                <a:gd name="connsiteY92" fmla="*/ 1690687 h 1752600"/>
                <a:gd name="connsiteX93" fmla="*/ 3114675 w 3128973"/>
                <a:gd name="connsiteY93" fmla="*/ 1685925 h 1752600"/>
                <a:gd name="connsiteX94" fmla="*/ 3124200 w 3128973"/>
                <a:gd name="connsiteY94" fmla="*/ 1671637 h 1752600"/>
                <a:gd name="connsiteX95" fmla="*/ 3128973 w 3128973"/>
                <a:gd name="connsiteY95" fmla="*/ 1651467 h 1752600"/>
                <a:gd name="connsiteX96" fmla="*/ 3128021 w 3128973"/>
                <a:gd name="connsiteY96" fmla="*/ 1710279 h 1752600"/>
                <a:gd name="connsiteX97" fmla="*/ 3043237 w 3128973"/>
                <a:gd name="connsiteY97" fmla="*/ 1714500 h 1752600"/>
                <a:gd name="connsiteX98" fmla="*/ 3028950 w 3128973"/>
                <a:gd name="connsiteY98" fmla="*/ 1728787 h 1752600"/>
                <a:gd name="connsiteX99" fmla="*/ 2986087 w 3128973"/>
                <a:gd name="connsiteY99" fmla="*/ 1738312 h 1752600"/>
                <a:gd name="connsiteX100" fmla="*/ 2971800 w 3128973"/>
                <a:gd name="connsiteY100" fmla="*/ 1743075 h 1752600"/>
                <a:gd name="connsiteX101" fmla="*/ 2943225 w 3128973"/>
                <a:gd name="connsiteY101" fmla="*/ 1738312 h 1752600"/>
                <a:gd name="connsiteX102" fmla="*/ 2928937 w 3128973"/>
                <a:gd name="connsiteY102" fmla="*/ 1747837 h 1752600"/>
                <a:gd name="connsiteX103" fmla="*/ 2914650 w 3128973"/>
                <a:gd name="connsiteY103" fmla="*/ 1752600 h 1752600"/>
                <a:gd name="connsiteX104" fmla="*/ 2895600 w 3128973"/>
                <a:gd name="connsiteY104" fmla="*/ 1724025 h 1752600"/>
                <a:gd name="connsiteX105" fmla="*/ 2883310 w 3128973"/>
                <a:gd name="connsiteY105" fmla="*/ 1701201 h 1752600"/>
                <a:gd name="connsiteX106" fmla="*/ 2883805 w 3128973"/>
                <a:gd name="connsiteY106" fmla="*/ 1696138 h 1752600"/>
                <a:gd name="connsiteX107" fmla="*/ 2871787 w 3128973"/>
                <a:gd name="connsiteY107" fmla="*/ 1685925 h 1752600"/>
                <a:gd name="connsiteX108" fmla="*/ 2847975 w 3128973"/>
                <a:gd name="connsiteY108" fmla="*/ 1657350 h 1752600"/>
                <a:gd name="connsiteX109" fmla="*/ 2834034 w 3128973"/>
                <a:gd name="connsiteY109" fmla="*/ 1637762 h 1752600"/>
                <a:gd name="connsiteX110" fmla="*/ 2814637 w 3128973"/>
                <a:gd name="connsiteY110" fmla="*/ 1619250 h 1752600"/>
                <a:gd name="connsiteX111" fmla="*/ 2809875 w 3128973"/>
                <a:gd name="connsiteY111" fmla="*/ 1604962 h 1752600"/>
                <a:gd name="connsiteX112" fmla="*/ 2795587 w 3128973"/>
                <a:gd name="connsiteY112" fmla="*/ 1600200 h 1752600"/>
                <a:gd name="connsiteX113" fmla="*/ 2781300 w 3128973"/>
                <a:gd name="connsiteY113" fmla="*/ 1590675 h 1752600"/>
                <a:gd name="connsiteX114" fmla="*/ 2752725 w 3128973"/>
                <a:gd name="connsiteY114" fmla="*/ 1581150 h 1752600"/>
                <a:gd name="connsiteX115" fmla="*/ 2733675 w 3128973"/>
                <a:gd name="connsiteY115" fmla="*/ 1625600 h 1752600"/>
                <a:gd name="connsiteX116" fmla="*/ 2709862 w 3128973"/>
                <a:gd name="connsiteY116" fmla="*/ 1619250 h 1752600"/>
                <a:gd name="connsiteX117" fmla="*/ 2723566 w 3128973"/>
                <a:gd name="connsiteY117" fmla="*/ 1590361 h 1752600"/>
                <a:gd name="connsiteX118" fmla="*/ 2674937 w 3128973"/>
                <a:gd name="connsiteY118" fmla="*/ 1560512 h 1752600"/>
                <a:gd name="connsiteX119" fmla="*/ 2643187 w 3128973"/>
                <a:gd name="connsiteY119" fmla="*/ 1495425 h 1752600"/>
                <a:gd name="connsiteX120" fmla="*/ 2628900 w 3128973"/>
                <a:gd name="connsiteY120" fmla="*/ 1490662 h 1752600"/>
                <a:gd name="connsiteX121" fmla="*/ 2595562 w 3128973"/>
                <a:gd name="connsiteY121" fmla="*/ 1481137 h 1752600"/>
                <a:gd name="connsiteX122" fmla="*/ 2581275 w 3128973"/>
                <a:gd name="connsiteY122" fmla="*/ 1466850 h 1752600"/>
                <a:gd name="connsiteX123" fmla="*/ 2552700 w 3128973"/>
                <a:gd name="connsiteY123" fmla="*/ 1457325 h 1752600"/>
                <a:gd name="connsiteX124" fmla="*/ 2538412 w 3128973"/>
                <a:gd name="connsiteY124" fmla="*/ 1447800 h 1752600"/>
                <a:gd name="connsiteX125" fmla="*/ 2519362 w 3128973"/>
                <a:gd name="connsiteY125" fmla="*/ 1443037 h 1752600"/>
                <a:gd name="connsiteX126" fmla="*/ 2490787 w 3128973"/>
                <a:gd name="connsiteY126" fmla="*/ 1433512 h 1752600"/>
                <a:gd name="connsiteX127" fmla="*/ 2476500 w 3128973"/>
                <a:gd name="connsiteY127" fmla="*/ 1428750 h 1752600"/>
                <a:gd name="connsiteX128" fmla="*/ 2466975 w 3128973"/>
                <a:gd name="connsiteY128" fmla="*/ 1414462 h 1752600"/>
                <a:gd name="connsiteX129" fmla="*/ 2447925 w 3128973"/>
                <a:gd name="connsiteY129" fmla="*/ 1409700 h 1752600"/>
                <a:gd name="connsiteX130" fmla="*/ 2309812 w 3128973"/>
                <a:gd name="connsiteY130" fmla="*/ 1395412 h 1752600"/>
                <a:gd name="connsiteX131" fmla="*/ 2295525 w 3128973"/>
                <a:gd name="connsiteY131" fmla="*/ 1390650 h 1752600"/>
                <a:gd name="connsiteX132" fmla="*/ 2257425 w 3128973"/>
                <a:gd name="connsiteY132" fmla="*/ 1381125 h 1752600"/>
                <a:gd name="connsiteX133" fmla="*/ 2238375 w 3128973"/>
                <a:gd name="connsiteY133" fmla="*/ 1366837 h 1752600"/>
                <a:gd name="connsiteX134" fmla="*/ 2224087 w 3128973"/>
                <a:gd name="connsiteY134" fmla="*/ 1362075 h 1752600"/>
                <a:gd name="connsiteX135" fmla="*/ 2176462 w 3128973"/>
                <a:gd name="connsiteY135" fmla="*/ 1338262 h 1752600"/>
                <a:gd name="connsiteX136" fmla="*/ 2162175 w 3128973"/>
                <a:gd name="connsiteY136" fmla="*/ 1328737 h 1752600"/>
                <a:gd name="connsiteX137" fmla="*/ 2114550 w 3128973"/>
                <a:gd name="connsiteY137" fmla="*/ 1314450 h 1752600"/>
                <a:gd name="connsiteX138" fmla="*/ 2100262 w 3128973"/>
                <a:gd name="connsiteY138" fmla="*/ 1300162 h 1752600"/>
                <a:gd name="connsiteX139" fmla="*/ 2085975 w 3128973"/>
                <a:gd name="connsiteY139" fmla="*/ 1295400 h 1752600"/>
                <a:gd name="connsiteX140" fmla="*/ 2055019 w 3128973"/>
                <a:gd name="connsiteY140" fmla="*/ 1290637 h 1752600"/>
                <a:gd name="connsiteX141" fmla="*/ 2028824 w 3128973"/>
                <a:gd name="connsiteY141" fmla="*/ 1283494 h 1752600"/>
                <a:gd name="connsiteX142" fmla="*/ 2005012 w 3128973"/>
                <a:gd name="connsiteY142" fmla="*/ 1271587 h 1752600"/>
                <a:gd name="connsiteX143" fmla="*/ 1985962 w 3128973"/>
                <a:gd name="connsiteY143" fmla="*/ 1262062 h 1752600"/>
                <a:gd name="connsiteX144" fmla="*/ 1971675 w 3128973"/>
                <a:gd name="connsiteY144" fmla="*/ 1257300 h 1752600"/>
                <a:gd name="connsiteX145" fmla="*/ 1943100 w 3128973"/>
                <a:gd name="connsiteY145" fmla="*/ 1238250 h 1752600"/>
                <a:gd name="connsiteX146" fmla="*/ 1914525 w 3128973"/>
                <a:gd name="connsiteY146" fmla="*/ 1219200 h 1752600"/>
                <a:gd name="connsiteX147" fmla="*/ 1885950 w 3128973"/>
                <a:gd name="connsiteY147" fmla="*/ 1209675 h 1752600"/>
                <a:gd name="connsiteX148" fmla="*/ 1843087 w 3128973"/>
                <a:gd name="connsiteY148" fmla="*/ 1195387 h 1752600"/>
                <a:gd name="connsiteX149" fmla="*/ 1757362 w 3128973"/>
                <a:gd name="connsiteY149" fmla="*/ 1185862 h 1752600"/>
                <a:gd name="connsiteX150" fmla="*/ 1700212 w 3128973"/>
                <a:gd name="connsiteY150" fmla="*/ 1166812 h 1752600"/>
                <a:gd name="connsiteX151" fmla="*/ 1671637 w 3128973"/>
                <a:gd name="connsiteY151" fmla="*/ 1147762 h 1752600"/>
                <a:gd name="connsiteX152" fmla="*/ 1652587 w 3128973"/>
                <a:gd name="connsiteY152" fmla="*/ 1138237 h 1752600"/>
                <a:gd name="connsiteX153" fmla="*/ 1638300 w 3128973"/>
                <a:gd name="connsiteY153" fmla="*/ 1128712 h 1752600"/>
                <a:gd name="connsiteX154" fmla="*/ 1590675 w 3128973"/>
                <a:gd name="connsiteY154" fmla="*/ 1138238 h 1752600"/>
                <a:gd name="connsiteX155" fmla="*/ 1559719 w 3128973"/>
                <a:gd name="connsiteY155" fmla="*/ 1109662 h 1752600"/>
                <a:gd name="connsiteX156" fmla="*/ 1528762 w 3128973"/>
                <a:gd name="connsiteY156" fmla="*/ 1085850 h 1752600"/>
                <a:gd name="connsiteX157" fmla="*/ 1514475 w 3128973"/>
                <a:gd name="connsiteY157" fmla="*/ 108108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83506 w 3128973"/>
                <a:gd name="connsiteY162" fmla="*/ 1028700 h 1752600"/>
                <a:gd name="connsiteX163" fmla="*/ 1366838 w 3128973"/>
                <a:gd name="connsiteY163" fmla="*/ 1019175 h 1752600"/>
                <a:gd name="connsiteX164" fmla="*/ 1335881 w 3128973"/>
                <a:gd name="connsiteY164" fmla="*/ 1007268 h 1752600"/>
                <a:gd name="connsiteX165" fmla="*/ 1319213 w 3128973"/>
                <a:gd name="connsiteY165" fmla="*/ 1007268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33475 w 3128973"/>
                <a:gd name="connsiteY172" fmla="*/ 925512 h 1752600"/>
                <a:gd name="connsiteX173" fmla="*/ 1085850 w 3128973"/>
                <a:gd name="connsiteY173" fmla="*/ 859631 h 1752600"/>
                <a:gd name="connsiteX174" fmla="*/ 1071562 w 3128973"/>
                <a:gd name="connsiteY174" fmla="*/ 842962 h 1752600"/>
                <a:gd name="connsiteX175" fmla="*/ 1047750 w 3128973"/>
                <a:gd name="connsiteY175" fmla="*/ 819150 h 1752600"/>
                <a:gd name="connsiteX176" fmla="*/ 1028700 w 3128973"/>
                <a:gd name="connsiteY176" fmla="*/ 804862 h 1752600"/>
                <a:gd name="connsiteX177" fmla="*/ 1018076 w 3128973"/>
                <a:gd name="connsiteY177" fmla="*/ 794816 h 1752600"/>
                <a:gd name="connsiteX178" fmla="*/ 1000125 w 3128973"/>
                <a:gd name="connsiteY178" fmla="*/ 785812 h 1752600"/>
                <a:gd name="connsiteX179" fmla="*/ 984342 w 3128973"/>
                <a:gd name="connsiteY179" fmla="*/ 773578 h 1752600"/>
                <a:gd name="connsiteX180" fmla="*/ 957262 w 3128973"/>
                <a:gd name="connsiteY180" fmla="*/ 766762 h 1752600"/>
                <a:gd name="connsiteX181" fmla="*/ 938212 w 3128973"/>
                <a:gd name="connsiteY181" fmla="*/ 757237 h 1752600"/>
                <a:gd name="connsiteX182" fmla="*/ 904875 w 3128973"/>
                <a:gd name="connsiteY182" fmla="*/ 747712 h 1752600"/>
                <a:gd name="connsiteX183" fmla="*/ 862012 w 3128973"/>
                <a:gd name="connsiteY183" fmla="*/ 723900 h 1752600"/>
                <a:gd name="connsiteX184" fmla="*/ 795337 w 3128973"/>
                <a:gd name="connsiteY184" fmla="*/ 685800 h 1752600"/>
                <a:gd name="connsiteX185" fmla="*/ 776287 w 3128973"/>
                <a:gd name="connsiteY185" fmla="*/ 666750 h 1752600"/>
                <a:gd name="connsiteX186" fmla="*/ 762000 w 3128973"/>
                <a:gd name="connsiteY186" fmla="*/ 661987 h 1752600"/>
                <a:gd name="connsiteX187" fmla="*/ 742950 w 3128973"/>
                <a:gd name="connsiteY187" fmla="*/ 647700 h 1752600"/>
                <a:gd name="connsiteX188" fmla="*/ 709612 w 3128973"/>
                <a:gd name="connsiteY188" fmla="*/ 638175 h 1752600"/>
                <a:gd name="connsiteX189" fmla="*/ 695325 w 3128973"/>
                <a:gd name="connsiteY189" fmla="*/ 628650 h 1752600"/>
                <a:gd name="connsiteX190" fmla="*/ 681037 w 3128973"/>
                <a:gd name="connsiteY190" fmla="*/ 623887 h 1752600"/>
                <a:gd name="connsiteX191" fmla="*/ 676275 w 3128973"/>
                <a:gd name="connsiteY191" fmla="*/ 604837 h 1752600"/>
                <a:gd name="connsiteX192" fmla="*/ 666750 w 3128973"/>
                <a:gd name="connsiteY192" fmla="*/ 576262 h 1752600"/>
                <a:gd name="connsiteX193" fmla="*/ 661987 w 3128973"/>
                <a:gd name="connsiteY193" fmla="*/ 561975 h 1752600"/>
                <a:gd name="connsiteX194" fmla="*/ 666750 w 3128973"/>
                <a:gd name="connsiteY194" fmla="*/ 538162 h 1752600"/>
                <a:gd name="connsiteX195" fmla="*/ 638175 w 3128973"/>
                <a:gd name="connsiteY195" fmla="*/ 514350 h 1752600"/>
                <a:gd name="connsiteX196" fmla="*/ 619125 w 3128973"/>
                <a:gd name="connsiteY196" fmla="*/ 500062 h 1752600"/>
                <a:gd name="connsiteX197" fmla="*/ 576262 w 3128973"/>
                <a:gd name="connsiteY197" fmla="*/ 490537 h 1752600"/>
                <a:gd name="connsiteX198" fmla="*/ 542925 w 3128973"/>
                <a:gd name="connsiteY198" fmla="*/ 452437 h 1752600"/>
                <a:gd name="connsiteX199" fmla="*/ 525462 w 3128973"/>
                <a:gd name="connsiteY199" fmla="*/ 485775 h 1752600"/>
                <a:gd name="connsiteX200" fmla="*/ 504825 w 3128973"/>
                <a:gd name="connsiteY200" fmla="*/ 466725 h 1752600"/>
                <a:gd name="connsiteX201" fmla="*/ 454025 w 3128973"/>
                <a:gd name="connsiteY201" fmla="*/ 466725 h 1752600"/>
                <a:gd name="connsiteX202" fmla="*/ 407987 w 3128973"/>
                <a:gd name="connsiteY202" fmla="*/ 473075 h 1752600"/>
                <a:gd name="connsiteX203" fmla="*/ 395287 w 3128973"/>
                <a:gd name="connsiteY203" fmla="*/ 409575 h 1752600"/>
                <a:gd name="connsiteX204" fmla="*/ 376237 w 3128973"/>
                <a:gd name="connsiteY204" fmla="*/ 404812 h 1752600"/>
                <a:gd name="connsiteX205" fmla="*/ 342900 w 3128973"/>
                <a:gd name="connsiteY205" fmla="*/ 400050 h 1752600"/>
                <a:gd name="connsiteX206" fmla="*/ 314325 w 3128973"/>
                <a:gd name="connsiteY206" fmla="*/ 390525 h 1752600"/>
                <a:gd name="connsiteX207" fmla="*/ 273844 w 3128973"/>
                <a:gd name="connsiteY207" fmla="*/ 383382 h 1752600"/>
                <a:gd name="connsiteX208" fmla="*/ 257175 w 3128973"/>
                <a:gd name="connsiteY208" fmla="*/ 371475 h 1752600"/>
                <a:gd name="connsiteX209" fmla="*/ 245269 w 3128973"/>
                <a:gd name="connsiteY209" fmla="*/ 364331 h 1752600"/>
                <a:gd name="connsiteX210" fmla="*/ 223837 w 3128973"/>
                <a:gd name="connsiteY210" fmla="*/ 347662 h 1752600"/>
                <a:gd name="connsiteX211" fmla="*/ 190500 w 3128973"/>
                <a:gd name="connsiteY211" fmla="*/ 338137 h 1752600"/>
                <a:gd name="connsiteX212" fmla="*/ 147637 w 3128973"/>
                <a:gd name="connsiteY212" fmla="*/ 333375 h 1752600"/>
                <a:gd name="connsiteX213" fmla="*/ 119062 w 3128973"/>
                <a:gd name="connsiteY213" fmla="*/ 323850 h 1752600"/>
                <a:gd name="connsiteX214" fmla="*/ 104775 w 3128973"/>
                <a:gd name="connsiteY214" fmla="*/ 319087 h 1752600"/>
                <a:gd name="connsiteX215" fmla="*/ 61912 w 3128973"/>
                <a:gd name="connsiteY215" fmla="*/ 300037 h 1752600"/>
                <a:gd name="connsiteX216" fmla="*/ 23812 w 3128973"/>
                <a:gd name="connsiteY216" fmla="*/ 290512 h 1752600"/>
                <a:gd name="connsiteX217" fmla="*/ 9525 w 3128973"/>
                <a:gd name="connsiteY217" fmla="*/ 261937 h 1752600"/>
                <a:gd name="connsiteX218" fmla="*/ 0 w 3128973"/>
                <a:gd name="connsiteY218" fmla="*/ 290512 h 1752600"/>
                <a:gd name="connsiteX219" fmla="*/ 4762 w 3128973"/>
                <a:gd name="connsiteY219" fmla="*/ 247650 h 1752600"/>
                <a:gd name="connsiteX220" fmla="*/ 19050 w 3128973"/>
                <a:gd name="connsiteY220" fmla="*/ 200025 h 1752600"/>
                <a:gd name="connsiteX221" fmla="*/ 23812 w 3128973"/>
                <a:gd name="connsiteY221" fmla="*/ 185737 h 1752600"/>
                <a:gd name="connsiteX222" fmla="*/ 71437 w 3128973"/>
                <a:gd name="connsiteY222" fmla="*/ 171450 h 1752600"/>
                <a:gd name="connsiteX223" fmla="*/ 85725 w 3128973"/>
                <a:gd name="connsiteY223" fmla="*/ 166687 h 1752600"/>
                <a:gd name="connsiteX224" fmla="*/ 100012 w 3128973"/>
                <a:gd name="connsiteY224" fmla="*/ 161925 h 1752600"/>
                <a:gd name="connsiteX225" fmla="*/ 114300 w 3128973"/>
                <a:gd name="connsiteY225" fmla="*/ 152400 h 1752600"/>
                <a:gd name="connsiteX226" fmla="*/ 133350 w 3128973"/>
                <a:gd name="connsiteY226" fmla="*/ 123825 h 1752600"/>
                <a:gd name="connsiteX227" fmla="*/ 138112 w 3128973"/>
                <a:gd name="connsiteY227" fmla="*/ 109537 h 1752600"/>
                <a:gd name="connsiteX228" fmla="*/ 135467 w 3128973"/>
                <a:gd name="connsiteY228" fmla="*/ 97059 h 1752600"/>
                <a:gd name="connsiteX229" fmla="*/ 142875 w 3128973"/>
                <a:gd name="connsiteY229" fmla="*/ 71437 h 1752600"/>
                <a:gd name="connsiteX230" fmla="*/ 157162 w 3128973"/>
                <a:gd name="connsiteY230" fmla="*/ 57150 h 1752600"/>
                <a:gd name="connsiteX231" fmla="*/ 200025 w 3128973"/>
                <a:gd name="connsiteY231" fmla="*/ 33337 h 1752600"/>
                <a:gd name="connsiteX232" fmla="*/ 309562 w 3128973"/>
                <a:gd name="connsiteY232" fmla="*/ 28575 h 1752600"/>
                <a:gd name="connsiteX233" fmla="*/ 400050 w 3128973"/>
                <a:gd name="connsiteY233" fmla="*/ 14287 h 1752600"/>
                <a:gd name="connsiteX234" fmla="*/ 414337 w 3128973"/>
                <a:gd name="connsiteY234" fmla="*/ 9525 h 1752600"/>
                <a:gd name="connsiteX235" fmla="*/ 481012 w 3128973"/>
                <a:gd name="connsiteY235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31219 w 3128973"/>
                <a:gd name="connsiteY22" fmla="*/ 119430 h 1752600"/>
                <a:gd name="connsiteX23" fmla="*/ 2121693 w 3128973"/>
                <a:gd name="connsiteY23" fmla="*/ 220975 h 1752600"/>
                <a:gd name="connsiteX24" fmla="*/ 2046801 w 3128973"/>
                <a:gd name="connsiteY24" fmla="*/ 262295 h 1752600"/>
                <a:gd name="connsiteX25" fmla="*/ 2033587 w 3128973"/>
                <a:gd name="connsiteY25" fmla="*/ 266700 h 1752600"/>
                <a:gd name="connsiteX26" fmla="*/ 2019300 w 3128973"/>
                <a:gd name="connsiteY26" fmla="*/ 280987 h 1752600"/>
                <a:gd name="connsiteX27" fmla="*/ 1990725 w 3128973"/>
                <a:gd name="connsiteY27" fmla="*/ 300037 h 1752600"/>
                <a:gd name="connsiteX28" fmla="*/ 1981200 w 3128973"/>
                <a:gd name="connsiteY28" fmla="*/ 314325 h 1752600"/>
                <a:gd name="connsiteX29" fmla="*/ 1981200 w 3128973"/>
                <a:gd name="connsiteY29" fmla="*/ 419100 h 1752600"/>
                <a:gd name="connsiteX30" fmla="*/ 1985962 w 3128973"/>
                <a:gd name="connsiteY30" fmla="*/ 433387 h 1752600"/>
                <a:gd name="connsiteX31" fmla="*/ 2000250 w 3128973"/>
                <a:gd name="connsiteY31" fmla="*/ 442912 h 1752600"/>
                <a:gd name="connsiteX32" fmla="*/ 2005012 w 3128973"/>
                <a:gd name="connsiteY32" fmla="*/ 457200 h 1752600"/>
                <a:gd name="connsiteX33" fmla="*/ 2005012 w 3128973"/>
                <a:gd name="connsiteY33" fmla="*/ 561975 h 1752600"/>
                <a:gd name="connsiteX34" fmla="*/ 2009775 w 3128973"/>
                <a:gd name="connsiteY34" fmla="*/ 576262 h 1752600"/>
                <a:gd name="connsiteX35" fmla="*/ 2024062 w 3128973"/>
                <a:gd name="connsiteY35" fmla="*/ 581025 h 1752600"/>
                <a:gd name="connsiteX36" fmla="*/ 2038350 w 3128973"/>
                <a:gd name="connsiteY36" fmla="*/ 595312 h 1752600"/>
                <a:gd name="connsiteX37" fmla="*/ 2052637 w 3128973"/>
                <a:gd name="connsiteY37" fmla="*/ 600075 h 1752600"/>
                <a:gd name="connsiteX38" fmla="*/ 2133600 w 3128973"/>
                <a:gd name="connsiteY38" fmla="*/ 590550 h 1752600"/>
                <a:gd name="connsiteX39" fmla="*/ 2147887 w 3128973"/>
                <a:gd name="connsiteY39" fmla="*/ 585787 h 1752600"/>
                <a:gd name="connsiteX40" fmla="*/ 2195512 w 3128973"/>
                <a:gd name="connsiteY40" fmla="*/ 600075 h 1752600"/>
                <a:gd name="connsiteX41" fmla="*/ 2205037 w 3128973"/>
                <a:gd name="connsiteY41" fmla="*/ 614362 h 1752600"/>
                <a:gd name="connsiteX42" fmla="*/ 2219325 w 3128973"/>
                <a:gd name="connsiteY42" fmla="*/ 628650 h 1752600"/>
                <a:gd name="connsiteX43" fmla="*/ 2224087 w 3128973"/>
                <a:gd name="connsiteY43" fmla="*/ 642937 h 1752600"/>
                <a:gd name="connsiteX44" fmla="*/ 2233612 w 3128973"/>
                <a:gd name="connsiteY44" fmla="*/ 657225 h 1752600"/>
                <a:gd name="connsiteX45" fmla="*/ 2247900 w 3128973"/>
                <a:gd name="connsiteY45" fmla="*/ 685800 h 1752600"/>
                <a:gd name="connsiteX46" fmla="*/ 2262187 w 3128973"/>
                <a:gd name="connsiteY46" fmla="*/ 733425 h 1752600"/>
                <a:gd name="connsiteX47" fmla="*/ 2305050 w 3128973"/>
                <a:gd name="connsiteY47" fmla="*/ 771525 h 1752600"/>
                <a:gd name="connsiteX48" fmla="*/ 2319337 w 3128973"/>
                <a:gd name="connsiteY48" fmla="*/ 804862 h 1752600"/>
                <a:gd name="connsiteX49" fmla="*/ 2333625 w 3128973"/>
                <a:gd name="connsiteY49" fmla="*/ 819150 h 1752600"/>
                <a:gd name="connsiteX50" fmla="*/ 2338387 w 3128973"/>
                <a:gd name="connsiteY50" fmla="*/ 833437 h 1752600"/>
                <a:gd name="connsiteX51" fmla="*/ 2352675 w 3128973"/>
                <a:gd name="connsiteY51" fmla="*/ 847725 h 1752600"/>
                <a:gd name="connsiteX52" fmla="*/ 2395537 w 3128973"/>
                <a:gd name="connsiteY52" fmla="*/ 871537 h 1752600"/>
                <a:gd name="connsiteX53" fmla="*/ 2409825 w 3128973"/>
                <a:gd name="connsiteY53" fmla="*/ 890587 h 1752600"/>
                <a:gd name="connsiteX54" fmla="*/ 2424112 w 3128973"/>
                <a:gd name="connsiteY54" fmla="*/ 895350 h 1752600"/>
                <a:gd name="connsiteX55" fmla="*/ 2433637 w 3128973"/>
                <a:gd name="connsiteY55" fmla="*/ 914400 h 1752600"/>
                <a:gd name="connsiteX56" fmla="*/ 2466975 w 3128973"/>
                <a:gd name="connsiteY56" fmla="*/ 942975 h 1752600"/>
                <a:gd name="connsiteX57" fmla="*/ 2474637 w 3128973"/>
                <a:gd name="connsiteY57" fmla="*/ 954728 h 1752600"/>
                <a:gd name="connsiteX58" fmla="*/ 2495550 w 3128973"/>
                <a:gd name="connsiteY58" fmla="*/ 971550 h 1752600"/>
                <a:gd name="connsiteX59" fmla="*/ 2508776 w 3128973"/>
                <a:gd name="connsiteY59" fmla="*/ 983894 h 1752600"/>
                <a:gd name="connsiteX60" fmla="*/ 2533650 w 3128973"/>
                <a:gd name="connsiteY60" fmla="*/ 1000125 h 1752600"/>
                <a:gd name="connsiteX61" fmla="*/ 2547937 w 3128973"/>
                <a:gd name="connsiteY61" fmla="*/ 1028700 h 1752600"/>
                <a:gd name="connsiteX62" fmla="*/ 2552700 w 3128973"/>
                <a:gd name="connsiteY62" fmla="*/ 1042987 h 1752600"/>
                <a:gd name="connsiteX63" fmla="*/ 2576512 w 3128973"/>
                <a:gd name="connsiteY63" fmla="*/ 1071562 h 1752600"/>
                <a:gd name="connsiteX64" fmla="*/ 2584921 w 3128973"/>
                <a:gd name="connsiteY64" fmla="*/ 1082873 h 1752600"/>
                <a:gd name="connsiteX65" fmla="*/ 2600325 w 3128973"/>
                <a:gd name="connsiteY65" fmla="*/ 1095375 h 1752600"/>
                <a:gd name="connsiteX66" fmla="*/ 2609850 w 3128973"/>
                <a:gd name="connsiteY66" fmla="*/ 1109662 h 1752600"/>
                <a:gd name="connsiteX67" fmla="*/ 2652712 w 3128973"/>
                <a:gd name="connsiteY67" fmla="*/ 1143000 h 1752600"/>
                <a:gd name="connsiteX68" fmla="*/ 2681287 w 3128973"/>
                <a:gd name="connsiteY68" fmla="*/ 1152525 h 1752600"/>
                <a:gd name="connsiteX69" fmla="*/ 2700337 w 3128973"/>
                <a:gd name="connsiteY69" fmla="*/ 1162050 h 1752600"/>
                <a:gd name="connsiteX70" fmla="*/ 2714625 w 3128973"/>
                <a:gd name="connsiteY70" fmla="*/ 1171575 h 1752600"/>
                <a:gd name="connsiteX71" fmla="*/ 2752725 w 3128973"/>
                <a:gd name="connsiteY71" fmla="*/ 1181100 h 1752600"/>
                <a:gd name="connsiteX72" fmla="*/ 2767012 w 3128973"/>
                <a:gd name="connsiteY72" fmla="*/ 1195387 h 1752600"/>
                <a:gd name="connsiteX73" fmla="*/ 2781300 w 3128973"/>
                <a:gd name="connsiteY73" fmla="*/ 1200150 h 1752600"/>
                <a:gd name="connsiteX74" fmla="*/ 2795587 w 3128973"/>
                <a:gd name="connsiteY74" fmla="*/ 1209675 h 1752600"/>
                <a:gd name="connsiteX75" fmla="*/ 2805112 w 3128973"/>
                <a:gd name="connsiteY75" fmla="*/ 1223962 h 1752600"/>
                <a:gd name="connsiteX76" fmla="*/ 2809875 w 3128973"/>
                <a:gd name="connsiteY76" fmla="*/ 1238250 h 1752600"/>
                <a:gd name="connsiteX77" fmla="*/ 2833687 w 3128973"/>
                <a:gd name="connsiteY77" fmla="*/ 1276350 h 1752600"/>
                <a:gd name="connsiteX78" fmla="*/ 2895600 w 3128973"/>
                <a:gd name="connsiteY78" fmla="*/ 1333500 h 1752600"/>
                <a:gd name="connsiteX79" fmla="*/ 2900362 w 3128973"/>
                <a:gd name="connsiteY79" fmla="*/ 1352550 h 1752600"/>
                <a:gd name="connsiteX80" fmla="*/ 2928937 w 3128973"/>
                <a:gd name="connsiteY80" fmla="*/ 1395412 h 1752600"/>
                <a:gd name="connsiteX81" fmla="*/ 2943225 w 3128973"/>
                <a:gd name="connsiteY81" fmla="*/ 1404937 h 1752600"/>
                <a:gd name="connsiteX82" fmla="*/ 2957512 w 3128973"/>
                <a:gd name="connsiteY82" fmla="*/ 1419225 h 1752600"/>
                <a:gd name="connsiteX83" fmla="*/ 2986087 w 3128973"/>
                <a:gd name="connsiteY83" fmla="*/ 1443037 h 1752600"/>
                <a:gd name="connsiteX84" fmla="*/ 3000375 w 3128973"/>
                <a:gd name="connsiteY84" fmla="*/ 1462087 h 1752600"/>
                <a:gd name="connsiteX85" fmla="*/ 3016395 w 3128973"/>
                <a:gd name="connsiteY85" fmla="*/ 1476222 h 1752600"/>
                <a:gd name="connsiteX86" fmla="*/ 3028950 w 3128973"/>
                <a:gd name="connsiteY86" fmla="*/ 1495425 h 1752600"/>
                <a:gd name="connsiteX87" fmla="*/ 3043237 w 3128973"/>
                <a:gd name="connsiteY87" fmla="*/ 1552575 h 1752600"/>
                <a:gd name="connsiteX88" fmla="*/ 3052762 w 3128973"/>
                <a:gd name="connsiteY88" fmla="*/ 1566862 h 1752600"/>
                <a:gd name="connsiteX89" fmla="*/ 3057525 w 3128973"/>
                <a:gd name="connsiteY89" fmla="*/ 1581150 h 1752600"/>
                <a:gd name="connsiteX90" fmla="*/ 3067050 w 3128973"/>
                <a:gd name="connsiteY90" fmla="*/ 1662112 h 1752600"/>
                <a:gd name="connsiteX91" fmla="*/ 3071812 w 3128973"/>
                <a:gd name="connsiteY91" fmla="*/ 1676400 h 1752600"/>
                <a:gd name="connsiteX92" fmla="*/ 3100387 w 3128973"/>
                <a:gd name="connsiteY92" fmla="*/ 1690687 h 1752600"/>
                <a:gd name="connsiteX93" fmla="*/ 3114675 w 3128973"/>
                <a:gd name="connsiteY93" fmla="*/ 1685925 h 1752600"/>
                <a:gd name="connsiteX94" fmla="*/ 3124200 w 3128973"/>
                <a:gd name="connsiteY94" fmla="*/ 1671637 h 1752600"/>
                <a:gd name="connsiteX95" fmla="*/ 3128973 w 3128973"/>
                <a:gd name="connsiteY95" fmla="*/ 1651467 h 1752600"/>
                <a:gd name="connsiteX96" fmla="*/ 3128021 w 3128973"/>
                <a:gd name="connsiteY96" fmla="*/ 1710279 h 1752600"/>
                <a:gd name="connsiteX97" fmla="*/ 3043237 w 3128973"/>
                <a:gd name="connsiteY97" fmla="*/ 1714500 h 1752600"/>
                <a:gd name="connsiteX98" fmla="*/ 3028950 w 3128973"/>
                <a:gd name="connsiteY98" fmla="*/ 1728787 h 1752600"/>
                <a:gd name="connsiteX99" fmla="*/ 2986087 w 3128973"/>
                <a:gd name="connsiteY99" fmla="*/ 1738312 h 1752600"/>
                <a:gd name="connsiteX100" fmla="*/ 2971800 w 3128973"/>
                <a:gd name="connsiteY100" fmla="*/ 1743075 h 1752600"/>
                <a:gd name="connsiteX101" fmla="*/ 2943225 w 3128973"/>
                <a:gd name="connsiteY101" fmla="*/ 1738312 h 1752600"/>
                <a:gd name="connsiteX102" fmla="*/ 2928937 w 3128973"/>
                <a:gd name="connsiteY102" fmla="*/ 1747837 h 1752600"/>
                <a:gd name="connsiteX103" fmla="*/ 2914650 w 3128973"/>
                <a:gd name="connsiteY103" fmla="*/ 1752600 h 1752600"/>
                <a:gd name="connsiteX104" fmla="*/ 2895600 w 3128973"/>
                <a:gd name="connsiteY104" fmla="*/ 1724025 h 1752600"/>
                <a:gd name="connsiteX105" fmla="*/ 2883310 w 3128973"/>
                <a:gd name="connsiteY105" fmla="*/ 1701201 h 1752600"/>
                <a:gd name="connsiteX106" fmla="*/ 2883805 w 3128973"/>
                <a:gd name="connsiteY106" fmla="*/ 1696138 h 1752600"/>
                <a:gd name="connsiteX107" fmla="*/ 2871787 w 3128973"/>
                <a:gd name="connsiteY107" fmla="*/ 1685925 h 1752600"/>
                <a:gd name="connsiteX108" fmla="*/ 2847975 w 3128973"/>
                <a:gd name="connsiteY108" fmla="*/ 1657350 h 1752600"/>
                <a:gd name="connsiteX109" fmla="*/ 2834034 w 3128973"/>
                <a:gd name="connsiteY109" fmla="*/ 1637762 h 1752600"/>
                <a:gd name="connsiteX110" fmla="*/ 2814637 w 3128973"/>
                <a:gd name="connsiteY110" fmla="*/ 1619250 h 1752600"/>
                <a:gd name="connsiteX111" fmla="*/ 2809875 w 3128973"/>
                <a:gd name="connsiteY111" fmla="*/ 1604962 h 1752600"/>
                <a:gd name="connsiteX112" fmla="*/ 2795587 w 3128973"/>
                <a:gd name="connsiteY112" fmla="*/ 1600200 h 1752600"/>
                <a:gd name="connsiteX113" fmla="*/ 2781300 w 3128973"/>
                <a:gd name="connsiteY113" fmla="*/ 1590675 h 1752600"/>
                <a:gd name="connsiteX114" fmla="*/ 2752725 w 3128973"/>
                <a:gd name="connsiteY114" fmla="*/ 1581150 h 1752600"/>
                <a:gd name="connsiteX115" fmla="*/ 2733675 w 3128973"/>
                <a:gd name="connsiteY115" fmla="*/ 1625600 h 1752600"/>
                <a:gd name="connsiteX116" fmla="*/ 2709862 w 3128973"/>
                <a:gd name="connsiteY116" fmla="*/ 1619250 h 1752600"/>
                <a:gd name="connsiteX117" fmla="*/ 2723566 w 3128973"/>
                <a:gd name="connsiteY117" fmla="*/ 1590361 h 1752600"/>
                <a:gd name="connsiteX118" fmla="*/ 2674937 w 3128973"/>
                <a:gd name="connsiteY118" fmla="*/ 1560512 h 1752600"/>
                <a:gd name="connsiteX119" fmla="*/ 2643187 w 3128973"/>
                <a:gd name="connsiteY119" fmla="*/ 1495425 h 1752600"/>
                <a:gd name="connsiteX120" fmla="*/ 2628900 w 3128973"/>
                <a:gd name="connsiteY120" fmla="*/ 1490662 h 1752600"/>
                <a:gd name="connsiteX121" fmla="*/ 2595562 w 3128973"/>
                <a:gd name="connsiteY121" fmla="*/ 1481137 h 1752600"/>
                <a:gd name="connsiteX122" fmla="*/ 2581275 w 3128973"/>
                <a:gd name="connsiteY122" fmla="*/ 1466850 h 1752600"/>
                <a:gd name="connsiteX123" fmla="*/ 2552700 w 3128973"/>
                <a:gd name="connsiteY123" fmla="*/ 1457325 h 1752600"/>
                <a:gd name="connsiteX124" fmla="*/ 2538412 w 3128973"/>
                <a:gd name="connsiteY124" fmla="*/ 1447800 h 1752600"/>
                <a:gd name="connsiteX125" fmla="*/ 2519362 w 3128973"/>
                <a:gd name="connsiteY125" fmla="*/ 1443037 h 1752600"/>
                <a:gd name="connsiteX126" fmla="*/ 2490787 w 3128973"/>
                <a:gd name="connsiteY126" fmla="*/ 1433512 h 1752600"/>
                <a:gd name="connsiteX127" fmla="*/ 2476500 w 3128973"/>
                <a:gd name="connsiteY127" fmla="*/ 1428750 h 1752600"/>
                <a:gd name="connsiteX128" fmla="*/ 2466975 w 3128973"/>
                <a:gd name="connsiteY128" fmla="*/ 1414462 h 1752600"/>
                <a:gd name="connsiteX129" fmla="*/ 2447925 w 3128973"/>
                <a:gd name="connsiteY129" fmla="*/ 1409700 h 1752600"/>
                <a:gd name="connsiteX130" fmla="*/ 2309812 w 3128973"/>
                <a:gd name="connsiteY130" fmla="*/ 1395412 h 1752600"/>
                <a:gd name="connsiteX131" fmla="*/ 2295525 w 3128973"/>
                <a:gd name="connsiteY131" fmla="*/ 1390650 h 1752600"/>
                <a:gd name="connsiteX132" fmla="*/ 2257425 w 3128973"/>
                <a:gd name="connsiteY132" fmla="*/ 1381125 h 1752600"/>
                <a:gd name="connsiteX133" fmla="*/ 2238375 w 3128973"/>
                <a:gd name="connsiteY133" fmla="*/ 1366837 h 1752600"/>
                <a:gd name="connsiteX134" fmla="*/ 2224087 w 3128973"/>
                <a:gd name="connsiteY134" fmla="*/ 1362075 h 1752600"/>
                <a:gd name="connsiteX135" fmla="*/ 2176462 w 3128973"/>
                <a:gd name="connsiteY135" fmla="*/ 1338262 h 1752600"/>
                <a:gd name="connsiteX136" fmla="*/ 2162175 w 3128973"/>
                <a:gd name="connsiteY136" fmla="*/ 1328737 h 1752600"/>
                <a:gd name="connsiteX137" fmla="*/ 2114550 w 3128973"/>
                <a:gd name="connsiteY137" fmla="*/ 1314450 h 1752600"/>
                <a:gd name="connsiteX138" fmla="*/ 2100262 w 3128973"/>
                <a:gd name="connsiteY138" fmla="*/ 1300162 h 1752600"/>
                <a:gd name="connsiteX139" fmla="*/ 2085975 w 3128973"/>
                <a:gd name="connsiteY139" fmla="*/ 1295400 h 1752600"/>
                <a:gd name="connsiteX140" fmla="*/ 2055019 w 3128973"/>
                <a:gd name="connsiteY140" fmla="*/ 1290637 h 1752600"/>
                <a:gd name="connsiteX141" fmla="*/ 2028824 w 3128973"/>
                <a:gd name="connsiteY141" fmla="*/ 1283494 h 1752600"/>
                <a:gd name="connsiteX142" fmla="*/ 2005012 w 3128973"/>
                <a:gd name="connsiteY142" fmla="*/ 1271587 h 1752600"/>
                <a:gd name="connsiteX143" fmla="*/ 1985962 w 3128973"/>
                <a:gd name="connsiteY143" fmla="*/ 1262062 h 1752600"/>
                <a:gd name="connsiteX144" fmla="*/ 1971675 w 3128973"/>
                <a:gd name="connsiteY144" fmla="*/ 1257300 h 1752600"/>
                <a:gd name="connsiteX145" fmla="*/ 1943100 w 3128973"/>
                <a:gd name="connsiteY145" fmla="*/ 1238250 h 1752600"/>
                <a:gd name="connsiteX146" fmla="*/ 1914525 w 3128973"/>
                <a:gd name="connsiteY146" fmla="*/ 1219200 h 1752600"/>
                <a:gd name="connsiteX147" fmla="*/ 1885950 w 3128973"/>
                <a:gd name="connsiteY147" fmla="*/ 1209675 h 1752600"/>
                <a:gd name="connsiteX148" fmla="*/ 1843087 w 3128973"/>
                <a:gd name="connsiteY148" fmla="*/ 1195387 h 1752600"/>
                <a:gd name="connsiteX149" fmla="*/ 1757362 w 3128973"/>
                <a:gd name="connsiteY149" fmla="*/ 1185862 h 1752600"/>
                <a:gd name="connsiteX150" fmla="*/ 1700212 w 3128973"/>
                <a:gd name="connsiteY150" fmla="*/ 1166812 h 1752600"/>
                <a:gd name="connsiteX151" fmla="*/ 1671637 w 3128973"/>
                <a:gd name="connsiteY151" fmla="*/ 1147762 h 1752600"/>
                <a:gd name="connsiteX152" fmla="*/ 1652587 w 3128973"/>
                <a:gd name="connsiteY152" fmla="*/ 1138237 h 1752600"/>
                <a:gd name="connsiteX153" fmla="*/ 1638300 w 3128973"/>
                <a:gd name="connsiteY153" fmla="*/ 1128712 h 1752600"/>
                <a:gd name="connsiteX154" fmla="*/ 1590675 w 3128973"/>
                <a:gd name="connsiteY154" fmla="*/ 1138238 h 1752600"/>
                <a:gd name="connsiteX155" fmla="*/ 1559719 w 3128973"/>
                <a:gd name="connsiteY155" fmla="*/ 1109662 h 1752600"/>
                <a:gd name="connsiteX156" fmla="*/ 1528762 w 3128973"/>
                <a:gd name="connsiteY156" fmla="*/ 1085850 h 1752600"/>
                <a:gd name="connsiteX157" fmla="*/ 1514475 w 3128973"/>
                <a:gd name="connsiteY157" fmla="*/ 108108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83506 w 3128973"/>
                <a:gd name="connsiteY162" fmla="*/ 1028700 h 1752600"/>
                <a:gd name="connsiteX163" fmla="*/ 1366838 w 3128973"/>
                <a:gd name="connsiteY163" fmla="*/ 1019175 h 1752600"/>
                <a:gd name="connsiteX164" fmla="*/ 1335881 w 3128973"/>
                <a:gd name="connsiteY164" fmla="*/ 1007268 h 1752600"/>
                <a:gd name="connsiteX165" fmla="*/ 1319213 w 3128973"/>
                <a:gd name="connsiteY165" fmla="*/ 1007268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33475 w 3128973"/>
                <a:gd name="connsiteY172" fmla="*/ 925512 h 1752600"/>
                <a:gd name="connsiteX173" fmla="*/ 1085850 w 3128973"/>
                <a:gd name="connsiteY173" fmla="*/ 859631 h 1752600"/>
                <a:gd name="connsiteX174" fmla="*/ 1071562 w 3128973"/>
                <a:gd name="connsiteY174" fmla="*/ 842962 h 1752600"/>
                <a:gd name="connsiteX175" fmla="*/ 1047750 w 3128973"/>
                <a:gd name="connsiteY175" fmla="*/ 819150 h 1752600"/>
                <a:gd name="connsiteX176" fmla="*/ 1028700 w 3128973"/>
                <a:gd name="connsiteY176" fmla="*/ 804862 h 1752600"/>
                <a:gd name="connsiteX177" fmla="*/ 1018076 w 3128973"/>
                <a:gd name="connsiteY177" fmla="*/ 794816 h 1752600"/>
                <a:gd name="connsiteX178" fmla="*/ 1000125 w 3128973"/>
                <a:gd name="connsiteY178" fmla="*/ 785812 h 1752600"/>
                <a:gd name="connsiteX179" fmla="*/ 984342 w 3128973"/>
                <a:gd name="connsiteY179" fmla="*/ 773578 h 1752600"/>
                <a:gd name="connsiteX180" fmla="*/ 957262 w 3128973"/>
                <a:gd name="connsiteY180" fmla="*/ 766762 h 1752600"/>
                <a:gd name="connsiteX181" fmla="*/ 938212 w 3128973"/>
                <a:gd name="connsiteY181" fmla="*/ 757237 h 1752600"/>
                <a:gd name="connsiteX182" fmla="*/ 904875 w 3128973"/>
                <a:gd name="connsiteY182" fmla="*/ 747712 h 1752600"/>
                <a:gd name="connsiteX183" fmla="*/ 862012 w 3128973"/>
                <a:gd name="connsiteY183" fmla="*/ 723900 h 1752600"/>
                <a:gd name="connsiteX184" fmla="*/ 795337 w 3128973"/>
                <a:gd name="connsiteY184" fmla="*/ 685800 h 1752600"/>
                <a:gd name="connsiteX185" fmla="*/ 776287 w 3128973"/>
                <a:gd name="connsiteY185" fmla="*/ 666750 h 1752600"/>
                <a:gd name="connsiteX186" fmla="*/ 762000 w 3128973"/>
                <a:gd name="connsiteY186" fmla="*/ 661987 h 1752600"/>
                <a:gd name="connsiteX187" fmla="*/ 742950 w 3128973"/>
                <a:gd name="connsiteY187" fmla="*/ 647700 h 1752600"/>
                <a:gd name="connsiteX188" fmla="*/ 709612 w 3128973"/>
                <a:gd name="connsiteY188" fmla="*/ 638175 h 1752600"/>
                <a:gd name="connsiteX189" fmla="*/ 695325 w 3128973"/>
                <a:gd name="connsiteY189" fmla="*/ 628650 h 1752600"/>
                <a:gd name="connsiteX190" fmla="*/ 681037 w 3128973"/>
                <a:gd name="connsiteY190" fmla="*/ 623887 h 1752600"/>
                <a:gd name="connsiteX191" fmla="*/ 676275 w 3128973"/>
                <a:gd name="connsiteY191" fmla="*/ 604837 h 1752600"/>
                <a:gd name="connsiteX192" fmla="*/ 666750 w 3128973"/>
                <a:gd name="connsiteY192" fmla="*/ 576262 h 1752600"/>
                <a:gd name="connsiteX193" fmla="*/ 661987 w 3128973"/>
                <a:gd name="connsiteY193" fmla="*/ 561975 h 1752600"/>
                <a:gd name="connsiteX194" fmla="*/ 666750 w 3128973"/>
                <a:gd name="connsiteY194" fmla="*/ 538162 h 1752600"/>
                <a:gd name="connsiteX195" fmla="*/ 638175 w 3128973"/>
                <a:gd name="connsiteY195" fmla="*/ 514350 h 1752600"/>
                <a:gd name="connsiteX196" fmla="*/ 619125 w 3128973"/>
                <a:gd name="connsiteY196" fmla="*/ 500062 h 1752600"/>
                <a:gd name="connsiteX197" fmla="*/ 576262 w 3128973"/>
                <a:gd name="connsiteY197" fmla="*/ 490537 h 1752600"/>
                <a:gd name="connsiteX198" fmla="*/ 542925 w 3128973"/>
                <a:gd name="connsiteY198" fmla="*/ 452437 h 1752600"/>
                <a:gd name="connsiteX199" fmla="*/ 525462 w 3128973"/>
                <a:gd name="connsiteY199" fmla="*/ 485775 h 1752600"/>
                <a:gd name="connsiteX200" fmla="*/ 504825 w 3128973"/>
                <a:gd name="connsiteY200" fmla="*/ 466725 h 1752600"/>
                <a:gd name="connsiteX201" fmla="*/ 454025 w 3128973"/>
                <a:gd name="connsiteY201" fmla="*/ 466725 h 1752600"/>
                <a:gd name="connsiteX202" fmla="*/ 407987 w 3128973"/>
                <a:gd name="connsiteY202" fmla="*/ 473075 h 1752600"/>
                <a:gd name="connsiteX203" fmla="*/ 395287 w 3128973"/>
                <a:gd name="connsiteY203" fmla="*/ 409575 h 1752600"/>
                <a:gd name="connsiteX204" fmla="*/ 376237 w 3128973"/>
                <a:gd name="connsiteY204" fmla="*/ 404812 h 1752600"/>
                <a:gd name="connsiteX205" fmla="*/ 342900 w 3128973"/>
                <a:gd name="connsiteY205" fmla="*/ 400050 h 1752600"/>
                <a:gd name="connsiteX206" fmla="*/ 314325 w 3128973"/>
                <a:gd name="connsiteY206" fmla="*/ 390525 h 1752600"/>
                <a:gd name="connsiteX207" fmla="*/ 273844 w 3128973"/>
                <a:gd name="connsiteY207" fmla="*/ 383382 h 1752600"/>
                <a:gd name="connsiteX208" fmla="*/ 257175 w 3128973"/>
                <a:gd name="connsiteY208" fmla="*/ 371475 h 1752600"/>
                <a:gd name="connsiteX209" fmla="*/ 245269 w 3128973"/>
                <a:gd name="connsiteY209" fmla="*/ 364331 h 1752600"/>
                <a:gd name="connsiteX210" fmla="*/ 223837 w 3128973"/>
                <a:gd name="connsiteY210" fmla="*/ 347662 h 1752600"/>
                <a:gd name="connsiteX211" fmla="*/ 190500 w 3128973"/>
                <a:gd name="connsiteY211" fmla="*/ 338137 h 1752600"/>
                <a:gd name="connsiteX212" fmla="*/ 147637 w 3128973"/>
                <a:gd name="connsiteY212" fmla="*/ 333375 h 1752600"/>
                <a:gd name="connsiteX213" fmla="*/ 119062 w 3128973"/>
                <a:gd name="connsiteY213" fmla="*/ 323850 h 1752600"/>
                <a:gd name="connsiteX214" fmla="*/ 104775 w 3128973"/>
                <a:gd name="connsiteY214" fmla="*/ 319087 h 1752600"/>
                <a:gd name="connsiteX215" fmla="*/ 61912 w 3128973"/>
                <a:gd name="connsiteY215" fmla="*/ 300037 h 1752600"/>
                <a:gd name="connsiteX216" fmla="*/ 23812 w 3128973"/>
                <a:gd name="connsiteY216" fmla="*/ 290512 h 1752600"/>
                <a:gd name="connsiteX217" fmla="*/ 9525 w 3128973"/>
                <a:gd name="connsiteY217" fmla="*/ 261937 h 1752600"/>
                <a:gd name="connsiteX218" fmla="*/ 0 w 3128973"/>
                <a:gd name="connsiteY218" fmla="*/ 290512 h 1752600"/>
                <a:gd name="connsiteX219" fmla="*/ 4762 w 3128973"/>
                <a:gd name="connsiteY219" fmla="*/ 247650 h 1752600"/>
                <a:gd name="connsiteX220" fmla="*/ 19050 w 3128973"/>
                <a:gd name="connsiteY220" fmla="*/ 200025 h 1752600"/>
                <a:gd name="connsiteX221" fmla="*/ 23812 w 3128973"/>
                <a:gd name="connsiteY221" fmla="*/ 185737 h 1752600"/>
                <a:gd name="connsiteX222" fmla="*/ 71437 w 3128973"/>
                <a:gd name="connsiteY222" fmla="*/ 171450 h 1752600"/>
                <a:gd name="connsiteX223" fmla="*/ 85725 w 3128973"/>
                <a:gd name="connsiteY223" fmla="*/ 166687 h 1752600"/>
                <a:gd name="connsiteX224" fmla="*/ 100012 w 3128973"/>
                <a:gd name="connsiteY224" fmla="*/ 161925 h 1752600"/>
                <a:gd name="connsiteX225" fmla="*/ 114300 w 3128973"/>
                <a:gd name="connsiteY225" fmla="*/ 152400 h 1752600"/>
                <a:gd name="connsiteX226" fmla="*/ 133350 w 3128973"/>
                <a:gd name="connsiteY226" fmla="*/ 123825 h 1752600"/>
                <a:gd name="connsiteX227" fmla="*/ 138112 w 3128973"/>
                <a:gd name="connsiteY227" fmla="*/ 109537 h 1752600"/>
                <a:gd name="connsiteX228" fmla="*/ 135467 w 3128973"/>
                <a:gd name="connsiteY228" fmla="*/ 97059 h 1752600"/>
                <a:gd name="connsiteX229" fmla="*/ 142875 w 3128973"/>
                <a:gd name="connsiteY229" fmla="*/ 71437 h 1752600"/>
                <a:gd name="connsiteX230" fmla="*/ 157162 w 3128973"/>
                <a:gd name="connsiteY230" fmla="*/ 57150 h 1752600"/>
                <a:gd name="connsiteX231" fmla="*/ 200025 w 3128973"/>
                <a:gd name="connsiteY231" fmla="*/ 33337 h 1752600"/>
                <a:gd name="connsiteX232" fmla="*/ 309562 w 3128973"/>
                <a:gd name="connsiteY232" fmla="*/ 28575 h 1752600"/>
                <a:gd name="connsiteX233" fmla="*/ 400050 w 3128973"/>
                <a:gd name="connsiteY233" fmla="*/ 14287 h 1752600"/>
                <a:gd name="connsiteX234" fmla="*/ 414337 w 3128973"/>
                <a:gd name="connsiteY234" fmla="*/ 9525 h 1752600"/>
                <a:gd name="connsiteX235" fmla="*/ 481012 w 3128973"/>
                <a:gd name="connsiteY235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31219 w 3128973"/>
                <a:gd name="connsiteY22" fmla="*/ 119430 h 1752600"/>
                <a:gd name="connsiteX23" fmla="*/ 2266949 w 3128973"/>
                <a:gd name="connsiteY23" fmla="*/ 60392 h 1752600"/>
                <a:gd name="connsiteX24" fmla="*/ 2046801 w 3128973"/>
                <a:gd name="connsiteY24" fmla="*/ 262295 h 1752600"/>
                <a:gd name="connsiteX25" fmla="*/ 2033587 w 3128973"/>
                <a:gd name="connsiteY25" fmla="*/ 266700 h 1752600"/>
                <a:gd name="connsiteX26" fmla="*/ 2019300 w 3128973"/>
                <a:gd name="connsiteY26" fmla="*/ 280987 h 1752600"/>
                <a:gd name="connsiteX27" fmla="*/ 1990725 w 3128973"/>
                <a:gd name="connsiteY27" fmla="*/ 300037 h 1752600"/>
                <a:gd name="connsiteX28" fmla="*/ 1981200 w 3128973"/>
                <a:gd name="connsiteY28" fmla="*/ 314325 h 1752600"/>
                <a:gd name="connsiteX29" fmla="*/ 1981200 w 3128973"/>
                <a:gd name="connsiteY29" fmla="*/ 419100 h 1752600"/>
                <a:gd name="connsiteX30" fmla="*/ 1985962 w 3128973"/>
                <a:gd name="connsiteY30" fmla="*/ 433387 h 1752600"/>
                <a:gd name="connsiteX31" fmla="*/ 2000250 w 3128973"/>
                <a:gd name="connsiteY31" fmla="*/ 442912 h 1752600"/>
                <a:gd name="connsiteX32" fmla="*/ 2005012 w 3128973"/>
                <a:gd name="connsiteY32" fmla="*/ 457200 h 1752600"/>
                <a:gd name="connsiteX33" fmla="*/ 2005012 w 3128973"/>
                <a:gd name="connsiteY33" fmla="*/ 561975 h 1752600"/>
                <a:gd name="connsiteX34" fmla="*/ 2009775 w 3128973"/>
                <a:gd name="connsiteY34" fmla="*/ 576262 h 1752600"/>
                <a:gd name="connsiteX35" fmla="*/ 2024062 w 3128973"/>
                <a:gd name="connsiteY35" fmla="*/ 581025 h 1752600"/>
                <a:gd name="connsiteX36" fmla="*/ 2038350 w 3128973"/>
                <a:gd name="connsiteY36" fmla="*/ 595312 h 1752600"/>
                <a:gd name="connsiteX37" fmla="*/ 2052637 w 3128973"/>
                <a:gd name="connsiteY37" fmla="*/ 600075 h 1752600"/>
                <a:gd name="connsiteX38" fmla="*/ 2133600 w 3128973"/>
                <a:gd name="connsiteY38" fmla="*/ 590550 h 1752600"/>
                <a:gd name="connsiteX39" fmla="*/ 2147887 w 3128973"/>
                <a:gd name="connsiteY39" fmla="*/ 585787 h 1752600"/>
                <a:gd name="connsiteX40" fmla="*/ 2195512 w 3128973"/>
                <a:gd name="connsiteY40" fmla="*/ 600075 h 1752600"/>
                <a:gd name="connsiteX41" fmla="*/ 2205037 w 3128973"/>
                <a:gd name="connsiteY41" fmla="*/ 614362 h 1752600"/>
                <a:gd name="connsiteX42" fmla="*/ 2219325 w 3128973"/>
                <a:gd name="connsiteY42" fmla="*/ 628650 h 1752600"/>
                <a:gd name="connsiteX43" fmla="*/ 2224087 w 3128973"/>
                <a:gd name="connsiteY43" fmla="*/ 642937 h 1752600"/>
                <a:gd name="connsiteX44" fmla="*/ 2233612 w 3128973"/>
                <a:gd name="connsiteY44" fmla="*/ 657225 h 1752600"/>
                <a:gd name="connsiteX45" fmla="*/ 2247900 w 3128973"/>
                <a:gd name="connsiteY45" fmla="*/ 685800 h 1752600"/>
                <a:gd name="connsiteX46" fmla="*/ 2262187 w 3128973"/>
                <a:gd name="connsiteY46" fmla="*/ 733425 h 1752600"/>
                <a:gd name="connsiteX47" fmla="*/ 2305050 w 3128973"/>
                <a:gd name="connsiteY47" fmla="*/ 771525 h 1752600"/>
                <a:gd name="connsiteX48" fmla="*/ 2319337 w 3128973"/>
                <a:gd name="connsiteY48" fmla="*/ 804862 h 1752600"/>
                <a:gd name="connsiteX49" fmla="*/ 2333625 w 3128973"/>
                <a:gd name="connsiteY49" fmla="*/ 819150 h 1752600"/>
                <a:gd name="connsiteX50" fmla="*/ 2338387 w 3128973"/>
                <a:gd name="connsiteY50" fmla="*/ 833437 h 1752600"/>
                <a:gd name="connsiteX51" fmla="*/ 2352675 w 3128973"/>
                <a:gd name="connsiteY51" fmla="*/ 847725 h 1752600"/>
                <a:gd name="connsiteX52" fmla="*/ 2395537 w 3128973"/>
                <a:gd name="connsiteY52" fmla="*/ 871537 h 1752600"/>
                <a:gd name="connsiteX53" fmla="*/ 2409825 w 3128973"/>
                <a:gd name="connsiteY53" fmla="*/ 890587 h 1752600"/>
                <a:gd name="connsiteX54" fmla="*/ 2424112 w 3128973"/>
                <a:gd name="connsiteY54" fmla="*/ 895350 h 1752600"/>
                <a:gd name="connsiteX55" fmla="*/ 2433637 w 3128973"/>
                <a:gd name="connsiteY55" fmla="*/ 914400 h 1752600"/>
                <a:gd name="connsiteX56" fmla="*/ 2466975 w 3128973"/>
                <a:gd name="connsiteY56" fmla="*/ 942975 h 1752600"/>
                <a:gd name="connsiteX57" fmla="*/ 2474637 w 3128973"/>
                <a:gd name="connsiteY57" fmla="*/ 954728 h 1752600"/>
                <a:gd name="connsiteX58" fmla="*/ 2495550 w 3128973"/>
                <a:gd name="connsiteY58" fmla="*/ 971550 h 1752600"/>
                <a:gd name="connsiteX59" fmla="*/ 2508776 w 3128973"/>
                <a:gd name="connsiteY59" fmla="*/ 983894 h 1752600"/>
                <a:gd name="connsiteX60" fmla="*/ 2533650 w 3128973"/>
                <a:gd name="connsiteY60" fmla="*/ 1000125 h 1752600"/>
                <a:gd name="connsiteX61" fmla="*/ 2547937 w 3128973"/>
                <a:gd name="connsiteY61" fmla="*/ 1028700 h 1752600"/>
                <a:gd name="connsiteX62" fmla="*/ 2552700 w 3128973"/>
                <a:gd name="connsiteY62" fmla="*/ 1042987 h 1752600"/>
                <a:gd name="connsiteX63" fmla="*/ 2576512 w 3128973"/>
                <a:gd name="connsiteY63" fmla="*/ 1071562 h 1752600"/>
                <a:gd name="connsiteX64" fmla="*/ 2584921 w 3128973"/>
                <a:gd name="connsiteY64" fmla="*/ 1082873 h 1752600"/>
                <a:gd name="connsiteX65" fmla="*/ 2600325 w 3128973"/>
                <a:gd name="connsiteY65" fmla="*/ 1095375 h 1752600"/>
                <a:gd name="connsiteX66" fmla="*/ 2609850 w 3128973"/>
                <a:gd name="connsiteY66" fmla="*/ 1109662 h 1752600"/>
                <a:gd name="connsiteX67" fmla="*/ 2652712 w 3128973"/>
                <a:gd name="connsiteY67" fmla="*/ 1143000 h 1752600"/>
                <a:gd name="connsiteX68" fmla="*/ 2681287 w 3128973"/>
                <a:gd name="connsiteY68" fmla="*/ 1152525 h 1752600"/>
                <a:gd name="connsiteX69" fmla="*/ 2700337 w 3128973"/>
                <a:gd name="connsiteY69" fmla="*/ 1162050 h 1752600"/>
                <a:gd name="connsiteX70" fmla="*/ 2714625 w 3128973"/>
                <a:gd name="connsiteY70" fmla="*/ 1171575 h 1752600"/>
                <a:gd name="connsiteX71" fmla="*/ 2752725 w 3128973"/>
                <a:gd name="connsiteY71" fmla="*/ 1181100 h 1752600"/>
                <a:gd name="connsiteX72" fmla="*/ 2767012 w 3128973"/>
                <a:gd name="connsiteY72" fmla="*/ 1195387 h 1752600"/>
                <a:gd name="connsiteX73" fmla="*/ 2781300 w 3128973"/>
                <a:gd name="connsiteY73" fmla="*/ 1200150 h 1752600"/>
                <a:gd name="connsiteX74" fmla="*/ 2795587 w 3128973"/>
                <a:gd name="connsiteY74" fmla="*/ 1209675 h 1752600"/>
                <a:gd name="connsiteX75" fmla="*/ 2805112 w 3128973"/>
                <a:gd name="connsiteY75" fmla="*/ 1223962 h 1752600"/>
                <a:gd name="connsiteX76" fmla="*/ 2809875 w 3128973"/>
                <a:gd name="connsiteY76" fmla="*/ 1238250 h 1752600"/>
                <a:gd name="connsiteX77" fmla="*/ 2833687 w 3128973"/>
                <a:gd name="connsiteY77" fmla="*/ 1276350 h 1752600"/>
                <a:gd name="connsiteX78" fmla="*/ 2895600 w 3128973"/>
                <a:gd name="connsiteY78" fmla="*/ 1333500 h 1752600"/>
                <a:gd name="connsiteX79" fmla="*/ 2900362 w 3128973"/>
                <a:gd name="connsiteY79" fmla="*/ 1352550 h 1752600"/>
                <a:gd name="connsiteX80" fmla="*/ 2928937 w 3128973"/>
                <a:gd name="connsiteY80" fmla="*/ 1395412 h 1752600"/>
                <a:gd name="connsiteX81" fmla="*/ 2943225 w 3128973"/>
                <a:gd name="connsiteY81" fmla="*/ 1404937 h 1752600"/>
                <a:gd name="connsiteX82" fmla="*/ 2957512 w 3128973"/>
                <a:gd name="connsiteY82" fmla="*/ 1419225 h 1752600"/>
                <a:gd name="connsiteX83" fmla="*/ 2986087 w 3128973"/>
                <a:gd name="connsiteY83" fmla="*/ 1443037 h 1752600"/>
                <a:gd name="connsiteX84" fmla="*/ 3000375 w 3128973"/>
                <a:gd name="connsiteY84" fmla="*/ 1462087 h 1752600"/>
                <a:gd name="connsiteX85" fmla="*/ 3016395 w 3128973"/>
                <a:gd name="connsiteY85" fmla="*/ 1476222 h 1752600"/>
                <a:gd name="connsiteX86" fmla="*/ 3028950 w 3128973"/>
                <a:gd name="connsiteY86" fmla="*/ 1495425 h 1752600"/>
                <a:gd name="connsiteX87" fmla="*/ 3043237 w 3128973"/>
                <a:gd name="connsiteY87" fmla="*/ 1552575 h 1752600"/>
                <a:gd name="connsiteX88" fmla="*/ 3052762 w 3128973"/>
                <a:gd name="connsiteY88" fmla="*/ 1566862 h 1752600"/>
                <a:gd name="connsiteX89" fmla="*/ 3057525 w 3128973"/>
                <a:gd name="connsiteY89" fmla="*/ 1581150 h 1752600"/>
                <a:gd name="connsiteX90" fmla="*/ 3067050 w 3128973"/>
                <a:gd name="connsiteY90" fmla="*/ 1662112 h 1752600"/>
                <a:gd name="connsiteX91" fmla="*/ 3071812 w 3128973"/>
                <a:gd name="connsiteY91" fmla="*/ 1676400 h 1752600"/>
                <a:gd name="connsiteX92" fmla="*/ 3100387 w 3128973"/>
                <a:gd name="connsiteY92" fmla="*/ 1690687 h 1752600"/>
                <a:gd name="connsiteX93" fmla="*/ 3114675 w 3128973"/>
                <a:gd name="connsiteY93" fmla="*/ 1685925 h 1752600"/>
                <a:gd name="connsiteX94" fmla="*/ 3124200 w 3128973"/>
                <a:gd name="connsiteY94" fmla="*/ 1671637 h 1752600"/>
                <a:gd name="connsiteX95" fmla="*/ 3128973 w 3128973"/>
                <a:gd name="connsiteY95" fmla="*/ 1651467 h 1752600"/>
                <a:gd name="connsiteX96" fmla="*/ 3128021 w 3128973"/>
                <a:gd name="connsiteY96" fmla="*/ 1710279 h 1752600"/>
                <a:gd name="connsiteX97" fmla="*/ 3043237 w 3128973"/>
                <a:gd name="connsiteY97" fmla="*/ 1714500 h 1752600"/>
                <a:gd name="connsiteX98" fmla="*/ 3028950 w 3128973"/>
                <a:gd name="connsiteY98" fmla="*/ 1728787 h 1752600"/>
                <a:gd name="connsiteX99" fmla="*/ 2986087 w 3128973"/>
                <a:gd name="connsiteY99" fmla="*/ 1738312 h 1752600"/>
                <a:gd name="connsiteX100" fmla="*/ 2971800 w 3128973"/>
                <a:gd name="connsiteY100" fmla="*/ 1743075 h 1752600"/>
                <a:gd name="connsiteX101" fmla="*/ 2943225 w 3128973"/>
                <a:gd name="connsiteY101" fmla="*/ 1738312 h 1752600"/>
                <a:gd name="connsiteX102" fmla="*/ 2928937 w 3128973"/>
                <a:gd name="connsiteY102" fmla="*/ 1747837 h 1752600"/>
                <a:gd name="connsiteX103" fmla="*/ 2914650 w 3128973"/>
                <a:gd name="connsiteY103" fmla="*/ 1752600 h 1752600"/>
                <a:gd name="connsiteX104" fmla="*/ 2895600 w 3128973"/>
                <a:gd name="connsiteY104" fmla="*/ 1724025 h 1752600"/>
                <a:gd name="connsiteX105" fmla="*/ 2883310 w 3128973"/>
                <a:gd name="connsiteY105" fmla="*/ 1701201 h 1752600"/>
                <a:gd name="connsiteX106" fmla="*/ 2883805 w 3128973"/>
                <a:gd name="connsiteY106" fmla="*/ 1696138 h 1752600"/>
                <a:gd name="connsiteX107" fmla="*/ 2871787 w 3128973"/>
                <a:gd name="connsiteY107" fmla="*/ 1685925 h 1752600"/>
                <a:gd name="connsiteX108" fmla="*/ 2847975 w 3128973"/>
                <a:gd name="connsiteY108" fmla="*/ 1657350 h 1752600"/>
                <a:gd name="connsiteX109" fmla="*/ 2834034 w 3128973"/>
                <a:gd name="connsiteY109" fmla="*/ 1637762 h 1752600"/>
                <a:gd name="connsiteX110" fmla="*/ 2814637 w 3128973"/>
                <a:gd name="connsiteY110" fmla="*/ 1619250 h 1752600"/>
                <a:gd name="connsiteX111" fmla="*/ 2809875 w 3128973"/>
                <a:gd name="connsiteY111" fmla="*/ 1604962 h 1752600"/>
                <a:gd name="connsiteX112" fmla="*/ 2795587 w 3128973"/>
                <a:gd name="connsiteY112" fmla="*/ 1600200 h 1752600"/>
                <a:gd name="connsiteX113" fmla="*/ 2781300 w 3128973"/>
                <a:gd name="connsiteY113" fmla="*/ 1590675 h 1752600"/>
                <a:gd name="connsiteX114" fmla="*/ 2752725 w 3128973"/>
                <a:gd name="connsiteY114" fmla="*/ 1581150 h 1752600"/>
                <a:gd name="connsiteX115" fmla="*/ 2733675 w 3128973"/>
                <a:gd name="connsiteY115" fmla="*/ 1625600 h 1752600"/>
                <a:gd name="connsiteX116" fmla="*/ 2709862 w 3128973"/>
                <a:gd name="connsiteY116" fmla="*/ 1619250 h 1752600"/>
                <a:gd name="connsiteX117" fmla="*/ 2723566 w 3128973"/>
                <a:gd name="connsiteY117" fmla="*/ 1590361 h 1752600"/>
                <a:gd name="connsiteX118" fmla="*/ 2674937 w 3128973"/>
                <a:gd name="connsiteY118" fmla="*/ 1560512 h 1752600"/>
                <a:gd name="connsiteX119" fmla="*/ 2643187 w 3128973"/>
                <a:gd name="connsiteY119" fmla="*/ 1495425 h 1752600"/>
                <a:gd name="connsiteX120" fmla="*/ 2628900 w 3128973"/>
                <a:gd name="connsiteY120" fmla="*/ 1490662 h 1752600"/>
                <a:gd name="connsiteX121" fmla="*/ 2595562 w 3128973"/>
                <a:gd name="connsiteY121" fmla="*/ 1481137 h 1752600"/>
                <a:gd name="connsiteX122" fmla="*/ 2581275 w 3128973"/>
                <a:gd name="connsiteY122" fmla="*/ 1466850 h 1752600"/>
                <a:gd name="connsiteX123" fmla="*/ 2552700 w 3128973"/>
                <a:gd name="connsiteY123" fmla="*/ 1457325 h 1752600"/>
                <a:gd name="connsiteX124" fmla="*/ 2538412 w 3128973"/>
                <a:gd name="connsiteY124" fmla="*/ 1447800 h 1752600"/>
                <a:gd name="connsiteX125" fmla="*/ 2519362 w 3128973"/>
                <a:gd name="connsiteY125" fmla="*/ 1443037 h 1752600"/>
                <a:gd name="connsiteX126" fmla="*/ 2490787 w 3128973"/>
                <a:gd name="connsiteY126" fmla="*/ 1433512 h 1752600"/>
                <a:gd name="connsiteX127" fmla="*/ 2476500 w 3128973"/>
                <a:gd name="connsiteY127" fmla="*/ 1428750 h 1752600"/>
                <a:gd name="connsiteX128" fmla="*/ 2466975 w 3128973"/>
                <a:gd name="connsiteY128" fmla="*/ 1414462 h 1752600"/>
                <a:gd name="connsiteX129" fmla="*/ 2447925 w 3128973"/>
                <a:gd name="connsiteY129" fmla="*/ 1409700 h 1752600"/>
                <a:gd name="connsiteX130" fmla="*/ 2309812 w 3128973"/>
                <a:gd name="connsiteY130" fmla="*/ 1395412 h 1752600"/>
                <a:gd name="connsiteX131" fmla="*/ 2295525 w 3128973"/>
                <a:gd name="connsiteY131" fmla="*/ 1390650 h 1752600"/>
                <a:gd name="connsiteX132" fmla="*/ 2257425 w 3128973"/>
                <a:gd name="connsiteY132" fmla="*/ 1381125 h 1752600"/>
                <a:gd name="connsiteX133" fmla="*/ 2238375 w 3128973"/>
                <a:gd name="connsiteY133" fmla="*/ 1366837 h 1752600"/>
                <a:gd name="connsiteX134" fmla="*/ 2224087 w 3128973"/>
                <a:gd name="connsiteY134" fmla="*/ 1362075 h 1752600"/>
                <a:gd name="connsiteX135" fmla="*/ 2176462 w 3128973"/>
                <a:gd name="connsiteY135" fmla="*/ 1338262 h 1752600"/>
                <a:gd name="connsiteX136" fmla="*/ 2162175 w 3128973"/>
                <a:gd name="connsiteY136" fmla="*/ 1328737 h 1752600"/>
                <a:gd name="connsiteX137" fmla="*/ 2114550 w 3128973"/>
                <a:gd name="connsiteY137" fmla="*/ 1314450 h 1752600"/>
                <a:gd name="connsiteX138" fmla="*/ 2100262 w 3128973"/>
                <a:gd name="connsiteY138" fmla="*/ 1300162 h 1752600"/>
                <a:gd name="connsiteX139" fmla="*/ 2085975 w 3128973"/>
                <a:gd name="connsiteY139" fmla="*/ 1295400 h 1752600"/>
                <a:gd name="connsiteX140" fmla="*/ 2055019 w 3128973"/>
                <a:gd name="connsiteY140" fmla="*/ 1290637 h 1752600"/>
                <a:gd name="connsiteX141" fmla="*/ 2028824 w 3128973"/>
                <a:gd name="connsiteY141" fmla="*/ 1283494 h 1752600"/>
                <a:gd name="connsiteX142" fmla="*/ 2005012 w 3128973"/>
                <a:gd name="connsiteY142" fmla="*/ 1271587 h 1752600"/>
                <a:gd name="connsiteX143" fmla="*/ 1985962 w 3128973"/>
                <a:gd name="connsiteY143" fmla="*/ 1262062 h 1752600"/>
                <a:gd name="connsiteX144" fmla="*/ 1971675 w 3128973"/>
                <a:gd name="connsiteY144" fmla="*/ 1257300 h 1752600"/>
                <a:gd name="connsiteX145" fmla="*/ 1943100 w 3128973"/>
                <a:gd name="connsiteY145" fmla="*/ 1238250 h 1752600"/>
                <a:gd name="connsiteX146" fmla="*/ 1914525 w 3128973"/>
                <a:gd name="connsiteY146" fmla="*/ 1219200 h 1752600"/>
                <a:gd name="connsiteX147" fmla="*/ 1885950 w 3128973"/>
                <a:gd name="connsiteY147" fmla="*/ 1209675 h 1752600"/>
                <a:gd name="connsiteX148" fmla="*/ 1843087 w 3128973"/>
                <a:gd name="connsiteY148" fmla="*/ 1195387 h 1752600"/>
                <a:gd name="connsiteX149" fmla="*/ 1757362 w 3128973"/>
                <a:gd name="connsiteY149" fmla="*/ 1185862 h 1752600"/>
                <a:gd name="connsiteX150" fmla="*/ 1700212 w 3128973"/>
                <a:gd name="connsiteY150" fmla="*/ 1166812 h 1752600"/>
                <a:gd name="connsiteX151" fmla="*/ 1671637 w 3128973"/>
                <a:gd name="connsiteY151" fmla="*/ 1147762 h 1752600"/>
                <a:gd name="connsiteX152" fmla="*/ 1652587 w 3128973"/>
                <a:gd name="connsiteY152" fmla="*/ 1138237 h 1752600"/>
                <a:gd name="connsiteX153" fmla="*/ 1638300 w 3128973"/>
                <a:gd name="connsiteY153" fmla="*/ 1128712 h 1752600"/>
                <a:gd name="connsiteX154" fmla="*/ 1590675 w 3128973"/>
                <a:gd name="connsiteY154" fmla="*/ 1138238 h 1752600"/>
                <a:gd name="connsiteX155" fmla="*/ 1559719 w 3128973"/>
                <a:gd name="connsiteY155" fmla="*/ 1109662 h 1752600"/>
                <a:gd name="connsiteX156" fmla="*/ 1528762 w 3128973"/>
                <a:gd name="connsiteY156" fmla="*/ 1085850 h 1752600"/>
                <a:gd name="connsiteX157" fmla="*/ 1514475 w 3128973"/>
                <a:gd name="connsiteY157" fmla="*/ 1081087 h 1752600"/>
                <a:gd name="connsiteX158" fmla="*/ 1470025 w 3128973"/>
                <a:gd name="connsiteY158" fmla="*/ 1130300 h 1752600"/>
                <a:gd name="connsiteX159" fmla="*/ 1433512 w 3128973"/>
                <a:gd name="connsiteY159" fmla="*/ 1108075 h 1752600"/>
                <a:gd name="connsiteX160" fmla="*/ 1423987 w 3128973"/>
                <a:gd name="connsiteY160" fmla="*/ 1087437 h 1752600"/>
                <a:gd name="connsiteX161" fmla="*/ 1381125 w 3128973"/>
                <a:gd name="connsiteY161" fmla="*/ 1095375 h 1752600"/>
                <a:gd name="connsiteX162" fmla="*/ 1383506 w 3128973"/>
                <a:gd name="connsiteY162" fmla="*/ 1028700 h 1752600"/>
                <a:gd name="connsiteX163" fmla="*/ 1366838 w 3128973"/>
                <a:gd name="connsiteY163" fmla="*/ 1019175 h 1752600"/>
                <a:gd name="connsiteX164" fmla="*/ 1335881 w 3128973"/>
                <a:gd name="connsiteY164" fmla="*/ 1007268 h 1752600"/>
                <a:gd name="connsiteX165" fmla="*/ 1319213 w 3128973"/>
                <a:gd name="connsiteY165" fmla="*/ 1007268 h 1752600"/>
                <a:gd name="connsiteX166" fmla="*/ 1295400 w 3128973"/>
                <a:gd name="connsiteY166" fmla="*/ 976312 h 1752600"/>
                <a:gd name="connsiteX167" fmla="*/ 1281112 w 3128973"/>
                <a:gd name="connsiteY167" fmla="*/ 966787 h 1752600"/>
                <a:gd name="connsiteX168" fmla="*/ 1238250 w 3128973"/>
                <a:gd name="connsiteY168" fmla="*/ 947737 h 1752600"/>
                <a:gd name="connsiteX169" fmla="*/ 1212850 w 3128973"/>
                <a:gd name="connsiteY169" fmla="*/ 995362 h 1752600"/>
                <a:gd name="connsiteX170" fmla="*/ 1201737 w 3128973"/>
                <a:gd name="connsiteY170" fmla="*/ 987425 h 1752600"/>
                <a:gd name="connsiteX171" fmla="*/ 1163637 w 3128973"/>
                <a:gd name="connsiteY171" fmla="*/ 952277 h 1752600"/>
                <a:gd name="connsiteX172" fmla="*/ 1133475 w 3128973"/>
                <a:gd name="connsiteY172" fmla="*/ 925512 h 1752600"/>
                <a:gd name="connsiteX173" fmla="*/ 1085850 w 3128973"/>
                <a:gd name="connsiteY173" fmla="*/ 859631 h 1752600"/>
                <a:gd name="connsiteX174" fmla="*/ 1071562 w 3128973"/>
                <a:gd name="connsiteY174" fmla="*/ 842962 h 1752600"/>
                <a:gd name="connsiteX175" fmla="*/ 1047750 w 3128973"/>
                <a:gd name="connsiteY175" fmla="*/ 819150 h 1752600"/>
                <a:gd name="connsiteX176" fmla="*/ 1028700 w 3128973"/>
                <a:gd name="connsiteY176" fmla="*/ 804862 h 1752600"/>
                <a:gd name="connsiteX177" fmla="*/ 1018076 w 3128973"/>
                <a:gd name="connsiteY177" fmla="*/ 794816 h 1752600"/>
                <a:gd name="connsiteX178" fmla="*/ 1000125 w 3128973"/>
                <a:gd name="connsiteY178" fmla="*/ 785812 h 1752600"/>
                <a:gd name="connsiteX179" fmla="*/ 984342 w 3128973"/>
                <a:gd name="connsiteY179" fmla="*/ 773578 h 1752600"/>
                <a:gd name="connsiteX180" fmla="*/ 957262 w 3128973"/>
                <a:gd name="connsiteY180" fmla="*/ 766762 h 1752600"/>
                <a:gd name="connsiteX181" fmla="*/ 938212 w 3128973"/>
                <a:gd name="connsiteY181" fmla="*/ 757237 h 1752600"/>
                <a:gd name="connsiteX182" fmla="*/ 904875 w 3128973"/>
                <a:gd name="connsiteY182" fmla="*/ 747712 h 1752600"/>
                <a:gd name="connsiteX183" fmla="*/ 862012 w 3128973"/>
                <a:gd name="connsiteY183" fmla="*/ 723900 h 1752600"/>
                <a:gd name="connsiteX184" fmla="*/ 795337 w 3128973"/>
                <a:gd name="connsiteY184" fmla="*/ 685800 h 1752600"/>
                <a:gd name="connsiteX185" fmla="*/ 776287 w 3128973"/>
                <a:gd name="connsiteY185" fmla="*/ 666750 h 1752600"/>
                <a:gd name="connsiteX186" fmla="*/ 762000 w 3128973"/>
                <a:gd name="connsiteY186" fmla="*/ 661987 h 1752600"/>
                <a:gd name="connsiteX187" fmla="*/ 742950 w 3128973"/>
                <a:gd name="connsiteY187" fmla="*/ 647700 h 1752600"/>
                <a:gd name="connsiteX188" fmla="*/ 709612 w 3128973"/>
                <a:gd name="connsiteY188" fmla="*/ 638175 h 1752600"/>
                <a:gd name="connsiteX189" fmla="*/ 695325 w 3128973"/>
                <a:gd name="connsiteY189" fmla="*/ 628650 h 1752600"/>
                <a:gd name="connsiteX190" fmla="*/ 681037 w 3128973"/>
                <a:gd name="connsiteY190" fmla="*/ 623887 h 1752600"/>
                <a:gd name="connsiteX191" fmla="*/ 676275 w 3128973"/>
                <a:gd name="connsiteY191" fmla="*/ 604837 h 1752600"/>
                <a:gd name="connsiteX192" fmla="*/ 666750 w 3128973"/>
                <a:gd name="connsiteY192" fmla="*/ 576262 h 1752600"/>
                <a:gd name="connsiteX193" fmla="*/ 661987 w 3128973"/>
                <a:gd name="connsiteY193" fmla="*/ 561975 h 1752600"/>
                <a:gd name="connsiteX194" fmla="*/ 666750 w 3128973"/>
                <a:gd name="connsiteY194" fmla="*/ 538162 h 1752600"/>
                <a:gd name="connsiteX195" fmla="*/ 638175 w 3128973"/>
                <a:gd name="connsiteY195" fmla="*/ 514350 h 1752600"/>
                <a:gd name="connsiteX196" fmla="*/ 619125 w 3128973"/>
                <a:gd name="connsiteY196" fmla="*/ 500062 h 1752600"/>
                <a:gd name="connsiteX197" fmla="*/ 576262 w 3128973"/>
                <a:gd name="connsiteY197" fmla="*/ 490537 h 1752600"/>
                <a:gd name="connsiteX198" fmla="*/ 542925 w 3128973"/>
                <a:gd name="connsiteY198" fmla="*/ 452437 h 1752600"/>
                <a:gd name="connsiteX199" fmla="*/ 525462 w 3128973"/>
                <a:gd name="connsiteY199" fmla="*/ 485775 h 1752600"/>
                <a:gd name="connsiteX200" fmla="*/ 504825 w 3128973"/>
                <a:gd name="connsiteY200" fmla="*/ 466725 h 1752600"/>
                <a:gd name="connsiteX201" fmla="*/ 454025 w 3128973"/>
                <a:gd name="connsiteY201" fmla="*/ 466725 h 1752600"/>
                <a:gd name="connsiteX202" fmla="*/ 407987 w 3128973"/>
                <a:gd name="connsiteY202" fmla="*/ 473075 h 1752600"/>
                <a:gd name="connsiteX203" fmla="*/ 395287 w 3128973"/>
                <a:gd name="connsiteY203" fmla="*/ 409575 h 1752600"/>
                <a:gd name="connsiteX204" fmla="*/ 376237 w 3128973"/>
                <a:gd name="connsiteY204" fmla="*/ 404812 h 1752600"/>
                <a:gd name="connsiteX205" fmla="*/ 342900 w 3128973"/>
                <a:gd name="connsiteY205" fmla="*/ 400050 h 1752600"/>
                <a:gd name="connsiteX206" fmla="*/ 314325 w 3128973"/>
                <a:gd name="connsiteY206" fmla="*/ 390525 h 1752600"/>
                <a:gd name="connsiteX207" fmla="*/ 273844 w 3128973"/>
                <a:gd name="connsiteY207" fmla="*/ 383382 h 1752600"/>
                <a:gd name="connsiteX208" fmla="*/ 257175 w 3128973"/>
                <a:gd name="connsiteY208" fmla="*/ 371475 h 1752600"/>
                <a:gd name="connsiteX209" fmla="*/ 245269 w 3128973"/>
                <a:gd name="connsiteY209" fmla="*/ 364331 h 1752600"/>
                <a:gd name="connsiteX210" fmla="*/ 223837 w 3128973"/>
                <a:gd name="connsiteY210" fmla="*/ 347662 h 1752600"/>
                <a:gd name="connsiteX211" fmla="*/ 190500 w 3128973"/>
                <a:gd name="connsiteY211" fmla="*/ 338137 h 1752600"/>
                <a:gd name="connsiteX212" fmla="*/ 147637 w 3128973"/>
                <a:gd name="connsiteY212" fmla="*/ 333375 h 1752600"/>
                <a:gd name="connsiteX213" fmla="*/ 119062 w 3128973"/>
                <a:gd name="connsiteY213" fmla="*/ 323850 h 1752600"/>
                <a:gd name="connsiteX214" fmla="*/ 104775 w 3128973"/>
                <a:gd name="connsiteY214" fmla="*/ 319087 h 1752600"/>
                <a:gd name="connsiteX215" fmla="*/ 61912 w 3128973"/>
                <a:gd name="connsiteY215" fmla="*/ 300037 h 1752600"/>
                <a:gd name="connsiteX216" fmla="*/ 23812 w 3128973"/>
                <a:gd name="connsiteY216" fmla="*/ 290512 h 1752600"/>
                <a:gd name="connsiteX217" fmla="*/ 9525 w 3128973"/>
                <a:gd name="connsiteY217" fmla="*/ 261937 h 1752600"/>
                <a:gd name="connsiteX218" fmla="*/ 0 w 3128973"/>
                <a:gd name="connsiteY218" fmla="*/ 290512 h 1752600"/>
                <a:gd name="connsiteX219" fmla="*/ 4762 w 3128973"/>
                <a:gd name="connsiteY219" fmla="*/ 247650 h 1752600"/>
                <a:gd name="connsiteX220" fmla="*/ 19050 w 3128973"/>
                <a:gd name="connsiteY220" fmla="*/ 200025 h 1752600"/>
                <a:gd name="connsiteX221" fmla="*/ 23812 w 3128973"/>
                <a:gd name="connsiteY221" fmla="*/ 185737 h 1752600"/>
                <a:gd name="connsiteX222" fmla="*/ 71437 w 3128973"/>
                <a:gd name="connsiteY222" fmla="*/ 171450 h 1752600"/>
                <a:gd name="connsiteX223" fmla="*/ 85725 w 3128973"/>
                <a:gd name="connsiteY223" fmla="*/ 166687 h 1752600"/>
                <a:gd name="connsiteX224" fmla="*/ 100012 w 3128973"/>
                <a:gd name="connsiteY224" fmla="*/ 161925 h 1752600"/>
                <a:gd name="connsiteX225" fmla="*/ 114300 w 3128973"/>
                <a:gd name="connsiteY225" fmla="*/ 152400 h 1752600"/>
                <a:gd name="connsiteX226" fmla="*/ 133350 w 3128973"/>
                <a:gd name="connsiteY226" fmla="*/ 123825 h 1752600"/>
                <a:gd name="connsiteX227" fmla="*/ 138112 w 3128973"/>
                <a:gd name="connsiteY227" fmla="*/ 109537 h 1752600"/>
                <a:gd name="connsiteX228" fmla="*/ 135467 w 3128973"/>
                <a:gd name="connsiteY228" fmla="*/ 97059 h 1752600"/>
                <a:gd name="connsiteX229" fmla="*/ 142875 w 3128973"/>
                <a:gd name="connsiteY229" fmla="*/ 71437 h 1752600"/>
                <a:gd name="connsiteX230" fmla="*/ 157162 w 3128973"/>
                <a:gd name="connsiteY230" fmla="*/ 57150 h 1752600"/>
                <a:gd name="connsiteX231" fmla="*/ 200025 w 3128973"/>
                <a:gd name="connsiteY231" fmla="*/ 33337 h 1752600"/>
                <a:gd name="connsiteX232" fmla="*/ 309562 w 3128973"/>
                <a:gd name="connsiteY232" fmla="*/ 28575 h 1752600"/>
                <a:gd name="connsiteX233" fmla="*/ 400050 w 3128973"/>
                <a:gd name="connsiteY233" fmla="*/ 14287 h 1752600"/>
                <a:gd name="connsiteX234" fmla="*/ 414337 w 3128973"/>
                <a:gd name="connsiteY234" fmla="*/ 9525 h 1752600"/>
                <a:gd name="connsiteX235" fmla="*/ 481012 w 3128973"/>
                <a:gd name="connsiteY235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088356 w 3128973"/>
                <a:gd name="connsiteY22" fmla="*/ 178467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046801 w 3128973"/>
                <a:gd name="connsiteY25" fmla="*/ 262295 h 1752600"/>
                <a:gd name="connsiteX26" fmla="*/ 2033587 w 3128973"/>
                <a:gd name="connsiteY26" fmla="*/ 266700 h 1752600"/>
                <a:gd name="connsiteX27" fmla="*/ 2019300 w 3128973"/>
                <a:gd name="connsiteY27" fmla="*/ 280987 h 1752600"/>
                <a:gd name="connsiteX28" fmla="*/ 1990725 w 3128973"/>
                <a:gd name="connsiteY28" fmla="*/ 300037 h 1752600"/>
                <a:gd name="connsiteX29" fmla="*/ 1981200 w 3128973"/>
                <a:gd name="connsiteY29" fmla="*/ 314325 h 1752600"/>
                <a:gd name="connsiteX30" fmla="*/ 1981200 w 3128973"/>
                <a:gd name="connsiteY30" fmla="*/ 419100 h 1752600"/>
                <a:gd name="connsiteX31" fmla="*/ 1985962 w 3128973"/>
                <a:gd name="connsiteY31" fmla="*/ 433387 h 1752600"/>
                <a:gd name="connsiteX32" fmla="*/ 2000250 w 3128973"/>
                <a:gd name="connsiteY32" fmla="*/ 442912 h 1752600"/>
                <a:gd name="connsiteX33" fmla="*/ 2005012 w 3128973"/>
                <a:gd name="connsiteY33" fmla="*/ 457200 h 1752600"/>
                <a:gd name="connsiteX34" fmla="*/ 2005012 w 3128973"/>
                <a:gd name="connsiteY34" fmla="*/ 561975 h 1752600"/>
                <a:gd name="connsiteX35" fmla="*/ 2009775 w 3128973"/>
                <a:gd name="connsiteY35" fmla="*/ 576262 h 1752600"/>
                <a:gd name="connsiteX36" fmla="*/ 2024062 w 3128973"/>
                <a:gd name="connsiteY36" fmla="*/ 581025 h 1752600"/>
                <a:gd name="connsiteX37" fmla="*/ 2038350 w 3128973"/>
                <a:gd name="connsiteY37" fmla="*/ 595312 h 1752600"/>
                <a:gd name="connsiteX38" fmla="*/ 2052637 w 3128973"/>
                <a:gd name="connsiteY38" fmla="*/ 600075 h 1752600"/>
                <a:gd name="connsiteX39" fmla="*/ 2133600 w 3128973"/>
                <a:gd name="connsiteY39" fmla="*/ 590550 h 1752600"/>
                <a:gd name="connsiteX40" fmla="*/ 2147887 w 3128973"/>
                <a:gd name="connsiteY40" fmla="*/ 585787 h 1752600"/>
                <a:gd name="connsiteX41" fmla="*/ 2195512 w 3128973"/>
                <a:gd name="connsiteY41" fmla="*/ 600075 h 1752600"/>
                <a:gd name="connsiteX42" fmla="*/ 2205037 w 3128973"/>
                <a:gd name="connsiteY42" fmla="*/ 614362 h 1752600"/>
                <a:gd name="connsiteX43" fmla="*/ 2219325 w 3128973"/>
                <a:gd name="connsiteY43" fmla="*/ 628650 h 1752600"/>
                <a:gd name="connsiteX44" fmla="*/ 2224087 w 3128973"/>
                <a:gd name="connsiteY44" fmla="*/ 642937 h 1752600"/>
                <a:gd name="connsiteX45" fmla="*/ 2233612 w 3128973"/>
                <a:gd name="connsiteY45" fmla="*/ 657225 h 1752600"/>
                <a:gd name="connsiteX46" fmla="*/ 2247900 w 3128973"/>
                <a:gd name="connsiteY46" fmla="*/ 685800 h 1752600"/>
                <a:gd name="connsiteX47" fmla="*/ 2262187 w 3128973"/>
                <a:gd name="connsiteY47" fmla="*/ 733425 h 1752600"/>
                <a:gd name="connsiteX48" fmla="*/ 2305050 w 3128973"/>
                <a:gd name="connsiteY48" fmla="*/ 771525 h 1752600"/>
                <a:gd name="connsiteX49" fmla="*/ 2319337 w 3128973"/>
                <a:gd name="connsiteY49" fmla="*/ 804862 h 1752600"/>
                <a:gd name="connsiteX50" fmla="*/ 2333625 w 3128973"/>
                <a:gd name="connsiteY50" fmla="*/ 819150 h 1752600"/>
                <a:gd name="connsiteX51" fmla="*/ 2338387 w 3128973"/>
                <a:gd name="connsiteY51" fmla="*/ 833437 h 1752600"/>
                <a:gd name="connsiteX52" fmla="*/ 2352675 w 3128973"/>
                <a:gd name="connsiteY52" fmla="*/ 847725 h 1752600"/>
                <a:gd name="connsiteX53" fmla="*/ 2395537 w 3128973"/>
                <a:gd name="connsiteY53" fmla="*/ 871537 h 1752600"/>
                <a:gd name="connsiteX54" fmla="*/ 2409825 w 3128973"/>
                <a:gd name="connsiteY54" fmla="*/ 890587 h 1752600"/>
                <a:gd name="connsiteX55" fmla="*/ 2424112 w 3128973"/>
                <a:gd name="connsiteY55" fmla="*/ 895350 h 1752600"/>
                <a:gd name="connsiteX56" fmla="*/ 2433637 w 3128973"/>
                <a:gd name="connsiteY56" fmla="*/ 914400 h 1752600"/>
                <a:gd name="connsiteX57" fmla="*/ 2466975 w 3128973"/>
                <a:gd name="connsiteY57" fmla="*/ 942975 h 1752600"/>
                <a:gd name="connsiteX58" fmla="*/ 2474637 w 3128973"/>
                <a:gd name="connsiteY58" fmla="*/ 954728 h 1752600"/>
                <a:gd name="connsiteX59" fmla="*/ 2495550 w 3128973"/>
                <a:gd name="connsiteY59" fmla="*/ 971550 h 1752600"/>
                <a:gd name="connsiteX60" fmla="*/ 2508776 w 3128973"/>
                <a:gd name="connsiteY60" fmla="*/ 983894 h 1752600"/>
                <a:gd name="connsiteX61" fmla="*/ 2533650 w 3128973"/>
                <a:gd name="connsiteY61" fmla="*/ 1000125 h 1752600"/>
                <a:gd name="connsiteX62" fmla="*/ 2547937 w 3128973"/>
                <a:gd name="connsiteY62" fmla="*/ 1028700 h 1752600"/>
                <a:gd name="connsiteX63" fmla="*/ 2552700 w 3128973"/>
                <a:gd name="connsiteY63" fmla="*/ 1042987 h 1752600"/>
                <a:gd name="connsiteX64" fmla="*/ 2576512 w 3128973"/>
                <a:gd name="connsiteY64" fmla="*/ 1071562 h 1752600"/>
                <a:gd name="connsiteX65" fmla="*/ 2584921 w 3128973"/>
                <a:gd name="connsiteY65" fmla="*/ 1082873 h 1752600"/>
                <a:gd name="connsiteX66" fmla="*/ 2600325 w 3128973"/>
                <a:gd name="connsiteY66" fmla="*/ 1095375 h 1752600"/>
                <a:gd name="connsiteX67" fmla="*/ 2609850 w 3128973"/>
                <a:gd name="connsiteY67" fmla="*/ 1109662 h 1752600"/>
                <a:gd name="connsiteX68" fmla="*/ 2652712 w 3128973"/>
                <a:gd name="connsiteY68" fmla="*/ 1143000 h 1752600"/>
                <a:gd name="connsiteX69" fmla="*/ 2681287 w 3128973"/>
                <a:gd name="connsiteY69" fmla="*/ 1152525 h 1752600"/>
                <a:gd name="connsiteX70" fmla="*/ 2700337 w 3128973"/>
                <a:gd name="connsiteY70" fmla="*/ 1162050 h 1752600"/>
                <a:gd name="connsiteX71" fmla="*/ 2714625 w 3128973"/>
                <a:gd name="connsiteY71" fmla="*/ 1171575 h 1752600"/>
                <a:gd name="connsiteX72" fmla="*/ 2752725 w 3128973"/>
                <a:gd name="connsiteY72" fmla="*/ 1181100 h 1752600"/>
                <a:gd name="connsiteX73" fmla="*/ 2767012 w 3128973"/>
                <a:gd name="connsiteY73" fmla="*/ 1195387 h 1752600"/>
                <a:gd name="connsiteX74" fmla="*/ 2781300 w 3128973"/>
                <a:gd name="connsiteY74" fmla="*/ 1200150 h 1752600"/>
                <a:gd name="connsiteX75" fmla="*/ 2795587 w 3128973"/>
                <a:gd name="connsiteY75" fmla="*/ 1209675 h 1752600"/>
                <a:gd name="connsiteX76" fmla="*/ 2805112 w 3128973"/>
                <a:gd name="connsiteY76" fmla="*/ 1223962 h 1752600"/>
                <a:gd name="connsiteX77" fmla="*/ 2809875 w 3128973"/>
                <a:gd name="connsiteY77" fmla="*/ 1238250 h 1752600"/>
                <a:gd name="connsiteX78" fmla="*/ 2833687 w 3128973"/>
                <a:gd name="connsiteY78" fmla="*/ 1276350 h 1752600"/>
                <a:gd name="connsiteX79" fmla="*/ 2895600 w 3128973"/>
                <a:gd name="connsiteY79" fmla="*/ 1333500 h 1752600"/>
                <a:gd name="connsiteX80" fmla="*/ 2900362 w 3128973"/>
                <a:gd name="connsiteY80" fmla="*/ 1352550 h 1752600"/>
                <a:gd name="connsiteX81" fmla="*/ 2928937 w 3128973"/>
                <a:gd name="connsiteY81" fmla="*/ 1395412 h 1752600"/>
                <a:gd name="connsiteX82" fmla="*/ 2943225 w 3128973"/>
                <a:gd name="connsiteY82" fmla="*/ 1404937 h 1752600"/>
                <a:gd name="connsiteX83" fmla="*/ 2957512 w 3128973"/>
                <a:gd name="connsiteY83" fmla="*/ 1419225 h 1752600"/>
                <a:gd name="connsiteX84" fmla="*/ 2986087 w 3128973"/>
                <a:gd name="connsiteY84" fmla="*/ 1443037 h 1752600"/>
                <a:gd name="connsiteX85" fmla="*/ 3000375 w 3128973"/>
                <a:gd name="connsiteY85" fmla="*/ 1462087 h 1752600"/>
                <a:gd name="connsiteX86" fmla="*/ 3016395 w 3128973"/>
                <a:gd name="connsiteY86" fmla="*/ 1476222 h 1752600"/>
                <a:gd name="connsiteX87" fmla="*/ 3028950 w 3128973"/>
                <a:gd name="connsiteY87" fmla="*/ 1495425 h 1752600"/>
                <a:gd name="connsiteX88" fmla="*/ 3043237 w 3128973"/>
                <a:gd name="connsiteY88" fmla="*/ 1552575 h 1752600"/>
                <a:gd name="connsiteX89" fmla="*/ 3052762 w 3128973"/>
                <a:gd name="connsiteY89" fmla="*/ 1566862 h 1752600"/>
                <a:gd name="connsiteX90" fmla="*/ 3057525 w 3128973"/>
                <a:gd name="connsiteY90" fmla="*/ 1581150 h 1752600"/>
                <a:gd name="connsiteX91" fmla="*/ 3067050 w 3128973"/>
                <a:gd name="connsiteY91" fmla="*/ 1662112 h 1752600"/>
                <a:gd name="connsiteX92" fmla="*/ 3071812 w 3128973"/>
                <a:gd name="connsiteY92" fmla="*/ 1676400 h 1752600"/>
                <a:gd name="connsiteX93" fmla="*/ 3100387 w 3128973"/>
                <a:gd name="connsiteY93" fmla="*/ 1690687 h 1752600"/>
                <a:gd name="connsiteX94" fmla="*/ 3114675 w 3128973"/>
                <a:gd name="connsiteY94" fmla="*/ 1685925 h 1752600"/>
                <a:gd name="connsiteX95" fmla="*/ 3124200 w 3128973"/>
                <a:gd name="connsiteY95" fmla="*/ 1671637 h 1752600"/>
                <a:gd name="connsiteX96" fmla="*/ 3128973 w 3128973"/>
                <a:gd name="connsiteY96" fmla="*/ 1651467 h 1752600"/>
                <a:gd name="connsiteX97" fmla="*/ 3128021 w 3128973"/>
                <a:gd name="connsiteY97" fmla="*/ 1710279 h 1752600"/>
                <a:gd name="connsiteX98" fmla="*/ 3043237 w 3128973"/>
                <a:gd name="connsiteY98" fmla="*/ 1714500 h 1752600"/>
                <a:gd name="connsiteX99" fmla="*/ 3028950 w 3128973"/>
                <a:gd name="connsiteY99" fmla="*/ 1728787 h 1752600"/>
                <a:gd name="connsiteX100" fmla="*/ 2986087 w 3128973"/>
                <a:gd name="connsiteY100" fmla="*/ 1738312 h 1752600"/>
                <a:gd name="connsiteX101" fmla="*/ 2971800 w 3128973"/>
                <a:gd name="connsiteY101" fmla="*/ 1743075 h 1752600"/>
                <a:gd name="connsiteX102" fmla="*/ 2943225 w 3128973"/>
                <a:gd name="connsiteY102" fmla="*/ 1738312 h 1752600"/>
                <a:gd name="connsiteX103" fmla="*/ 2928937 w 3128973"/>
                <a:gd name="connsiteY103" fmla="*/ 1747837 h 1752600"/>
                <a:gd name="connsiteX104" fmla="*/ 2914650 w 3128973"/>
                <a:gd name="connsiteY104" fmla="*/ 1752600 h 1752600"/>
                <a:gd name="connsiteX105" fmla="*/ 2895600 w 3128973"/>
                <a:gd name="connsiteY105" fmla="*/ 1724025 h 1752600"/>
                <a:gd name="connsiteX106" fmla="*/ 2883310 w 3128973"/>
                <a:gd name="connsiteY106" fmla="*/ 1701201 h 1752600"/>
                <a:gd name="connsiteX107" fmla="*/ 2883805 w 3128973"/>
                <a:gd name="connsiteY107" fmla="*/ 1696138 h 1752600"/>
                <a:gd name="connsiteX108" fmla="*/ 2871787 w 3128973"/>
                <a:gd name="connsiteY108" fmla="*/ 1685925 h 1752600"/>
                <a:gd name="connsiteX109" fmla="*/ 2847975 w 3128973"/>
                <a:gd name="connsiteY109" fmla="*/ 1657350 h 1752600"/>
                <a:gd name="connsiteX110" fmla="*/ 2834034 w 3128973"/>
                <a:gd name="connsiteY110" fmla="*/ 1637762 h 1752600"/>
                <a:gd name="connsiteX111" fmla="*/ 2814637 w 3128973"/>
                <a:gd name="connsiteY111" fmla="*/ 1619250 h 1752600"/>
                <a:gd name="connsiteX112" fmla="*/ 2809875 w 3128973"/>
                <a:gd name="connsiteY112" fmla="*/ 1604962 h 1752600"/>
                <a:gd name="connsiteX113" fmla="*/ 2795587 w 3128973"/>
                <a:gd name="connsiteY113" fmla="*/ 1600200 h 1752600"/>
                <a:gd name="connsiteX114" fmla="*/ 2781300 w 3128973"/>
                <a:gd name="connsiteY114" fmla="*/ 1590675 h 1752600"/>
                <a:gd name="connsiteX115" fmla="*/ 2752725 w 3128973"/>
                <a:gd name="connsiteY115" fmla="*/ 1581150 h 1752600"/>
                <a:gd name="connsiteX116" fmla="*/ 2733675 w 3128973"/>
                <a:gd name="connsiteY116" fmla="*/ 1625600 h 1752600"/>
                <a:gd name="connsiteX117" fmla="*/ 2709862 w 3128973"/>
                <a:gd name="connsiteY117" fmla="*/ 1619250 h 1752600"/>
                <a:gd name="connsiteX118" fmla="*/ 2723566 w 3128973"/>
                <a:gd name="connsiteY118" fmla="*/ 1590361 h 1752600"/>
                <a:gd name="connsiteX119" fmla="*/ 2674937 w 3128973"/>
                <a:gd name="connsiteY119" fmla="*/ 1560512 h 1752600"/>
                <a:gd name="connsiteX120" fmla="*/ 2643187 w 3128973"/>
                <a:gd name="connsiteY120" fmla="*/ 1495425 h 1752600"/>
                <a:gd name="connsiteX121" fmla="*/ 2628900 w 3128973"/>
                <a:gd name="connsiteY121" fmla="*/ 1490662 h 1752600"/>
                <a:gd name="connsiteX122" fmla="*/ 2595562 w 3128973"/>
                <a:gd name="connsiteY122" fmla="*/ 1481137 h 1752600"/>
                <a:gd name="connsiteX123" fmla="*/ 2581275 w 3128973"/>
                <a:gd name="connsiteY123" fmla="*/ 1466850 h 1752600"/>
                <a:gd name="connsiteX124" fmla="*/ 2552700 w 3128973"/>
                <a:gd name="connsiteY124" fmla="*/ 1457325 h 1752600"/>
                <a:gd name="connsiteX125" fmla="*/ 2538412 w 3128973"/>
                <a:gd name="connsiteY125" fmla="*/ 1447800 h 1752600"/>
                <a:gd name="connsiteX126" fmla="*/ 2519362 w 3128973"/>
                <a:gd name="connsiteY126" fmla="*/ 1443037 h 1752600"/>
                <a:gd name="connsiteX127" fmla="*/ 2490787 w 3128973"/>
                <a:gd name="connsiteY127" fmla="*/ 1433512 h 1752600"/>
                <a:gd name="connsiteX128" fmla="*/ 2476500 w 3128973"/>
                <a:gd name="connsiteY128" fmla="*/ 1428750 h 1752600"/>
                <a:gd name="connsiteX129" fmla="*/ 2466975 w 3128973"/>
                <a:gd name="connsiteY129" fmla="*/ 1414462 h 1752600"/>
                <a:gd name="connsiteX130" fmla="*/ 2447925 w 3128973"/>
                <a:gd name="connsiteY130" fmla="*/ 1409700 h 1752600"/>
                <a:gd name="connsiteX131" fmla="*/ 2309812 w 3128973"/>
                <a:gd name="connsiteY131" fmla="*/ 1395412 h 1752600"/>
                <a:gd name="connsiteX132" fmla="*/ 2295525 w 3128973"/>
                <a:gd name="connsiteY132" fmla="*/ 1390650 h 1752600"/>
                <a:gd name="connsiteX133" fmla="*/ 2257425 w 3128973"/>
                <a:gd name="connsiteY133" fmla="*/ 1381125 h 1752600"/>
                <a:gd name="connsiteX134" fmla="*/ 2238375 w 3128973"/>
                <a:gd name="connsiteY134" fmla="*/ 1366837 h 1752600"/>
                <a:gd name="connsiteX135" fmla="*/ 2224087 w 3128973"/>
                <a:gd name="connsiteY135" fmla="*/ 1362075 h 1752600"/>
                <a:gd name="connsiteX136" fmla="*/ 2176462 w 3128973"/>
                <a:gd name="connsiteY136" fmla="*/ 1338262 h 1752600"/>
                <a:gd name="connsiteX137" fmla="*/ 2162175 w 3128973"/>
                <a:gd name="connsiteY137" fmla="*/ 1328737 h 1752600"/>
                <a:gd name="connsiteX138" fmla="*/ 2114550 w 3128973"/>
                <a:gd name="connsiteY138" fmla="*/ 1314450 h 1752600"/>
                <a:gd name="connsiteX139" fmla="*/ 2100262 w 3128973"/>
                <a:gd name="connsiteY139" fmla="*/ 1300162 h 1752600"/>
                <a:gd name="connsiteX140" fmla="*/ 2085975 w 3128973"/>
                <a:gd name="connsiteY140" fmla="*/ 1295400 h 1752600"/>
                <a:gd name="connsiteX141" fmla="*/ 2055019 w 3128973"/>
                <a:gd name="connsiteY141" fmla="*/ 1290637 h 1752600"/>
                <a:gd name="connsiteX142" fmla="*/ 2028824 w 3128973"/>
                <a:gd name="connsiteY142" fmla="*/ 1283494 h 1752600"/>
                <a:gd name="connsiteX143" fmla="*/ 2005012 w 3128973"/>
                <a:gd name="connsiteY143" fmla="*/ 1271587 h 1752600"/>
                <a:gd name="connsiteX144" fmla="*/ 1985962 w 3128973"/>
                <a:gd name="connsiteY144" fmla="*/ 1262062 h 1752600"/>
                <a:gd name="connsiteX145" fmla="*/ 1971675 w 3128973"/>
                <a:gd name="connsiteY145" fmla="*/ 1257300 h 1752600"/>
                <a:gd name="connsiteX146" fmla="*/ 1943100 w 3128973"/>
                <a:gd name="connsiteY146" fmla="*/ 1238250 h 1752600"/>
                <a:gd name="connsiteX147" fmla="*/ 1914525 w 3128973"/>
                <a:gd name="connsiteY147" fmla="*/ 1219200 h 1752600"/>
                <a:gd name="connsiteX148" fmla="*/ 1885950 w 3128973"/>
                <a:gd name="connsiteY148" fmla="*/ 1209675 h 1752600"/>
                <a:gd name="connsiteX149" fmla="*/ 1843087 w 3128973"/>
                <a:gd name="connsiteY149" fmla="*/ 1195387 h 1752600"/>
                <a:gd name="connsiteX150" fmla="*/ 1757362 w 3128973"/>
                <a:gd name="connsiteY150" fmla="*/ 1185862 h 1752600"/>
                <a:gd name="connsiteX151" fmla="*/ 1700212 w 3128973"/>
                <a:gd name="connsiteY151" fmla="*/ 1166812 h 1752600"/>
                <a:gd name="connsiteX152" fmla="*/ 1671637 w 3128973"/>
                <a:gd name="connsiteY152" fmla="*/ 1147762 h 1752600"/>
                <a:gd name="connsiteX153" fmla="*/ 1652587 w 3128973"/>
                <a:gd name="connsiteY153" fmla="*/ 1138237 h 1752600"/>
                <a:gd name="connsiteX154" fmla="*/ 1638300 w 3128973"/>
                <a:gd name="connsiteY154" fmla="*/ 1128712 h 1752600"/>
                <a:gd name="connsiteX155" fmla="*/ 1590675 w 3128973"/>
                <a:gd name="connsiteY155" fmla="*/ 1138238 h 1752600"/>
                <a:gd name="connsiteX156" fmla="*/ 1559719 w 3128973"/>
                <a:gd name="connsiteY156" fmla="*/ 1109662 h 1752600"/>
                <a:gd name="connsiteX157" fmla="*/ 1528762 w 3128973"/>
                <a:gd name="connsiteY157" fmla="*/ 1085850 h 1752600"/>
                <a:gd name="connsiteX158" fmla="*/ 1514475 w 3128973"/>
                <a:gd name="connsiteY158" fmla="*/ 1081087 h 1752600"/>
                <a:gd name="connsiteX159" fmla="*/ 1470025 w 3128973"/>
                <a:gd name="connsiteY159" fmla="*/ 1130300 h 1752600"/>
                <a:gd name="connsiteX160" fmla="*/ 1433512 w 3128973"/>
                <a:gd name="connsiteY160" fmla="*/ 1108075 h 1752600"/>
                <a:gd name="connsiteX161" fmla="*/ 1423987 w 3128973"/>
                <a:gd name="connsiteY161" fmla="*/ 1087437 h 1752600"/>
                <a:gd name="connsiteX162" fmla="*/ 1381125 w 3128973"/>
                <a:gd name="connsiteY162" fmla="*/ 1095375 h 1752600"/>
                <a:gd name="connsiteX163" fmla="*/ 1383506 w 3128973"/>
                <a:gd name="connsiteY163" fmla="*/ 1028700 h 1752600"/>
                <a:gd name="connsiteX164" fmla="*/ 1366838 w 3128973"/>
                <a:gd name="connsiteY164" fmla="*/ 1019175 h 1752600"/>
                <a:gd name="connsiteX165" fmla="*/ 1335881 w 3128973"/>
                <a:gd name="connsiteY165" fmla="*/ 1007268 h 1752600"/>
                <a:gd name="connsiteX166" fmla="*/ 1319213 w 3128973"/>
                <a:gd name="connsiteY166" fmla="*/ 1007268 h 1752600"/>
                <a:gd name="connsiteX167" fmla="*/ 1295400 w 3128973"/>
                <a:gd name="connsiteY167" fmla="*/ 976312 h 1752600"/>
                <a:gd name="connsiteX168" fmla="*/ 1281112 w 3128973"/>
                <a:gd name="connsiteY168" fmla="*/ 966787 h 1752600"/>
                <a:gd name="connsiteX169" fmla="*/ 1238250 w 3128973"/>
                <a:gd name="connsiteY169" fmla="*/ 947737 h 1752600"/>
                <a:gd name="connsiteX170" fmla="*/ 1212850 w 3128973"/>
                <a:gd name="connsiteY170" fmla="*/ 995362 h 1752600"/>
                <a:gd name="connsiteX171" fmla="*/ 1201737 w 3128973"/>
                <a:gd name="connsiteY171" fmla="*/ 987425 h 1752600"/>
                <a:gd name="connsiteX172" fmla="*/ 1163637 w 3128973"/>
                <a:gd name="connsiteY172" fmla="*/ 952277 h 1752600"/>
                <a:gd name="connsiteX173" fmla="*/ 1133475 w 3128973"/>
                <a:gd name="connsiteY173" fmla="*/ 925512 h 1752600"/>
                <a:gd name="connsiteX174" fmla="*/ 1085850 w 3128973"/>
                <a:gd name="connsiteY174" fmla="*/ 859631 h 1752600"/>
                <a:gd name="connsiteX175" fmla="*/ 1071562 w 3128973"/>
                <a:gd name="connsiteY175" fmla="*/ 842962 h 1752600"/>
                <a:gd name="connsiteX176" fmla="*/ 1047750 w 3128973"/>
                <a:gd name="connsiteY176" fmla="*/ 819150 h 1752600"/>
                <a:gd name="connsiteX177" fmla="*/ 1028700 w 3128973"/>
                <a:gd name="connsiteY177" fmla="*/ 804862 h 1752600"/>
                <a:gd name="connsiteX178" fmla="*/ 1018076 w 3128973"/>
                <a:gd name="connsiteY178" fmla="*/ 794816 h 1752600"/>
                <a:gd name="connsiteX179" fmla="*/ 1000125 w 3128973"/>
                <a:gd name="connsiteY179" fmla="*/ 785812 h 1752600"/>
                <a:gd name="connsiteX180" fmla="*/ 984342 w 3128973"/>
                <a:gd name="connsiteY180" fmla="*/ 773578 h 1752600"/>
                <a:gd name="connsiteX181" fmla="*/ 957262 w 3128973"/>
                <a:gd name="connsiteY181" fmla="*/ 766762 h 1752600"/>
                <a:gd name="connsiteX182" fmla="*/ 938212 w 3128973"/>
                <a:gd name="connsiteY182" fmla="*/ 757237 h 1752600"/>
                <a:gd name="connsiteX183" fmla="*/ 904875 w 3128973"/>
                <a:gd name="connsiteY183" fmla="*/ 747712 h 1752600"/>
                <a:gd name="connsiteX184" fmla="*/ 862012 w 3128973"/>
                <a:gd name="connsiteY184" fmla="*/ 723900 h 1752600"/>
                <a:gd name="connsiteX185" fmla="*/ 795337 w 3128973"/>
                <a:gd name="connsiteY185" fmla="*/ 685800 h 1752600"/>
                <a:gd name="connsiteX186" fmla="*/ 776287 w 3128973"/>
                <a:gd name="connsiteY186" fmla="*/ 666750 h 1752600"/>
                <a:gd name="connsiteX187" fmla="*/ 762000 w 3128973"/>
                <a:gd name="connsiteY187" fmla="*/ 661987 h 1752600"/>
                <a:gd name="connsiteX188" fmla="*/ 742950 w 3128973"/>
                <a:gd name="connsiteY188" fmla="*/ 647700 h 1752600"/>
                <a:gd name="connsiteX189" fmla="*/ 709612 w 3128973"/>
                <a:gd name="connsiteY189" fmla="*/ 638175 h 1752600"/>
                <a:gd name="connsiteX190" fmla="*/ 695325 w 3128973"/>
                <a:gd name="connsiteY190" fmla="*/ 628650 h 1752600"/>
                <a:gd name="connsiteX191" fmla="*/ 681037 w 3128973"/>
                <a:gd name="connsiteY191" fmla="*/ 623887 h 1752600"/>
                <a:gd name="connsiteX192" fmla="*/ 676275 w 3128973"/>
                <a:gd name="connsiteY192" fmla="*/ 604837 h 1752600"/>
                <a:gd name="connsiteX193" fmla="*/ 666750 w 3128973"/>
                <a:gd name="connsiteY193" fmla="*/ 576262 h 1752600"/>
                <a:gd name="connsiteX194" fmla="*/ 661987 w 3128973"/>
                <a:gd name="connsiteY194" fmla="*/ 561975 h 1752600"/>
                <a:gd name="connsiteX195" fmla="*/ 666750 w 3128973"/>
                <a:gd name="connsiteY195" fmla="*/ 538162 h 1752600"/>
                <a:gd name="connsiteX196" fmla="*/ 638175 w 3128973"/>
                <a:gd name="connsiteY196" fmla="*/ 514350 h 1752600"/>
                <a:gd name="connsiteX197" fmla="*/ 619125 w 3128973"/>
                <a:gd name="connsiteY197" fmla="*/ 500062 h 1752600"/>
                <a:gd name="connsiteX198" fmla="*/ 576262 w 3128973"/>
                <a:gd name="connsiteY198" fmla="*/ 490537 h 1752600"/>
                <a:gd name="connsiteX199" fmla="*/ 542925 w 3128973"/>
                <a:gd name="connsiteY199" fmla="*/ 452437 h 1752600"/>
                <a:gd name="connsiteX200" fmla="*/ 525462 w 3128973"/>
                <a:gd name="connsiteY200" fmla="*/ 485775 h 1752600"/>
                <a:gd name="connsiteX201" fmla="*/ 504825 w 3128973"/>
                <a:gd name="connsiteY201" fmla="*/ 466725 h 1752600"/>
                <a:gd name="connsiteX202" fmla="*/ 454025 w 3128973"/>
                <a:gd name="connsiteY202" fmla="*/ 466725 h 1752600"/>
                <a:gd name="connsiteX203" fmla="*/ 407987 w 3128973"/>
                <a:gd name="connsiteY203" fmla="*/ 473075 h 1752600"/>
                <a:gd name="connsiteX204" fmla="*/ 395287 w 3128973"/>
                <a:gd name="connsiteY204" fmla="*/ 409575 h 1752600"/>
                <a:gd name="connsiteX205" fmla="*/ 376237 w 3128973"/>
                <a:gd name="connsiteY205" fmla="*/ 404812 h 1752600"/>
                <a:gd name="connsiteX206" fmla="*/ 342900 w 3128973"/>
                <a:gd name="connsiteY206" fmla="*/ 400050 h 1752600"/>
                <a:gd name="connsiteX207" fmla="*/ 314325 w 3128973"/>
                <a:gd name="connsiteY207" fmla="*/ 390525 h 1752600"/>
                <a:gd name="connsiteX208" fmla="*/ 273844 w 3128973"/>
                <a:gd name="connsiteY208" fmla="*/ 383382 h 1752600"/>
                <a:gd name="connsiteX209" fmla="*/ 257175 w 3128973"/>
                <a:gd name="connsiteY209" fmla="*/ 371475 h 1752600"/>
                <a:gd name="connsiteX210" fmla="*/ 245269 w 3128973"/>
                <a:gd name="connsiteY210" fmla="*/ 364331 h 1752600"/>
                <a:gd name="connsiteX211" fmla="*/ 223837 w 3128973"/>
                <a:gd name="connsiteY211" fmla="*/ 347662 h 1752600"/>
                <a:gd name="connsiteX212" fmla="*/ 190500 w 3128973"/>
                <a:gd name="connsiteY212" fmla="*/ 338137 h 1752600"/>
                <a:gd name="connsiteX213" fmla="*/ 147637 w 3128973"/>
                <a:gd name="connsiteY213" fmla="*/ 333375 h 1752600"/>
                <a:gd name="connsiteX214" fmla="*/ 119062 w 3128973"/>
                <a:gd name="connsiteY214" fmla="*/ 323850 h 1752600"/>
                <a:gd name="connsiteX215" fmla="*/ 104775 w 3128973"/>
                <a:gd name="connsiteY215" fmla="*/ 319087 h 1752600"/>
                <a:gd name="connsiteX216" fmla="*/ 61912 w 3128973"/>
                <a:gd name="connsiteY216" fmla="*/ 300037 h 1752600"/>
                <a:gd name="connsiteX217" fmla="*/ 23812 w 3128973"/>
                <a:gd name="connsiteY217" fmla="*/ 290512 h 1752600"/>
                <a:gd name="connsiteX218" fmla="*/ 9525 w 3128973"/>
                <a:gd name="connsiteY218" fmla="*/ 261937 h 1752600"/>
                <a:gd name="connsiteX219" fmla="*/ 0 w 3128973"/>
                <a:gd name="connsiteY219" fmla="*/ 290512 h 1752600"/>
                <a:gd name="connsiteX220" fmla="*/ 4762 w 3128973"/>
                <a:gd name="connsiteY220" fmla="*/ 247650 h 1752600"/>
                <a:gd name="connsiteX221" fmla="*/ 19050 w 3128973"/>
                <a:gd name="connsiteY221" fmla="*/ 200025 h 1752600"/>
                <a:gd name="connsiteX222" fmla="*/ 23812 w 3128973"/>
                <a:gd name="connsiteY222" fmla="*/ 185737 h 1752600"/>
                <a:gd name="connsiteX223" fmla="*/ 71437 w 3128973"/>
                <a:gd name="connsiteY223" fmla="*/ 171450 h 1752600"/>
                <a:gd name="connsiteX224" fmla="*/ 85725 w 3128973"/>
                <a:gd name="connsiteY224" fmla="*/ 166687 h 1752600"/>
                <a:gd name="connsiteX225" fmla="*/ 100012 w 3128973"/>
                <a:gd name="connsiteY225" fmla="*/ 161925 h 1752600"/>
                <a:gd name="connsiteX226" fmla="*/ 114300 w 3128973"/>
                <a:gd name="connsiteY226" fmla="*/ 152400 h 1752600"/>
                <a:gd name="connsiteX227" fmla="*/ 133350 w 3128973"/>
                <a:gd name="connsiteY227" fmla="*/ 123825 h 1752600"/>
                <a:gd name="connsiteX228" fmla="*/ 138112 w 3128973"/>
                <a:gd name="connsiteY228" fmla="*/ 109537 h 1752600"/>
                <a:gd name="connsiteX229" fmla="*/ 135467 w 3128973"/>
                <a:gd name="connsiteY229" fmla="*/ 97059 h 1752600"/>
                <a:gd name="connsiteX230" fmla="*/ 142875 w 3128973"/>
                <a:gd name="connsiteY230" fmla="*/ 71437 h 1752600"/>
                <a:gd name="connsiteX231" fmla="*/ 157162 w 3128973"/>
                <a:gd name="connsiteY231" fmla="*/ 57150 h 1752600"/>
                <a:gd name="connsiteX232" fmla="*/ 200025 w 3128973"/>
                <a:gd name="connsiteY232" fmla="*/ 33337 h 1752600"/>
                <a:gd name="connsiteX233" fmla="*/ 309562 w 3128973"/>
                <a:gd name="connsiteY233" fmla="*/ 28575 h 1752600"/>
                <a:gd name="connsiteX234" fmla="*/ 400050 w 3128973"/>
                <a:gd name="connsiteY234" fmla="*/ 14287 h 1752600"/>
                <a:gd name="connsiteX235" fmla="*/ 414337 w 3128973"/>
                <a:gd name="connsiteY235" fmla="*/ 9525 h 1752600"/>
                <a:gd name="connsiteX236" fmla="*/ 481012 w 3128973"/>
                <a:gd name="connsiteY236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046801 w 3128973"/>
                <a:gd name="connsiteY25" fmla="*/ 262295 h 1752600"/>
                <a:gd name="connsiteX26" fmla="*/ 2033587 w 3128973"/>
                <a:gd name="connsiteY26" fmla="*/ 266700 h 1752600"/>
                <a:gd name="connsiteX27" fmla="*/ 2019300 w 3128973"/>
                <a:gd name="connsiteY27" fmla="*/ 280987 h 1752600"/>
                <a:gd name="connsiteX28" fmla="*/ 1990725 w 3128973"/>
                <a:gd name="connsiteY28" fmla="*/ 300037 h 1752600"/>
                <a:gd name="connsiteX29" fmla="*/ 1981200 w 3128973"/>
                <a:gd name="connsiteY29" fmla="*/ 314325 h 1752600"/>
                <a:gd name="connsiteX30" fmla="*/ 1981200 w 3128973"/>
                <a:gd name="connsiteY30" fmla="*/ 419100 h 1752600"/>
                <a:gd name="connsiteX31" fmla="*/ 1985962 w 3128973"/>
                <a:gd name="connsiteY31" fmla="*/ 433387 h 1752600"/>
                <a:gd name="connsiteX32" fmla="*/ 2000250 w 3128973"/>
                <a:gd name="connsiteY32" fmla="*/ 442912 h 1752600"/>
                <a:gd name="connsiteX33" fmla="*/ 2005012 w 3128973"/>
                <a:gd name="connsiteY33" fmla="*/ 457200 h 1752600"/>
                <a:gd name="connsiteX34" fmla="*/ 2005012 w 3128973"/>
                <a:gd name="connsiteY34" fmla="*/ 561975 h 1752600"/>
                <a:gd name="connsiteX35" fmla="*/ 2009775 w 3128973"/>
                <a:gd name="connsiteY35" fmla="*/ 576262 h 1752600"/>
                <a:gd name="connsiteX36" fmla="*/ 2024062 w 3128973"/>
                <a:gd name="connsiteY36" fmla="*/ 581025 h 1752600"/>
                <a:gd name="connsiteX37" fmla="*/ 2038350 w 3128973"/>
                <a:gd name="connsiteY37" fmla="*/ 595312 h 1752600"/>
                <a:gd name="connsiteX38" fmla="*/ 2052637 w 3128973"/>
                <a:gd name="connsiteY38" fmla="*/ 600075 h 1752600"/>
                <a:gd name="connsiteX39" fmla="*/ 2133600 w 3128973"/>
                <a:gd name="connsiteY39" fmla="*/ 590550 h 1752600"/>
                <a:gd name="connsiteX40" fmla="*/ 2147887 w 3128973"/>
                <a:gd name="connsiteY40" fmla="*/ 585787 h 1752600"/>
                <a:gd name="connsiteX41" fmla="*/ 2195512 w 3128973"/>
                <a:gd name="connsiteY41" fmla="*/ 600075 h 1752600"/>
                <a:gd name="connsiteX42" fmla="*/ 2205037 w 3128973"/>
                <a:gd name="connsiteY42" fmla="*/ 614362 h 1752600"/>
                <a:gd name="connsiteX43" fmla="*/ 2219325 w 3128973"/>
                <a:gd name="connsiteY43" fmla="*/ 628650 h 1752600"/>
                <a:gd name="connsiteX44" fmla="*/ 2224087 w 3128973"/>
                <a:gd name="connsiteY44" fmla="*/ 642937 h 1752600"/>
                <a:gd name="connsiteX45" fmla="*/ 2233612 w 3128973"/>
                <a:gd name="connsiteY45" fmla="*/ 657225 h 1752600"/>
                <a:gd name="connsiteX46" fmla="*/ 2247900 w 3128973"/>
                <a:gd name="connsiteY46" fmla="*/ 685800 h 1752600"/>
                <a:gd name="connsiteX47" fmla="*/ 2262187 w 3128973"/>
                <a:gd name="connsiteY47" fmla="*/ 733425 h 1752600"/>
                <a:gd name="connsiteX48" fmla="*/ 2305050 w 3128973"/>
                <a:gd name="connsiteY48" fmla="*/ 771525 h 1752600"/>
                <a:gd name="connsiteX49" fmla="*/ 2319337 w 3128973"/>
                <a:gd name="connsiteY49" fmla="*/ 804862 h 1752600"/>
                <a:gd name="connsiteX50" fmla="*/ 2333625 w 3128973"/>
                <a:gd name="connsiteY50" fmla="*/ 819150 h 1752600"/>
                <a:gd name="connsiteX51" fmla="*/ 2338387 w 3128973"/>
                <a:gd name="connsiteY51" fmla="*/ 833437 h 1752600"/>
                <a:gd name="connsiteX52" fmla="*/ 2352675 w 3128973"/>
                <a:gd name="connsiteY52" fmla="*/ 847725 h 1752600"/>
                <a:gd name="connsiteX53" fmla="*/ 2395537 w 3128973"/>
                <a:gd name="connsiteY53" fmla="*/ 871537 h 1752600"/>
                <a:gd name="connsiteX54" fmla="*/ 2409825 w 3128973"/>
                <a:gd name="connsiteY54" fmla="*/ 890587 h 1752600"/>
                <a:gd name="connsiteX55" fmla="*/ 2424112 w 3128973"/>
                <a:gd name="connsiteY55" fmla="*/ 895350 h 1752600"/>
                <a:gd name="connsiteX56" fmla="*/ 2433637 w 3128973"/>
                <a:gd name="connsiteY56" fmla="*/ 914400 h 1752600"/>
                <a:gd name="connsiteX57" fmla="*/ 2466975 w 3128973"/>
                <a:gd name="connsiteY57" fmla="*/ 942975 h 1752600"/>
                <a:gd name="connsiteX58" fmla="*/ 2474637 w 3128973"/>
                <a:gd name="connsiteY58" fmla="*/ 954728 h 1752600"/>
                <a:gd name="connsiteX59" fmla="*/ 2495550 w 3128973"/>
                <a:gd name="connsiteY59" fmla="*/ 971550 h 1752600"/>
                <a:gd name="connsiteX60" fmla="*/ 2508776 w 3128973"/>
                <a:gd name="connsiteY60" fmla="*/ 983894 h 1752600"/>
                <a:gd name="connsiteX61" fmla="*/ 2533650 w 3128973"/>
                <a:gd name="connsiteY61" fmla="*/ 1000125 h 1752600"/>
                <a:gd name="connsiteX62" fmla="*/ 2547937 w 3128973"/>
                <a:gd name="connsiteY62" fmla="*/ 1028700 h 1752600"/>
                <a:gd name="connsiteX63" fmla="*/ 2552700 w 3128973"/>
                <a:gd name="connsiteY63" fmla="*/ 1042987 h 1752600"/>
                <a:gd name="connsiteX64" fmla="*/ 2576512 w 3128973"/>
                <a:gd name="connsiteY64" fmla="*/ 1071562 h 1752600"/>
                <a:gd name="connsiteX65" fmla="*/ 2584921 w 3128973"/>
                <a:gd name="connsiteY65" fmla="*/ 1082873 h 1752600"/>
                <a:gd name="connsiteX66" fmla="*/ 2600325 w 3128973"/>
                <a:gd name="connsiteY66" fmla="*/ 1095375 h 1752600"/>
                <a:gd name="connsiteX67" fmla="*/ 2609850 w 3128973"/>
                <a:gd name="connsiteY67" fmla="*/ 1109662 h 1752600"/>
                <a:gd name="connsiteX68" fmla="*/ 2652712 w 3128973"/>
                <a:gd name="connsiteY68" fmla="*/ 1143000 h 1752600"/>
                <a:gd name="connsiteX69" fmla="*/ 2681287 w 3128973"/>
                <a:gd name="connsiteY69" fmla="*/ 1152525 h 1752600"/>
                <a:gd name="connsiteX70" fmla="*/ 2700337 w 3128973"/>
                <a:gd name="connsiteY70" fmla="*/ 1162050 h 1752600"/>
                <a:gd name="connsiteX71" fmla="*/ 2714625 w 3128973"/>
                <a:gd name="connsiteY71" fmla="*/ 1171575 h 1752600"/>
                <a:gd name="connsiteX72" fmla="*/ 2752725 w 3128973"/>
                <a:gd name="connsiteY72" fmla="*/ 1181100 h 1752600"/>
                <a:gd name="connsiteX73" fmla="*/ 2767012 w 3128973"/>
                <a:gd name="connsiteY73" fmla="*/ 1195387 h 1752600"/>
                <a:gd name="connsiteX74" fmla="*/ 2781300 w 3128973"/>
                <a:gd name="connsiteY74" fmla="*/ 1200150 h 1752600"/>
                <a:gd name="connsiteX75" fmla="*/ 2795587 w 3128973"/>
                <a:gd name="connsiteY75" fmla="*/ 1209675 h 1752600"/>
                <a:gd name="connsiteX76" fmla="*/ 2805112 w 3128973"/>
                <a:gd name="connsiteY76" fmla="*/ 1223962 h 1752600"/>
                <a:gd name="connsiteX77" fmla="*/ 2809875 w 3128973"/>
                <a:gd name="connsiteY77" fmla="*/ 1238250 h 1752600"/>
                <a:gd name="connsiteX78" fmla="*/ 2833687 w 3128973"/>
                <a:gd name="connsiteY78" fmla="*/ 1276350 h 1752600"/>
                <a:gd name="connsiteX79" fmla="*/ 2895600 w 3128973"/>
                <a:gd name="connsiteY79" fmla="*/ 1333500 h 1752600"/>
                <a:gd name="connsiteX80" fmla="*/ 2900362 w 3128973"/>
                <a:gd name="connsiteY80" fmla="*/ 1352550 h 1752600"/>
                <a:gd name="connsiteX81" fmla="*/ 2928937 w 3128973"/>
                <a:gd name="connsiteY81" fmla="*/ 1395412 h 1752600"/>
                <a:gd name="connsiteX82" fmla="*/ 2943225 w 3128973"/>
                <a:gd name="connsiteY82" fmla="*/ 1404937 h 1752600"/>
                <a:gd name="connsiteX83" fmla="*/ 2957512 w 3128973"/>
                <a:gd name="connsiteY83" fmla="*/ 1419225 h 1752600"/>
                <a:gd name="connsiteX84" fmla="*/ 2986087 w 3128973"/>
                <a:gd name="connsiteY84" fmla="*/ 1443037 h 1752600"/>
                <a:gd name="connsiteX85" fmla="*/ 3000375 w 3128973"/>
                <a:gd name="connsiteY85" fmla="*/ 1462087 h 1752600"/>
                <a:gd name="connsiteX86" fmla="*/ 3016395 w 3128973"/>
                <a:gd name="connsiteY86" fmla="*/ 1476222 h 1752600"/>
                <a:gd name="connsiteX87" fmla="*/ 3028950 w 3128973"/>
                <a:gd name="connsiteY87" fmla="*/ 1495425 h 1752600"/>
                <a:gd name="connsiteX88" fmla="*/ 3043237 w 3128973"/>
                <a:gd name="connsiteY88" fmla="*/ 1552575 h 1752600"/>
                <a:gd name="connsiteX89" fmla="*/ 3052762 w 3128973"/>
                <a:gd name="connsiteY89" fmla="*/ 1566862 h 1752600"/>
                <a:gd name="connsiteX90" fmla="*/ 3057525 w 3128973"/>
                <a:gd name="connsiteY90" fmla="*/ 1581150 h 1752600"/>
                <a:gd name="connsiteX91" fmla="*/ 3067050 w 3128973"/>
                <a:gd name="connsiteY91" fmla="*/ 1662112 h 1752600"/>
                <a:gd name="connsiteX92" fmla="*/ 3071812 w 3128973"/>
                <a:gd name="connsiteY92" fmla="*/ 1676400 h 1752600"/>
                <a:gd name="connsiteX93" fmla="*/ 3100387 w 3128973"/>
                <a:gd name="connsiteY93" fmla="*/ 1690687 h 1752600"/>
                <a:gd name="connsiteX94" fmla="*/ 3114675 w 3128973"/>
                <a:gd name="connsiteY94" fmla="*/ 1685925 h 1752600"/>
                <a:gd name="connsiteX95" fmla="*/ 3124200 w 3128973"/>
                <a:gd name="connsiteY95" fmla="*/ 1671637 h 1752600"/>
                <a:gd name="connsiteX96" fmla="*/ 3128973 w 3128973"/>
                <a:gd name="connsiteY96" fmla="*/ 1651467 h 1752600"/>
                <a:gd name="connsiteX97" fmla="*/ 3128021 w 3128973"/>
                <a:gd name="connsiteY97" fmla="*/ 1710279 h 1752600"/>
                <a:gd name="connsiteX98" fmla="*/ 3043237 w 3128973"/>
                <a:gd name="connsiteY98" fmla="*/ 1714500 h 1752600"/>
                <a:gd name="connsiteX99" fmla="*/ 3028950 w 3128973"/>
                <a:gd name="connsiteY99" fmla="*/ 1728787 h 1752600"/>
                <a:gd name="connsiteX100" fmla="*/ 2986087 w 3128973"/>
                <a:gd name="connsiteY100" fmla="*/ 1738312 h 1752600"/>
                <a:gd name="connsiteX101" fmla="*/ 2971800 w 3128973"/>
                <a:gd name="connsiteY101" fmla="*/ 1743075 h 1752600"/>
                <a:gd name="connsiteX102" fmla="*/ 2943225 w 3128973"/>
                <a:gd name="connsiteY102" fmla="*/ 1738312 h 1752600"/>
                <a:gd name="connsiteX103" fmla="*/ 2928937 w 3128973"/>
                <a:gd name="connsiteY103" fmla="*/ 1747837 h 1752600"/>
                <a:gd name="connsiteX104" fmla="*/ 2914650 w 3128973"/>
                <a:gd name="connsiteY104" fmla="*/ 1752600 h 1752600"/>
                <a:gd name="connsiteX105" fmla="*/ 2895600 w 3128973"/>
                <a:gd name="connsiteY105" fmla="*/ 1724025 h 1752600"/>
                <a:gd name="connsiteX106" fmla="*/ 2883310 w 3128973"/>
                <a:gd name="connsiteY106" fmla="*/ 1701201 h 1752600"/>
                <a:gd name="connsiteX107" fmla="*/ 2883805 w 3128973"/>
                <a:gd name="connsiteY107" fmla="*/ 1696138 h 1752600"/>
                <a:gd name="connsiteX108" fmla="*/ 2871787 w 3128973"/>
                <a:gd name="connsiteY108" fmla="*/ 1685925 h 1752600"/>
                <a:gd name="connsiteX109" fmla="*/ 2847975 w 3128973"/>
                <a:gd name="connsiteY109" fmla="*/ 1657350 h 1752600"/>
                <a:gd name="connsiteX110" fmla="*/ 2834034 w 3128973"/>
                <a:gd name="connsiteY110" fmla="*/ 1637762 h 1752600"/>
                <a:gd name="connsiteX111" fmla="*/ 2814637 w 3128973"/>
                <a:gd name="connsiteY111" fmla="*/ 1619250 h 1752600"/>
                <a:gd name="connsiteX112" fmla="*/ 2809875 w 3128973"/>
                <a:gd name="connsiteY112" fmla="*/ 1604962 h 1752600"/>
                <a:gd name="connsiteX113" fmla="*/ 2795587 w 3128973"/>
                <a:gd name="connsiteY113" fmla="*/ 1600200 h 1752600"/>
                <a:gd name="connsiteX114" fmla="*/ 2781300 w 3128973"/>
                <a:gd name="connsiteY114" fmla="*/ 1590675 h 1752600"/>
                <a:gd name="connsiteX115" fmla="*/ 2752725 w 3128973"/>
                <a:gd name="connsiteY115" fmla="*/ 1581150 h 1752600"/>
                <a:gd name="connsiteX116" fmla="*/ 2733675 w 3128973"/>
                <a:gd name="connsiteY116" fmla="*/ 1625600 h 1752600"/>
                <a:gd name="connsiteX117" fmla="*/ 2709862 w 3128973"/>
                <a:gd name="connsiteY117" fmla="*/ 1619250 h 1752600"/>
                <a:gd name="connsiteX118" fmla="*/ 2723566 w 3128973"/>
                <a:gd name="connsiteY118" fmla="*/ 1590361 h 1752600"/>
                <a:gd name="connsiteX119" fmla="*/ 2674937 w 3128973"/>
                <a:gd name="connsiteY119" fmla="*/ 1560512 h 1752600"/>
                <a:gd name="connsiteX120" fmla="*/ 2643187 w 3128973"/>
                <a:gd name="connsiteY120" fmla="*/ 1495425 h 1752600"/>
                <a:gd name="connsiteX121" fmla="*/ 2628900 w 3128973"/>
                <a:gd name="connsiteY121" fmla="*/ 1490662 h 1752600"/>
                <a:gd name="connsiteX122" fmla="*/ 2595562 w 3128973"/>
                <a:gd name="connsiteY122" fmla="*/ 1481137 h 1752600"/>
                <a:gd name="connsiteX123" fmla="*/ 2581275 w 3128973"/>
                <a:gd name="connsiteY123" fmla="*/ 1466850 h 1752600"/>
                <a:gd name="connsiteX124" fmla="*/ 2552700 w 3128973"/>
                <a:gd name="connsiteY124" fmla="*/ 1457325 h 1752600"/>
                <a:gd name="connsiteX125" fmla="*/ 2538412 w 3128973"/>
                <a:gd name="connsiteY125" fmla="*/ 1447800 h 1752600"/>
                <a:gd name="connsiteX126" fmla="*/ 2519362 w 3128973"/>
                <a:gd name="connsiteY126" fmla="*/ 1443037 h 1752600"/>
                <a:gd name="connsiteX127" fmla="*/ 2490787 w 3128973"/>
                <a:gd name="connsiteY127" fmla="*/ 1433512 h 1752600"/>
                <a:gd name="connsiteX128" fmla="*/ 2476500 w 3128973"/>
                <a:gd name="connsiteY128" fmla="*/ 1428750 h 1752600"/>
                <a:gd name="connsiteX129" fmla="*/ 2466975 w 3128973"/>
                <a:gd name="connsiteY129" fmla="*/ 1414462 h 1752600"/>
                <a:gd name="connsiteX130" fmla="*/ 2447925 w 3128973"/>
                <a:gd name="connsiteY130" fmla="*/ 1409700 h 1752600"/>
                <a:gd name="connsiteX131" fmla="*/ 2309812 w 3128973"/>
                <a:gd name="connsiteY131" fmla="*/ 1395412 h 1752600"/>
                <a:gd name="connsiteX132" fmla="*/ 2295525 w 3128973"/>
                <a:gd name="connsiteY132" fmla="*/ 1390650 h 1752600"/>
                <a:gd name="connsiteX133" fmla="*/ 2257425 w 3128973"/>
                <a:gd name="connsiteY133" fmla="*/ 1381125 h 1752600"/>
                <a:gd name="connsiteX134" fmla="*/ 2238375 w 3128973"/>
                <a:gd name="connsiteY134" fmla="*/ 1366837 h 1752600"/>
                <a:gd name="connsiteX135" fmla="*/ 2224087 w 3128973"/>
                <a:gd name="connsiteY135" fmla="*/ 1362075 h 1752600"/>
                <a:gd name="connsiteX136" fmla="*/ 2176462 w 3128973"/>
                <a:gd name="connsiteY136" fmla="*/ 1338262 h 1752600"/>
                <a:gd name="connsiteX137" fmla="*/ 2162175 w 3128973"/>
                <a:gd name="connsiteY137" fmla="*/ 1328737 h 1752600"/>
                <a:gd name="connsiteX138" fmla="*/ 2114550 w 3128973"/>
                <a:gd name="connsiteY138" fmla="*/ 1314450 h 1752600"/>
                <a:gd name="connsiteX139" fmla="*/ 2100262 w 3128973"/>
                <a:gd name="connsiteY139" fmla="*/ 1300162 h 1752600"/>
                <a:gd name="connsiteX140" fmla="*/ 2085975 w 3128973"/>
                <a:gd name="connsiteY140" fmla="*/ 1295400 h 1752600"/>
                <a:gd name="connsiteX141" fmla="*/ 2055019 w 3128973"/>
                <a:gd name="connsiteY141" fmla="*/ 1290637 h 1752600"/>
                <a:gd name="connsiteX142" fmla="*/ 2028824 w 3128973"/>
                <a:gd name="connsiteY142" fmla="*/ 1283494 h 1752600"/>
                <a:gd name="connsiteX143" fmla="*/ 2005012 w 3128973"/>
                <a:gd name="connsiteY143" fmla="*/ 1271587 h 1752600"/>
                <a:gd name="connsiteX144" fmla="*/ 1985962 w 3128973"/>
                <a:gd name="connsiteY144" fmla="*/ 1262062 h 1752600"/>
                <a:gd name="connsiteX145" fmla="*/ 1971675 w 3128973"/>
                <a:gd name="connsiteY145" fmla="*/ 1257300 h 1752600"/>
                <a:gd name="connsiteX146" fmla="*/ 1943100 w 3128973"/>
                <a:gd name="connsiteY146" fmla="*/ 1238250 h 1752600"/>
                <a:gd name="connsiteX147" fmla="*/ 1914525 w 3128973"/>
                <a:gd name="connsiteY147" fmla="*/ 1219200 h 1752600"/>
                <a:gd name="connsiteX148" fmla="*/ 1885950 w 3128973"/>
                <a:gd name="connsiteY148" fmla="*/ 1209675 h 1752600"/>
                <a:gd name="connsiteX149" fmla="*/ 1843087 w 3128973"/>
                <a:gd name="connsiteY149" fmla="*/ 1195387 h 1752600"/>
                <a:gd name="connsiteX150" fmla="*/ 1757362 w 3128973"/>
                <a:gd name="connsiteY150" fmla="*/ 1185862 h 1752600"/>
                <a:gd name="connsiteX151" fmla="*/ 1700212 w 3128973"/>
                <a:gd name="connsiteY151" fmla="*/ 1166812 h 1752600"/>
                <a:gd name="connsiteX152" fmla="*/ 1671637 w 3128973"/>
                <a:gd name="connsiteY152" fmla="*/ 1147762 h 1752600"/>
                <a:gd name="connsiteX153" fmla="*/ 1652587 w 3128973"/>
                <a:gd name="connsiteY153" fmla="*/ 1138237 h 1752600"/>
                <a:gd name="connsiteX154" fmla="*/ 1638300 w 3128973"/>
                <a:gd name="connsiteY154" fmla="*/ 1128712 h 1752600"/>
                <a:gd name="connsiteX155" fmla="*/ 1590675 w 3128973"/>
                <a:gd name="connsiteY155" fmla="*/ 1138238 h 1752600"/>
                <a:gd name="connsiteX156" fmla="*/ 1559719 w 3128973"/>
                <a:gd name="connsiteY156" fmla="*/ 1109662 h 1752600"/>
                <a:gd name="connsiteX157" fmla="*/ 1528762 w 3128973"/>
                <a:gd name="connsiteY157" fmla="*/ 1085850 h 1752600"/>
                <a:gd name="connsiteX158" fmla="*/ 1514475 w 3128973"/>
                <a:gd name="connsiteY158" fmla="*/ 1081087 h 1752600"/>
                <a:gd name="connsiteX159" fmla="*/ 1470025 w 3128973"/>
                <a:gd name="connsiteY159" fmla="*/ 1130300 h 1752600"/>
                <a:gd name="connsiteX160" fmla="*/ 1433512 w 3128973"/>
                <a:gd name="connsiteY160" fmla="*/ 1108075 h 1752600"/>
                <a:gd name="connsiteX161" fmla="*/ 1423987 w 3128973"/>
                <a:gd name="connsiteY161" fmla="*/ 1087437 h 1752600"/>
                <a:gd name="connsiteX162" fmla="*/ 1381125 w 3128973"/>
                <a:gd name="connsiteY162" fmla="*/ 1095375 h 1752600"/>
                <a:gd name="connsiteX163" fmla="*/ 1383506 w 3128973"/>
                <a:gd name="connsiteY163" fmla="*/ 1028700 h 1752600"/>
                <a:gd name="connsiteX164" fmla="*/ 1366838 w 3128973"/>
                <a:gd name="connsiteY164" fmla="*/ 1019175 h 1752600"/>
                <a:gd name="connsiteX165" fmla="*/ 1335881 w 3128973"/>
                <a:gd name="connsiteY165" fmla="*/ 1007268 h 1752600"/>
                <a:gd name="connsiteX166" fmla="*/ 1319213 w 3128973"/>
                <a:gd name="connsiteY166" fmla="*/ 1007268 h 1752600"/>
                <a:gd name="connsiteX167" fmla="*/ 1295400 w 3128973"/>
                <a:gd name="connsiteY167" fmla="*/ 976312 h 1752600"/>
                <a:gd name="connsiteX168" fmla="*/ 1281112 w 3128973"/>
                <a:gd name="connsiteY168" fmla="*/ 966787 h 1752600"/>
                <a:gd name="connsiteX169" fmla="*/ 1238250 w 3128973"/>
                <a:gd name="connsiteY169" fmla="*/ 947737 h 1752600"/>
                <a:gd name="connsiteX170" fmla="*/ 1212850 w 3128973"/>
                <a:gd name="connsiteY170" fmla="*/ 995362 h 1752600"/>
                <a:gd name="connsiteX171" fmla="*/ 1201737 w 3128973"/>
                <a:gd name="connsiteY171" fmla="*/ 987425 h 1752600"/>
                <a:gd name="connsiteX172" fmla="*/ 1163637 w 3128973"/>
                <a:gd name="connsiteY172" fmla="*/ 952277 h 1752600"/>
                <a:gd name="connsiteX173" fmla="*/ 1133475 w 3128973"/>
                <a:gd name="connsiteY173" fmla="*/ 925512 h 1752600"/>
                <a:gd name="connsiteX174" fmla="*/ 1085850 w 3128973"/>
                <a:gd name="connsiteY174" fmla="*/ 859631 h 1752600"/>
                <a:gd name="connsiteX175" fmla="*/ 1071562 w 3128973"/>
                <a:gd name="connsiteY175" fmla="*/ 842962 h 1752600"/>
                <a:gd name="connsiteX176" fmla="*/ 1047750 w 3128973"/>
                <a:gd name="connsiteY176" fmla="*/ 819150 h 1752600"/>
                <a:gd name="connsiteX177" fmla="*/ 1028700 w 3128973"/>
                <a:gd name="connsiteY177" fmla="*/ 804862 h 1752600"/>
                <a:gd name="connsiteX178" fmla="*/ 1018076 w 3128973"/>
                <a:gd name="connsiteY178" fmla="*/ 794816 h 1752600"/>
                <a:gd name="connsiteX179" fmla="*/ 1000125 w 3128973"/>
                <a:gd name="connsiteY179" fmla="*/ 785812 h 1752600"/>
                <a:gd name="connsiteX180" fmla="*/ 984342 w 3128973"/>
                <a:gd name="connsiteY180" fmla="*/ 773578 h 1752600"/>
                <a:gd name="connsiteX181" fmla="*/ 957262 w 3128973"/>
                <a:gd name="connsiteY181" fmla="*/ 766762 h 1752600"/>
                <a:gd name="connsiteX182" fmla="*/ 938212 w 3128973"/>
                <a:gd name="connsiteY182" fmla="*/ 757237 h 1752600"/>
                <a:gd name="connsiteX183" fmla="*/ 904875 w 3128973"/>
                <a:gd name="connsiteY183" fmla="*/ 747712 h 1752600"/>
                <a:gd name="connsiteX184" fmla="*/ 862012 w 3128973"/>
                <a:gd name="connsiteY184" fmla="*/ 723900 h 1752600"/>
                <a:gd name="connsiteX185" fmla="*/ 795337 w 3128973"/>
                <a:gd name="connsiteY185" fmla="*/ 685800 h 1752600"/>
                <a:gd name="connsiteX186" fmla="*/ 776287 w 3128973"/>
                <a:gd name="connsiteY186" fmla="*/ 666750 h 1752600"/>
                <a:gd name="connsiteX187" fmla="*/ 762000 w 3128973"/>
                <a:gd name="connsiteY187" fmla="*/ 661987 h 1752600"/>
                <a:gd name="connsiteX188" fmla="*/ 742950 w 3128973"/>
                <a:gd name="connsiteY188" fmla="*/ 647700 h 1752600"/>
                <a:gd name="connsiteX189" fmla="*/ 709612 w 3128973"/>
                <a:gd name="connsiteY189" fmla="*/ 638175 h 1752600"/>
                <a:gd name="connsiteX190" fmla="*/ 695325 w 3128973"/>
                <a:gd name="connsiteY190" fmla="*/ 628650 h 1752600"/>
                <a:gd name="connsiteX191" fmla="*/ 681037 w 3128973"/>
                <a:gd name="connsiteY191" fmla="*/ 623887 h 1752600"/>
                <a:gd name="connsiteX192" fmla="*/ 676275 w 3128973"/>
                <a:gd name="connsiteY192" fmla="*/ 604837 h 1752600"/>
                <a:gd name="connsiteX193" fmla="*/ 666750 w 3128973"/>
                <a:gd name="connsiteY193" fmla="*/ 576262 h 1752600"/>
                <a:gd name="connsiteX194" fmla="*/ 661987 w 3128973"/>
                <a:gd name="connsiteY194" fmla="*/ 561975 h 1752600"/>
                <a:gd name="connsiteX195" fmla="*/ 666750 w 3128973"/>
                <a:gd name="connsiteY195" fmla="*/ 538162 h 1752600"/>
                <a:gd name="connsiteX196" fmla="*/ 638175 w 3128973"/>
                <a:gd name="connsiteY196" fmla="*/ 514350 h 1752600"/>
                <a:gd name="connsiteX197" fmla="*/ 619125 w 3128973"/>
                <a:gd name="connsiteY197" fmla="*/ 500062 h 1752600"/>
                <a:gd name="connsiteX198" fmla="*/ 576262 w 3128973"/>
                <a:gd name="connsiteY198" fmla="*/ 490537 h 1752600"/>
                <a:gd name="connsiteX199" fmla="*/ 542925 w 3128973"/>
                <a:gd name="connsiteY199" fmla="*/ 452437 h 1752600"/>
                <a:gd name="connsiteX200" fmla="*/ 525462 w 3128973"/>
                <a:gd name="connsiteY200" fmla="*/ 485775 h 1752600"/>
                <a:gd name="connsiteX201" fmla="*/ 504825 w 3128973"/>
                <a:gd name="connsiteY201" fmla="*/ 466725 h 1752600"/>
                <a:gd name="connsiteX202" fmla="*/ 454025 w 3128973"/>
                <a:gd name="connsiteY202" fmla="*/ 466725 h 1752600"/>
                <a:gd name="connsiteX203" fmla="*/ 407987 w 3128973"/>
                <a:gd name="connsiteY203" fmla="*/ 473075 h 1752600"/>
                <a:gd name="connsiteX204" fmla="*/ 395287 w 3128973"/>
                <a:gd name="connsiteY204" fmla="*/ 409575 h 1752600"/>
                <a:gd name="connsiteX205" fmla="*/ 376237 w 3128973"/>
                <a:gd name="connsiteY205" fmla="*/ 404812 h 1752600"/>
                <a:gd name="connsiteX206" fmla="*/ 342900 w 3128973"/>
                <a:gd name="connsiteY206" fmla="*/ 400050 h 1752600"/>
                <a:gd name="connsiteX207" fmla="*/ 314325 w 3128973"/>
                <a:gd name="connsiteY207" fmla="*/ 390525 h 1752600"/>
                <a:gd name="connsiteX208" fmla="*/ 273844 w 3128973"/>
                <a:gd name="connsiteY208" fmla="*/ 383382 h 1752600"/>
                <a:gd name="connsiteX209" fmla="*/ 257175 w 3128973"/>
                <a:gd name="connsiteY209" fmla="*/ 371475 h 1752600"/>
                <a:gd name="connsiteX210" fmla="*/ 245269 w 3128973"/>
                <a:gd name="connsiteY210" fmla="*/ 364331 h 1752600"/>
                <a:gd name="connsiteX211" fmla="*/ 223837 w 3128973"/>
                <a:gd name="connsiteY211" fmla="*/ 347662 h 1752600"/>
                <a:gd name="connsiteX212" fmla="*/ 190500 w 3128973"/>
                <a:gd name="connsiteY212" fmla="*/ 338137 h 1752600"/>
                <a:gd name="connsiteX213" fmla="*/ 147637 w 3128973"/>
                <a:gd name="connsiteY213" fmla="*/ 333375 h 1752600"/>
                <a:gd name="connsiteX214" fmla="*/ 119062 w 3128973"/>
                <a:gd name="connsiteY214" fmla="*/ 323850 h 1752600"/>
                <a:gd name="connsiteX215" fmla="*/ 104775 w 3128973"/>
                <a:gd name="connsiteY215" fmla="*/ 319087 h 1752600"/>
                <a:gd name="connsiteX216" fmla="*/ 61912 w 3128973"/>
                <a:gd name="connsiteY216" fmla="*/ 300037 h 1752600"/>
                <a:gd name="connsiteX217" fmla="*/ 23812 w 3128973"/>
                <a:gd name="connsiteY217" fmla="*/ 290512 h 1752600"/>
                <a:gd name="connsiteX218" fmla="*/ 9525 w 3128973"/>
                <a:gd name="connsiteY218" fmla="*/ 261937 h 1752600"/>
                <a:gd name="connsiteX219" fmla="*/ 0 w 3128973"/>
                <a:gd name="connsiteY219" fmla="*/ 290512 h 1752600"/>
                <a:gd name="connsiteX220" fmla="*/ 4762 w 3128973"/>
                <a:gd name="connsiteY220" fmla="*/ 247650 h 1752600"/>
                <a:gd name="connsiteX221" fmla="*/ 19050 w 3128973"/>
                <a:gd name="connsiteY221" fmla="*/ 200025 h 1752600"/>
                <a:gd name="connsiteX222" fmla="*/ 23812 w 3128973"/>
                <a:gd name="connsiteY222" fmla="*/ 185737 h 1752600"/>
                <a:gd name="connsiteX223" fmla="*/ 71437 w 3128973"/>
                <a:gd name="connsiteY223" fmla="*/ 171450 h 1752600"/>
                <a:gd name="connsiteX224" fmla="*/ 85725 w 3128973"/>
                <a:gd name="connsiteY224" fmla="*/ 166687 h 1752600"/>
                <a:gd name="connsiteX225" fmla="*/ 100012 w 3128973"/>
                <a:gd name="connsiteY225" fmla="*/ 161925 h 1752600"/>
                <a:gd name="connsiteX226" fmla="*/ 114300 w 3128973"/>
                <a:gd name="connsiteY226" fmla="*/ 152400 h 1752600"/>
                <a:gd name="connsiteX227" fmla="*/ 133350 w 3128973"/>
                <a:gd name="connsiteY227" fmla="*/ 123825 h 1752600"/>
                <a:gd name="connsiteX228" fmla="*/ 138112 w 3128973"/>
                <a:gd name="connsiteY228" fmla="*/ 109537 h 1752600"/>
                <a:gd name="connsiteX229" fmla="*/ 135467 w 3128973"/>
                <a:gd name="connsiteY229" fmla="*/ 97059 h 1752600"/>
                <a:gd name="connsiteX230" fmla="*/ 142875 w 3128973"/>
                <a:gd name="connsiteY230" fmla="*/ 71437 h 1752600"/>
                <a:gd name="connsiteX231" fmla="*/ 157162 w 3128973"/>
                <a:gd name="connsiteY231" fmla="*/ 57150 h 1752600"/>
                <a:gd name="connsiteX232" fmla="*/ 200025 w 3128973"/>
                <a:gd name="connsiteY232" fmla="*/ 33337 h 1752600"/>
                <a:gd name="connsiteX233" fmla="*/ 309562 w 3128973"/>
                <a:gd name="connsiteY233" fmla="*/ 28575 h 1752600"/>
                <a:gd name="connsiteX234" fmla="*/ 400050 w 3128973"/>
                <a:gd name="connsiteY234" fmla="*/ 14287 h 1752600"/>
                <a:gd name="connsiteX235" fmla="*/ 414337 w 3128973"/>
                <a:gd name="connsiteY235" fmla="*/ 9525 h 1752600"/>
                <a:gd name="connsiteX236" fmla="*/ 481012 w 3128973"/>
                <a:gd name="connsiteY236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214562 w 3128973"/>
                <a:gd name="connsiteY25" fmla="*/ 109984 h 1752600"/>
                <a:gd name="connsiteX26" fmla="*/ 2046801 w 3128973"/>
                <a:gd name="connsiteY26" fmla="*/ 262295 h 1752600"/>
                <a:gd name="connsiteX27" fmla="*/ 2033587 w 3128973"/>
                <a:gd name="connsiteY27" fmla="*/ 266700 h 1752600"/>
                <a:gd name="connsiteX28" fmla="*/ 2019300 w 3128973"/>
                <a:gd name="connsiteY28" fmla="*/ 280987 h 1752600"/>
                <a:gd name="connsiteX29" fmla="*/ 1990725 w 3128973"/>
                <a:gd name="connsiteY29" fmla="*/ 300037 h 1752600"/>
                <a:gd name="connsiteX30" fmla="*/ 1981200 w 3128973"/>
                <a:gd name="connsiteY30" fmla="*/ 314325 h 1752600"/>
                <a:gd name="connsiteX31" fmla="*/ 1981200 w 3128973"/>
                <a:gd name="connsiteY31" fmla="*/ 419100 h 1752600"/>
                <a:gd name="connsiteX32" fmla="*/ 1985962 w 3128973"/>
                <a:gd name="connsiteY32" fmla="*/ 433387 h 1752600"/>
                <a:gd name="connsiteX33" fmla="*/ 2000250 w 3128973"/>
                <a:gd name="connsiteY33" fmla="*/ 442912 h 1752600"/>
                <a:gd name="connsiteX34" fmla="*/ 2005012 w 3128973"/>
                <a:gd name="connsiteY34" fmla="*/ 457200 h 1752600"/>
                <a:gd name="connsiteX35" fmla="*/ 2005012 w 3128973"/>
                <a:gd name="connsiteY35" fmla="*/ 561975 h 1752600"/>
                <a:gd name="connsiteX36" fmla="*/ 2009775 w 3128973"/>
                <a:gd name="connsiteY36" fmla="*/ 576262 h 1752600"/>
                <a:gd name="connsiteX37" fmla="*/ 2024062 w 3128973"/>
                <a:gd name="connsiteY37" fmla="*/ 581025 h 1752600"/>
                <a:gd name="connsiteX38" fmla="*/ 2038350 w 3128973"/>
                <a:gd name="connsiteY38" fmla="*/ 595312 h 1752600"/>
                <a:gd name="connsiteX39" fmla="*/ 2052637 w 3128973"/>
                <a:gd name="connsiteY39" fmla="*/ 600075 h 1752600"/>
                <a:gd name="connsiteX40" fmla="*/ 2133600 w 3128973"/>
                <a:gd name="connsiteY40" fmla="*/ 590550 h 1752600"/>
                <a:gd name="connsiteX41" fmla="*/ 2147887 w 3128973"/>
                <a:gd name="connsiteY41" fmla="*/ 585787 h 1752600"/>
                <a:gd name="connsiteX42" fmla="*/ 2195512 w 3128973"/>
                <a:gd name="connsiteY42" fmla="*/ 600075 h 1752600"/>
                <a:gd name="connsiteX43" fmla="*/ 2205037 w 3128973"/>
                <a:gd name="connsiteY43" fmla="*/ 614362 h 1752600"/>
                <a:gd name="connsiteX44" fmla="*/ 2219325 w 3128973"/>
                <a:gd name="connsiteY44" fmla="*/ 628650 h 1752600"/>
                <a:gd name="connsiteX45" fmla="*/ 2224087 w 3128973"/>
                <a:gd name="connsiteY45" fmla="*/ 642937 h 1752600"/>
                <a:gd name="connsiteX46" fmla="*/ 2233612 w 3128973"/>
                <a:gd name="connsiteY46" fmla="*/ 657225 h 1752600"/>
                <a:gd name="connsiteX47" fmla="*/ 2247900 w 3128973"/>
                <a:gd name="connsiteY47" fmla="*/ 685800 h 1752600"/>
                <a:gd name="connsiteX48" fmla="*/ 2262187 w 3128973"/>
                <a:gd name="connsiteY48" fmla="*/ 733425 h 1752600"/>
                <a:gd name="connsiteX49" fmla="*/ 2305050 w 3128973"/>
                <a:gd name="connsiteY49" fmla="*/ 771525 h 1752600"/>
                <a:gd name="connsiteX50" fmla="*/ 2319337 w 3128973"/>
                <a:gd name="connsiteY50" fmla="*/ 804862 h 1752600"/>
                <a:gd name="connsiteX51" fmla="*/ 2333625 w 3128973"/>
                <a:gd name="connsiteY51" fmla="*/ 819150 h 1752600"/>
                <a:gd name="connsiteX52" fmla="*/ 2338387 w 3128973"/>
                <a:gd name="connsiteY52" fmla="*/ 833437 h 1752600"/>
                <a:gd name="connsiteX53" fmla="*/ 2352675 w 3128973"/>
                <a:gd name="connsiteY53" fmla="*/ 847725 h 1752600"/>
                <a:gd name="connsiteX54" fmla="*/ 2395537 w 3128973"/>
                <a:gd name="connsiteY54" fmla="*/ 871537 h 1752600"/>
                <a:gd name="connsiteX55" fmla="*/ 2409825 w 3128973"/>
                <a:gd name="connsiteY55" fmla="*/ 890587 h 1752600"/>
                <a:gd name="connsiteX56" fmla="*/ 2424112 w 3128973"/>
                <a:gd name="connsiteY56" fmla="*/ 895350 h 1752600"/>
                <a:gd name="connsiteX57" fmla="*/ 2433637 w 3128973"/>
                <a:gd name="connsiteY57" fmla="*/ 914400 h 1752600"/>
                <a:gd name="connsiteX58" fmla="*/ 2466975 w 3128973"/>
                <a:gd name="connsiteY58" fmla="*/ 942975 h 1752600"/>
                <a:gd name="connsiteX59" fmla="*/ 2474637 w 3128973"/>
                <a:gd name="connsiteY59" fmla="*/ 954728 h 1752600"/>
                <a:gd name="connsiteX60" fmla="*/ 2495550 w 3128973"/>
                <a:gd name="connsiteY60" fmla="*/ 971550 h 1752600"/>
                <a:gd name="connsiteX61" fmla="*/ 2508776 w 3128973"/>
                <a:gd name="connsiteY61" fmla="*/ 983894 h 1752600"/>
                <a:gd name="connsiteX62" fmla="*/ 2533650 w 3128973"/>
                <a:gd name="connsiteY62" fmla="*/ 1000125 h 1752600"/>
                <a:gd name="connsiteX63" fmla="*/ 2547937 w 3128973"/>
                <a:gd name="connsiteY63" fmla="*/ 1028700 h 1752600"/>
                <a:gd name="connsiteX64" fmla="*/ 2552700 w 3128973"/>
                <a:gd name="connsiteY64" fmla="*/ 1042987 h 1752600"/>
                <a:gd name="connsiteX65" fmla="*/ 2576512 w 3128973"/>
                <a:gd name="connsiteY65" fmla="*/ 1071562 h 1752600"/>
                <a:gd name="connsiteX66" fmla="*/ 2584921 w 3128973"/>
                <a:gd name="connsiteY66" fmla="*/ 1082873 h 1752600"/>
                <a:gd name="connsiteX67" fmla="*/ 2600325 w 3128973"/>
                <a:gd name="connsiteY67" fmla="*/ 1095375 h 1752600"/>
                <a:gd name="connsiteX68" fmla="*/ 2609850 w 3128973"/>
                <a:gd name="connsiteY68" fmla="*/ 1109662 h 1752600"/>
                <a:gd name="connsiteX69" fmla="*/ 2652712 w 3128973"/>
                <a:gd name="connsiteY69" fmla="*/ 1143000 h 1752600"/>
                <a:gd name="connsiteX70" fmla="*/ 2681287 w 3128973"/>
                <a:gd name="connsiteY70" fmla="*/ 1152525 h 1752600"/>
                <a:gd name="connsiteX71" fmla="*/ 2700337 w 3128973"/>
                <a:gd name="connsiteY71" fmla="*/ 1162050 h 1752600"/>
                <a:gd name="connsiteX72" fmla="*/ 2714625 w 3128973"/>
                <a:gd name="connsiteY72" fmla="*/ 1171575 h 1752600"/>
                <a:gd name="connsiteX73" fmla="*/ 2752725 w 3128973"/>
                <a:gd name="connsiteY73" fmla="*/ 1181100 h 1752600"/>
                <a:gd name="connsiteX74" fmla="*/ 2767012 w 3128973"/>
                <a:gd name="connsiteY74" fmla="*/ 1195387 h 1752600"/>
                <a:gd name="connsiteX75" fmla="*/ 2781300 w 3128973"/>
                <a:gd name="connsiteY75" fmla="*/ 1200150 h 1752600"/>
                <a:gd name="connsiteX76" fmla="*/ 2795587 w 3128973"/>
                <a:gd name="connsiteY76" fmla="*/ 1209675 h 1752600"/>
                <a:gd name="connsiteX77" fmla="*/ 2805112 w 3128973"/>
                <a:gd name="connsiteY77" fmla="*/ 1223962 h 1752600"/>
                <a:gd name="connsiteX78" fmla="*/ 2809875 w 3128973"/>
                <a:gd name="connsiteY78" fmla="*/ 1238250 h 1752600"/>
                <a:gd name="connsiteX79" fmla="*/ 2833687 w 3128973"/>
                <a:gd name="connsiteY79" fmla="*/ 1276350 h 1752600"/>
                <a:gd name="connsiteX80" fmla="*/ 2895600 w 3128973"/>
                <a:gd name="connsiteY80" fmla="*/ 1333500 h 1752600"/>
                <a:gd name="connsiteX81" fmla="*/ 2900362 w 3128973"/>
                <a:gd name="connsiteY81" fmla="*/ 1352550 h 1752600"/>
                <a:gd name="connsiteX82" fmla="*/ 2928937 w 3128973"/>
                <a:gd name="connsiteY82" fmla="*/ 1395412 h 1752600"/>
                <a:gd name="connsiteX83" fmla="*/ 2943225 w 3128973"/>
                <a:gd name="connsiteY83" fmla="*/ 1404937 h 1752600"/>
                <a:gd name="connsiteX84" fmla="*/ 2957512 w 3128973"/>
                <a:gd name="connsiteY84" fmla="*/ 1419225 h 1752600"/>
                <a:gd name="connsiteX85" fmla="*/ 2986087 w 3128973"/>
                <a:gd name="connsiteY85" fmla="*/ 1443037 h 1752600"/>
                <a:gd name="connsiteX86" fmla="*/ 3000375 w 3128973"/>
                <a:gd name="connsiteY86" fmla="*/ 1462087 h 1752600"/>
                <a:gd name="connsiteX87" fmla="*/ 3016395 w 3128973"/>
                <a:gd name="connsiteY87" fmla="*/ 1476222 h 1752600"/>
                <a:gd name="connsiteX88" fmla="*/ 3028950 w 3128973"/>
                <a:gd name="connsiteY88" fmla="*/ 1495425 h 1752600"/>
                <a:gd name="connsiteX89" fmla="*/ 3043237 w 3128973"/>
                <a:gd name="connsiteY89" fmla="*/ 1552575 h 1752600"/>
                <a:gd name="connsiteX90" fmla="*/ 3052762 w 3128973"/>
                <a:gd name="connsiteY90" fmla="*/ 1566862 h 1752600"/>
                <a:gd name="connsiteX91" fmla="*/ 3057525 w 3128973"/>
                <a:gd name="connsiteY91" fmla="*/ 1581150 h 1752600"/>
                <a:gd name="connsiteX92" fmla="*/ 3067050 w 3128973"/>
                <a:gd name="connsiteY92" fmla="*/ 1662112 h 1752600"/>
                <a:gd name="connsiteX93" fmla="*/ 3071812 w 3128973"/>
                <a:gd name="connsiteY93" fmla="*/ 1676400 h 1752600"/>
                <a:gd name="connsiteX94" fmla="*/ 3100387 w 3128973"/>
                <a:gd name="connsiteY94" fmla="*/ 1690687 h 1752600"/>
                <a:gd name="connsiteX95" fmla="*/ 3114675 w 3128973"/>
                <a:gd name="connsiteY95" fmla="*/ 1685925 h 1752600"/>
                <a:gd name="connsiteX96" fmla="*/ 3124200 w 3128973"/>
                <a:gd name="connsiteY96" fmla="*/ 1671637 h 1752600"/>
                <a:gd name="connsiteX97" fmla="*/ 3128973 w 3128973"/>
                <a:gd name="connsiteY97" fmla="*/ 1651467 h 1752600"/>
                <a:gd name="connsiteX98" fmla="*/ 3128021 w 3128973"/>
                <a:gd name="connsiteY98" fmla="*/ 1710279 h 1752600"/>
                <a:gd name="connsiteX99" fmla="*/ 3043237 w 3128973"/>
                <a:gd name="connsiteY99" fmla="*/ 1714500 h 1752600"/>
                <a:gd name="connsiteX100" fmla="*/ 3028950 w 3128973"/>
                <a:gd name="connsiteY100" fmla="*/ 1728787 h 1752600"/>
                <a:gd name="connsiteX101" fmla="*/ 2986087 w 3128973"/>
                <a:gd name="connsiteY101" fmla="*/ 1738312 h 1752600"/>
                <a:gd name="connsiteX102" fmla="*/ 2971800 w 3128973"/>
                <a:gd name="connsiteY102" fmla="*/ 1743075 h 1752600"/>
                <a:gd name="connsiteX103" fmla="*/ 2943225 w 3128973"/>
                <a:gd name="connsiteY103" fmla="*/ 1738312 h 1752600"/>
                <a:gd name="connsiteX104" fmla="*/ 2928937 w 3128973"/>
                <a:gd name="connsiteY104" fmla="*/ 1747837 h 1752600"/>
                <a:gd name="connsiteX105" fmla="*/ 2914650 w 3128973"/>
                <a:gd name="connsiteY105" fmla="*/ 1752600 h 1752600"/>
                <a:gd name="connsiteX106" fmla="*/ 2895600 w 3128973"/>
                <a:gd name="connsiteY106" fmla="*/ 1724025 h 1752600"/>
                <a:gd name="connsiteX107" fmla="*/ 2883310 w 3128973"/>
                <a:gd name="connsiteY107" fmla="*/ 1701201 h 1752600"/>
                <a:gd name="connsiteX108" fmla="*/ 2883805 w 3128973"/>
                <a:gd name="connsiteY108" fmla="*/ 1696138 h 1752600"/>
                <a:gd name="connsiteX109" fmla="*/ 2871787 w 3128973"/>
                <a:gd name="connsiteY109" fmla="*/ 1685925 h 1752600"/>
                <a:gd name="connsiteX110" fmla="*/ 2847975 w 3128973"/>
                <a:gd name="connsiteY110" fmla="*/ 1657350 h 1752600"/>
                <a:gd name="connsiteX111" fmla="*/ 2834034 w 3128973"/>
                <a:gd name="connsiteY111" fmla="*/ 1637762 h 1752600"/>
                <a:gd name="connsiteX112" fmla="*/ 2814637 w 3128973"/>
                <a:gd name="connsiteY112" fmla="*/ 1619250 h 1752600"/>
                <a:gd name="connsiteX113" fmla="*/ 2809875 w 3128973"/>
                <a:gd name="connsiteY113" fmla="*/ 1604962 h 1752600"/>
                <a:gd name="connsiteX114" fmla="*/ 2795587 w 3128973"/>
                <a:gd name="connsiteY114" fmla="*/ 1600200 h 1752600"/>
                <a:gd name="connsiteX115" fmla="*/ 2781300 w 3128973"/>
                <a:gd name="connsiteY115" fmla="*/ 1590675 h 1752600"/>
                <a:gd name="connsiteX116" fmla="*/ 2752725 w 3128973"/>
                <a:gd name="connsiteY116" fmla="*/ 1581150 h 1752600"/>
                <a:gd name="connsiteX117" fmla="*/ 2733675 w 3128973"/>
                <a:gd name="connsiteY117" fmla="*/ 1625600 h 1752600"/>
                <a:gd name="connsiteX118" fmla="*/ 2709862 w 3128973"/>
                <a:gd name="connsiteY118" fmla="*/ 1619250 h 1752600"/>
                <a:gd name="connsiteX119" fmla="*/ 2723566 w 3128973"/>
                <a:gd name="connsiteY119" fmla="*/ 1590361 h 1752600"/>
                <a:gd name="connsiteX120" fmla="*/ 2674937 w 3128973"/>
                <a:gd name="connsiteY120" fmla="*/ 1560512 h 1752600"/>
                <a:gd name="connsiteX121" fmla="*/ 2643187 w 3128973"/>
                <a:gd name="connsiteY121" fmla="*/ 1495425 h 1752600"/>
                <a:gd name="connsiteX122" fmla="*/ 2628900 w 3128973"/>
                <a:gd name="connsiteY122" fmla="*/ 1490662 h 1752600"/>
                <a:gd name="connsiteX123" fmla="*/ 2595562 w 3128973"/>
                <a:gd name="connsiteY123" fmla="*/ 1481137 h 1752600"/>
                <a:gd name="connsiteX124" fmla="*/ 2581275 w 3128973"/>
                <a:gd name="connsiteY124" fmla="*/ 1466850 h 1752600"/>
                <a:gd name="connsiteX125" fmla="*/ 2552700 w 3128973"/>
                <a:gd name="connsiteY125" fmla="*/ 1457325 h 1752600"/>
                <a:gd name="connsiteX126" fmla="*/ 2538412 w 3128973"/>
                <a:gd name="connsiteY126" fmla="*/ 1447800 h 1752600"/>
                <a:gd name="connsiteX127" fmla="*/ 2519362 w 3128973"/>
                <a:gd name="connsiteY127" fmla="*/ 1443037 h 1752600"/>
                <a:gd name="connsiteX128" fmla="*/ 2490787 w 3128973"/>
                <a:gd name="connsiteY128" fmla="*/ 1433512 h 1752600"/>
                <a:gd name="connsiteX129" fmla="*/ 2476500 w 3128973"/>
                <a:gd name="connsiteY129" fmla="*/ 1428750 h 1752600"/>
                <a:gd name="connsiteX130" fmla="*/ 2466975 w 3128973"/>
                <a:gd name="connsiteY130" fmla="*/ 1414462 h 1752600"/>
                <a:gd name="connsiteX131" fmla="*/ 2447925 w 3128973"/>
                <a:gd name="connsiteY131" fmla="*/ 1409700 h 1752600"/>
                <a:gd name="connsiteX132" fmla="*/ 2309812 w 3128973"/>
                <a:gd name="connsiteY132" fmla="*/ 1395412 h 1752600"/>
                <a:gd name="connsiteX133" fmla="*/ 2295525 w 3128973"/>
                <a:gd name="connsiteY133" fmla="*/ 1390650 h 1752600"/>
                <a:gd name="connsiteX134" fmla="*/ 2257425 w 3128973"/>
                <a:gd name="connsiteY134" fmla="*/ 1381125 h 1752600"/>
                <a:gd name="connsiteX135" fmla="*/ 2238375 w 3128973"/>
                <a:gd name="connsiteY135" fmla="*/ 1366837 h 1752600"/>
                <a:gd name="connsiteX136" fmla="*/ 2224087 w 3128973"/>
                <a:gd name="connsiteY136" fmla="*/ 1362075 h 1752600"/>
                <a:gd name="connsiteX137" fmla="*/ 2176462 w 3128973"/>
                <a:gd name="connsiteY137" fmla="*/ 1338262 h 1752600"/>
                <a:gd name="connsiteX138" fmla="*/ 2162175 w 3128973"/>
                <a:gd name="connsiteY138" fmla="*/ 1328737 h 1752600"/>
                <a:gd name="connsiteX139" fmla="*/ 2114550 w 3128973"/>
                <a:gd name="connsiteY139" fmla="*/ 1314450 h 1752600"/>
                <a:gd name="connsiteX140" fmla="*/ 2100262 w 3128973"/>
                <a:gd name="connsiteY140" fmla="*/ 1300162 h 1752600"/>
                <a:gd name="connsiteX141" fmla="*/ 2085975 w 3128973"/>
                <a:gd name="connsiteY141" fmla="*/ 1295400 h 1752600"/>
                <a:gd name="connsiteX142" fmla="*/ 2055019 w 3128973"/>
                <a:gd name="connsiteY142" fmla="*/ 1290637 h 1752600"/>
                <a:gd name="connsiteX143" fmla="*/ 2028824 w 3128973"/>
                <a:gd name="connsiteY143" fmla="*/ 1283494 h 1752600"/>
                <a:gd name="connsiteX144" fmla="*/ 2005012 w 3128973"/>
                <a:gd name="connsiteY144" fmla="*/ 1271587 h 1752600"/>
                <a:gd name="connsiteX145" fmla="*/ 1985962 w 3128973"/>
                <a:gd name="connsiteY145" fmla="*/ 1262062 h 1752600"/>
                <a:gd name="connsiteX146" fmla="*/ 1971675 w 3128973"/>
                <a:gd name="connsiteY146" fmla="*/ 1257300 h 1752600"/>
                <a:gd name="connsiteX147" fmla="*/ 1943100 w 3128973"/>
                <a:gd name="connsiteY147" fmla="*/ 1238250 h 1752600"/>
                <a:gd name="connsiteX148" fmla="*/ 1914525 w 3128973"/>
                <a:gd name="connsiteY148" fmla="*/ 1219200 h 1752600"/>
                <a:gd name="connsiteX149" fmla="*/ 1885950 w 3128973"/>
                <a:gd name="connsiteY149" fmla="*/ 1209675 h 1752600"/>
                <a:gd name="connsiteX150" fmla="*/ 1843087 w 3128973"/>
                <a:gd name="connsiteY150" fmla="*/ 1195387 h 1752600"/>
                <a:gd name="connsiteX151" fmla="*/ 1757362 w 3128973"/>
                <a:gd name="connsiteY151" fmla="*/ 1185862 h 1752600"/>
                <a:gd name="connsiteX152" fmla="*/ 1700212 w 3128973"/>
                <a:gd name="connsiteY152" fmla="*/ 1166812 h 1752600"/>
                <a:gd name="connsiteX153" fmla="*/ 1671637 w 3128973"/>
                <a:gd name="connsiteY153" fmla="*/ 1147762 h 1752600"/>
                <a:gd name="connsiteX154" fmla="*/ 1652587 w 3128973"/>
                <a:gd name="connsiteY154" fmla="*/ 1138237 h 1752600"/>
                <a:gd name="connsiteX155" fmla="*/ 1638300 w 3128973"/>
                <a:gd name="connsiteY155" fmla="*/ 1128712 h 1752600"/>
                <a:gd name="connsiteX156" fmla="*/ 1590675 w 3128973"/>
                <a:gd name="connsiteY156" fmla="*/ 1138238 h 1752600"/>
                <a:gd name="connsiteX157" fmla="*/ 1559719 w 3128973"/>
                <a:gd name="connsiteY157" fmla="*/ 1109662 h 1752600"/>
                <a:gd name="connsiteX158" fmla="*/ 1528762 w 3128973"/>
                <a:gd name="connsiteY158" fmla="*/ 1085850 h 1752600"/>
                <a:gd name="connsiteX159" fmla="*/ 1514475 w 3128973"/>
                <a:gd name="connsiteY159" fmla="*/ 1081087 h 1752600"/>
                <a:gd name="connsiteX160" fmla="*/ 1470025 w 3128973"/>
                <a:gd name="connsiteY160" fmla="*/ 1130300 h 1752600"/>
                <a:gd name="connsiteX161" fmla="*/ 1433512 w 3128973"/>
                <a:gd name="connsiteY161" fmla="*/ 1108075 h 1752600"/>
                <a:gd name="connsiteX162" fmla="*/ 1423987 w 3128973"/>
                <a:gd name="connsiteY162" fmla="*/ 1087437 h 1752600"/>
                <a:gd name="connsiteX163" fmla="*/ 1381125 w 3128973"/>
                <a:gd name="connsiteY163" fmla="*/ 1095375 h 1752600"/>
                <a:gd name="connsiteX164" fmla="*/ 1383506 w 3128973"/>
                <a:gd name="connsiteY164" fmla="*/ 1028700 h 1752600"/>
                <a:gd name="connsiteX165" fmla="*/ 1366838 w 3128973"/>
                <a:gd name="connsiteY165" fmla="*/ 1019175 h 1752600"/>
                <a:gd name="connsiteX166" fmla="*/ 1335881 w 3128973"/>
                <a:gd name="connsiteY166" fmla="*/ 1007268 h 1752600"/>
                <a:gd name="connsiteX167" fmla="*/ 1319213 w 3128973"/>
                <a:gd name="connsiteY167" fmla="*/ 1007268 h 1752600"/>
                <a:gd name="connsiteX168" fmla="*/ 1295400 w 3128973"/>
                <a:gd name="connsiteY168" fmla="*/ 976312 h 1752600"/>
                <a:gd name="connsiteX169" fmla="*/ 1281112 w 3128973"/>
                <a:gd name="connsiteY169" fmla="*/ 966787 h 1752600"/>
                <a:gd name="connsiteX170" fmla="*/ 1238250 w 3128973"/>
                <a:gd name="connsiteY170" fmla="*/ 947737 h 1752600"/>
                <a:gd name="connsiteX171" fmla="*/ 1212850 w 3128973"/>
                <a:gd name="connsiteY171" fmla="*/ 995362 h 1752600"/>
                <a:gd name="connsiteX172" fmla="*/ 1201737 w 3128973"/>
                <a:gd name="connsiteY172" fmla="*/ 987425 h 1752600"/>
                <a:gd name="connsiteX173" fmla="*/ 1163637 w 3128973"/>
                <a:gd name="connsiteY173" fmla="*/ 952277 h 1752600"/>
                <a:gd name="connsiteX174" fmla="*/ 1133475 w 3128973"/>
                <a:gd name="connsiteY174" fmla="*/ 925512 h 1752600"/>
                <a:gd name="connsiteX175" fmla="*/ 1085850 w 3128973"/>
                <a:gd name="connsiteY175" fmla="*/ 859631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25462 w 3128973"/>
                <a:gd name="connsiteY201" fmla="*/ 485775 h 1752600"/>
                <a:gd name="connsiteX202" fmla="*/ 504825 w 3128973"/>
                <a:gd name="connsiteY202" fmla="*/ 466725 h 1752600"/>
                <a:gd name="connsiteX203" fmla="*/ 454025 w 3128973"/>
                <a:gd name="connsiteY203" fmla="*/ 466725 h 1752600"/>
                <a:gd name="connsiteX204" fmla="*/ 407987 w 3128973"/>
                <a:gd name="connsiteY204" fmla="*/ 473075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73844 w 3128973"/>
                <a:gd name="connsiteY209" fmla="*/ 383382 h 1752600"/>
                <a:gd name="connsiteX210" fmla="*/ 257175 w 3128973"/>
                <a:gd name="connsiteY210" fmla="*/ 371475 h 1752600"/>
                <a:gd name="connsiteX211" fmla="*/ 245269 w 3128973"/>
                <a:gd name="connsiteY211" fmla="*/ 364331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046801 w 3128973"/>
                <a:gd name="connsiteY26" fmla="*/ 262295 h 1752600"/>
                <a:gd name="connsiteX27" fmla="*/ 2033587 w 3128973"/>
                <a:gd name="connsiteY27" fmla="*/ 266700 h 1752600"/>
                <a:gd name="connsiteX28" fmla="*/ 2019300 w 3128973"/>
                <a:gd name="connsiteY28" fmla="*/ 280987 h 1752600"/>
                <a:gd name="connsiteX29" fmla="*/ 1990725 w 3128973"/>
                <a:gd name="connsiteY29" fmla="*/ 300037 h 1752600"/>
                <a:gd name="connsiteX30" fmla="*/ 1981200 w 3128973"/>
                <a:gd name="connsiteY30" fmla="*/ 314325 h 1752600"/>
                <a:gd name="connsiteX31" fmla="*/ 1981200 w 3128973"/>
                <a:gd name="connsiteY31" fmla="*/ 419100 h 1752600"/>
                <a:gd name="connsiteX32" fmla="*/ 1985962 w 3128973"/>
                <a:gd name="connsiteY32" fmla="*/ 433387 h 1752600"/>
                <a:gd name="connsiteX33" fmla="*/ 2000250 w 3128973"/>
                <a:gd name="connsiteY33" fmla="*/ 442912 h 1752600"/>
                <a:gd name="connsiteX34" fmla="*/ 2005012 w 3128973"/>
                <a:gd name="connsiteY34" fmla="*/ 457200 h 1752600"/>
                <a:gd name="connsiteX35" fmla="*/ 2005012 w 3128973"/>
                <a:gd name="connsiteY35" fmla="*/ 561975 h 1752600"/>
                <a:gd name="connsiteX36" fmla="*/ 2009775 w 3128973"/>
                <a:gd name="connsiteY36" fmla="*/ 576262 h 1752600"/>
                <a:gd name="connsiteX37" fmla="*/ 2024062 w 3128973"/>
                <a:gd name="connsiteY37" fmla="*/ 581025 h 1752600"/>
                <a:gd name="connsiteX38" fmla="*/ 2038350 w 3128973"/>
                <a:gd name="connsiteY38" fmla="*/ 595312 h 1752600"/>
                <a:gd name="connsiteX39" fmla="*/ 2052637 w 3128973"/>
                <a:gd name="connsiteY39" fmla="*/ 600075 h 1752600"/>
                <a:gd name="connsiteX40" fmla="*/ 2133600 w 3128973"/>
                <a:gd name="connsiteY40" fmla="*/ 590550 h 1752600"/>
                <a:gd name="connsiteX41" fmla="*/ 2147887 w 3128973"/>
                <a:gd name="connsiteY41" fmla="*/ 585787 h 1752600"/>
                <a:gd name="connsiteX42" fmla="*/ 2195512 w 3128973"/>
                <a:gd name="connsiteY42" fmla="*/ 600075 h 1752600"/>
                <a:gd name="connsiteX43" fmla="*/ 2205037 w 3128973"/>
                <a:gd name="connsiteY43" fmla="*/ 614362 h 1752600"/>
                <a:gd name="connsiteX44" fmla="*/ 2219325 w 3128973"/>
                <a:gd name="connsiteY44" fmla="*/ 628650 h 1752600"/>
                <a:gd name="connsiteX45" fmla="*/ 2224087 w 3128973"/>
                <a:gd name="connsiteY45" fmla="*/ 642937 h 1752600"/>
                <a:gd name="connsiteX46" fmla="*/ 2233612 w 3128973"/>
                <a:gd name="connsiteY46" fmla="*/ 657225 h 1752600"/>
                <a:gd name="connsiteX47" fmla="*/ 2247900 w 3128973"/>
                <a:gd name="connsiteY47" fmla="*/ 685800 h 1752600"/>
                <a:gd name="connsiteX48" fmla="*/ 2262187 w 3128973"/>
                <a:gd name="connsiteY48" fmla="*/ 733425 h 1752600"/>
                <a:gd name="connsiteX49" fmla="*/ 2305050 w 3128973"/>
                <a:gd name="connsiteY49" fmla="*/ 771525 h 1752600"/>
                <a:gd name="connsiteX50" fmla="*/ 2319337 w 3128973"/>
                <a:gd name="connsiteY50" fmla="*/ 804862 h 1752600"/>
                <a:gd name="connsiteX51" fmla="*/ 2333625 w 3128973"/>
                <a:gd name="connsiteY51" fmla="*/ 819150 h 1752600"/>
                <a:gd name="connsiteX52" fmla="*/ 2338387 w 3128973"/>
                <a:gd name="connsiteY52" fmla="*/ 833437 h 1752600"/>
                <a:gd name="connsiteX53" fmla="*/ 2352675 w 3128973"/>
                <a:gd name="connsiteY53" fmla="*/ 847725 h 1752600"/>
                <a:gd name="connsiteX54" fmla="*/ 2395537 w 3128973"/>
                <a:gd name="connsiteY54" fmla="*/ 871537 h 1752600"/>
                <a:gd name="connsiteX55" fmla="*/ 2409825 w 3128973"/>
                <a:gd name="connsiteY55" fmla="*/ 890587 h 1752600"/>
                <a:gd name="connsiteX56" fmla="*/ 2424112 w 3128973"/>
                <a:gd name="connsiteY56" fmla="*/ 895350 h 1752600"/>
                <a:gd name="connsiteX57" fmla="*/ 2433637 w 3128973"/>
                <a:gd name="connsiteY57" fmla="*/ 914400 h 1752600"/>
                <a:gd name="connsiteX58" fmla="*/ 2466975 w 3128973"/>
                <a:gd name="connsiteY58" fmla="*/ 942975 h 1752600"/>
                <a:gd name="connsiteX59" fmla="*/ 2474637 w 3128973"/>
                <a:gd name="connsiteY59" fmla="*/ 954728 h 1752600"/>
                <a:gd name="connsiteX60" fmla="*/ 2495550 w 3128973"/>
                <a:gd name="connsiteY60" fmla="*/ 971550 h 1752600"/>
                <a:gd name="connsiteX61" fmla="*/ 2508776 w 3128973"/>
                <a:gd name="connsiteY61" fmla="*/ 983894 h 1752600"/>
                <a:gd name="connsiteX62" fmla="*/ 2533650 w 3128973"/>
                <a:gd name="connsiteY62" fmla="*/ 1000125 h 1752600"/>
                <a:gd name="connsiteX63" fmla="*/ 2547937 w 3128973"/>
                <a:gd name="connsiteY63" fmla="*/ 1028700 h 1752600"/>
                <a:gd name="connsiteX64" fmla="*/ 2552700 w 3128973"/>
                <a:gd name="connsiteY64" fmla="*/ 1042987 h 1752600"/>
                <a:gd name="connsiteX65" fmla="*/ 2576512 w 3128973"/>
                <a:gd name="connsiteY65" fmla="*/ 1071562 h 1752600"/>
                <a:gd name="connsiteX66" fmla="*/ 2584921 w 3128973"/>
                <a:gd name="connsiteY66" fmla="*/ 1082873 h 1752600"/>
                <a:gd name="connsiteX67" fmla="*/ 2600325 w 3128973"/>
                <a:gd name="connsiteY67" fmla="*/ 1095375 h 1752600"/>
                <a:gd name="connsiteX68" fmla="*/ 2609850 w 3128973"/>
                <a:gd name="connsiteY68" fmla="*/ 1109662 h 1752600"/>
                <a:gd name="connsiteX69" fmla="*/ 2652712 w 3128973"/>
                <a:gd name="connsiteY69" fmla="*/ 1143000 h 1752600"/>
                <a:gd name="connsiteX70" fmla="*/ 2681287 w 3128973"/>
                <a:gd name="connsiteY70" fmla="*/ 1152525 h 1752600"/>
                <a:gd name="connsiteX71" fmla="*/ 2700337 w 3128973"/>
                <a:gd name="connsiteY71" fmla="*/ 1162050 h 1752600"/>
                <a:gd name="connsiteX72" fmla="*/ 2714625 w 3128973"/>
                <a:gd name="connsiteY72" fmla="*/ 1171575 h 1752600"/>
                <a:gd name="connsiteX73" fmla="*/ 2752725 w 3128973"/>
                <a:gd name="connsiteY73" fmla="*/ 1181100 h 1752600"/>
                <a:gd name="connsiteX74" fmla="*/ 2767012 w 3128973"/>
                <a:gd name="connsiteY74" fmla="*/ 1195387 h 1752600"/>
                <a:gd name="connsiteX75" fmla="*/ 2781300 w 3128973"/>
                <a:gd name="connsiteY75" fmla="*/ 1200150 h 1752600"/>
                <a:gd name="connsiteX76" fmla="*/ 2795587 w 3128973"/>
                <a:gd name="connsiteY76" fmla="*/ 1209675 h 1752600"/>
                <a:gd name="connsiteX77" fmla="*/ 2805112 w 3128973"/>
                <a:gd name="connsiteY77" fmla="*/ 1223962 h 1752600"/>
                <a:gd name="connsiteX78" fmla="*/ 2809875 w 3128973"/>
                <a:gd name="connsiteY78" fmla="*/ 1238250 h 1752600"/>
                <a:gd name="connsiteX79" fmla="*/ 2833687 w 3128973"/>
                <a:gd name="connsiteY79" fmla="*/ 1276350 h 1752600"/>
                <a:gd name="connsiteX80" fmla="*/ 2895600 w 3128973"/>
                <a:gd name="connsiteY80" fmla="*/ 1333500 h 1752600"/>
                <a:gd name="connsiteX81" fmla="*/ 2900362 w 3128973"/>
                <a:gd name="connsiteY81" fmla="*/ 1352550 h 1752600"/>
                <a:gd name="connsiteX82" fmla="*/ 2928937 w 3128973"/>
                <a:gd name="connsiteY82" fmla="*/ 1395412 h 1752600"/>
                <a:gd name="connsiteX83" fmla="*/ 2943225 w 3128973"/>
                <a:gd name="connsiteY83" fmla="*/ 1404937 h 1752600"/>
                <a:gd name="connsiteX84" fmla="*/ 2957512 w 3128973"/>
                <a:gd name="connsiteY84" fmla="*/ 1419225 h 1752600"/>
                <a:gd name="connsiteX85" fmla="*/ 2986087 w 3128973"/>
                <a:gd name="connsiteY85" fmla="*/ 1443037 h 1752600"/>
                <a:gd name="connsiteX86" fmla="*/ 3000375 w 3128973"/>
                <a:gd name="connsiteY86" fmla="*/ 1462087 h 1752600"/>
                <a:gd name="connsiteX87" fmla="*/ 3016395 w 3128973"/>
                <a:gd name="connsiteY87" fmla="*/ 1476222 h 1752600"/>
                <a:gd name="connsiteX88" fmla="*/ 3028950 w 3128973"/>
                <a:gd name="connsiteY88" fmla="*/ 1495425 h 1752600"/>
                <a:gd name="connsiteX89" fmla="*/ 3043237 w 3128973"/>
                <a:gd name="connsiteY89" fmla="*/ 1552575 h 1752600"/>
                <a:gd name="connsiteX90" fmla="*/ 3052762 w 3128973"/>
                <a:gd name="connsiteY90" fmla="*/ 1566862 h 1752600"/>
                <a:gd name="connsiteX91" fmla="*/ 3057525 w 3128973"/>
                <a:gd name="connsiteY91" fmla="*/ 1581150 h 1752600"/>
                <a:gd name="connsiteX92" fmla="*/ 3067050 w 3128973"/>
                <a:gd name="connsiteY92" fmla="*/ 1662112 h 1752600"/>
                <a:gd name="connsiteX93" fmla="*/ 3071812 w 3128973"/>
                <a:gd name="connsiteY93" fmla="*/ 1676400 h 1752600"/>
                <a:gd name="connsiteX94" fmla="*/ 3100387 w 3128973"/>
                <a:gd name="connsiteY94" fmla="*/ 1690687 h 1752600"/>
                <a:gd name="connsiteX95" fmla="*/ 3114675 w 3128973"/>
                <a:gd name="connsiteY95" fmla="*/ 1685925 h 1752600"/>
                <a:gd name="connsiteX96" fmla="*/ 3124200 w 3128973"/>
                <a:gd name="connsiteY96" fmla="*/ 1671637 h 1752600"/>
                <a:gd name="connsiteX97" fmla="*/ 3128973 w 3128973"/>
                <a:gd name="connsiteY97" fmla="*/ 1651467 h 1752600"/>
                <a:gd name="connsiteX98" fmla="*/ 3128021 w 3128973"/>
                <a:gd name="connsiteY98" fmla="*/ 1710279 h 1752600"/>
                <a:gd name="connsiteX99" fmla="*/ 3043237 w 3128973"/>
                <a:gd name="connsiteY99" fmla="*/ 1714500 h 1752600"/>
                <a:gd name="connsiteX100" fmla="*/ 3028950 w 3128973"/>
                <a:gd name="connsiteY100" fmla="*/ 1728787 h 1752600"/>
                <a:gd name="connsiteX101" fmla="*/ 2986087 w 3128973"/>
                <a:gd name="connsiteY101" fmla="*/ 1738312 h 1752600"/>
                <a:gd name="connsiteX102" fmla="*/ 2971800 w 3128973"/>
                <a:gd name="connsiteY102" fmla="*/ 1743075 h 1752600"/>
                <a:gd name="connsiteX103" fmla="*/ 2943225 w 3128973"/>
                <a:gd name="connsiteY103" fmla="*/ 1738312 h 1752600"/>
                <a:gd name="connsiteX104" fmla="*/ 2928937 w 3128973"/>
                <a:gd name="connsiteY104" fmla="*/ 1747837 h 1752600"/>
                <a:gd name="connsiteX105" fmla="*/ 2914650 w 3128973"/>
                <a:gd name="connsiteY105" fmla="*/ 1752600 h 1752600"/>
                <a:gd name="connsiteX106" fmla="*/ 2895600 w 3128973"/>
                <a:gd name="connsiteY106" fmla="*/ 1724025 h 1752600"/>
                <a:gd name="connsiteX107" fmla="*/ 2883310 w 3128973"/>
                <a:gd name="connsiteY107" fmla="*/ 1701201 h 1752600"/>
                <a:gd name="connsiteX108" fmla="*/ 2883805 w 3128973"/>
                <a:gd name="connsiteY108" fmla="*/ 1696138 h 1752600"/>
                <a:gd name="connsiteX109" fmla="*/ 2871787 w 3128973"/>
                <a:gd name="connsiteY109" fmla="*/ 1685925 h 1752600"/>
                <a:gd name="connsiteX110" fmla="*/ 2847975 w 3128973"/>
                <a:gd name="connsiteY110" fmla="*/ 1657350 h 1752600"/>
                <a:gd name="connsiteX111" fmla="*/ 2834034 w 3128973"/>
                <a:gd name="connsiteY111" fmla="*/ 1637762 h 1752600"/>
                <a:gd name="connsiteX112" fmla="*/ 2814637 w 3128973"/>
                <a:gd name="connsiteY112" fmla="*/ 1619250 h 1752600"/>
                <a:gd name="connsiteX113" fmla="*/ 2809875 w 3128973"/>
                <a:gd name="connsiteY113" fmla="*/ 1604962 h 1752600"/>
                <a:gd name="connsiteX114" fmla="*/ 2795587 w 3128973"/>
                <a:gd name="connsiteY114" fmla="*/ 1600200 h 1752600"/>
                <a:gd name="connsiteX115" fmla="*/ 2781300 w 3128973"/>
                <a:gd name="connsiteY115" fmla="*/ 1590675 h 1752600"/>
                <a:gd name="connsiteX116" fmla="*/ 2752725 w 3128973"/>
                <a:gd name="connsiteY116" fmla="*/ 1581150 h 1752600"/>
                <a:gd name="connsiteX117" fmla="*/ 2733675 w 3128973"/>
                <a:gd name="connsiteY117" fmla="*/ 1625600 h 1752600"/>
                <a:gd name="connsiteX118" fmla="*/ 2709862 w 3128973"/>
                <a:gd name="connsiteY118" fmla="*/ 1619250 h 1752600"/>
                <a:gd name="connsiteX119" fmla="*/ 2723566 w 3128973"/>
                <a:gd name="connsiteY119" fmla="*/ 1590361 h 1752600"/>
                <a:gd name="connsiteX120" fmla="*/ 2674937 w 3128973"/>
                <a:gd name="connsiteY120" fmla="*/ 1560512 h 1752600"/>
                <a:gd name="connsiteX121" fmla="*/ 2643187 w 3128973"/>
                <a:gd name="connsiteY121" fmla="*/ 1495425 h 1752600"/>
                <a:gd name="connsiteX122" fmla="*/ 2628900 w 3128973"/>
                <a:gd name="connsiteY122" fmla="*/ 1490662 h 1752600"/>
                <a:gd name="connsiteX123" fmla="*/ 2595562 w 3128973"/>
                <a:gd name="connsiteY123" fmla="*/ 1481137 h 1752600"/>
                <a:gd name="connsiteX124" fmla="*/ 2581275 w 3128973"/>
                <a:gd name="connsiteY124" fmla="*/ 1466850 h 1752600"/>
                <a:gd name="connsiteX125" fmla="*/ 2552700 w 3128973"/>
                <a:gd name="connsiteY125" fmla="*/ 1457325 h 1752600"/>
                <a:gd name="connsiteX126" fmla="*/ 2538412 w 3128973"/>
                <a:gd name="connsiteY126" fmla="*/ 1447800 h 1752600"/>
                <a:gd name="connsiteX127" fmla="*/ 2519362 w 3128973"/>
                <a:gd name="connsiteY127" fmla="*/ 1443037 h 1752600"/>
                <a:gd name="connsiteX128" fmla="*/ 2490787 w 3128973"/>
                <a:gd name="connsiteY128" fmla="*/ 1433512 h 1752600"/>
                <a:gd name="connsiteX129" fmla="*/ 2476500 w 3128973"/>
                <a:gd name="connsiteY129" fmla="*/ 1428750 h 1752600"/>
                <a:gd name="connsiteX130" fmla="*/ 2466975 w 3128973"/>
                <a:gd name="connsiteY130" fmla="*/ 1414462 h 1752600"/>
                <a:gd name="connsiteX131" fmla="*/ 2447925 w 3128973"/>
                <a:gd name="connsiteY131" fmla="*/ 1409700 h 1752600"/>
                <a:gd name="connsiteX132" fmla="*/ 2309812 w 3128973"/>
                <a:gd name="connsiteY132" fmla="*/ 1395412 h 1752600"/>
                <a:gd name="connsiteX133" fmla="*/ 2295525 w 3128973"/>
                <a:gd name="connsiteY133" fmla="*/ 1390650 h 1752600"/>
                <a:gd name="connsiteX134" fmla="*/ 2257425 w 3128973"/>
                <a:gd name="connsiteY134" fmla="*/ 1381125 h 1752600"/>
                <a:gd name="connsiteX135" fmla="*/ 2238375 w 3128973"/>
                <a:gd name="connsiteY135" fmla="*/ 1366837 h 1752600"/>
                <a:gd name="connsiteX136" fmla="*/ 2224087 w 3128973"/>
                <a:gd name="connsiteY136" fmla="*/ 1362075 h 1752600"/>
                <a:gd name="connsiteX137" fmla="*/ 2176462 w 3128973"/>
                <a:gd name="connsiteY137" fmla="*/ 1338262 h 1752600"/>
                <a:gd name="connsiteX138" fmla="*/ 2162175 w 3128973"/>
                <a:gd name="connsiteY138" fmla="*/ 1328737 h 1752600"/>
                <a:gd name="connsiteX139" fmla="*/ 2114550 w 3128973"/>
                <a:gd name="connsiteY139" fmla="*/ 1314450 h 1752600"/>
                <a:gd name="connsiteX140" fmla="*/ 2100262 w 3128973"/>
                <a:gd name="connsiteY140" fmla="*/ 1300162 h 1752600"/>
                <a:gd name="connsiteX141" fmla="*/ 2085975 w 3128973"/>
                <a:gd name="connsiteY141" fmla="*/ 1295400 h 1752600"/>
                <a:gd name="connsiteX142" fmla="*/ 2055019 w 3128973"/>
                <a:gd name="connsiteY142" fmla="*/ 1290637 h 1752600"/>
                <a:gd name="connsiteX143" fmla="*/ 2028824 w 3128973"/>
                <a:gd name="connsiteY143" fmla="*/ 1283494 h 1752600"/>
                <a:gd name="connsiteX144" fmla="*/ 2005012 w 3128973"/>
                <a:gd name="connsiteY144" fmla="*/ 1271587 h 1752600"/>
                <a:gd name="connsiteX145" fmla="*/ 1985962 w 3128973"/>
                <a:gd name="connsiteY145" fmla="*/ 1262062 h 1752600"/>
                <a:gd name="connsiteX146" fmla="*/ 1971675 w 3128973"/>
                <a:gd name="connsiteY146" fmla="*/ 1257300 h 1752600"/>
                <a:gd name="connsiteX147" fmla="*/ 1943100 w 3128973"/>
                <a:gd name="connsiteY147" fmla="*/ 1238250 h 1752600"/>
                <a:gd name="connsiteX148" fmla="*/ 1914525 w 3128973"/>
                <a:gd name="connsiteY148" fmla="*/ 1219200 h 1752600"/>
                <a:gd name="connsiteX149" fmla="*/ 1885950 w 3128973"/>
                <a:gd name="connsiteY149" fmla="*/ 1209675 h 1752600"/>
                <a:gd name="connsiteX150" fmla="*/ 1843087 w 3128973"/>
                <a:gd name="connsiteY150" fmla="*/ 1195387 h 1752600"/>
                <a:gd name="connsiteX151" fmla="*/ 1757362 w 3128973"/>
                <a:gd name="connsiteY151" fmla="*/ 1185862 h 1752600"/>
                <a:gd name="connsiteX152" fmla="*/ 1700212 w 3128973"/>
                <a:gd name="connsiteY152" fmla="*/ 1166812 h 1752600"/>
                <a:gd name="connsiteX153" fmla="*/ 1671637 w 3128973"/>
                <a:gd name="connsiteY153" fmla="*/ 1147762 h 1752600"/>
                <a:gd name="connsiteX154" fmla="*/ 1652587 w 3128973"/>
                <a:gd name="connsiteY154" fmla="*/ 1138237 h 1752600"/>
                <a:gd name="connsiteX155" fmla="*/ 1638300 w 3128973"/>
                <a:gd name="connsiteY155" fmla="*/ 1128712 h 1752600"/>
                <a:gd name="connsiteX156" fmla="*/ 1590675 w 3128973"/>
                <a:gd name="connsiteY156" fmla="*/ 1138238 h 1752600"/>
                <a:gd name="connsiteX157" fmla="*/ 1559719 w 3128973"/>
                <a:gd name="connsiteY157" fmla="*/ 1109662 h 1752600"/>
                <a:gd name="connsiteX158" fmla="*/ 1528762 w 3128973"/>
                <a:gd name="connsiteY158" fmla="*/ 1085850 h 1752600"/>
                <a:gd name="connsiteX159" fmla="*/ 1514475 w 3128973"/>
                <a:gd name="connsiteY159" fmla="*/ 1081087 h 1752600"/>
                <a:gd name="connsiteX160" fmla="*/ 1470025 w 3128973"/>
                <a:gd name="connsiteY160" fmla="*/ 1130300 h 1752600"/>
                <a:gd name="connsiteX161" fmla="*/ 1433512 w 3128973"/>
                <a:gd name="connsiteY161" fmla="*/ 1108075 h 1752600"/>
                <a:gd name="connsiteX162" fmla="*/ 1423987 w 3128973"/>
                <a:gd name="connsiteY162" fmla="*/ 1087437 h 1752600"/>
                <a:gd name="connsiteX163" fmla="*/ 1381125 w 3128973"/>
                <a:gd name="connsiteY163" fmla="*/ 1095375 h 1752600"/>
                <a:gd name="connsiteX164" fmla="*/ 1383506 w 3128973"/>
                <a:gd name="connsiteY164" fmla="*/ 1028700 h 1752600"/>
                <a:gd name="connsiteX165" fmla="*/ 1366838 w 3128973"/>
                <a:gd name="connsiteY165" fmla="*/ 1019175 h 1752600"/>
                <a:gd name="connsiteX166" fmla="*/ 1335881 w 3128973"/>
                <a:gd name="connsiteY166" fmla="*/ 1007268 h 1752600"/>
                <a:gd name="connsiteX167" fmla="*/ 1319213 w 3128973"/>
                <a:gd name="connsiteY167" fmla="*/ 1007268 h 1752600"/>
                <a:gd name="connsiteX168" fmla="*/ 1295400 w 3128973"/>
                <a:gd name="connsiteY168" fmla="*/ 976312 h 1752600"/>
                <a:gd name="connsiteX169" fmla="*/ 1281112 w 3128973"/>
                <a:gd name="connsiteY169" fmla="*/ 966787 h 1752600"/>
                <a:gd name="connsiteX170" fmla="*/ 1238250 w 3128973"/>
                <a:gd name="connsiteY170" fmla="*/ 947737 h 1752600"/>
                <a:gd name="connsiteX171" fmla="*/ 1212850 w 3128973"/>
                <a:gd name="connsiteY171" fmla="*/ 995362 h 1752600"/>
                <a:gd name="connsiteX172" fmla="*/ 1201737 w 3128973"/>
                <a:gd name="connsiteY172" fmla="*/ 987425 h 1752600"/>
                <a:gd name="connsiteX173" fmla="*/ 1163637 w 3128973"/>
                <a:gd name="connsiteY173" fmla="*/ 952277 h 1752600"/>
                <a:gd name="connsiteX174" fmla="*/ 1133475 w 3128973"/>
                <a:gd name="connsiteY174" fmla="*/ 925512 h 1752600"/>
                <a:gd name="connsiteX175" fmla="*/ 1085850 w 3128973"/>
                <a:gd name="connsiteY175" fmla="*/ 859631 h 1752600"/>
                <a:gd name="connsiteX176" fmla="*/ 1071562 w 3128973"/>
                <a:gd name="connsiteY176" fmla="*/ 842962 h 1752600"/>
                <a:gd name="connsiteX177" fmla="*/ 1047750 w 3128973"/>
                <a:gd name="connsiteY177" fmla="*/ 819150 h 1752600"/>
                <a:gd name="connsiteX178" fmla="*/ 1028700 w 3128973"/>
                <a:gd name="connsiteY178" fmla="*/ 804862 h 1752600"/>
                <a:gd name="connsiteX179" fmla="*/ 1018076 w 3128973"/>
                <a:gd name="connsiteY179" fmla="*/ 794816 h 1752600"/>
                <a:gd name="connsiteX180" fmla="*/ 1000125 w 3128973"/>
                <a:gd name="connsiteY180" fmla="*/ 785812 h 1752600"/>
                <a:gd name="connsiteX181" fmla="*/ 984342 w 3128973"/>
                <a:gd name="connsiteY181" fmla="*/ 773578 h 1752600"/>
                <a:gd name="connsiteX182" fmla="*/ 957262 w 3128973"/>
                <a:gd name="connsiteY182" fmla="*/ 766762 h 1752600"/>
                <a:gd name="connsiteX183" fmla="*/ 938212 w 3128973"/>
                <a:gd name="connsiteY183" fmla="*/ 757237 h 1752600"/>
                <a:gd name="connsiteX184" fmla="*/ 904875 w 3128973"/>
                <a:gd name="connsiteY184" fmla="*/ 747712 h 1752600"/>
                <a:gd name="connsiteX185" fmla="*/ 862012 w 3128973"/>
                <a:gd name="connsiteY185" fmla="*/ 723900 h 1752600"/>
                <a:gd name="connsiteX186" fmla="*/ 795337 w 3128973"/>
                <a:gd name="connsiteY186" fmla="*/ 685800 h 1752600"/>
                <a:gd name="connsiteX187" fmla="*/ 776287 w 3128973"/>
                <a:gd name="connsiteY187" fmla="*/ 666750 h 1752600"/>
                <a:gd name="connsiteX188" fmla="*/ 762000 w 3128973"/>
                <a:gd name="connsiteY188" fmla="*/ 661987 h 1752600"/>
                <a:gd name="connsiteX189" fmla="*/ 742950 w 3128973"/>
                <a:gd name="connsiteY189" fmla="*/ 647700 h 1752600"/>
                <a:gd name="connsiteX190" fmla="*/ 709612 w 3128973"/>
                <a:gd name="connsiteY190" fmla="*/ 638175 h 1752600"/>
                <a:gd name="connsiteX191" fmla="*/ 695325 w 3128973"/>
                <a:gd name="connsiteY191" fmla="*/ 628650 h 1752600"/>
                <a:gd name="connsiteX192" fmla="*/ 681037 w 3128973"/>
                <a:gd name="connsiteY192" fmla="*/ 623887 h 1752600"/>
                <a:gd name="connsiteX193" fmla="*/ 676275 w 3128973"/>
                <a:gd name="connsiteY193" fmla="*/ 604837 h 1752600"/>
                <a:gd name="connsiteX194" fmla="*/ 666750 w 3128973"/>
                <a:gd name="connsiteY194" fmla="*/ 576262 h 1752600"/>
                <a:gd name="connsiteX195" fmla="*/ 661987 w 3128973"/>
                <a:gd name="connsiteY195" fmla="*/ 561975 h 1752600"/>
                <a:gd name="connsiteX196" fmla="*/ 666750 w 3128973"/>
                <a:gd name="connsiteY196" fmla="*/ 538162 h 1752600"/>
                <a:gd name="connsiteX197" fmla="*/ 638175 w 3128973"/>
                <a:gd name="connsiteY197" fmla="*/ 514350 h 1752600"/>
                <a:gd name="connsiteX198" fmla="*/ 619125 w 3128973"/>
                <a:gd name="connsiteY198" fmla="*/ 500062 h 1752600"/>
                <a:gd name="connsiteX199" fmla="*/ 576262 w 3128973"/>
                <a:gd name="connsiteY199" fmla="*/ 490537 h 1752600"/>
                <a:gd name="connsiteX200" fmla="*/ 542925 w 3128973"/>
                <a:gd name="connsiteY200" fmla="*/ 452437 h 1752600"/>
                <a:gd name="connsiteX201" fmla="*/ 525462 w 3128973"/>
                <a:gd name="connsiteY201" fmla="*/ 485775 h 1752600"/>
                <a:gd name="connsiteX202" fmla="*/ 504825 w 3128973"/>
                <a:gd name="connsiteY202" fmla="*/ 466725 h 1752600"/>
                <a:gd name="connsiteX203" fmla="*/ 454025 w 3128973"/>
                <a:gd name="connsiteY203" fmla="*/ 466725 h 1752600"/>
                <a:gd name="connsiteX204" fmla="*/ 407987 w 3128973"/>
                <a:gd name="connsiteY204" fmla="*/ 473075 h 1752600"/>
                <a:gd name="connsiteX205" fmla="*/ 395287 w 3128973"/>
                <a:gd name="connsiteY205" fmla="*/ 409575 h 1752600"/>
                <a:gd name="connsiteX206" fmla="*/ 376237 w 3128973"/>
                <a:gd name="connsiteY206" fmla="*/ 404812 h 1752600"/>
                <a:gd name="connsiteX207" fmla="*/ 342900 w 3128973"/>
                <a:gd name="connsiteY207" fmla="*/ 400050 h 1752600"/>
                <a:gd name="connsiteX208" fmla="*/ 314325 w 3128973"/>
                <a:gd name="connsiteY208" fmla="*/ 390525 h 1752600"/>
                <a:gd name="connsiteX209" fmla="*/ 273844 w 3128973"/>
                <a:gd name="connsiteY209" fmla="*/ 383382 h 1752600"/>
                <a:gd name="connsiteX210" fmla="*/ 257175 w 3128973"/>
                <a:gd name="connsiteY210" fmla="*/ 371475 h 1752600"/>
                <a:gd name="connsiteX211" fmla="*/ 245269 w 3128973"/>
                <a:gd name="connsiteY211" fmla="*/ 364331 h 1752600"/>
                <a:gd name="connsiteX212" fmla="*/ 223837 w 3128973"/>
                <a:gd name="connsiteY212" fmla="*/ 347662 h 1752600"/>
                <a:gd name="connsiteX213" fmla="*/ 190500 w 3128973"/>
                <a:gd name="connsiteY213" fmla="*/ 338137 h 1752600"/>
                <a:gd name="connsiteX214" fmla="*/ 147637 w 3128973"/>
                <a:gd name="connsiteY214" fmla="*/ 333375 h 1752600"/>
                <a:gd name="connsiteX215" fmla="*/ 119062 w 3128973"/>
                <a:gd name="connsiteY215" fmla="*/ 323850 h 1752600"/>
                <a:gd name="connsiteX216" fmla="*/ 104775 w 3128973"/>
                <a:gd name="connsiteY216" fmla="*/ 319087 h 1752600"/>
                <a:gd name="connsiteX217" fmla="*/ 61912 w 3128973"/>
                <a:gd name="connsiteY217" fmla="*/ 300037 h 1752600"/>
                <a:gd name="connsiteX218" fmla="*/ 23812 w 3128973"/>
                <a:gd name="connsiteY218" fmla="*/ 290512 h 1752600"/>
                <a:gd name="connsiteX219" fmla="*/ 9525 w 3128973"/>
                <a:gd name="connsiteY219" fmla="*/ 261937 h 1752600"/>
                <a:gd name="connsiteX220" fmla="*/ 0 w 3128973"/>
                <a:gd name="connsiteY220" fmla="*/ 290512 h 1752600"/>
                <a:gd name="connsiteX221" fmla="*/ 4762 w 3128973"/>
                <a:gd name="connsiteY221" fmla="*/ 247650 h 1752600"/>
                <a:gd name="connsiteX222" fmla="*/ 19050 w 3128973"/>
                <a:gd name="connsiteY222" fmla="*/ 200025 h 1752600"/>
                <a:gd name="connsiteX223" fmla="*/ 23812 w 3128973"/>
                <a:gd name="connsiteY223" fmla="*/ 185737 h 1752600"/>
                <a:gd name="connsiteX224" fmla="*/ 71437 w 3128973"/>
                <a:gd name="connsiteY224" fmla="*/ 171450 h 1752600"/>
                <a:gd name="connsiteX225" fmla="*/ 85725 w 3128973"/>
                <a:gd name="connsiteY225" fmla="*/ 166687 h 1752600"/>
                <a:gd name="connsiteX226" fmla="*/ 100012 w 3128973"/>
                <a:gd name="connsiteY226" fmla="*/ 161925 h 1752600"/>
                <a:gd name="connsiteX227" fmla="*/ 114300 w 3128973"/>
                <a:gd name="connsiteY227" fmla="*/ 152400 h 1752600"/>
                <a:gd name="connsiteX228" fmla="*/ 133350 w 3128973"/>
                <a:gd name="connsiteY228" fmla="*/ 123825 h 1752600"/>
                <a:gd name="connsiteX229" fmla="*/ 138112 w 3128973"/>
                <a:gd name="connsiteY229" fmla="*/ 109537 h 1752600"/>
                <a:gd name="connsiteX230" fmla="*/ 135467 w 3128973"/>
                <a:gd name="connsiteY230" fmla="*/ 97059 h 1752600"/>
                <a:gd name="connsiteX231" fmla="*/ 142875 w 3128973"/>
                <a:gd name="connsiteY231" fmla="*/ 71437 h 1752600"/>
                <a:gd name="connsiteX232" fmla="*/ 157162 w 3128973"/>
                <a:gd name="connsiteY232" fmla="*/ 57150 h 1752600"/>
                <a:gd name="connsiteX233" fmla="*/ 200025 w 3128973"/>
                <a:gd name="connsiteY233" fmla="*/ 33337 h 1752600"/>
                <a:gd name="connsiteX234" fmla="*/ 309562 w 3128973"/>
                <a:gd name="connsiteY234" fmla="*/ 28575 h 1752600"/>
                <a:gd name="connsiteX235" fmla="*/ 400050 w 3128973"/>
                <a:gd name="connsiteY235" fmla="*/ 14287 h 1752600"/>
                <a:gd name="connsiteX236" fmla="*/ 414337 w 3128973"/>
                <a:gd name="connsiteY236" fmla="*/ 9525 h 1752600"/>
                <a:gd name="connsiteX237" fmla="*/ 481012 w 3128973"/>
                <a:gd name="connsiteY237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259806 w 3128973"/>
                <a:gd name="connsiteY26" fmla="*/ 88730 h 1752600"/>
                <a:gd name="connsiteX27" fmla="*/ 2046801 w 3128973"/>
                <a:gd name="connsiteY27" fmla="*/ 262295 h 1752600"/>
                <a:gd name="connsiteX28" fmla="*/ 2033587 w 3128973"/>
                <a:gd name="connsiteY28" fmla="*/ 266700 h 1752600"/>
                <a:gd name="connsiteX29" fmla="*/ 2019300 w 3128973"/>
                <a:gd name="connsiteY29" fmla="*/ 280987 h 1752600"/>
                <a:gd name="connsiteX30" fmla="*/ 1990725 w 3128973"/>
                <a:gd name="connsiteY30" fmla="*/ 300037 h 1752600"/>
                <a:gd name="connsiteX31" fmla="*/ 1981200 w 3128973"/>
                <a:gd name="connsiteY31" fmla="*/ 314325 h 1752600"/>
                <a:gd name="connsiteX32" fmla="*/ 1981200 w 3128973"/>
                <a:gd name="connsiteY32" fmla="*/ 419100 h 1752600"/>
                <a:gd name="connsiteX33" fmla="*/ 1985962 w 3128973"/>
                <a:gd name="connsiteY33" fmla="*/ 433387 h 1752600"/>
                <a:gd name="connsiteX34" fmla="*/ 2000250 w 3128973"/>
                <a:gd name="connsiteY34" fmla="*/ 442912 h 1752600"/>
                <a:gd name="connsiteX35" fmla="*/ 2005012 w 3128973"/>
                <a:gd name="connsiteY35" fmla="*/ 457200 h 1752600"/>
                <a:gd name="connsiteX36" fmla="*/ 2005012 w 3128973"/>
                <a:gd name="connsiteY36" fmla="*/ 561975 h 1752600"/>
                <a:gd name="connsiteX37" fmla="*/ 2009775 w 3128973"/>
                <a:gd name="connsiteY37" fmla="*/ 576262 h 1752600"/>
                <a:gd name="connsiteX38" fmla="*/ 2024062 w 3128973"/>
                <a:gd name="connsiteY38" fmla="*/ 581025 h 1752600"/>
                <a:gd name="connsiteX39" fmla="*/ 2038350 w 3128973"/>
                <a:gd name="connsiteY39" fmla="*/ 595312 h 1752600"/>
                <a:gd name="connsiteX40" fmla="*/ 2052637 w 3128973"/>
                <a:gd name="connsiteY40" fmla="*/ 600075 h 1752600"/>
                <a:gd name="connsiteX41" fmla="*/ 2133600 w 3128973"/>
                <a:gd name="connsiteY41" fmla="*/ 590550 h 1752600"/>
                <a:gd name="connsiteX42" fmla="*/ 2147887 w 3128973"/>
                <a:gd name="connsiteY42" fmla="*/ 585787 h 1752600"/>
                <a:gd name="connsiteX43" fmla="*/ 2195512 w 3128973"/>
                <a:gd name="connsiteY43" fmla="*/ 600075 h 1752600"/>
                <a:gd name="connsiteX44" fmla="*/ 2205037 w 3128973"/>
                <a:gd name="connsiteY44" fmla="*/ 614362 h 1752600"/>
                <a:gd name="connsiteX45" fmla="*/ 2219325 w 3128973"/>
                <a:gd name="connsiteY45" fmla="*/ 628650 h 1752600"/>
                <a:gd name="connsiteX46" fmla="*/ 2224087 w 3128973"/>
                <a:gd name="connsiteY46" fmla="*/ 642937 h 1752600"/>
                <a:gd name="connsiteX47" fmla="*/ 2233612 w 3128973"/>
                <a:gd name="connsiteY47" fmla="*/ 657225 h 1752600"/>
                <a:gd name="connsiteX48" fmla="*/ 2247900 w 3128973"/>
                <a:gd name="connsiteY48" fmla="*/ 685800 h 1752600"/>
                <a:gd name="connsiteX49" fmla="*/ 2262187 w 3128973"/>
                <a:gd name="connsiteY49" fmla="*/ 733425 h 1752600"/>
                <a:gd name="connsiteX50" fmla="*/ 2305050 w 3128973"/>
                <a:gd name="connsiteY50" fmla="*/ 771525 h 1752600"/>
                <a:gd name="connsiteX51" fmla="*/ 2319337 w 3128973"/>
                <a:gd name="connsiteY51" fmla="*/ 804862 h 1752600"/>
                <a:gd name="connsiteX52" fmla="*/ 2333625 w 3128973"/>
                <a:gd name="connsiteY52" fmla="*/ 819150 h 1752600"/>
                <a:gd name="connsiteX53" fmla="*/ 2338387 w 3128973"/>
                <a:gd name="connsiteY53" fmla="*/ 833437 h 1752600"/>
                <a:gd name="connsiteX54" fmla="*/ 2352675 w 3128973"/>
                <a:gd name="connsiteY54" fmla="*/ 847725 h 1752600"/>
                <a:gd name="connsiteX55" fmla="*/ 2395537 w 3128973"/>
                <a:gd name="connsiteY55" fmla="*/ 871537 h 1752600"/>
                <a:gd name="connsiteX56" fmla="*/ 2409825 w 3128973"/>
                <a:gd name="connsiteY56" fmla="*/ 890587 h 1752600"/>
                <a:gd name="connsiteX57" fmla="*/ 2424112 w 3128973"/>
                <a:gd name="connsiteY57" fmla="*/ 895350 h 1752600"/>
                <a:gd name="connsiteX58" fmla="*/ 2433637 w 3128973"/>
                <a:gd name="connsiteY58" fmla="*/ 914400 h 1752600"/>
                <a:gd name="connsiteX59" fmla="*/ 2466975 w 3128973"/>
                <a:gd name="connsiteY59" fmla="*/ 942975 h 1752600"/>
                <a:gd name="connsiteX60" fmla="*/ 2474637 w 3128973"/>
                <a:gd name="connsiteY60" fmla="*/ 954728 h 1752600"/>
                <a:gd name="connsiteX61" fmla="*/ 2495550 w 3128973"/>
                <a:gd name="connsiteY61" fmla="*/ 971550 h 1752600"/>
                <a:gd name="connsiteX62" fmla="*/ 2508776 w 3128973"/>
                <a:gd name="connsiteY62" fmla="*/ 983894 h 1752600"/>
                <a:gd name="connsiteX63" fmla="*/ 2533650 w 3128973"/>
                <a:gd name="connsiteY63" fmla="*/ 1000125 h 1752600"/>
                <a:gd name="connsiteX64" fmla="*/ 2547937 w 3128973"/>
                <a:gd name="connsiteY64" fmla="*/ 1028700 h 1752600"/>
                <a:gd name="connsiteX65" fmla="*/ 2552700 w 3128973"/>
                <a:gd name="connsiteY65" fmla="*/ 1042987 h 1752600"/>
                <a:gd name="connsiteX66" fmla="*/ 2576512 w 3128973"/>
                <a:gd name="connsiteY66" fmla="*/ 1071562 h 1752600"/>
                <a:gd name="connsiteX67" fmla="*/ 2584921 w 3128973"/>
                <a:gd name="connsiteY67" fmla="*/ 1082873 h 1752600"/>
                <a:gd name="connsiteX68" fmla="*/ 2600325 w 3128973"/>
                <a:gd name="connsiteY68" fmla="*/ 1095375 h 1752600"/>
                <a:gd name="connsiteX69" fmla="*/ 2609850 w 3128973"/>
                <a:gd name="connsiteY69" fmla="*/ 1109662 h 1752600"/>
                <a:gd name="connsiteX70" fmla="*/ 2652712 w 3128973"/>
                <a:gd name="connsiteY70" fmla="*/ 1143000 h 1752600"/>
                <a:gd name="connsiteX71" fmla="*/ 2681287 w 3128973"/>
                <a:gd name="connsiteY71" fmla="*/ 1152525 h 1752600"/>
                <a:gd name="connsiteX72" fmla="*/ 2700337 w 3128973"/>
                <a:gd name="connsiteY72" fmla="*/ 1162050 h 1752600"/>
                <a:gd name="connsiteX73" fmla="*/ 2714625 w 3128973"/>
                <a:gd name="connsiteY73" fmla="*/ 1171575 h 1752600"/>
                <a:gd name="connsiteX74" fmla="*/ 2752725 w 3128973"/>
                <a:gd name="connsiteY74" fmla="*/ 1181100 h 1752600"/>
                <a:gd name="connsiteX75" fmla="*/ 2767012 w 3128973"/>
                <a:gd name="connsiteY75" fmla="*/ 1195387 h 1752600"/>
                <a:gd name="connsiteX76" fmla="*/ 2781300 w 3128973"/>
                <a:gd name="connsiteY76" fmla="*/ 1200150 h 1752600"/>
                <a:gd name="connsiteX77" fmla="*/ 2795587 w 3128973"/>
                <a:gd name="connsiteY77" fmla="*/ 1209675 h 1752600"/>
                <a:gd name="connsiteX78" fmla="*/ 2805112 w 3128973"/>
                <a:gd name="connsiteY78" fmla="*/ 1223962 h 1752600"/>
                <a:gd name="connsiteX79" fmla="*/ 2809875 w 3128973"/>
                <a:gd name="connsiteY79" fmla="*/ 1238250 h 1752600"/>
                <a:gd name="connsiteX80" fmla="*/ 2833687 w 3128973"/>
                <a:gd name="connsiteY80" fmla="*/ 1276350 h 1752600"/>
                <a:gd name="connsiteX81" fmla="*/ 2895600 w 3128973"/>
                <a:gd name="connsiteY81" fmla="*/ 1333500 h 1752600"/>
                <a:gd name="connsiteX82" fmla="*/ 2900362 w 3128973"/>
                <a:gd name="connsiteY82" fmla="*/ 1352550 h 1752600"/>
                <a:gd name="connsiteX83" fmla="*/ 2928937 w 3128973"/>
                <a:gd name="connsiteY83" fmla="*/ 1395412 h 1752600"/>
                <a:gd name="connsiteX84" fmla="*/ 2943225 w 3128973"/>
                <a:gd name="connsiteY84" fmla="*/ 1404937 h 1752600"/>
                <a:gd name="connsiteX85" fmla="*/ 2957512 w 3128973"/>
                <a:gd name="connsiteY85" fmla="*/ 1419225 h 1752600"/>
                <a:gd name="connsiteX86" fmla="*/ 2986087 w 3128973"/>
                <a:gd name="connsiteY86" fmla="*/ 1443037 h 1752600"/>
                <a:gd name="connsiteX87" fmla="*/ 3000375 w 3128973"/>
                <a:gd name="connsiteY87" fmla="*/ 1462087 h 1752600"/>
                <a:gd name="connsiteX88" fmla="*/ 3016395 w 3128973"/>
                <a:gd name="connsiteY88" fmla="*/ 1476222 h 1752600"/>
                <a:gd name="connsiteX89" fmla="*/ 3028950 w 3128973"/>
                <a:gd name="connsiteY89" fmla="*/ 1495425 h 1752600"/>
                <a:gd name="connsiteX90" fmla="*/ 3043237 w 3128973"/>
                <a:gd name="connsiteY90" fmla="*/ 1552575 h 1752600"/>
                <a:gd name="connsiteX91" fmla="*/ 3052762 w 3128973"/>
                <a:gd name="connsiteY91" fmla="*/ 1566862 h 1752600"/>
                <a:gd name="connsiteX92" fmla="*/ 3057525 w 3128973"/>
                <a:gd name="connsiteY92" fmla="*/ 1581150 h 1752600"/>
                <a:gd name="connsiteX93" fmla="*/ 3067050 w 3128973"/>
                <a:gd name="connsiteY93" fmla="*/ 1662112 h 1752600"/>
                <a:gd name="connsiteX94" fmla="*/ 3071812 w 3128973"/>
                <a:gd name="connsiteY94" fmla="*/ 1676400 h 1752600"/>
                <a:gd name="connsiteX95" fmla="*/ 3100387 w 3128973"/>
                <a:gd name="connsiteY95" fmla="*/ 1690687 h 1752600"/>
                <a:gd name="connsiteX96" fmla="*/ 3114675 w 3128973"/>
                <a:gd name="connsiteY96" fmla="*/ 1685925 h 1752600"/>
                <a:gd name="connsiteX97" fmla="*/ 3124200 w 3128973"/>
                <a:gd name="connsiteY97" fmla="*/ 1671637 h 1752600"/>
                <a:gd name="connsiteX98" fmla="*/ 3128973 w 3128973"/>
                <a:gd name="connsiteY98" fmla="*/ 1651467 h 1752600"/>
                <a:gd name="connsiteX99" fmla="*/ 3128021 w 3128973"/>
                <a:gd name="connsiteY99" fmla="*/ 1710279 h 1752600"/>
                <a:gd name="connsiteX100" fmla="*/ 3043237 w 3128973"/>
                <a:gd name="connsiteY100" fmla="*/ 1714500 h 1752600"/>
                <a:gd name="connsiteX101" fmla="*/ 3028950 w 3128973"/>
                <a:gd name="connsiteY101" fmla="*/ 1728787 h 1752600"/>
                <a:gd name="connsiteX102" fmla="*/ 2986087 w 3128973"/>
                <a:gd name="connsiteY102" fmla="*/ 1738312 h 1752600"/>
                <a:gd name="connsiteX103" fmla="*/ 2971800 w 3128973"/>
                <a:gd name="connsiteY103" fmla="*/ 1743075 h 1752600"/>
                <a:gd name="connsiteX104" fmla="*/ 2943225 w 3128973"/>
                <a:gd name="connsiteY104" fmla="*/ 1738312 h 1752600"/>
                <a:gd name="connsiteX105" fmla="*/ 2928937 w 3128973"/>
                <a:gd name="connsiteY105" fmla="*/ 1747837 h 1752600"/>
                <a:gd name="connsiteX106" fmla="*/ 2914650 w 3128973"/>
                <a:gd name="connsiteY106" fmla="*/ 1752600 h 1752600"/>
                <a:gd name="connsiteX107" fmla="*/ 2895600 w 3128973"/>
                <a:gd name="connsiteY107" fmla="*/ 1724025 h 1752600"/>
                <a:gd name="connsiteX108" fmla="*/ 2883310 w 3128973"/>
                <a:gd name="connsiteY108" fmla="*/ 1701201 h 1752600"/>
                <a:gd name="connsiteX109" fmla="*/ 2883805 w 3128973"/>
                <a:gd name="connsiteY109" fmla="*/ 1696138 h 1752600"/>
                <a:gd name="connsiteX110" fmla="*/ 2871787 w 3128973"/>
                <a:gd name="connsiteY110" fmla="*/ 1685925 h 1752600"/>
                <a:gd name="connsiteX111" fmla="*/ 2847975 w 3128973"/>
                <a:gd name="connsiteY111" fmla="*/ 1657350 h 1752600"/>
                <a:gd name="connsiteX112" fmla="*/ 2834034 w 3128973"/>
                <a:gd name="connsiteY112" fmla="*/ 1637762 h 1752600"/>
                <a:gd name="connsiteX113" fmla="*/ 2814637 w 3128973"/>
                <a:gd name="connsiteY113" fmla="*/ 1619250 h 1752600"/>
                <a:gd name="connsiteX114" fmla="*/ 2809875 w 3128973"/>
                <a:gd name="connsiteY114" fmla="*/ 1604962 h 1752600"/>
                <a:gd name="connsiteX115" fmla="*/ 2795587 w 3128973"/>
                <a:gd name="connsiteY115" fmla="*/ 1600200 h 1752600"/>
                <a:gd name="connsiteX116" fmla="*/ 2781300 w 3128973"/>
                <a:gd name="connsiteY116" fmla="*/ 1590675 h 1752600"/>
                <a:gd name="connsiteX117" fmla="*/ 2752725 w 3128973"/>
                <a:gd name="connsiteY117" fmla="*/ 1581150 h 1752600"/>
                <a:gd name="connsiteX118" fmla="*/ 2733675 w 3128973"/>
                <a:gd name="connsiteY118" fmla="*/ 1625600 h 1752600"/>
                <a:gd name="connsiteX119" fmla="*/ 2709862 w 3128973"/>
                <a:gd name="connsiteY119" fmla="*/ 1619250 h 1752600"/>
                <a:gd name="connsiteX120" fmla="*/ 2723566 w 3128973"/>
                <a:gd name="connsiteY120" fmla="*/ 1590361 h 1752600"/>
                <a:gd name="connsiteX121" fmla="*/ 2674937 w 3128973"/>
                <a:gd name="connsiteY121" fmla="*/ 1560512 h 1752600"/>
                <a:gd name="connsiteX122" fmla="*/ 2643187 w 3128973"/>
                <a:gd name="connsiteY122" fmla="*/ 1495425 h 1752600"/>
                <a:gd name="connsiteX123" fmla="*/ 2628900 w 3128973"/>
                <a:gd name="connsiteY123" fmla="*/ 1490662 h 1752600"/>
                <a:gd name="connsiteX124" fmla="*/ 2595562 w 3128973"/>
                <a:gd name="connsiteY124" fmla="*/ 1481137 h 1752600"/>
                <a:gd name="connsiteX125" fmla="*/ 2581275 w 3128973"/>
                <a:gd name="connsiteY125" fmla="*/ 1466850 h 1752600"/>
                <a:gd name="connsiteX126" fmla="*/ 2552700 w 3128973"/>
                <a:gd name="connsiteY126" fmla="*/ 1457325 h 1752600"/>
                <a:gd name="connsiteX127" fmla="*/ 2538412 w 3128973"/>
                <a:gd name="connsiteY127" fmla="*/ 1447800 h 1752600"/>
                <a:gd name="connsiteX128" fmla="*/ 2519362 w 3128973"/>
                <a:gd name="connsiteY128" fmla="*/ 1443037 h 1752600"/>
                <a:gd name="connsiteX129" fmla="*/ 2490787 w 3128973"/>
                <a:gd name="connsiteY129" fmla="*/ 1433512 h 1752600"/>
                <a:gd name="connsiteX130" fmla="*/ 2476500 w 3128973"/>
                <a:gd name="connsiteY130" fmla="*/ 1428750 h 1752600"/>
                <a:gd name="connsiteX131" fmla="*/ 2466975 w 3128973"/>
                <a:gd name="connsiteY131" fmla="*/ 1414462 h 1752600"/>
                <a:gd name="connsiteX132" fmla="*/ 2447925 w 3128973"/>
                <a:gd name="connsiteY132" fmla="*/ 1409700 h 1752600"/>
                <a:gd name="connsiteX133" fmla="*/ 2309812 w 3128973"/>
                <a:gd name="connsiteY133" fmla="*/ 1395412 h 1752600"/>
                <a:gd name="connsiteX134" fmla="*/ 2295525 w 3128973"/>
                <a:gd name="connsiteY134" fmla="*/ 1390650 h 1752600"/>
                <a:gd name="connsiteX135" fmla="*/ 2257425 w 3128973"/>
                <a:gd name="connsiteY135" fmla="*/ 1381125 h 1752600"/>
                <a:gd name="connsiteX136" fmla="*/ 2238375 w 3128973"/>
                <a:gd name="connsiteY136" fmla="*/ 1366837 h 1752600"/>
                <a:gd name="connsiteX137" fmla="*/ 2224087 w 3128973"/>
                <a:gd name="connsiteY137" fmla="*/ 1362075 h 1752600"/>
                <a:gd name="connsiteX138" fmla="*/ 2176462 w 3128973"/>
                <a:gd name="connsiteY138" fmla="*/ 1338262 h 1752600"/>
                <a:gd name="connsiteX139" fmla="*/ 2162175 w 3128973"/>
                <a:gd name="connsiteY139" fmla="*/ 1328737 h 1752600"/>
                <a:gd name="connsiteX140" fmla="*/ 2114550 w 3128973"/>
                <a:gd name="connsiteY140" fmla="*/ 1314450 h 1752600"/>
                <a:gd name="connsiteX141" fmla="*/ 2100262 w 3128973"/>
                <a:gd name="connsiteY141" fmla="*/ 1300162 h 1752600"/>
                <a:gd name="connsiteX142" fmla="*/ 2085975 w 3128973"/>
                <a:gd name="connsiteY142" fmla="*/ 1295400 h 1752600"/>
                <a:gd name="connsiteX143" fmla="*/ 2055019 w 3128973"/>
                <a:gd name="connsiteY143" fmla="*/ 1290637 h 1752600"/>
                <a:gd name="connsiteX144" fmla="*/ 2028824 w 3128973"/>
                <a:gd name="connsiteY144" fmla="*/ 1283494 h 1752600"/>
                <a:gd name="connsiteX145" fmla="*/ 2005012 w 3128973"/>
                <a:gd name="connsiteY145" fmla="*/ 1271587 h 1752600"/>
                <a:gd name="connsiteX146" fmla="*/ 1985962 w 3128973"/>
                <a:gd name="connsiteY146" fmla="*/ 1262062 h 1752600"/>
                <a:gd name="connsiteX147" fmla="*/ 1971675 w 3128973"/>
                <a:gd name="connsiteY147" fmla="*/ 1257300 h 1752600"/>
                <a:gd name="connsiteX148" fmla="*/ 1943100 w 3128973"/>
                <a:gd name="connsiteY148" fmla="*/ 1238250 h 1752600"/>
                <a:gd name="connsiteX149" fmla="*/ 1914525 w 3128973"/>
                <a:gd name="connsiteY149" fmla="*/ 1219200 h 1752600"/>
                <a:gd name="connsiteX150" fmla="*/ 1885950 w 3128973"/>
                <a:gd name="connsiteY150" fmla="*/ 1209675 h 1752600"/>
                <a:gd name="connsiteX151" fmla="*/ 1843087 w 3128973"/>
                <a:gd name="connsiteY151" fmla="*/ 1195387 h 1752600"/>
                <a:gd name="connsiteX152" fmla="*/ 1757362 w 3128973"/>
                <a:gd name="connsiteY152" fmla="*/ 1185862 h 1752600"/>
                <a:gd name="connsiteX153" fmla="*/ 1700212 w 3128973"/>
                <a:gd name="connsiteY153" fmla="*/ 1166812 h 1752600"/>
                <a:gd name="connsiteX154" fmla="*/ 1671637 w 3128973"/>
                <a:gd name="connsiteY154" fmla="*/ 1147762 h 1752600"/>
                <a:gd name="connsiteX155" fmla="*/ 1652587 w 3128973"/>
                <a:gd name="connsiteY155" fmla="*/ 1138237 h 1752600"/>
                <a:gd name="connsiteX156" fmla="*/ 1638300 w 3128973"/>
                <a:gd name="connsiteY156" fmla="*/ 1128712 h 1752600"/>
                <a:gd name="connsiteX157" fmla="*/ 1590675 w 3128973"/>
                <a:gd name="connsiteY157" fmla="*/ 1138238 h 1752600"/>
                <a:gd name="connsiteX158" fmla="*/ 1559719 w 3128973"/>
                <a:gd name="connsiteY158" fmla="*/ 1109662 h 1752600"/>
                <a:gd name="connsiteX159" fmla="*/ 1528762 w 3128973"/>
                <a:gd name="connsiteY159" fmla="*/ 1085850 h 1752600"/>
                <a:gd name="connsiteX160" fmla="*/ 1514475 w 3128973"/>
                <a:gd name="connsiteY160" fmla="*/ 1081087 h 1752600"/>
                <a:gd name="connsiteX161" fmla="*/ 1470025 w 3128973"/>
                <a:gd name="connsiteY161" fmla="*/ 1130300 h 1752600"/>
                <a:gd name="connsiteX162" fmla="*/ 1433512 w 3128973"/>
                <a:gd name="connsiteY162" fmla="*/ 1108075 h 1752600"/>
                <a:gd name="connsiteX163" fmla="*/ 1423987 w 3128973"/>
                <a:gd name="connsiteY163" fmla="*/ 1087437 h 1752600"/>
                <a:gd name="connsiteX164" fmla="*/ 1381125 w 3128973"/>
                <a:gd name="connsiteY164" fmla="*/ 1095375 h 1752600"/>
                <a:gd name="connsiteX165" fmla="*/ 1383506 w 3128973"/>
                <a:gd name="connsiteY165" fmla="*/ 1028700 h 1752600"/>
                <a:gd name="connsiteX166" fmla="*/ 1366838 w 3128973"/>
                <a:gd name="connsiteY166" fmla="*/ 1019175 h 1752600"/>
                <a:gd name="connsiteX167" fmla="*/ 1335881 w 3128973"/>
                <a:gd name="connsiteY167" fmla="*/ 1007268 h 1752600"/>
                <a:gd name="connsiteX168" fmla="*/ 1319213 w 3128973"/>
                <a:gd name="connsiteY168" fmla="*/ 1007268 h 1752600"/>
                <a:gd name="connsiteX169" fmla="*/ 1295400 w 3128973"/>
                <a:gd name="connsiteY169" fmla="*/ 976312 h 1752600"/>
                <a:gd name="connsiteX170" fmla="*/ 1281112 w 3128973"/>
                <a:gd name="connsiteY170" fmla="*/ 966787 h 1752600"/>
                <a:gd name="connsiteX171" fmla="*/ 1238250 w 3128973"/>
                <a:gd name="connsiteY171" fmla="*/ 947737 h 1752600"/>
                <a:gd name="connsiteX172" fmla="*/ 1212850 w 3128973"/>
                <a:gd name="connsiteY172" fmla="*/ 995362 h 1752600"/>
                <a:gd name="connsiteX173" fmla="*/ 1201737 w 3128973"/>
                <a:gd name="connsiteY173" fmla="*/ 987425 h 1752600"/>
                <a:gd name="connsiteX174" fmla="*/ 1163637 w 3128973"/>
                <a:gd name="connsiteY174" fmla="*/ 952277 h 1752600"/>
                <a:gd name="connsiteX175" fmla="*/ 1133475 w 3128973"/>
                <a:gd name="connsiteY175" fmla="*/ 925512 h 1752600"/>
                <a:gd name="connsiteX176" fmla="*/ 1085850 w 3128973"/>
                <a:gd name="connsiteY176" fmla="*/ 859631 h 1752600"/>
                <a:gd name="connsiteX177" fmla="*/ 1071562 w 3128973"/>
                <a:gd name="connsiteY177" fmla="*/ 842962 h 1752600"/>
                <a:gd name="connsiteX178" fmla="*/ 1047750 w 3128973"/>
                <a:gd name="connsiteY178" fmla="*/ 819150 h 1752600"/>
                <a:gd name="connsiteX179" fmla="*/ 1028700 w 3128973"/>
                <a:gd name="connsiteY179" fmla="*/ 804862 h 1752600"/>
                <a:gd name="connsiteX180" fmla="*/ 1018076 w 3128973"/>
                <a:gd name="connsiteY180" fmla="*/ 794816 h 1752600"/>
                <a:gd name="connsiteX181" fmla="*/ 1000125 w 3128973"/>
                <a:gd name="connsiteY181" fmla="*/ 785812 h 1752600"/>
                <a:gd name="connsiteX182" fmla="*/ 984342 w 3128973"/>
                <a:gd name="connsiteY182" fmla="*/ 773578 h 1752600"/>
                <a:gd name="connsiteX183" fmla="*/ 957262 w 3128973"/>
                <a:gd name="connsiteY183" fmla="*/ 766762 h 1752600"/>
                <a:gd name="connsiteX184" fmla="*/ 938212 w 3128973"/>
                <a:gd name="connsiteY184" fmla="*/ 757237 h 1752600"/>
                <a:gd name="connsiteX185" fmla="*/ 904875 w 3128973"/>
                <a:gd name="connsiteY185" fmla="*/ 747712 h 1752600"/>
                <a:gd name="connsiteX186" fmla="*/ 862012 w 3128973"/>
                <a:gd name="connsiteY186" fmla="*/ 723900 h 1752600"/>
                <a:gd name="connsiteX187" fmla="*/ 795337 w 3128973"/>
                <a:gd name="connsiteY187" fmla="*/ 685800 h 1752600"/>
                <a:gd name="connsiteX188" fmla="*/ 776287 w 3128973"/>
                <a:gd name="connsiteY188" fmla="*/ 666750 h 1752600"/>
                <a:gd name="connsiteX189" fmla="*/ 762000 w 3128973"/>
                <a:gd name="connsiteY189" fmla="*/ 661987 h 1752600"/>
                <a:gd name="connsiteX190" fmla="*/ 742950 w 3128973"/>
                <a:gd name="connsiteY190" fmla="*/ 647700 h 1752600"/>
                <a:gd name="connsiteX191" fmla="*/ 709612 w 3128973"/>
                <a:gd name="connsiteY191" fmla="*/ 638175 h 1752600"/>
                <a:gd name="connsiteX192" fmla="*/ 695325 w 3128973"/>
                <a:gd name="connsiteY192" fmla="*/ 628650 h 1752600"/>
                <a:gd name="connsiteX193" fmla="*/ 681037 w 3128973"/>
                <a:gd name="connsiteY193" fmla="*/ 623887 h 1752600"/>
                <a:gd name="connsiteX194" fmla="*/ 676275 w 3128973"/>
                <a:gd name="connsiteY194" fmla="*/ 604837 h 1752600"/>
                <a:gd name="connsiteX195" fmla="*/ 666750 w 3128973"/>
                <a:gd name="connsiteY195" fmla="*/ 576262 h 1752600"/>
                <a:gd name="connsiteX196" fmla="*/ 661987 w 3128973"/>
                <a:gd name="connsiteY196" fmla="*/ 561975 h 1752600"/>
                <a:gd name="connsiteX197" fmla="*/ 666750 w 3128973"/>
                <a:gd name="connsiteY197" fmla="*/ 538162 h 1752600"/>
                <a:gd name="connsiteX198" fmla="*/ 638175 w 3128973"/>
                <a:gd name="connsiteY198" fmla="*/ 514350 h 1752600"/>
                <a:gd name="connsiteX199" fmla="*/ 619125 w 3128973"/>
                <a:gd name="connsiteY199" fmla="*/ 500062 h 1752600"/>
                <a:gd name="connsiteX200" fmla="*/ 576262 w 3128973"/>
                <a:gd name="connsiteY200" fmla="*/ 490537 h 1752600"/>
                <a:gd name="connsiteX201" fmla="*/ 542925 w 3128973"/>
                <a:gd name="connsiteY201" fmla="*/ 452437 h 1752600"/>
                <a:gd name="connsiteX202" fmla="*/ 525462 w 3128973"/>
                <a:gd name="connsiteY202" fmla="*/ 485775 h 1752600"/>
                <a:gd name="connsiteX203" fmla="*/ 504825 w 3128973"/>
                <a:gd name="connsiteY203" fmla="*/ 466725 h 1752600"/>
                <a:gd name="connsiteX204" fmla="*/ 454025 w 3128973"/>
                <a:gd name="connsiteY204" fmla="*/ 466725 h 1752600"/>
                <a:gd name="connsiteX205" fmla="*/ 407987 w 3128973"/>
                <a:gd name="connsiteY205" fmla="*/ 473075 h 1752600"/>
                <a:gd name="connsiteX206" fmla="*/ 395287 w 3128973"/>
                <a:gd name="connsiteY206" fmla="*/ 409575 h 1752600"/>
                <a:gd name="connsiteX207" fmla="*/ 376237 w 3128973"/>
                <a:gd name="connsiteY207" fmla="*/ 404812 h 1752600"/>
                <a:gd name="connsiteX208" fmla="*/ 342900 w 3128973"/>
                <a:gd name="connsiteY208" fmla="*/ 400050 h 1752600"/>
                <a:gd name="connsiteX209" fmla="*/ 314325 w 3128973"/>
                <a:gd name="connsiteY209" fmla="*/ 390525 h 1752600"/>
                <a:gd name="connsiteX210" fmla="*/ 273844 w 3128973"/>
                <a:gd name="connsiteY210" fmla="*/ 383382 h 1752600"/>
                <a:gd name="connsiteX211" fmla="*/ 257175 w 3128973"/>
                <a:gd name="connsiteY211" fmla="*/ 371475 h 1752600"/>
                <a:gd name="connsiteX212" fmla="*/ 245269 w 3128973"/>
                <a:gd name="connsiteY212" fmla="*/ 364331 h 1752600"/>
                <a:gd name="connsiteX213" fmla="*/ 223837 w 3128973"/>
                <a:gd name="connsiteY213" fmla="*/ 347662 h 1752600"/>
                <a:gd name="connsiteX214" fmla="*/ 190500 w 3128973"/>
                <a:gd name="connsiteY214" fmla="*/ 338137 h 1752600"/>
                <a:gd name="connsiteX215" fmla="*/ 147637 w 3128973"/>
                <a:gd name="connsiteY215" fmla="*/ 333375 h 1752600"/>
                <a:gd name="connsiteX216" fmla="*/ 119062 w 3128973"/>
                <a:gd name="connsiteY216" fmla="*/ 323850 h 1752600"/>
                <a:gd name="connsiteX217" fmla="*/ 104775 w 3128973"/>
                <a:gd name="connsiteY217" fmla="*/ 319087 h 1752600"/>
                <a:gd name="connsiteX218" fmla="*/ 61912 w 3128973"/>
                <a:gd name="connsiteY218" fmla="*/ 300037 h 1752600"/>
                <a:gd name="connsiteX219" fmla="*/ 23812 w 3128973"/>
                <a:gd name="connsiteY219" fmla="*/ 290512 h 1752600"/>
                <a:gd name="connsiteX220" fmla="*/ 9525 w 3128973"/>
                <a:gd name="connsiteY220" fmla="*/ 261937 h 1752600"/>
                <a:gd name="connsiteX221" fmla="*/ 0 w 3128973"/>
                <a:gd name="connsiteY221" fmla="*/ 290512 h 1752600"/>
                <a:gd name="connsiteX222" fmla="*/ 4762 w 3128973"/>
                <a:gd name="connsiteY222" fmla="*/ 247650 h 1752600"/>
                <a:gd name="connsiteX223" fmla="*/ 19050 w 3128973"/>
                <a:gd name="connsiteY223" fmla="*/ 200025 h 1752600"/>
                <a:gd name="connsiteX224" fmla="*/ 23812 w 3128973"/>
                <a:gd name="connsiteY224" fmla="*/ 185737 h 1752600"/>
                <a:gd name="connsiteX225" fmla="*/ 71437 w 3128973"/>
                <a:gd name="connsiteY225" fmla="*/ 171450 h 1752600"/>
                <a:gd name="connsiteX226" fmla="*/ 85725 w 3128973"/>
                <a:gd name="connsiteY226" fmla="*/ 166687 h 1752600"/>
                <a:gd name="connsiteX227" fmla="*/ 100012 w 3128973"/>
                <a:gd name="connsiteY227" fmla="*/ 161925 h 1752600"/>
                <a:gd name="connsiteX228" fmla="*/ 114300 w 3128973"/>
                <a:gd name="connsiteY228" fmla="*/ 152400 h 1752600"/>
                <a:gd name="connsiteX229" fmla="*/ 133350 w 3128973"/>
                <a:gd name="connsiteY229" fmla="*/ 123825 h 1752600"/>
                <a:gd name="connsiteX230" fmla="*/ 138112 w 3128973"/>
                <a:gd name="connsiteY230" fmla="*/ 109537 h 1752600"/>
                <a:gd name="connsiteX231" fmla="*/ 135467 w 3128973"/>
                <a:gd name="connsiteY231" fmla="*/ 97059 h 1752600"/>
                <a:gd name="connsiteX232" fmla="*/ 142875 w 3128973"/>
                <a:gd name="connsiteY232" fmla="*/ 71437 h 1752600"/>
                <a:gd name="connsiteX233" fmla="*/ 157162 w 3128973"/>
                <a:gd name="connsiteY233" fmla="*/ 57150 h 1752600"/>
                <a:gd name="connsiteX234" fmla="*/ 200025 w 3128973"/>
                <a:gd name="connsiteY234" fmla="*/ 33337 h 1752600"/>
                <a:gd name="connsiteX235" fmla="*/ 309562 w 3128973"/>
                <a:gd name="connsiteY235" fmla="*/ 28575 h 1752600"/>
                <a:gd name="connsiteX236" fmla="*/ 400050 w 3128973"/>
                <a:gd name="connsiteY236" fmla="*/ 14287 h 1752600"/>
                <a:gd name="connsiteX237" fmla="*/ 414337 w 3128973"/>
                <a:gd name="connsiteY237" fmla="*/ 9525 h 1752600"/>
                <a:gd name="connsiteX238" fmla="*/ 481012 w 3128973"/>
                <a:gd name="connsiteY238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046801 w 3128973"/>
                <a:gd name="connsiteY27" fmla="*/ 262295 h 1752600"/>
                <a:gd name="connsiteX28" fmla="*/ 2033587 w 3128973"/>
                <a:gd name="connsiteY28" fmla="*/ 266700 h 1752600"/>
                <a:gd name="connsiteX29" fmla="*/ 2019300 w 3128973"/>
                <a:gd name="connsiteY29" fmla="*/ 280987 h 1752600"/>
                <a:gd name="connsiteX30" fmla="*/ 1990725 w 3128973"/>
                <a:gd name="connsiteY30" fmla="*/ 300037 h 1752600"/>
                <a:gd name="connsiteX31" fmla="*/ 1981200 w 3128973"/>
                <a:gd name="connsiteY31" fmla="*/ 314325 h 1752600"/>
                <a:gd name="connsiteX32" fmla="*/ 1981200 w 3128973"/>
                <a:gd name="connsiteY32" fmla="*/ 419100 h 1752600"/>
                <a:gd name="connsiteX33" fmla="*/ 1985962 w 3128973"/>
                <a:gd name="connsiteY33" fmla="*/ 433387 h 1752600"/>
                <a:gd name="connsiteX34" fmla="*/ 2000250 w 3128973"/>
                <a:gd name="connsiteY34" fmla="*/ 442912 h 1752600"/>
                <a:gd name="connsiteX35" fmla="*/ 2005012 w 3128973"/>
                <a:gd name="connsiteY35" fmla="*/ 457200 h 1752600"/>
                <a:gd name="connsiteX36" fmla="*/ 2005012 w 3128973"/>
                <a:gd name="connsiteY36" fmla="*/ 561975 h 1752600"/>
                <a:gd name="connsiteX37" fmla="*/ 2009775 w 3128973"/>
                <a:gd name="connsiteY37" fmla="*/ 576262 h 1752600"/>
                <a:gd name="connsiteX38" fmla="*/ 2024062 w 3128973"/>
                <a:gd name="connsiteY38" fmla="*/ 581025 h 1752600"/>
                <a:gd name="connsiteX39" fmla="*/ 2038350 w 3128973"/>
                <a:gd name="connsiteY39" fmla="*/ 595312 h 1752600"/>
                <a:gd name="connsiteX40" fmla="*/ 2052637 w 3128973"/>
                <a:gd name="connsiteY40" fmla="*/ 600075 h 1752600"/>
                <a:gd name="connsiteX41" fmla="*/ 2133600 w 3128973"/>
                <a:gd name="connsiteY41" fmla="*/ 590550 h 1752600"/>
                <a:gd name="connsiteX42" fmla="*/ 2147887 w 3128973"/>
                <a:gd name="connsiteY42" fmla="*/ 585787 h 1752600"/>
                <a:gd name="connsiteX43" fmla="*/ 2195512 w 3128973"/>
                <a:gd name="connsiteY43" fmla="*/ 600075 h 1752600"/>
                <a:gd name="connsiteX44" fmla="*/ 2205037 w 3128973"/>
                <a:gd name="connsiteY44" fmla="*/ 614362 h 1752600"/>
                <a:gd name="connsiteX45" fmla="*/ 2219325 w 3128973"/>
                <a:gd name="connsiteY45" fmla="*/ 628650 h 1752600"/>
                <a:gd name="connsiteX46" fmla="*/ 2224087 w 3128973"/>
                <a:gd name="connsiteY46" fmla="*/ 642937 h 1752600"/>
                <a:gd name="connsiteX47" fmla="*/ 2233612 w 3128973"/>
                <a:gd name="connsiteY47" fmla="*/ 657225 h 1752600"/>
                <a:gd name="connsiteX48" fmla="*/ 2247900 w 3128973"/>
                <a:gd name="connsiteY48" fmla="*/ 685800 h 1752600"/>
                <a:gd name="connsiteX49" fmla="*/ 2262187 w 3128973"/>
                <a:gd name="connsiteY49" fmla="*/ 733425 h 1752600"/>
                <a:gd name="connsiteX50" fmla="*/ 2305050 w 3128973"/>
                <a:gd name="connsiteY50" fmla="*/ 771525 h 1752600"/>
                <a:gd name="connsiteX51" fmla="*/ 2319337 w 3128973"/>
                <a:gd name="connsiteY51" fmla="*/ 804862 h 1752600"/>
                <a:gd name="connsiteX52" fmla="*/ 2333625 w 3128973"/>
                <a:gd name="connsiteY52" fmla="*/ 819150 h 1752600"/>
                <a:gd name="connsiteX53" fmla="*/ 2338387 w 3128973"/>
                <a:gd name="connsiteY53" fmla="*/ 833437 h 1752600"/>
                <a:gd name="connsiteX54" fmla="*/ 2352675 w 3128973"/>
                <a:gd name="connsiteY54" fmla="*/ 847725 h 1752600"/>
                <a:gd name="connsiteX55" fmla="*/ 2395537 w 3128973"/>
                <a:gd name="connsiteY55" fmla="*/ 871537 h 1752600"/>
                <a:gd name="connsiteX56" fmla="*/ 2409825 w 3128973"/>
                <a:gd name="connsiteY56" fmla="*/ 890587 h 1752600"/>
                <a:gd name="connsiteX57" fmla="*/ 2424112 w 3128973"/>
                <a:gd name="connsiteY57" fmla="*/ 895350 h 1752600"/>
                <a:gd name="connsiteX58" fmla="*/ 2433637 w 3128973"/>
                <a:gd name="connsiteY58" fmla="*/ 914400 h 1752600"/>
                <a:gd name="connsiteX59" fmla="*/ 2466975 w 3128973"/>
                <a:gd name="connsiteY59" fmla="*/ 942975 h 1752600"/>
                <a:gd name="connsiteX60" fmla="*/ 2474637 w 3128973"/>
                <a:gd name="connsiteY60" fmla="*/ 954728 h 1752600"/>
                <a:gd name="connsiteX61" fmla="*/ 2495550 w 3128973"/>
                <a:gd name="connsiteY61" fmla="*/ 971550 h 1752600"/>
                <a:gd name="connsiteX62" fmla="*/ 2508776 w 3128973"/>
                <a:gd name="connsiteY62" fmla="*/ 983894 h 1752600"/>
                <a:gd name="connsiteX63" fmla="*/ 2533650 w 3128973"/>
                <a:gd name="connsiteY63" fmla="*/ 1000125 h 1752600"/>
                <a:gd name="connsiteX64" fmla="*/ 2547937 w 3128973"/>
                <a:gd name="connsiteY64" fmla="*/ 1028700 h 1752600"/>
                <a:gd name="connsiteX65" fmla="*/ 2552700 w 3128973"/>
                <a:gd name="connsiteY65" fmla="*/ 1042987 h 1752600"/>
                <a:gd name="connsiteX66" fmla="*/ 2576512 w 3128973"/>
                <a:gd name="connsiteY66" fmla="*/ 1071562 h 1752600"/>
                <a:gd name="connsiteX67" fmla="*/ 2584921 w 3128973"/>
                <a:gd name="connsiteY67" fmla="*/ 1082873 h 1752600"/>
                <a:gd name="connsiteX68" fmla="*/ 2600325 w 3128973"/>
                <a:gd name="connsiteY68" fmla="*/ 1095375 h 1752600"/>
                <a:gd name="connsiteX69" fmla="*/ 2609850 w 3128973"/>
                <a:gd name="connsiteY69" fmla="*/ 1109662 h 1752600"/>
                <a:gd name="connsiteX70" fmla="*/ 2652712 w 3128973"/>
                <a:gd name="connsiteY70" fmla="*/ 1143000 h 1752600"/>
                <a:gd name="connsiteX71" fmla="*/ 2681287 w 3128973"/>
                <a:gd name="connsiteY71" fmla="*/ 1152525 h 1752600"/>
                <a:gd name="connsiteX72" fmla="*/ 2700337 w 3128973"/>
                <a:gd name="connsiteY72" fmla="*/ 1162050 h 1752600"/>
                <a:gd name="connsiteX73" fmla="*/ 2714625 w 3128973"/>
                <a:gd name="connsiteY73" fmla="*/ 1171575 h 1752600"/>
                <a:gd name="connsiteX74" fmla="*/ 2752725 w 3128973"/>
                <a:gd name="connsiteY74" fmla="*/ 1181100 h 1752600"/>
                <a:gd name="connsiteX75" fmla="*/ 2767012 w 3128973"/>
                <a:gd name="connsiteY75" fmla="*/ 1195387 h 1752600"/>
                <a:gd name="connsiteX76" fmla="*/ 2781300 w 3128973"/>
                <a:gd name="connsiteY76" fmla="*/ 1200150 h 1752600"/>
                <a:gd name="connsiteX77" fmla="*/ 2795587 w 3128973"/>
                <a:gd name="connsiteY77" fmla="*/ 1209675 h 1752600"/>
                <a:gd name="connsiteX78" fmla="*/ 2805112 w 3128973"/>
                <a:gd name="connsiteY78" fmla="*/ 1223962 h 1752600"/>
                <a:gd name="connsiteX79" fmla="*/ 2809875 w 3128973"/>
                <a:gd name="connsiteY79" fmla="*/ 1238250 h 1752600"/>
                <a:gd name="connsiteX80" fmla="*/ 2833687 w 3128973"/>
                <a:gd name="connsiteY80" fmla="*/ 1276350 h 1752600"/>
                <a:gd name="connsiteX81" fmla="*/ 2895600 w 3128973"/>
                <a:gd name="connsiteY81" fmla="*/ 1333500 h 1752600"/>
                <a:gd name="connsiteX82" fmla="*/ 2900362 w 3128973"/>
                <a:gd name="connsiteY82" fmla="*/ 1352550 h 1752600"/>
                <a:gd name="connsiteX83" fmla="*/ 2928937 w 3128973"/>
                <a:gd name="connsiteY83" fmla="*/ 1395412 h 1752600"/>
                <a:gd name="connsiteX84" fmla="*/ 2943225 w 3128973"/>
                <a:gd name="connsiteY84" fmla="*/ 1404937 h 1752600"/>
                <a:gd name="connsiteX85" fmla="*/ 2957512 w 3128973"/>
                <a:gd name="connsiteY85" fmla="*/ 1419225 h 1752600"/>
                <a:gd name="connsiteX86" fmla="*/ 2986087 w 3128973"/>
                <a:gd name="connsiteY86" fmla="*/ 1443037 h 1752600"/>
                <a:gd name="connsiteX87" fmla="*/ 3000375 w 3128973"/>
                <a:gd name="connsiteY87" fmla="*/ 1462087 h 1752600"/>
                <a:gd name="connsiteX88" fmla="*/ 3016395 w 3128973"/>
                <a:gd name="connsiteY88" fmla="*/ 1476222 h 1752600"/>
                <a:gd name="connsiteX89" fmla="*/ 3028950 w 3128973"/>
                <a:gd name="connsiteY89" fmla="*/ 1495425 h 1752600"/>
                <a:gd name="connsiteX90" fmla="*/ 3043237 w 3128973"/>
                <a:gd name="connsiteY90" fmla="*/ 1552575 h 1752600"/>
                <a:gd name="connsiteX91" fmla="*/ 3052762 w 3128973"/>
                <a:gd name="connsiteY91" fmla="*/ 1566862 h 1752600"/>
                <a:gd name="connsiteX92" fmla="*/ 3057525 w 3128973"/>
                <a:gd name="connsiteY92" fmla="*/ 1581150 h 1752600"/>
                <a:gd name="connsiteX93" fmla="*/ 3067050 w 3128973"/>
                <a:gd name="connsiteY93" fmla="*/ 1662112 h 1752600"/>
                <a:gd name="connsiteX94" fmla="*/ 3071812 w 3128973"/>
                <a:gd name="connsiteY94" fmla="*/ 1676400 h 1752600"/>
                <a:gd name="connsiteX95" fmla="*/ 3100387 w 3128973"/>
                <a:gd name="connsiteY95" fmla="*/ 1690687 h 1752600"/>
                <a:gd name="connsiteX96" fmla="*/ 3114675 w 3128973"/>
                <a:gd name="connsiteY96" fmla="*/ 1685925 h 1752600"/>
                <a:gd name="connsiteX97" fmla="*/ 3124200 w 3128973"/>
                <a:gd name="connsiteY97" fmla="*/ 1671637 h 1752600"/>
                <a:gd name="connsiteX98" fmla="*/ 3128973 w 3128973"/>
                <a:gd name="connsiteY98" fmla="*/ 1651467 h 1752600"/>
                <a:gd name="connsiteX99" fmla="*/ 3128021 w 3128973"/>
                <a:gd name="connsiteY99" fmla="*/ 1710279 h 1752600"/>
                <a:gd name="connsiteX100" fmla="*/ 3043237 w 3128973"/>
                <a:gd name="connsiteY100" fmla="*/ 1714500 h 1752600"/>
                <a:gd name="connsiteX101" fmla="*/ 3028950 w 3128973"/>
                <a:gd name="connsiteY101" fmla="*/ 1728787 h 1752600"/>
                <a:gd name="connsiteX102" fmla="*/ 2986087 w 3128973"/>
                <a:gd name="connsiteY102" fmla="*/ 1738312 h 1752600"/>
                <a:gd name="connsiteX103" fmla="*/ 2971800 w 3128973"/>
                <a:gd name="connsiteY103" fmla="*/ 1743075 h 1752600"/>
                <a:gd name="connsiteX104" fmla="*/ 2943225 w 3128973"/>
                <a:gd name="connsiteY104" fmla="*/ 1738312 h 1752600"/>
                <a:gd name="connsiteX105" fmla="*/ 2928937 w 3128973"/>
                <a:gd name="connsiteY105" fmla="*/ 1747837 h 1752600"/>
                <a:gd name="connsiteX106" fmla="*/ 2914650 w 3128973"/>
                <a:gd name="connsiteY106" fmla="*/ 1752600 h 1752600"/>
                <a:gd name="connsiteX107" fmla="*/ 2895600 w 3128973"/>
                <a:gd name="connsiteY107" fmla="*/ 1724025 h 1752600"/>
                <a:gd name="connsiteX108" fmla="*/ 2883310 w 3128973"/>
                <a:gd name="connsiteY108" fmla="*/ 1701201 h 1752600"/>
                <a:gd name="connsiteX109" fmla="*/ 2883805 w 3128973"/>
                <a:gd name="connsiteY109" fmla="*/ 1696138 h 1752600"/>
                <a:gd name="connsiteX110" fmla="*/ 2871787 w 3128973"/>
                <a:gd name="connsiteY110" fmla="*/ 1685925 h 1752600"/>
                <a:gd name="connsiteX111" fmla="*/ 2847975 w 3128973"/>
                <a:gd name="connsiteY111" fmla="*/ 1657350 h 1752600"/>
                <a:gd name="connsiteX112" fmla="*/ 2834034 w 3128973"/>
                <a:gd name="connsiteY112" fmla="*/ 1637762 h 1752600"/>
                <a:gd name="connsiteX113" fmla="*/ 2814637 w 3128973"/>
                <a:gd name="connsiteY113" fmla="*/ 1619250 h 1752600"/>
                <a:gd name="connsiteX114" fmla="*/ 2809875 w 3128973"/>
                <a:gd name="connsiteY114" fmla="*/ 1604962 h 1752600"/>
                <a:gd name="connsiteX115" fmla="*/ 2795587 w 3128973"/>
                <a:gd name="connsiteY115" fmla="*/ 1600200 h 1752600"/>
                <a:gd name="connsiteX116" fmla="*/ 2781300 w 3128973"/>
                <a:gd name="connsiteY116" fmla="*/ 1590675 h 1752600"/>
                <a:gd name="connsiteX117" fmla="*/ 2752725 w 3128973"/>
                <a:gd name="connsiteY117" fmla="*/ 1581150 h 1752600"/>
                <a:gd name="connsiteX118" fmla="*/ 2733675 w 3128973"/>
                <a:gd name="connsiteY118" fmla="*/ 1625600 h 1752600"/>
                <a:gd name="connsiteX119" fmla="*/ 2709862 w 3128973"/>
                <a:gd name="connsiteY119" fmla="*/ 1619250 h 1752600"/>
                <a:gd name="connsiteX120" fmla="*/ 2723566 w 3128973"/>
                <a:gd name="connsiteY120" fmla="*/ 1590361 h 1752600"/>
                <a:gd name="connsiteX121" fmla="*/ 2674937 w 3128973"/>
                <a:gd name="connsiteY121" fmla="*/ 1560512 h 1752600"/>
                <a:gd name="connsiteX122" fmla="*/ 2643187 w 3128973"/>
                <a:gd name="connsiteY122" fmla="*/ 1495425 h 1752600"/>
                <a:gd name="connsiteX123" fmla="*/ 2628900 w 3128973"/>
                <a:gd name="connsiteY123" fmla="*/ 1490662 h 1752600"/>
                <a:gd name="connsiteX124" fmla="*/ 2595562 w 3128973"/>
                <a:gd name="connsiteY124" fmla="*/ 1481137 h 1752600"/>
                <a:gd name="connsiteX125" fmla="*/ 2581275 w 3128973"/>
                <a:gd name="connsiteY125" fmla="*/ 1466850 h 1752600"/>
                <a:gd name="connsiteX126" fmla="*/ 2552700 w 3128973"/>
                <a:gd name="connsiteY126" fmla="*/ 1457325 h 1752600"/>
                <a:gd name="connsiteX127" fmla="*/ 2538412 w 3128973"/>
                <a:gd name="connsiteY127" fmla="*/ 1447800 h 1752600"/>
                <a:gd name="connsiteX128" fmla="*/ 2519362 w 3128973"/>
                <a:gd name="connsiteY128" fmla="*/ 1443037 h 1752600"/>
                <a:gd name="connsiteX129" fmla="*/ 2490787 w 3128973"/>
                <a:gd name="connsiteY129" fmla="*/ 1433512 h 1752600"/>
                <a:gd name="connsiteX130" fmla="*/ 2476500 w 3128973"/>
                <a:gd name="connsiteY130" fmla="*/ 1428750 h 1752600"/>
                <a:gd name="connsiteX131" fmla="*/ 2466975 w 3128973"/>
                <a:gd name="connsiteY131" fmla="*/ 1414462 h 1752600"/>
                <a:gd name="connsiteX132" fmla="*/ 2447925 w 3128973"/>
                <a:gd name="connsiteY132" fmla="*/ 1409700 h 1752600"/>
                <a:gd name="connsiteX133" fmla="*/ 2309812 w 3128973"/>
                <a:gd name="connsiteY133" fmla="*/ 1395412 h 1752600"/>
                <a:gd name="connsiteX134" fmla="*/ 2295525 w 3128973"/>
                <a:gd name="connsiteY134" fmla="*/ 1390650 h 1752600"/>
                <a:gd name="connsiteX135" fmla="*/ 2257425 w 3128973"/>
                <a:gd name="connsiteY135" fmla="*/ 1381125 h 1752600"/>
                <a:gd name="connsiteX136" fmla="*/ 2238375 w 3128973"/>
                <a:gd name="connsiteY136" fmla="*/ 1366837 h 1752600"/>
                <a:gd name="connsiteX137" fmla="*/ 2224087 w 3128973"/>
                <a:gd name="connsiteY137" fmla="*/ 1362075 h 1752600"/>
                <a:gd name="connsiteX138" fmla="*/ 2176462 w 3128973"/>
                <a:gd name="connsiteY138" fmla="*/ 1338262 h 1752600"/>
                <a:gd name="connsiteX139" fmla="*/ 2162175 w 3128973"/>
                <a:gd name="connsiteY139" fmla="*/ 1328737 h 1752600"/>
                <a:gd name="connsiteX140" fmla="*/ 2114550 w 3128973"/>
                <a:gd name="connsiteY140" fmla="*/ 1314450 h 1752600"/>
                <a:gd name="connsiteX141" fmla="*/ 2100262 w 3128973"/>
                <a:gd name="connsiteY141" fmla="*/ 1300162 h 1752600"/>
                <a:gd name="connsiteX142" fmla="*/ 2085975 w 3128973"/>
                <a:gd name="connsiteY142" fmla="*/ 1295400 h 1752600"/>
                <a:gd name="connsiteX143" fmla="*/ 2055019 w 3128973"/>
                <a:gd name="connsiteY143" fmla="*/ 1290637 h 1752600"/>
                <a:gd name="connsiteX144" fmla="*/ 2028824 w 3128973"/>
                <a:gd name="connsiteY144" fmla="*/ 1283494 h 1752600"/>
                <a:gd name="connsiteX145" fmla="*/ 2005012 w 3128973"/>
                <a:gd name="connsiteY145" fmla="*/ 1271587 h 1752600"/>
                <a:gd name="connsiteX146" fmla="*/ 1985962 w 3128973"/>
                <a:gd name="connsiteY146" fmla="*/ 1262062 h 1752600"/>
                <a:gd name="connsiteX147" fmla="*/ 1971675 w 3128973"/>
                <a:gd name="connsiteY147" fmla="*/ 1257300 h 1752600"/>
                <a:gd name="connsiteX148" fmla="*/ 1943100 w 3128973"/>
                <a:gd name="connsiteY148" fmla="*/ 1238250 h 1752600"/>
                <a:gd name="connsiteX149" fmla="*/ 1914525 w 3128973"/>
                <a:gd name="connsiteY149" fmla="*/ 1219200 h 1752600"/>
                <a:gd name="connsiteX150" fmla="*/ 1885950 w 3128973"/>
                <a:gd name="connsiteY150" fmla="*/ 1209675 h 1752600"/>
                <a:gd name="connsiteX151" fmla="*/ 1843087 w 3128973"/>
                <a:gd name="connsiteY151" fmla="*/ 1195387 h 1752600"/>
                <a:gd name="connsiteX152" fmla="*/ 1757362 w 3128973"/>
                <a:gd name="connsiteY152" fmla="*/ 1185862 h 1752600"/>
                <a:gd name="connsiteX153" fmla="*/ 1700212 w 3128973"/>
                <a:gd name="connsiteY153" fmla="*/ 1166812 h 1752600"/>
                <a:gd name="connsiteX154" fmla="*/ 1671637 w 3128973"/>
                <a:gd name="connsiteY154" fmla="*/ 1147762 h 1752600"/>
                <a:gd name="connsiteX155" fmla="*/ 1652587 w 3128973"/>
                <a:gd name="connsiteY155" fmla="*/ 1138237 h 1752600"/>
                <a:gd name="connsiteX156" fmla="*/ 1638300 w 3128973"/>
                <a:gd name="connsiteY156" fmla="*/ 1128712 h 1752600"/>
                <a:gd name="connsiteX157" fmla="*/ 1590675 w 3128973"/>
                <a:gd name="connsiteY157" fmla="*/ 1138238 h 1752600"/>
                <a:gd name="connsiteX158" fmla="*/ 1559719 w 3128973"/>
                <a:gd name="connsiteY158" fmla="*/ 1109662 h 1752600"/>
                <a:gd name="connsiteX159" fmla="*/ 1528762 w 3128973"/>
                <a:gd name="connsiteY159" fmla="*/ 1085850 h 1752600"/>
                <a:gd name="connsiteX160" fmla="*/ 1514475 w 3128973"/>
                <a:gd name="connsiteY160" fmla="*/ 1081087 h 1752600"/>
                <a:gd name="connsiteX161" fmla="*/ 1470025 w 3128973"/>
                <a:gd name="connsiteY161" fmla="*/ 1130300 h 1752600"/>
                <a:gd name="connsiteX162" fmla="*/ 1433512 w 3128973"/>
                <a:gd name="connsiteY162" fmla="*/ 1108075 h 1752600"/>
                <a:gd name="connsiteX163" fmla="*/ 1423987 w 3128973"/>
                <a:gd name="connsiteY163" fmla="*/ 1087437 h 1752600"/>
                <a:gd name="connsiteX164" fmla="*/ 1381125 w 3128973"/>
                <a:gd name="connsiteY164" fmla="*/ 1095375 h 1752600"/>
                <a:gd name="connsiteX165" fmla="*/ 1383506 w 3128973"/>
                <a:gd name="connsiteY165" fmla="*/ 1028700 h 1752600"/>
                <a:gd name="connsiteX166" fmla="*/ 1366838 w 3128973"/>
                <a:gd name="connsiteY166" fmla="*/ 1019175 h 1752600"/>
                <a:gd name="connsiteX167" fmla="*/ 1335881 w 3128973"/>
                <a:gd name="connsiteY167" fmla="*/ 1007268 h 1752600"/>
                <a:gd name="connsiteX168" fmla="*/ 1319213 w 3128973"/>
                <a:gd name="connsiteY168" fmla="*/ 1007268 h 1752600"/>
                <a:gd name="connsiteX169" fmla="*/ 1295400 w 3128973"/>
                <a:gd name="connsiteY169" fmla="*/ 976312 h 1752600"/>
                <a:gd name="connsiteX170" fmla="*/ 1281112 w 3128973"/>
                <a:gd name="connsiteY170" fmla="*/ 966787 h 1752600"/>
                <a:gd name="connsiteX171" fmla="*/ 1238250 w 3128973"/>
                <a:gd name="connsiteY171" fmla="*/ 947737 h 1752600"/>
                <a:gd name="connsiteX172" fmla="*/ 1212850 w 3128973"/>
                <a:gd name="connsiteY172" fmla="*/ 995362 h 1752600"/>
                <a:gd name="connsiteX173" fmla="*/ 1201737 w 3128973"/>
                <a:gd name="connsiteY173" fmla="*/ 987425 h 1752600"/>
                <a:gd name="connsiteX174" fmla="*/ 1163637 w 3128973"/>
                <a:gd name="connsiteY174" fmla="*/ 952277 h 1752600"/>
                <a:gd name="connsiteX175" fmla="*/ 1133475 w 3128973"/>
                <a:gd name="connsiteY175" fmla="*/ 925512 h 1752600"/>
                <a:gd name="connsiteX176" fmla="*/ 1085850 w 3128973"/>
                <a:gd name="connsiteY176" fmla="*/ 859631 h 1752600"/>
                <a:gd name="connsiteX177" fmla="*/ 1071562 w 3128973"/>
                <a:gd name="connsiteY177" fmla="*/ 842962 h 1752600"/>
                <a:gd name="connsiteX178" fmla="*/ 1047750 w 3128973"/>
                <a:gd name="connsiteY178" fmla="*/ 819150 h 1752600"/>
                <a:gd name="connsiteX179" fmla="*/ 1028700 w 3128973"/>
                <a:gd name="connsiteY179" fmla="*/ 804862 h 1752600"/>
                <a:gd name="connsiteX180" fmla="*/ 1018076 w 3128973"/>
                <a:gd name="connsiteY180" fmla="*/ 794816 h 1752600"/>
                <a:gd name="connsiteX181" fmla="*/ 1000125 w 3128973"/>
                <a:gd name="connsiteY181" fmla="*/ 785812 h 1752600"/>
                <a:gd name="connsiteX182" fmla="*/ 984342 w 3128973"/>
                <a:gd name="connsiteY182" fmla="*/ 773578 h 1752600"/>
                <a:gd name="connsiteX183" fmla="*/ 957262 w 3128973"/>
                <a:gd name="connsiteY183" fmla="*/ 766762 h 1752600"/>
                <a:gd name="connsiteX184" fmla="*/ 938212 w 3128973"/>
                <a:gd name="connsiteY184" fmla="*/ 757237 h 1752600"/>
                <a:gd name="connsiteX185" fmla="*/ 904875 w 3128973"/>
                <a:gd name="connsiteY185" fmla="*/ 747712 h 1752600"/>
                <a:gd name="connsiteX186" fmla="*/ 862012 w 3128973"/>
                <a:gd name="connsiteY186" fmla="*/ 723900 h 1752600"/>
                <a:gd name="connsiteX187" fmla="*/ 795337 w 3128973"/>
                <a:gd name="connsiteY187" fmla="*/ 685800 h 1752600"/>
                <a:gd name="connsiteX188" fmla="*/ 776287 w 3128973"/>
                <a:gd name="connsiteY188" fmla="*/ 666750 h 1752600"/>
                <a:gd name="connsiteX189" fmla="*/ 762000 w 3128973"/>
                <a:gd name="connsiteY189" fmla="*/ 661987 h 1752600"/>
                <a:gd name="connsiteX190" fmla="*/ 742950 w 3128973"/>
                <a:gd name="connsiteY190" fmla="*/ 647700 h 1752600"/>
                <a:gd name="connsiteX191" fmla="*/ 709612 w 3128973"/>
                <a:gd name="connsiteY191" fmla="*/ 638175 h 1752600"/>
                <a:gd name="connsiteX192" fmla="*/ 695325 w 3128973"/>
                <a:gd name="connsiteY192" fmla="*/ 628650 h 1752600"/>
                <a:gd name="connsiteX193" fmla="*/ 681037 w 3128973"/>
                <a:gd name="connsiteY193" fmla="*/ 623887 h 1752600"/>
                <a:gd name="connsiteX194" fmla="*/ 676275 w 3128973"/>
                <a:gd name="connsiteY194" fmla="*/ 604837 h 1752600"/>
                <a:gd name="connsiteX195" fmla="*/ 666750 w 3128973"/>
                <a:gd name="connsiteY195" fmla="*/ 576262 h 1752600"/>
                <a:gd name="connsiteX196" fmla="*/ 661987 w 3128973"/>
                <a:gd name="connsiteY196" fmla="*/ 561975 h 1752600"/>
                <a:gd name="connsiteX197" fmla="*/ 666750 w 3128973"/>
                <a:gd name="connsiteY197" fmla="*/ 538162 h 1752600"/>
                <a:gd name="connsiteX198" fmla="*/ 638175 w 3128973"/>
                <a:gd name="connsiteY198" fmla="*/ 514350 h 1752600"/>
                <a:gd name="connsiteX199" fmla="*/ 619125 w 3128973"/>
                <a:gd name="connsiteY199" fmla="*/ 500062 h 1752600"/>
                <a:gd name="connsiteX200" fmla="*/ 576262 w 3128973"/>
                <a:gd name="connsiteY200" fmla="*/ 490537 h 1752600"/>
                <a:gd name="connsiteX201" fmla="*/ 542925 w 3128973"/>
                <a:gd name="connsiteY201" fmla="*/ 452437 h 1752600"/>
                <a:gd name="connsiteX202" fmla="*/ 525462 w 3128973"/>
                <a:gd name="connsiteY202" fmla="*/ 485775 h 1752600"/>
                <a:gd name="connsiteX203" fmla="*/ 504825 w 3128973"/>
                <a:gd name="connsiteY203" fmla="*/ 466725 h 1752600"/>
                <a:gd name="connsiteX204" fmla="*/ 454025 w 3128973"/>
                <a:gd name="connsiteY204" fmla="*/ 466725 h 1752600"/>
                <a:gd name="connsiteX205" fmla="*/ 407987 w 3128973"/>
                <a:gd name="connsiteY205" fmla="*/ 473075 h 1752600"/>
                <a:gd name="connsiteX206" fmla="*/ 395287 w 3128973"/>
                <a:gd name="connsiteY206" fmla="*/ 409575 h 1752600"/>
                <a:gd name="connsiteX207" fmla="*/ 376237 w 3128973"/>
                <a:gd name="connsiteY207" fmla="*/ 404812 h 1752600"/>
                <a:gd name="connsiteX208" fmla="*/ 342900 w 3128973"/>
                <a:gd name="connsiteY208" fmla="*/ 400050 h 1752600"/>
                <a:gd name="connsiteX209" fmla="*/ 314325 w 3128973"/>
                <a:gd name="connsiteY209" fmla="*/ 390525 h 1752600"/>
                <a:gd name="connsiteX210" fmla="*/ 273844 w 3128973"/>
                <a:gd name="connsiteY210" fmla="*/ 383382 h 1752600"/>
                <a:gd name="connsiteX211" fmla="*/ 257175 w 3128973"/>
                <a:gd name="connsiteY211" fmla="*/ 371475 h 1752600"/>
                <a:gd name="connsiteX212" fmla="*/ 245269 w 3128973"/>
                <a:gd name="connsiteY212" fmla="*/ 364331 h 1752600"/>
                <a:gd name="connsiteX213" fmla="*/ 223837 w 3128973"/>
                <a:gd name="connsiteY213" fmla="*/ 347662 h 1752600"/>
                <a:gd name="connsiteX214" fmla="*/ 190500 w 3128973"/>
                <a:gd name="connsiteY214" fmla="*/ 338137 h 1752600"/>
                <a:gd name="connsiteX215" fmla="*/ 147637 w 3128973"/>
                <a:gd name="connsiteY215" fmla="*/ 333375 h 1752600"/>
                <a:gd name="connsiteX216" fmla="*/ 119062 w 3128973"/>
                <a:gd name="connsiteY216" fmla="*/ 323850 h 1752600"/>
                <a:gd name="connsiteX217" fmla="*/ 104775 w 3128973"/>
                <a:gd name="connsiteY217" fmla="*/ 319087 h 1752600"/>
                <a:gd name="connsiteX218" fmla="*/ 61912 w 3128973"/>
                <a:gd name="connsiteY218" fmla="*/ 300037 h 1752600"/>
                <a:gd name="connsiteX219" fmla="*/ 23812 w 3128973"/>
                <a:gd name="connsiteY219" fmla="*/ 290512 h 1752600"/>
                <a:gd name="connsiteX220" fmla="*/ 9525 w 3128973"/>
                <a:gd name="connsiteY220" fmla="*/ 261937 h 1752600"/>
                <a:gd name="connsiteX221" fmla="*/ 0 w 3128973"/>
                <a:gd name="connsiteY221" fmla="*/ 290512 h 1752600"/>
                <a:gd name="connsiteX222" fmla="*/ 4762 w 3128973"/>
                <a:gd name="connsiteY222" fmla="*/ 247650 h 1752600"/>
                <a:gd name="connsiteX223" fmla="*/ 19050 w 3128973"/>
                <a:gd name="connsiteY223" fmla="*/ 200025 h 1752600"/>
                <a:gd name="connsiteX224" fmla="*/ 23812 w 3128973"/>
                <a:gd name="connsiteY224" fmla="*/ 185737 h 1752600"/>
                <a:gd name="connsiteX225" fmla="*/ 71437 w 3128973"/>
                <a:gd name="connsiteY225" fmla="*/ 171450 h 1752600"/>
                <a:gd name="connsiteX226" fmla="*/ 85725 w 3128973"/>
                <a:gd name="connsiteY226" fmla="*/ 166687 h 1752600"/>
                <a:gd name="connsiteX227" fmla="*/ 100012 w 3128973"/>
                <a:gd name="connsiteY227" fmla="*/ 161925 h 1752600"/>
                <a:gd name="connsiteX228" fmla="*/ 114300 w 3128973"/>
                <a:gd name="connsiteY228" fmla="*/ 152400 h 1752600"/>
                <a:gd name="connsiteX229" fmla="*/ 133350 w 3128973"/>
                <a:gd name="connsiteY229" fmla="*/ 123825 h 1752600"/>
                <a:gd name="connsiteX230" fmla="*/ 138112 w 3128973"/>
                <a:gd name="connsiteY230" fmla="*/ 109537 h 1752600"/>
                <a:gd name="connsiteX231" fmla="*/ 135467 w 3128973"/>
                <a:gd name="connsiteY231" fmla="*/ 97059 h 1752600"/>
                <a:gd name="connsiteX232" fmla="*/ 142875 w 3128973"/>
                <a:gd name="connsiteY232" fmla="*/ 71437 h 1752600"/>
                <a:gd name="connsiteX233" fmla="*/ 157162 w 3128973"/>
                <a:gd name="connsiteY233" fmla="*/ 57150 h 1752600"/>
                <a:gd name="connsiteX234" fmla="*/ 200025 w 3128973"/>
                <a:gd name="connsiteY234" fmla="*/ 33337 h 1752600"/>
                <a:gd name="connsiteX235" fmla="*/ 309562 w 3128973"/>
                <a:gd name="connsiteY235" fmla="*/ 28575 h 1752600"/>
                <a:gd name="connsiteX236" fmla="*/ 400050 w 3128973"/>
                <a:gd name="connsiteY236" fmla="*/ 14287 h 1752600"/>
                <a:gd name="connsiteX237" fmla="*/ 414337 w 3128973"/>
                <a:gd name="connsiteY237" fmla="*/ 9525 h 1752600"/>
                <a:gd name="connsiteX238" fmla="*/ 481012 w 3128973"/>
                <a:gd name="connsiteY238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302668 w 3128973"/>
                <a:gd name="connsiteY27" fmla="*/ 95815 h 1752600"/>
                <a:gd name="connsiteX28" fmla="*/ 2046801 w 3128973"/>
                <a:gd name="connsiteY28" fmla="*/ 262295 h 1752600"/>
                <a:gd name="connsiteX29" fmla="*/ 2033587 w 3128973"/>
                <a:gd name="connsiteY29" fmla="*/ 266700 h 1752600"/>
                <a:gd name="connsiteX30" fmla="*/ 2019300 w 3128973"/>
                <a:gd name="connsiteY30" fmla="*/ 280987 h 1752600"/>
                <a:gd name="connsiteX31" fmla="*/ 1990725 w 3128973"/>
                <a:gd name="connsiteY31" fmla="*/ 300037 h 1752600"/>
                <a:gd name="connsiteX32" fmla="*/ 1981200 w 3128973"/>
                <a:gd name="connsiteY32" fmla="*/ 314325 h 1752600"/>
                <a:gd name="connsiteX33" fmla="*/ 1981200 w 3128973"/>
                <a:gd name="connsiteY33" fmla="*/ 419100 h 1752600"/>
                <a:gd name="connsiteX34" fmla="*/ 1985962 w 3128973"/>
                <a:gd name="connsiteY34" fmla="*/ 433387 h 1752600"/>
                <a:gd name="connsiteX35" fmla="*/ 2000250 w 3128973"/>
                <a:gd name="connsiteY35" fmla="*/ 442912 h 1752600"/>
                <a:gd name="connsiteX36" fmla="*/ 2005012 w 3128973"/>
                <a:gd name="connsiteY36" fmla="*/ 457200 h 1752600"/>
                <a:gd name="connsiteX37" fmla="*/ 2005012 w 3128973"/>
                <a:gd name="connsiteY37" fmla="*/ 561975 h 1752600"/>
                <a:gd name="connsiteX38" fmla="*/ 2009775 w 3128973"/>
                <a:gd name="connsiteY38" fmla="*/ 576262 h 1752600"/>
                <a:gd name="connsiteX39" fmla="*/ 2024062 w 3128973"/>
                <a:gd name="connsiteY39" fmla="*/ 581025 h 1752600"/>
                <a:gd name="connsiteX40" fmla="*/ 2038350 w 3128973"/>
                <a:gd name="connsiteY40" fmla="*/ 595312 h 1752600"/>
                <a:gd name="connsiteX41" fmla="*/ 2052637 w 3128973"/>
                <a:gd name="connsiteY41" fmla="*/ 600075 h 1752600"/>
                <a:gd name="connsiteX42" fmla="*/ 2133600 w 3128973"/>
                <a:gd name="connsiteY42" fmla="*/ 590550 h 1752600"/>
                <a:gd name="connsiteX43" fmla="*/ 2147887 w 3128973"/>
                <a:gd name="connsiteY43" fmla="*/ 585787 h 1752600"/>
                <a:gd name="connsiteX44" fmla="*/ 2195512 w 3128973"/>
                <a:gd name="connsiteY44" fmla="*/ 600075 h 1752600"/>
                <a:gd name="connsiteX45" fmla="*/ 2205037 w 3128973"/>
                <a:gd name="connsiteY45" fmla="*/ 614362 h 1752600"/>
                <a:gd name="connsiteX46" fmla="*/ 2219325 w 3128973"/>
                <a:gd name="connsiteY46" fmla="*/ 628650 h 1752600"/>
                <a:gd name="connsiteX47" fmla="*/ 2224087 w 3128973"/>
                <a:gd name="connsiteY47" fmla="*/ 642937 h 1752600"/>
                <a:gd name="connsiteX48" fmla="*/ 2233612 w 3128973"/>
                <a:gd name="connsiteY48" fmla="*/ 657225 h 1752600"/>
                <a:gd name="connsiteX49" fmla="*/ 2247900 w 3128973"/>
                <a:gd name="connsiteY49" fmla="*/ 685800 h 1752600"/>
                <a:gd name="connsiteX50" fmla="*/ 2262187 w 3128973"/>
                <a:gd name="connsiteY50" fmla="*/ 733425 h 1752600"/>
                <a:gd name="connsiteX51" fmla="*/ 2305050 w 3128973"/>
                <a:gd name="connsiteY51" fmla="*/ 771525 h 1752600"/>
                <a:gd name="connsiteX52" fmla="*/ 2319337 w 3128973"/>
                <a:gd name="connsiteY52" fmla="*/ 804862 h 1752600"/>
                <a:gd name="connsiteX53" fmla="*/ 2333625 w 3128973"/>
                <a:gd name="connsiteY53" fmla="*/ 819150 h 1752600"/>
                <a:gd name="connsiteX54" fmla="*/ 2338387 w 3128973"/>
                <a:gd name="connsiteY54" fmla="*/ 833437 h 1752600"/>
                <a:gd name="connsiteX55" fmla="*/ 2352675 w 3128973"/>
                <a:gd name="connsiteY55" fmla="*/ 847725 h 1752600"/>
                <a:gd name="connsiteX56" fmla="*/ 2395537 w 3128973"/>
                <a:gd name="connsiteY56" fmla="*/ 871537 h 1752600"/>
                <a:gd name="connsiteX57" fmla="*/ 2409825 w 3128973"/>
                <a:gd name="connsiteY57" fmla="*/ 890587 h 1752600"/>
                <a:gd name="connsiteX58" fmla="*/ 2424112 w 3128973"/>
                <a:gd name="connsiteY58" fmla="*/ 895350 h 1752600"/>
                <a:gd name="connsiteX59" fmla="*/ 2433637 w 3128973"/>
                <a:gd name="connsiteY59" fmla="*/ 914400 h 1752600"/>
                <a:gd name="connsiteX60" fmla="*/ 2466975 w 3128973"/>
                <a:gd name="connsiteY60" fmla="*/ 942975 h 1752600"/>
                <a:gd name="connsiteX61" fmla="*/ 2474637 w 3128973"/>
                <a:gd name="connsiteY61" fmla="*/ 954728 h 1752600"/>
                <a:gd name="connsiteX62" fmla="*/ 2495550 w 3128973"/>
                <a:gd name="connsiteY62" fmla="*/ 971550 h 1752600"/>
                <a:gd name="connsiteX63" fmla="*/ 2508776 w 3128973"/>
                <a:gd name="connsiteY63" fmla="*/ 983894 h 1752600"/>
                <a:gd name="connsiteX64" fmla="*/ 2533650 w 3128973"/>
                <a:gd name="connsiteY64" fmla="*/ 1000125 h 1752600"/>
                <a:gd name="connsiteX65" fmla="*/ 2547937 w 3128973"/>
                <a:gd name="connsiteY65" fmla="*/ 1028700 h 1752600"/>
                <a:gd name="connsiteX66" fmla="*/ 2552700 w 3128973"/>
                <a:gd name="connsiteY66" fmla="*/ 1042987 h 1752600"/>
                <a:gd name="connsiteX67" fmla="*/ 2576512 w 3128973"/>
                <a:gd name="connsiteY67" fmla="*/ 1071562 h 1752600"/>
                <a:gd name="connsiteX68" fmla="*/ 2584921 w 3128973"/>
                <a:gd name="connsiteY68" fmla="*/ 1082873 h 1752600"/>
                <a:gd name="connsiteX69" fmla="*/ 2600325 w 3128973"/>
                <a:gd name="connsiteY69" fmla="*/ 1095375 h 1752600"/>
                <a:gd name="connsiteX70" fmla="*/ 2609850 w 3128973"/>
                <a:gd name="connsiteY70" fmla="*/ 1109662 h 1752600"/>
                <a:gd name="connsiteX71" fmla="*/ 2652712 w 3128973"/>
                <a:gd name="connsiteY71" fmla="*/ 1143000 h 1752600"/>
                <a:gd name="connsiteX72" fmla="*/ 2681287 w 3128973"/>
                <a:gd name="connsiteY72" fmla="*/ 1152525 h 1752600"/>
                <a:gd name="connsiteX73" fmla="*/ 2700337 w 3128973"/>
                <a:gd name="connsiteY73" fmla="*/ 1162050 h 1752600"/>
                <a:gd name="connsiteX74" fmla="*/ 2714625 w 3128973"/>
                <a:gd name="connsiteY74" fmla="*/ 1171575 h 1752600"/>
                <a:gd name="connsiteX75" fmla="*/ 2752725 w 3128973"/>
                <a:gd name="connsiteY75" fmla="*/ 1181100 h 1752600"/>
                <a:gd name="connsiteX76" fmla="*/ 2767012 w 3128973"/>
                <a:gd name="connsiteY76" fmla="*/ 1195387 h 1752600"/>
                <a:gd name="connsiteX77" fmla="*/ 2781300 w 3128973"/>
                <a:gd name="connsiteY77" fmla="*/ 1200150 h 1752600"/>
                <a:gd name="connsiteX78" fmla="*/ 2795587 w 3128973"/>
                <a:gd name="connsiteY78" fmla="*/ 1209675 h 1752600"/>
                <a:gd name="connsiteX79" fmla="*/ 2805112 w 3128973"/>
                <a:gd name="connsiteY79" fmla="*/ 1223962 h 1752600"/>
                <a:gd name="connsiteX80" fmla="*/ 2809875 w 3128973"/>
                <a:gd name="connsiteY80" fmla="*/ 1238250 h 1752600"/>
                <a:gd name="connsiteX81" fmla="*/ 2833687 w 3128973"/>
                <a:gd name="connsiteY81" fmla="*/ 1276350 h 1752600"/>
                <a:gd name="connsiteX82" fmla="*/ 2895600 w 3128973"/>
                <a:gd name="connsiteY82" fmla="*/ 1333500 h 1752600"/>
                <a:gd name="connsiteX83" fmla="*/ 2900362 w 3128973"/>
                <a:gd name="connsiteY83" fmla="*/ 1352550 h 1752600"/>
                <a:gd name="connsiteX84" fmla="*/ 2928937 w 3128973"/>
                <a:gd name="connsiteY84" fmla="*/ 1395412 h 1752600"/>
                <a:gd name="connsiteX85" fmla="*/ 2943225 w 3128973"/>
                <a:gd name="connsiteY85" fmla="*/ 1404937 h 1752600"/>
                <a:gd name="connsiteX86" fmla="*/ 2957512 w 3128973"/>
                <a:gd name="connsiteY86" fmla="*/ 1419225 h 1752600"/>
                <a:gd name="connsiteX87" fmla="*/ 2986087 w 3128973"/>
                <a:gd name="connsiteY87" fmla="*/ 1443037 h 1752600"/>
                <a:gd name="connsiteX88" fmla="*/ 3000375 w 3128973"/>
                <a:gd name="connsiteY88" fmla="*/ 1462087 h 1752600"/>
                <a:gd name="connsiteX89" fmla="*/ 3016395 w 3128973"/>
                <a:gd name="connsiteY89" fmla="*/ 1476222 h 1752600"/>
                <a:gd name="connsiteX90" fmla="*/ 3028950 w 3128973"/>
                <a:gd name="connsiteY90" fmla="*/ 1495425 h 1752600"/>
                <a:gd name="connsiteX91" fmla="*/ 3043237 w 3128973"/>
                <a:gd name="connsiteY91" fmla="*/ 1552575 h 1752600"/>
                <a:gd name="connsiteX92" fmla="*/ 3052762 w 3128973"/>
                <a:gd name="connsiteY92" fmla="*/ 1566862 h 1752600"/>
                <a:gd name="connsiteX93" fmla="*/ 3057525 w 3128973"/>
                <a:gd name="connsiteY93" fmla="*/ 1581150 h 1752600"/>
                <a:gd name="connsiteX94" fmla="*/ 3067050 w 3128973"/>
                <a:gd name="connsiteY94" fmla="*/ 1662112 h 1752600"/>
                <a:gd name="connsiteX95" fmla="*/ 3071812 w 3128973"/>
                <a:gd name="connsiteY95" fmla="*/ 1676400 h 1752600"/>
                <a:gd name="connsiteX96" fmla="*/ 3100387 w 3128973"/>
                <a:gd name="connsiteY96" fmla="*/ 1690687 h 1752600"/>
                <a:gd name="connsiteX97" fmla="*/ 3114675 w 3128973"/>
                <a:gd name="connsiteY97" fmla="*/ 1685925 h 1752600"/>
                <a:gd name="connsiteX98" fmla="*/ 3124200 w 3128973"/>
                <a:gd name="connsiteY98" fmla="*/ 1671637 h 1752600"/>
                <a:gd name="connsiteX99" fmla="*/ 3128973 w 3128973"/>
                <a:gd name="connsiteY99" fmla="*/ 1651467 h 1752600"/>
                <a:gd name="connsiteX100" fmla="*/ 3128021 w 3128973"/>
                <a:gd name="connsiteY100" fmla="*/ 1710279 h 1752600"/>
                <a:gd name="connsiteX101" fmla="*/ 3043237 w 3128973"/>
                <a:gd name="connsiteY101" fmla="*/ 1714500 h 1752600"/>
                <a:gd name="connsiteX102" fmla="*/ 3028950 w 3128973"/>
                <a:gd name="connsiteY102" fmla="*/ 1728787 h 1752600"/>
                <a:gd name="connsiteX103" fmla="*/ 2986087 w 3128973"/>
                <a:gd name="connsiteY103" fmla="*/ 1738312 h 1752600"/>
                <a:gd name="connsiteX104" fmla="*/ 2971800 w 3128973"/>
                <a:gd name="connsiteY104" fmla="*/ 1743075 h 1752600"/>
                <a:gd name="connsiteX105" fmla="*/ 2943225 w 3128973"/>
                <a:gd name="connsiteY105" fmla="*/ 1738312 h 1752600"/>
                <a:gd name="connsiteX106" fmla="*/ 2928937 w 3128973"/>
                <a:gd name="connsiteY106" fmla="*/ 1747837 h 1752600"/>
                <a:gd name="connsiteX107" fmla="*/ 2914650 w 3128973"/>
                <a:gd name="connsiteY107" fmla="*/ 1752600 h 1752600"/>
                <a:gd name="connsiteX108" fmla="*/ 2895600 w 3128973"/>
                <a:gd name="connsiteY108" fmla="*/ 1724025 h 1752600"/>
                <a:gd name="connsiteX109" fmla="*/ 2883310 w 3128973"/>
                <a:gd name="connsiteY109" fmla="*/ 1701201 h 1752600"/>
                <a:gd name="connsiteX110" fmla="*/ 2883805 w 3128973"/>
                <a:gd name="connsiteY110" fmla="*/ 1696138 h 1752600"/>
                <a:gd name="connsiteX111" fmla="*/ 2871787 w 3128973"/>
                <a:gd name="connsiteY111" fmla="*/ 1685925 h 1752600"/>
                <a:gd name="connsiteX112" fmla="*/ 2847975 w 3128973"/>
                <a:gd name="connsiteY112" fmla="*/ 1657350 h 1752600"/>
                <a:gd name="connsiteX113" fmla="*/ 2834034 w 3128973"/>
                <a:gd name="connsiteY113" fmla="*/ 1637762 h 1752600"/>
                <a:gd name="connsiteX114" fmla="*/ 2814637 w 3128973"/>
                <a:gd name="connsiteY114" fmla="*/ 1619250 h 1752600"/>
                <a:gd name="connsiteX115" fmla="*/ 2809875 w 3128973"/>
                <a:gd name="connsiteY115" fmla="*/ 1604962 h 1752600"/>
                <a:gd name="connsiteX116" fmla="*/ 2795587 w 3128973"/>
                <a:gd name="connsiteY116" fmla="*/ 1600200 h 1752600"/>
                <a:gd name="connsiteX117" fmla="*/ 2781300 w 3128973"/>
                <a:gd name="connsiteY117" fmla="*/ 1590675 h 1752600"/>
                <a:gd name="connsiteX118" fmla="*/ 2752725 w 3128973"/>
                <a:gd name="connsiteY118" fmla="*/ 1581150 h 1752600"/>
                <a:gd name="connsiteX119" fmla="*/ 2733675 w 3128973"/>
                <a:gd name="connsiteY119" fmla="*/ 1625600 h 1752600"/>
                <a:gd name="connsiteX120" fmla="*/ 2709862 w 3128973"/>
                <a:gd name="connsiteY120" fmla="*/ 1619250 h 1752600"/>
                <a:gd name="connsiteX121" fmla="*/ 2723566 w 3128973"/>
                <a:gd name="connsiteY121" fmla="*/ 1590361 h 1752600"/>
                <a:gd name="connsiteX122" fmla="*/ 2674937 w 3128973"/>
                <a:gd name="connsiteY122" fmla="*/ 1560512 h 1752600"/>
                <a:gd name="connsiteX123" fmla="*/ 2643187 w 3128973"/>
                <a:gd name="connsiteY123" fmla="*/ 1495425 h 1752600"/>
                <a:gd name="connsiteX124" fmla="*/ 2628900 w 3128973"/>
                <a:gd name="connsiteY124" fmla="*/ 1490662 h 1752600"/>
                <a:gd name="connsiteX125" fmla="*/ 2595562 w 3128973"/>
                <a:gd name="connsiteY125" fmla="*/ 1481137 h 1752600"/>
                <a:gd name="connsiteX126" fmla="*/ 2581275 w 3128973"/>
                <a:gd name="connsiteY126" fmla="*/ 1466850 h 1752600"/>
                <a:gd name="connsiteX127" fmla="*/ 2552700 w 3128973"/>
                <a:gd name="connsiteY127" fmla="*/ 1457325 h 1752600"/>
                <a:gd name="connsiteX128" fmla="*/ 2538412 w 3128973"/>
                <a:gd name="connsiteY128" fmla="*/ 1447800 h 1752600"/>
                <a:gd name="connsiteX129" fmla="*/ 2519362 w 3128973"/>
                <a:gd name="connsiteY129" fmla="*/ 1443037 h 1752600"/>
                <a:gd name="connsiteX130" fmla="*/ 2490787 w 3128973"/>
                <a:gd name="connsiteY130" fmla="*/ 1433512 h 1752600"/>
                <a:gd name="connsiteX131" fmla="*/ 2476500 w 3128973"/>
                <a:gd name="connsiteY131" fmla="*/ 1428750 h 1752600"/>
                <a:gd name="connsiteX132" fmla="*/ 2466975 w 3128973"/>
                <a:gd name="connsiteY132" fmla="*/ 1414462 h 1752600"/>
                <a:gd name="connsiteX133" fmla="*/ 2447925 w 3128973"/>
                <a:gd name="connsiteY133" fmla="*/ 1409700 h 1752600"/>
                <a:gd name="connsiteX134" fmla="*/ 2309812 w 3128973"/>
                <a:gd name="connsiteY134" fmla="*/ 1395412 h 1752600"/>
                <a:gd name="connsiteX135" fmla="*/ 2295525 w 3128973"/>
                <a:gd name="connsiteY135" fmla="*/ 1390650 h 1752600"/>
                <a:gd name="connsiteX136" fmla="*/ 2257425 w 3128973"/>
                <a:gd name="connsiteY136" fmla="*/ 1381125 h 1752600"/>
                <a:gd name="connsiteX137" fmla="*/ 2238375 w 3128973"/>
                <a:gd name="connsiteY137" fmla="*/ 1366837 h 1752600"/>
                <a:gd name="connsiteX138" fmla="*/ 2224087 w 3128973"/>
                <a:gd name="connsiteY138" fmla="*/ 1362075 h 1752600"/>
                <a:gd name="connsiteX139" fmla="*/ 2176462 w 3128973"/>
                <a:gd name="connsiteY139" fmla="*/ 1338262 h 1752600"/>
                <a:gd name="connsiteX140" fmla="*/ 2162175 w 3128973"/>
                <a:gd name="connsiteY140" fmla="*/ 1328737 h 1752600"/>
                <a:gd name="connsiteX141" fmla="*/ 2114550 w 3128973"/>
                <a:gd name="connsiteY141" fmla="*/ 1314450 h 1752600"/>
                <a:gd name="connsiteX142" fmla="*/ 2100262 w 3128973"/>
                <a:gd name="connsiteY142" fmla="*/ 1300162 h 1752600"/>
                <a:gd name="connsiteX143" fmla="*/ 2085975 w 3128973"/>
                <a:gd name="connsiteY143" fmla="*/ 1295400 h 1752600"/>
                <a:gd name="connsiteX144" fmla="*/ 2055019 w 3128973"/>
                <a:gd name="connsiteY144" fmla="*/ 1290637 h 1752600"/>
                <a:gd name="connsiteX145" fmla="*/ 2028824 w 3128973"/>
                <a:gd name="connsiteY145" fmla="*/ 1283494 h 1752600"/>
                <a:gd name="connsiteX146" fmla="*/ 2005012 w 3128973"/>
                <a:gd name="connsiteY146" fmla="*/ 1271587 h 1752600"/>
                <a:gd name="connsiteX147" fmla="*/ 1985962 w 3128973"/>
                <a:gd name="connsiteY147" fmla="*/ 1262062 h 1752600"/>
                <a:gd name="connsiteX148" fmla="*/ 1971675 w 3128973"/>
                <a:gd name="connsiteY148" fmla="*/ 1257300 h 1752600"/>
                <a:gd name="connsiteX149" fmla="*/ 1943100 w 3128973"/>
                <a:gd name="connsiteY149" fmla="*/ 1238250 h 1752600"/>
                <a:gd name="connsiteX150" fmla="*/ 1914525 w 3128973"/>
                <a:gd name="connsiteY150" fmla="*/ 1219200 h 1752600"/>
                <a:gd name="connsiteX151" fmla="*/ 1885950 w 3128973"/>
                <a:gd name="connsiteY151" fmla="*/ 1209675 h 1752600"/>
                <a:gd name="connsiteX152" fmla="*/ 1843087 w 3128973"/>
                <a:gd name="connsiteY152" fmla="*/ 1195387 h 1752600"/>
                <a:gd name="connsiteX153" fmla="*/ 1757362 w 3128973"/>
                <a:gd name="connsiteY153" fmla="*/ 1185862 h 1752600"/>
                <a:gd name="connsiteX154" fmla="*/ 1700212 w 3128973"/>
                <a:gd name="connsiteY154" fmla="*/ 1166812 h 1752600"/>
                <a:gd name="connsiteX155" fmla="*/ 1671637 w 3128973"/>
                <a:gd name="connsiteY155" fmla="*/ 1147762 h 1752600"/>
                <a:gd name="connsiteX156" fmla="*/ 1652587 w 3128973"/>
                <a:gd name="connsiteY156" fmla="*/ 1138237 h 1752600"/>
                <a:gd name="connsiteX157" fmla="*/ 1638300 w 3128973"/>
                <a:gd name="connsiteY157" fmla="*/ 1128712 h 1752600"/>
                <a:gd name="connsiteX158" fmla="*/ 1590675 w 3128973"/>
                <a:gd name="connsiteY158" fmla="*/ 1138238 h 1752600"/>
                <a:gd name="connsiteX159" fmla="*/ 1559719 w 3128973"/>
                <a:gd name="connsiteY159" fmla="*/ 1109662 h 1752600"/>
                <a:gd name="connsiteX160" fmla="*/ 1528762 w 3128973"/>
                <a:gd name="connsiteY160" fmla="*/ 1085850 h 1752600"/>
                <a:gd name="connsiteX161" fmla="*/ 1514475 w 3128973"/>
                <a:gd name="connsiteY161" fmla="*/ 1081087 h 1752600"/>
                <a:gd name="connsiteX162" fmla="*/ 1470025 w 3128973"/>
                <a:gd name="connsiteY162" fmla="*/ 1130300 h 1752600"/>
                <a:gd name="connsiteX163" fmla="*/ 1433512 w 3128973"/>
                <a:gd name="connsiteY163" fmla="*/ 1108075 h 1752600"/>
                <a:gd name="connsiteX164" fmla="*/ 1423987 w 3128973"/>
                <a:gd name="connsiteY164" fmla="*/ 1087437 h 1752600"/>
                <a:gd name="connsiteX165" fmla="*/ 1381125 w 3128973"/>
                <a:gd name="connsiteY165" fmla="*/ 1095375 h 1752600"/>
                <a:gd name="connsiteX166" fmla="*/ 1383506 w 3128973"/>
                <a:gd name="connsiteY166" fmla="*/ 1028700 h 1752600"/>
                <a:gd name="connsiteX167" fmla="*/ 1366838 w 3128973"/>
                <a:gd name="connsiteY167" fmla="*/ 1019175 h 1752600"/>
                <a:gd name="connsiteX168" fmla="*/ 1335881 w 3128973"/>
                <a:gd name="connsiteY168" fmla="*/ 1007268 h 1752600"/>
                <a:gd name="connsiteX169" fmla="*/ 1319213 w 3128973"/>
                <a:gd name="connsiteY169" fmla="*/ 1007268 h 1752600"/>
                <a:gd name="connsiteX170" fmla="*/ 1295400 w 3128973"/>
                <a:gd name="connsiteY170" fmla="*/ 976312 h 1752600"/>
                <a:gd name="connsiteX171" fmla="*/ 1281112 w 3128973"/>
                <a:gd name="connsiteY171" fmla="*/ 966787 h 1752600"/>
                <a:gd name="connsiteX172" fmla="*/ 1238250 w 3128973"/>
                <a:gd name="connsiteY172" fmla="*/ 947737 h 1752600"/>
                <a:gd name="connsiteX173" fmla="*/ 1212850 w 3128973"/>
                <a:gd name="connsiteY173" fmla="*/ 995362 h 1752600"/>
                <a:gd name="connsiteX174" fmla="*/ 1201737 w 3128973"/>
                <a:gd name="connsiteY174" fmla="*/ 987425 h 1752600"/>
                <a:gd name="connsiteX175" fmla="*/ 1163637 w 3128973"/>
                <a:gd name="connsiteY175" fmla="*/ 952277 h 1752600"/>
                <a:gd name="connsiteX176" fmla="*/ 1133475 w 3128973"/>
                <a:gd name="connsiteY176" fmla="*/ 925512 h 1752600"/>
                <a:gd name="connsiteX177" fmla="*/ 1085850 w 3128973"/>
                <a:gd name="connsiteY177" fmla="*/ 859631 h 1752600"/>
                <a:gd name="connsiteX178" fmla="*/ 1071562 w 3128973"/>
                <a:gd name="connsiteY178" fmla="*/ 842962 h 1752600"/>
                <a:gd name="connsiteX179" fmla="*/ 1047750 w 3128973"/>
                <a:gd name="connsiteY179" fmla="*/ 819150 h 1752600"/>
                <a:gd name="connsiteX180" fmla="*/ 1028700 w 3128973"/>
                <a:gd name="connsiteY180" fmla="*/ 804862 h 1752600"/>
                <a:gd name="connsiteX181" fmla="*/ 1018076 w 3128973"/>
                <a:gd name="connsiteY181" fmla="*/ 794816 h 1752600"/>
                <a:gd name="connsiteX182" fmla="*/ 1000125 w 3128973"/>
                <a:gd name="connsiteY182" fmla="*/ 785812 h 1752600"/>
                <a:gd name="connsiteX183" fmla="*/ 984342 w 3128973"/>
                <a:gd name="connsiteY183" fmla="*/ 773578 h 1752600"/>
                <a:gd name="connsiteX184" fmla="*/ 957262 w 3128973"/>
                <a:gd name="connsiteY184" fmla="*/ 766762 h 1752600"/>
                <a:gd name="connsiteX185" fmla="*/ 938212 w 3128973"/>
                <a:gd name="connsiteY185" fmla="*/ 757237 h 1752600"/>
                <a:gd name="connsiteX186" fmla="*/ 904875 w 3128973"/>
                <a:gd name="connsiteY186" fmla="*/ 747712 h 1752600"/>
                <a:gd name="connsiteX187" fmla="*/ 862012 w 3128973"/>
                <a:gd name="connsiteY187" fmla="*/ 723900 h 1752600"/>
                <a:gd name="connsiteX188" fmla="*/ 795337 w 3128973"/>
                <a:gd name="connsiteY188" fmla="*/ 685800 h 1752600"/>
                <a:gd name="connsiteX189" fmla="*/ 776287 w 3128973"/>
                <a:gd name="connsiteY189" fmla="*/ 666750 h 1752600"/>
                <a:gd name="connsiteX190" fmla="*/ 762000 w 3128973"/>
                <a:gd name="connsiteY190" fmla="*/ 661987 h 1752600"/>
                <a:gd name="connsiteX191" fmla="*/ 742950 w 3128973"/>
                <a:gd name="connsiteY191" fmla="*/ 647700 h 1752600"/>
                <a:gd name="connsiteX192" fmla="*/ 709612 w 3128973"/>
                <a:gd name="connsiteY192" fmla="*/ 638175 h 1752600"/>
                <a:gd name="connsiteX193" fmla="*/ 695325 w 3128973"/>
                <a:gd name="connsiteY193" fmla="*/ 628650 h 1752600"/>
                <a:gd name="connsiteX194" fmla="*/ 681037 w 3128973"/>
                <a:gd name="connsiteY194" fmla="*/ 623887 h 1752600"/>
                <a:gd name="connsiteX195" fmla="*/ 676275 w 3128973"/>
                <a:gd name="connsiteY195" fmla="*/ 604837 h 1752600"/>
                <a:gd name="connsiteX196" fmla="*/ 666750 w 3128973"/>
                <a:gd name="connsiteY196" fmla="*/ 576262 h 1752600"/>
                <a:gd name="connsiteX197" fmla="*/ 661987 w 3128973"/>
                <a:gd name="connsiteY197" fmla="*/ 561975 h 1752600"/>
                <a:gd name="connsiteX198" fmla="*/ 666750 w 3128973"/>
                <a:gd name="connsiteY198" fmla="*/ 538162 h 1752600"/>
                <a:gd name="connsiteX199" fmla="*/ 638175 w 3128973"/>
                <a:gd name="connsiteY199" fmla="*/ 514350 h 1752600"/>
                <a:gd name="connsiteX200" fmla="*/ 619125 w 3128973"/>
                <a:gd name="connsiteY200" fmla="*/ 500062 h 1752600"/>
                <a:gd name="connsiteX201" fmla="*/ 576262 w 3128973"/>
                <a:gd name="connsiteY201" fmla="*/ 490537 h 1752600"/>
                <a:gd name="connsiteX202" fmla="*/ 542925 w 3128973"/>
                <a:gd name="connsiteY202" fmla="*/ 452437 h 1752600"/>
                <a:gd name="connsiteX203" fmla="*/ 525462 w 3128973"/>
                <a:gd name="connsiteY203" fmla="*/ 485775 h 1752600"/>
                <a:gd name="connsiteX204" fmla="*/ 504825 w 3128973"/>
                <a:gd name="connsiteY204" fmla="*/ 466725 h 1752600"/>
                <a:gd name="connsiteX205" fmla="*/ 454025 w 3128973"/>
                <a:gd name="connsiteY205" fmla="*/ 466725 h 1752600"/>
                <a:gd name="connsiteX206" fmla="*/ 407987 w 3128973"/>
                <a:gd name="connsiteY206" fmla="*/ 473075 h 1752600"/>
                <a:gd name="connsiteX207" fmla="*/ 395287 w 3128973"/>
                <a:gd name="connsiteY207" fmla="*/ 409575 h 1752600"/>
                <a:gd name="connsiteX208" fmla="*/ 376237 w 3128973"/>
                <a:gd name="connsiteY208" fmla="*/ 404812 h 1752600"/>
                <a:gd name="connsiteX209" fmla="*/ 342900 w 3128973"/>
                <a:gd name="connsiteY209" fmla="*/ 400050 h 1752600"/>
                <a:gd name="connsiteX210" fmla="*/ 314325 w 3128973"/>
                <a:gd name="connsiteY210" fmla="*/ 390525 h 1752600"/>
                <a:gd name="connsiteX211" fmla="*/ 273844 w 3128973"/>
                <a:gd name="connsiteY211" fmla="*/ 383382 h 1752600"/>
                <a:gd name="connsiteX212" fmla="*/ 257175 w 3128973"/>
                <a:gd name="connsiteY212" fmla="*/ 371475 h 1752600"/>
                <a:gd name="connsiteX213" fmla="*/ 245269 w 3128973"/>
                <a:gd name="connsiteY213" fmla="*/ 364331 h 1752600"/>
                <a:gd name="connsiteX214" fmla="*/ 223837 w 3128973"/>
                <a:gd name="connsiteY214" fmla="*/ 347662 h 1752600"/>
                <a:gd name="connsiteX215" fmla="*/ 190500 w 3128973"/>
                <a:gd name="connsiteY215" fmla="*/ 338137 h 1752600"/>
                <a:gd name="connsiteX216" fmla="*/ 147637 w 3128973"/>
                <a:gd name="connsiteY216" fmla="*/ 333375 h 1752600"/>
                <a:gd name="connsiteX217" fmla="*/ 119062 w 3128973"/>
                <a:gd name="connsiteY217" fmla="*/ 323850 h 1752600"/>
                <a:gd name="connsiteX218" fmla="*/ 104775 w 3128973"/>
                <a:gd name="connsiteY218" fmla="*/ 319087 h 1752600"/>
                <a:gd name="connsiteX219" fmla="*/ 61912 w 3128973"/>
                <a:gd name="connsiteY219" fmla="*/ 300037 h 1752600"/>
                <a:gd name="connsiteX220" fmla="*/ 23812 w 3128973"/>
                <a:gd name="connsiteY220" fmla="*/ 290512 h 1752600"/>
                <a:gd name="connsiteX221" fmla="*/ 9525 w 3128973"/>
                <a:gd name="connsiteY221" fmla="*/ 261937 h 1752600"/>
                <a:gd name="connsiteX222" fmla="*/ 0 w 3128973"/>
                <a:gd name="connsiteY222" fmla="*/ 290512 h 1752600"/>
                <a:gd name="connsiteX223" fmla="*/ 4762 w 3128973"/>
                <a:gd name="connsiteY223" fmla="*/ 247650 h 1752600"/>
                <a:gd name="connsiteX224" fmla="*/ 19050 w 3128973"/>
                <a:gd name="connsiteY224" fmla="*/ 200025 h 1752600"/>
                <a:gd name="connsiteX225" fmla="*/ 23812 w 3128973"/>
                <a:gd name="connsiteY225" fmla="*/ 185737 h 1752600"/>
                <a:gd name="connsiteX226" fmla="*/ 71437 w 3128973"/>
                <a:gd name="connsiteY226" fmla="*/ 171450 h 1752600"/>
                <a:gd name="connsiteX227" fmla="*/ 85725 w 3128973"/>
                <a:gd name="connsiteY227" fmla="*/ 166687 h 1752600"/>
                <a:gd name="connsiteX228" fmla="*/ 100012 w 3128973"/>
                <a:gd name="connsiteY228" fmla="*/ 161925 h 1752600"/>
                <a:gd name="connsiteX229" fmla="*/ 114300 w 3128973"/>
                <a:gd name="connsiteY229" fmla="*/ 152400 h 1752600"/>
                <a:gd name="connsiteX230" fmla="*/ 133350 w 3128973"/>
                <a:gd name="connsiteY230" fmla="*/ 123825 h 1752600"/>
                <a:gd name="connsiteX231" fmla="*/ 138112 w 3128973"/>
                <a:gd name="connsiteY231" fmla="*/ 109537 h 1752600"/>
                <a:gd name="connsiteX232" fmla="*/ 135467 w 3128973"/>
                <a:gd name="connsiteY232" fmla="*/ 97059 h 1752600"/>
                <a:gd name="connsiteX233" fmla="*/ 142875 w 3128973"/>
                <a:gd name="connsiteY233" fmla="*/ 71437 h 1752600"/>
                <a:gd name="connsiteX234" fmla="*/ 157162 w 3128973"/>
                <a:gd name="connsiteY234" fmla="*/ 57150 h 1752600"/>
                <a:gd name="connsiteX235" fmla="*/ 200025 w 3128973"/>
                <a:gd name="connsiteY235" fmla="*/ 33337 h 1752600"/>
                <a:gd name="connsiteX236" fmla="*/ 309562 w 3128973"/>
                <a:gd name="connsiteY236" fmla="*/ 28575 h 1752600"/>
                <a:gd name="connsiteX237" fmla="*/ 400050 w 3128973"/>
                <a:gd name="connsiteY237" fmla="*/ 14287 h 1752600"/>
                <a:gd name="connsiteX238" fmla="*/ 414337 w 3128973"/>
                <a:gd name="connsiteY238" fmla="*/ 9525 h 1752600"/>
                <a:gd name="connsiteX239" fmla="*/ 481012 w 3128973"/>
                <a:gd name="connsiteY239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046801 w 3128973"/>
                <a:gd name="connsiteY28" fmla="*/ 262295 h 1752600"/>
                <a:gd name="connsiteX29" fmla="*/ 2033587 w 3128973"/>
                <a:gd name="connsiteY29" fmla="*/ 266700 h 1752600"/>
                <a:gd name="connsiteX30" fmla="*/ 2019300 w 3128973"/>
                <a:gd name="connsiteY30" fmla="*/ 280987 h 1752600"/>
                <a:gd name="connsiteX31" fmla="*/ 1990725 w 3128973"/>
                <a:gd name="connsiteY31" fmla="*/ 300037 h 1752600"/>
                <a:gd name="connsiteX32" fmla="*/ 1981200 w 3128973"/>
                <a:gd name="connsiteY32" fmla="*/ 314325 h 1752600"/>
                <a:gd name="connsiteX33" fmla="*/ 1981200 w 3128973"/>
                <a:gd name="connsiteY33" fmla="*/ 419100 h 1752600"/>
                <a:gd name="connsiteX34" fmla="*/ 1985962 w 3128973"/>
                <a:gd name="connsiteY34" fmla="*/ 433387 h 1752600"/>
                <a:gd name="connsiteX35" fmla="*/ 2000250 w 3128973"/>
                <a:gd name="connsiteY35" fmla="*/ 442912 h 1752600"/>
                <a:gd name="connsiteX36" fmla="*/ 2005012 w 3128973"/>
                <a:gd name="connsiteY36" fmla="*/ 457200 h 1752600"/>
                <a:gd name="connsiteX37" fmla="*/ 2005012 w 3128973"/>
                <a:gd name="connsiteY37" fmla="*/ 561975 h 1752600"/>
                <a:gd name="connsiteX38" fmla="*/ 2009775 w 3128973"/>
                <a:gd name="connsiteY38" fmla="*/ 576262 h 1752600"/>
                <a:gd name="connsiteX39" fmla="*/ 2024062 w 3128973"/>
                <a:gd name="connsiteY39" fmla="*/ 581025 h 1752600"/>
                <a:gd name="connsiteX40" fmla="*/ 2038350 w 3128973"/>
                <a:gd name="connsiteY40" fmla="*/ 595312 h 1752600"/>
                <a:gd name="connsiteX41" fmla="*/ 2052637 w 3128973"/>
                <a:gd name="connsiteY41" fmla="*/ 600075 h 1752600"/>
                <a:gd name="connsiteX42" fmla="*/ 2133600 w 3128973"/>
                <a:gd name="connsiteY42" fmla="*/ 590550 h 1752600"/>
                <a:gd name="connsiteX43" fmla="*/ 2147887 w 3128973"/>
                <a:gd name="connsiteY43" fmla="*/ 585787 h 1752600"/>
                <a:gd name="connsiteX44" fmla="*/ 2195512 w 3128973"/>
                <a:gd name="connsiteY44" fmla="*/ 600075 h 1752600"/>
                <a:gd name="connsiteX45" fmla="*/ 2205037 w 3128973"/>
                <a:gd name="connsiteY45" fmla="*/ 614362 h 1752600"/>
                <a:gd name="connsiteX46" fmla="*/ 2219325 w 3128973"/>
                <a:gd name="connsiteY46" fmla="*/ 628650 h 1752600"/>
                <a:gd name="connsiteX47" fmla="*/ 2224087 w 3128973"/>
                <a:gd name="connsiteY47" fmla="*/ 642937 h 1752600"/>
                <a:gd name="connsiteX48" fmla="*/ 2233612 w 3128973"/>
                <a:gd name="connsiteY48" fmla="*/ 657225 h 1752600"/>
                <a:gd name="connsiteX49" fmla="*/ 2247900 w 3128973"/>
                <a:gd name="connsiteY49" fmla="*/ 685800 h 1752600"/>
                <a:gd name="connsiteX50" fmla="*/ 2262187 w 3128973"/>
                <a:gd name="connsiteY50" fmla="*/ 733425 h 1752600"/>
                <a:gd name="connsiteX51" fmla="*/ 2305050 w 3128973"/>
                <a:gd name="connsiteY51" fmla="*/ 771525 h 1752600"/>
                <a:gd name="connsiteX52" fmla="*/ 2319337 w 3128973"/>
                <a:gd name="connsiteY52" fmla="*/ 804862 h 1752600"/>
                <a:gd name="connsiteX53" fmla="*/ 2333625 w 3128973"/>
                <a:gd name="connsiteY53" fmla="*/ 819150 h 1752600"/>
                <a:gd name="connsiteX54" fmla="*/ 2338387 w 3128973"/>
                <a:gd name="connsiteY54" fmla="*/ 833437 h 1752600"/>
                <a:gd name="connsiteX55" fmla="*/ 2352675 w 3128973"/>
                <a:gd name="connsiteY55" fmla="*/ 847725 h 1752600"/>
                <a:gd name="connsiteX56" fmla="*/ 2395537 w 3128973"/>
                <a:gd name="connsiteY56" fmla="*/ 871537 h 1752600"/>
                <a:gd name="connsiteX57" fmla="*/ 2409825 w 3128973"/>
                <a:gd name="connsiteY57" fmla="*/ 890587 h 1752600"/>
                <a:gd name="connsiteX58" fmla="*/ 2424112 w 3128973"/>
                <a:gd name="connsiteY58" fmla="*/ 895350 h 1752600"/>
                <a:gd name="connsiteX59" fmla="*/ 2433637 w 3128973"/>
                <a:gd name="connsiteY59" fmla="*/ 914400 h 1752600"/>
                <a:gd name="connsiteX60" fmla="*/ 2466975 w 3128973"/>
                <a:gd name="connsiteY60" fmla="*/ 942975 h 1752600"/>
                <a:gd name="connsiteX61" fmla="*/ 2474637 w 3128973"/>
                <a:gd name="connsiteY61" fmla="*/ 954728 h 1752600"/>
                <a:gd name="connsiteX62" fmla="*/ 2495550 w 3128973"/>
                <a:gd name="connsiteY62" fmla="*/ 971550 h 1752600"/>
                <a:gd name="connsiteX63" fmla="*/ 2508776 w 3128973"/>
                <a:gd name="connsiteY63" fmla="*/ 983894 h 1752600"/>
                <a:gd name="connsiteX64" fmla="*/ 2533650 w 3128973"/>
                <a:gd name="connsiteY64" fmla="*/ 1000125 h 1752600"/>
                <a:gd name="connsiteX65" fmla="*/ 2547937 w 3128973"/>
                <a:gd name="connsiteY65" fmla="*/ 1028700 h 1752600"/>
                <a:gd name="connsiteX66" fmla="*/ 2552700 w 3128973"/>
                <a:gd name="connsiteY66" fmla="*/ 1042987 h 1752600"/>
                <a:gd name="connsiteX67" fmla="*/ 2576512 w 3128973"/>
                <a:gd name="connsiteY67" fmla="*/ 1071562 h 1752600"/>
                <a:gd name="connsiteX68" fmla="*/ 2584921 w 3128973"/>
                <a:gd name="connsiteY68" fmla="*/ 1082873 h 1752600"/>
                <a:gd name="connsiteX69" fmla="*/ 2600325 w 3128973"/>
                <a:gd name="connsiteY69" fmla="*/ 1095375 h 1752600"/>
                <a:gd name="connsiteX70" fmla="*/ 2609850 w 3128973"/>
                <a:gd name="connsiteY70" fmla="*/ 1109662 h 1752600"/>
                <a:gd name="connsiteX71" fmla="*/ 2652712 w 3128973"/>
                <a:gd name="connsiteY71" fmla="*/ 1143000 h 1752600"/>
                <a:gd name="connsiteX72" fmla="*/ 2681287 w 3128973"/>
                <a:gd name="connsiteY72" fmla="*/ 1152525 h 1752600"/>
                <a:gd name="connsiteX73" fmla="*/ 2700337 w 3128973"/>
                <a:gd name="connsiteY73" fmla="*/ 1162050 h 1752600"/>
                <a:gd name="connsiteX74" fmla="*/ 2714625 w 3128973"/>
                <a:gd name="connsiteY74" fmla="*/ 1171575 h 1752600"/>
                <a:gd name="connsiteX75" fmla="*/ 2752725 w 3128973"/>
                <a:gd name="connsiteY75" fmla="*/ 1181100 h 1752600"/>
                <a:gd name="connsiteX76" fmla="*/ 2767012 w 3128973"/>
                <a:gd name="connsiteY76" fmla="*/ 1195387 h 1752600"/>
                <a:gd name="connsiteX77" fmla="*/ 2781300 w 3128973"/>
                <a:gd name="connsiteY77" fmla="*/ 1200150 h 1752600"/>
                <a:gd name="connsiteX78" fmla="*/ 2795587 w 3128973"/>
                <a:gd name="connsiteY78" fmla="*/ 1209675 h 1752600"/>
                <a:gd name="connsiteX79" fmla="*/ 2805112 w 3128973"/>
                <a:gd name="connsiteY79" fmla="*/ 1223962 h 1752600"/>
                <a:gd name="connsiteX80" fmla="*/ 2809875 w 3128973"/>
                <a:gd name="connsiteY80" fmla="*/ 1238250 h 1752600"/>
                <a:gd name="connsiteX81" fmla="*/ 2833687 w 3128973"/>
                <a:gd name="connsiteY81" fmla="*/ 1276350 h 1752600"/>
                <a:gd name="connsiteX82" fmla="*/ 2895600 w 3128973"/>
                <a:gd name="connsiteY82" fmla="*/ 1333500 h 1752600"/>
                <a:gd name="connsiteX83" fmla="*/ 2900362 w 3128973"/>
                <a:gd name="connsiteY83" fmla="*/ 1352550 h 1752600"/>
                <a:gd name="connsiteX84" fmla="*/ 2928937 w 3128973"/>
                <a:gd name="connsiteY84" fmla="*/ 1395412 h 1752600"/>
                <a:gd name="connsiteX85" fmla="*/ 2943225 w 3128973"/>
                <a:gd name="connsiteY85" fmla="*/ 1404937 h 1752600"/>
                <a:gd name="connsiteX86" fmla="*/ 2957512 w 3128973"/>
                <a:gd name="connsiteY86" fmla="*/ 1419225 h 1752600"/>
                <a:gd name="connsiteX87" fmla="*/ 2986087 w 3128973"/>
                <a:gd name="connsiteY87" fmla="*/ 1443037 h 1752600"/>
                <a:gd name="connsiteX88" fmla="*/ 3000375 w 3128973"/>
                <a:gd name="connsiteY88" fmla="*/ 1462087 h 1752600"/>
                <a:gd name="connsiteX89" fmla="*/ 3016395 w 3128973"/>
                <a:gd name="connsiteY89" fmla="*/ 1476222 h 1752600"/>
                <a:gd name="connsiteX90" fmla="*/ 3028950 w 3128973"/>
                <a:gd name="connsiteY90" fmla="*/ 1495425 h 1752600"/>
                <a:gd name="connsiteX91" fmla="*/ 3043237 w 3128973"/>
                <a:gd name="connsiteY91" fmla="*/ 1552575 h 1752600"/>
                <a:gd name="connsiteX92" fmla="*/ 3052762 w 3128973"/>
                <a:gd name="connsiteY92" fmla="*/ 1566862 h 1752600"/>
                <a:gd name="connsiteX93" fmla="*/ 3057525 w 3128973"/>
                <a:gd name="connsiteY93" fmla="*/ 1581150 h 1752600"/>
                <a:gd name="connsiteX94" fmla="*/ 3067050 w 3128973"/>
                <a:gd name="connsiteY94" fmla="*/ 1662112 h 1752600"/>
                <a:gd name="connsiteX95" fmla="*/ 3071812 w 3128973"/>
                <a:gd name="connsiteY95" fmla="*/ 1676400 h 1752600"/>
                <a:gd name="connsiteX96" fmla="*/ 3100387 w 3128973"/>
                <a:gd name="connsiteY96" fmla="*/ 1690687 h 1752600"/>
                <a:gd name="connsiteX97" fmla="*/ 3114675 w 3128973"/>
                <a:gd name="connsiteY97" fmla="*/ 1685925 h 1752600"/>
                <a:gd name="connsiteX98" fmla="*/ 3124200 w 3128973"/>
                <a:gd name="connsiteY98" fmla="*/ 1671637 h 1752600"/>
                <a:gd name="connsiteX99" fmla="*/ 3128973 w 3128973"/>
                <a:gd name="connsiteY99" fmla="*/ 1651467 h 1752600"/>
                <a:gd name="connsiteX100" fmla="*/ 3128021 w 3128973"/>
                <a:gd name="connsiteY100" fmla="*/ 1710279 h 1752600"/>
                <a:gd name="connsiteX101" fmla="*/ 3043237 w 3128973"/>
                <a:gd name="connsiteY101" fmla="*/ 1714500 h 1752600"/>
                <a:gd name="connsiteX102" fmla="*/ 3028950 w 3128973"/>
                <a:gd name="connsiteY102" fmla="*/ 1728787 h 1752600"/>
                <a:gd name="connsiteX103" fmla="*/ 2986087 w 3128973"/>
                <a:gd name="connsiteY103" fmla="*/ 1738312 h 1752600"/>
                <a:gd name="connsiteX104" fmla="*/ 2971800 w 3128973"/>
                <a:gd name="connsiteY104" fmla="*/ 1743075 h 1752600"/>
                <a:gd name="connsiteX105" fmla="*/ 2943225 w 3128973"/>
                <a:gd name="connsiteY105" fmla="*/ 1738312 h 1752600"/>
                <a:gd name="connsiteX106" fmla="*/ 2928937 w 3128973"/>
                <a:gd name="connsiteY106" fmla="*/ 1747837 h 1752600"/>
                <a:gd name="connsiteX107" fmla="*/ 2914650 w 3128973"/>
                <a:gd name="connsiteY107" fmla="*/ 1752600 h 1752600"/>
                <a:gd name="connsiteX108" fmla="*/ 2895600 w 3128973"/>
                <a:gd name="connsiteY108" fmla="*/ 1724025 h 1752600"/>
                <a:gd name="connsiteX109" fmla="*/ 2883310 w 3128973"/>
                <a:gd name="connsiteY109" fmla="*/ 1701201 h 1752600"/>
                <a:gd name="connsiteX110" fmla="*/ 2883805 w 3128973"/>
                <a:gd name="connsiteY110" fmla="*/ 1696138 h 1752600"/>
                <a:gd name="connsiteX111" fmla="*/ 2871787 w 3128973"/>
                <a:gd name="connsiteY111" fmla="*/ 1685925 h 1752600"/>
                <a:gd name="connsiteX112" fmla="*/ 2847975 w 3128973"/>
                <a:gd name="connsiteY112" fmla="*/ 1657350 h 1752600"/>
                <a:gd name="connsiteX113" fmla="*/ 2834034 w 3128973"/>
                <a:gd name="connsiteY113" fmla="*/ 1637762 h 1752600"/>
                <a:gd name="connsiteX114" fmla="*/ 2814637 w 3128973"/>
                <a:gd name="connsiteY114" fmla="*/ 1619250 h 1752600"/>
                <a:gd name="connsiteX115" fmla="*/ 2809875 w 3128973"/>
                <a:gd name="connsiteY115" fmla="*/ 1604962 h 1752600"/>
                <a:gd name="connsiteX116" fmla="*/ 2795587 w 3128973"/>
                <a:gd name="connsiteY116" fmla="*/ 1600200 h 1752600"/>
                <a:gd name="connsiteX117" fmla="*/ 2781300 w 3128973"/>
                <a:gd name="connsiteY117" fmla="*/ 1590675 h 1752600"/>
                <a:gd name="connsiteX118" fmla="*/ 2752725 w 3128973"/>
                <a:gd name="connsiteY118" fmla="*/ 1581150 h 1752600"/>
                <a:gd name="connsiteX119" fmla="*/ 2733675 w 3128973"/>
                <a:gd name="connsiteY119" fmla="*/ 1625600 h 1752600"/>
                <a:gd name="connsiteX120" fmla="*/ 2709862 w 3128973"/>
                <a:gd name="connsiteY120" fmla="*/ 1619250 h 1752600"/>
                <a:gd name="connsiteX121" fmla="*/ 2723566 w 3128973"/>
                <a:gd name="connsiteY121" fmla="*/ 1590361 h 1752600"/>
                <a:gd name="connsiteX122" fmla="*/ 2674937 w 3128973"/>
                <a:gd name="connsiteY122" fmla="*/ 1560512 h 1752600"/>
                <a:gd name="connsiteX123" fmla="*/ 2643187 w 3128973"/>
                <a:gd name="connsiteY123" fmla="*/ 1495425 h 1752600"/>
                <a:gd name="connsiteX124" fmla="*/ 2628900 w 3128973"/>
                <a:gd name="connsiteY124" fmla="*/ 1490662 h 1752600"/>
                <a:gd name="connsiteX125" fmla="*/ 2595562 w 3128973"/>
                <a:gd name="connsiteY125" fmla="*/ 1481137 h 1752600"/>
                <a:gd name="connsiteX126" fmla="*/ 2581275 w 3128973"/>
                <a:gd name="connsiteY126" fmla="*/ 1466850 h 1752600"/>
                <a:gd name="connsiteX127" fmla="*/ 2552700 w 3128973"/>
                <a:gd name="connsiteY127" fmla="*/ 1457325 h 1752600"/>
                <a:gd name="connsiteX128" fmla="*/ 2538412 w 3128973"/>
                <a:gd name="connsiteY128" fmla="*/ 1447800 h 1752600"/>
                <a:gd name="connsiteX129" fmla="*/ 2519362 w 3128973"/>
                <a:gd name="connsiteY129" fmla="*/ 1443037 h 1752600"/>
                <a:gd name="connsiteX130" fmla="*/ 2490787 w 3128973"/>
                <a:gd name="connsiteY130" fmla="*/ 1433512 h 1752600"/>
                <a:gd name="connsiteX131" fmla="*/ 2476500 w 3128973"/>
                <a:gd name="connsiteY131" fmla="*/ 1428750 h 1752600"/>
                <a:gd name="connsiteX132" fmla="*/ 2466975 w 3128973"/>
                <a:gd name="connsiteY132" fmla="*/ 1414462 h 1752600"/>
                <a:gd name="connsiteX133" fmla="*/ 2447925 w 3128973"/>
                <a:gd name="connsiteY133" fmla="*/ 1409700 h 1752600"/>
                <a:gd name="connsiteX134" fmla="*/ 2309812 w 3128973"/>
                <a:gd name="connsiteY134" fmla="*/ 1395412 h 1752600"/>
                <a:gd name="connsiteX135" fmla="*/ 2295525 w 3128973"/>
                <a:gd name="connsiteY135" fmla="*/ 1390650 h 1752600"/>
                <a:gd name="connsiteX136" fmla="*/ 2257425 w 3128973"/>
                <a:gd name="connsiteY136" fmla="*/ 1381125 h 1752600"/>
                <a:gd name="connsiteX137" fmla="*/ 2238375 w 3128973"/>
                <a:gd name="connsiteY137" fmla="*/ 1366837 h 1752600"/>
                <a:gd name="connsiteX138" fmla="*/ 2224087 w 3128973"/>
                <a:gd name="connsiteY138" fmla="*/ 1362075 h 1752600"/>
                <a:gd name="connsiteX139" fmla="*/ 2176462 w 3128973"/>
                <a:gd name="connsiteY139" fmla="*/ 1338262 h 1752600"/>
                <a:gd name="connsiteX140" fmla="*/ 2162175 w 3128973"/>
                <a:gd name="connsiteY140" fmla="*/ 1328737 h 1752600"/>
                <a:gd name="connsiteX141" fmla="*/ 2114550 w 3128973"/>
                <a:gd name="connsiteY141" fmla="*/ 1314450 h 1752600"/>
                <a:gd name="connsiteX142" fmla="*/ 2100262 w 3128973"/>
                <a:gd name="connsiteY142" fmla="*/ 1300162 h 1752600"/>
                <a:gd name="connsiteX143" fmla="*/ 2085975 w 3128973"/>
                <a:gd name="connsiteY143" fmla="*/ 1295400 h 1752600"/>
                <a:gd name="connsiteX144" fmla="*/ 2055019 w 3128973"/>
                <a:gd name="connsiteY144" fmla="*/ 1290637 h 1752600"/>
                <a:gd name="connsiteX145" fmla="*/ 2028824 w 3128973"/>
                <a:gd name="connsiteY145" fmla="*/ 1283494 h 1752600"/>
                <a:gd name="connsiteX146" fmla="*/ 2005012 w 3128973"/>
                <a:gd name="connsiteY146" fmla="*/ 1271587 h 1752600"/>
                <a:gd name="connsiteX147" fmla="*/ 1985962 w 3128973"/>
                <a:gd name="connsiteY147" fmla="*/ 1262062 h 1752600"/>
                <a:gd name="connsiteX148" fmla="*/ 1971675 w 3128973"/>
                <a:gd name="connsiteY148" fmla="*/ 1257300 h 1752600"/>
                <a:gd name="connsiteX149" fmla="*/ 1943100 w 3128973"/>
                <a:gd name="connsiteY149" fmla="*/ 1238250 h 1752600"/>
                <a:gd name="connsiteX150" fmla="*/ 1914525 w 3128973"/>
                <a:gd name="connsiteY150" fmla="*/ 1219200 h 1752600"/>
                <a:gd name="connsiteX151" fmla="*/ 1885950 w 3128973"/>
                <a:gd name="connsiteY151" fmla="*/ 1209675 h 1752600"/>
                <a:gd name="connsiteX152" fmla="*/ 1843087 w 3128973"/>
                <a:gd name="connsiteY152" fmla="*/ 1195387 h 1752600"/>
                <a:gd name="connsiteX153" fmla="*/ 1757362 w 3128973"/>
                <a:gd name="connsiteY153" fmla="*/ 1185862 h 1752600"/>
                <a:gd name="connsiteX154" fmla="*/ 1700212 w 3128973"/>
                <a:gd name="connsiteY154" fmla="*/ 1166812 h 1752600"/>
                <a:gd name="connsiteX155" fmla="*/ 1671637 w 3128973"/>
                <a:gd name="connsiteY155" fmla="*/ 1147762 h 1752600"/>
                <a:gd name="connsiteX156" fmla="*/ 1652587 w 3128973"/>
                <a:gd name="connsiteY156" fmla="*/ 1138237 h 1752600"/>
                <a:gd name="connsiteX157" fmla="*/ 1638300 w 3128973"/>
                <a:gd name="connsiteY157" fmla="*/ 1128712 h 1752600"/>
                <a:gd name="connsiteX158" fmla="*/ 1590675 w 3128973"/>
                <a:gd name="connsiteY158" fmla="*/ 1138238 h 1752600"/>
                <a:gd name="connsiteX159" fmla="*/ 1559719 w 3128973"/>
                <a:gd name="connsiteY159" fmla="*/ 1109662 h 1752600"/>
                <a:gd name="connsiteX160" fmla="*/ 1528762 w 3128973"/>
                <a:gd name="connsiteY160" fmla="*/ 1085850 h 1752600"/>
                <a:gd name="connsiteX161" fmla="*/ 1514475 w 3128973"/>
                <a:gd name="connsiteY161" fmla="*/ 1081087 h 1752600"/>
                <a:gd name="connsiteX162" fmla="*/ 1470025 w 3128973"/>
                <a:gd name="connsiteY162" fmla="*/ 1130300 h 1752600"/>
                <a:gd name="connsiteX163" fmla="*/ 1433512 w 3128973"/>
                <a:gd name="connsiteY163" fmla="*/ 1108075 h 1752600"/>
                <a:gd name="connsiteX164" fmla="*/ 1423987 w 3128973"/>
                <a:gd name="connsiteY164" fmla="*/ 1087437 h 1752600"/>
                <a:gd name="connsiteX165" fmla="*/ 1381125 w 3128973"/>
                <a:gd name="connsiteY165" fmla="*/ 1095375 h 1752600"/>
                <a:gd name="connsiteX166" fmla="*/ 1383506 w 3128973"/>
                <a:gd name="connsiteY166" fmla="*/ 1028700 h 1752600"/>
                <a:gd name="connsiteX167" fmla="*/ 1366838 w 3128973"/>
                <a:gd name="connsiteY167" fmla="*/ 1019175 h 1752600"/>
                <a:gd name="connsiteX168" fmla="*/ 1335881 w 3128973"/>
                <a:gd name="connsiteY168" fmla="*/ 1007268 h 1752600"/>
                <a:gd name="connsiteX169" fmla="*/ 1319213 w 3128973"/>
                <a:gd name="connsiteY169" fmla="*/ 1007268 h 1752600"/>
                <a:gd name="connsiteX170" fmla="*/ 1295400 w 3128973"/>
                <a:gd name="connsiteY170" fmla="*/ 976312 h 1752600"/>
                <a:gd name="connsiteX171" fmla="*/ 1281112 w 3128973"/>
                <a:gd name="connsiteY171" fmla="*/ 966787 h 1752600"/>
                <a:gd name="connsiteX172" fmla="*/ 1238250 w 3128973"/>
                <a:gd name="connsiteY172" fmla="*/ 947737 h 1752600"/>
                <a:gd name="connsiteX173" fmla="*/ 1212850 w 3128973"/>
                <a:gd name="connsiteY173" fmla="*/ 995362 h 1752600"/>
                <a:gd name="connsiteX174" fmla="*/ 1201737 w 3128973"/>
                <a:gd name="connsiteY174" fmla="*/ 987425 h 1752600"/>
                <a:gd name="connsiteX175" fmla="*/ 1163637 w 3128973"/>
                <a:gd name="connsiteY175" fmla="*/ 952277 h 1752600"/>
                <a:gd name="connsiteX176" fmla="*/ 1133475 w 3128973"/>
                <a:gd name="connsiteY176" fmla="*/ 925512 h 1752600"/>
                <a:gd name="connsiteX177" fmla="*/ 1085850 w 3128973"/>
                <a:gd name="connsiteY177" fmla="*/ 859631 h 1752600"/>
                <a:gd name="connsiteX178" fmla="*/ 1071562 w 3128973"/>
                <a:gd name="connsiteY178" fmla="*/ 842962 h 1752600"/>
                <a:gd name="connsiteX179" fmla="*/ 1047750 w 3128973"/>
                <a:gd name="connsiteY179" fmla="*/ 819150 h 1752600"/>
                <a:gd name="connsiteX180" fmla="*/ 1028700 w 3128973"/>
                <a:gd name="connsiteY180" fmla="*/ 804862 h 1752600"/>
                <a:gd name="connsiteX181" fmla="*/ 1018076 w 3128973"/>
                <a:gd name="connsiteY181" fmla="*/ 794816 h 1752600"/>
                <a:gd name="connsiteX182" fmla="*/ 1000125 w 3128973"/>
                <a:gd name="connsiteY182" fmla="*/ 785812 h 1752600"/>
                <a:gd name="connsiteX183" fmla="*/ 984342 w 3128973"/>
                <a:gd name="connsiteY183" fmla="*/ 773578 h 1752600"/>
                <a:gd name="connsiteX184" fmla="*/ 957262 w 3128973"/>
                <a:gd name="connsiteY184" fmla="*/ 766762 h 1752600"/>
                <a:gd name="connsiteX185" fmla="*/ 938212 w 3128973"/>
                <a:gd name="connsiteY185" fmla="*/ 757237 h 1752600"/>
                <a:gd name="connsiteX186" fmla="*/ 904875 w 3128973"/>
                <a:gd name="connsiteY186" fmla="*/ 747712 h 1752600"/>
                <a:gd name="connsiteX187" fmla="*/ 862012 w 3128973"/>
                <a:gd name="connsiteY187" fmla="*/ 723900 h 1752600"/>
                <a:gd name="connsiteX188" fmla="*/ 795337 w 3128973"/>
                <a:gd name="connsiteY188" fmla="*/ 685800 h 1752600"/>
                <a:gd name="connsiteX189" fmla="*/ 776287 w 3128973"/>
                <a:gd name="connsiteY189" fmla="*/ 666750 h 1752600"/>
                <a:gd name="connsiteX190" fmla="*/ 762000 w 3128973"/>
                <a:gd name="connsiteY190" fmla="*/ 661987 h 1752600"/>
                <a:gd name="connsiteX191" fmla="*/ 742950 w 3128973"/>
                <a:gd name="connsiteY191" fmla="*/ 647700 h 1752600"/>
                <a:gd name="connsiteX192" fmla="*/ 709612 w 3128973"/>
                <a:gd name="connsiteY192" fmla="*/ 638175 h 1752600"/>
                <a:gd name="connsiteX193" fmla="*/ 695325 w 3128973"/>
                <a:gd name="connsiteY193" fmla="*/ 628650 h 1752600"/>
                <a:gd name="connsiteX194" fmla="*/ 681037 w 3128973"/>
                <a:gd name="connsiteY194" fmla="*/ 623887 h 1752600"/>
                <a:gd name="connsiteX195" fmla="*/ 676275 w 3128973"/>
                <a:gd name="connsiteY195" fmla="*/ 604837 h 1752600"/>
                <a:gd name="connsiteX196" fmla="*/ 666750 w 3128973"/>
                <a:gd name="connsiteY196" fmla="*/ 576262 h 1752600"/>
                <a:gd name="connsiteX197" fmla="*/ 661987 w 3128973"/>
                <a:gd name="connsiteY197" fmla="*/ 561975 h 1752600"/>
                <a:gd name="connsiteX198" fmla="*/ 666750 w 3128973"/>
                <a:gd name="connsiteY198" fmla="*/ 538162 h 1752600"/>
                <a:gd name="connsiteX199" fmla="*/ 638175 w 3128973"/>
                <a:gd name="connsiteY199" fmla="*/ 514350 h 1752600"/>
                <a:gd name="connsiteX200" fmla="*/ 619125 w 3128973"/>
                <a:gd name="connsiteY200" fmla="*/ 500062 h 1752600"/>
                <a:gd name="connsiteX201" fmla="*/ 576262 w 3128973"/>
                <a:gd name="connsiteY201" fmla="*/ 490537 h 1752600"/>
                <a:gd name="connsiteX202" fmla="*/ 542925 w 3128973"/>
                <a:gd name="connsiteY202" fmla="*/ 452437 h 1752600"/>
                <a:gd name="connsiteX203" fmla="*/ 525462 w 3128973"/>
                <a:gd name="connsiteY203" fmla="*/ 485775 h 1752600"/>
                <a:gd name="connsiteX204" fmla="*/ 504825 w 3128973"/>
                <a:gd name="connsiteY204" fmla="*/ 466725 h 1752600"/>
                <a:gd name="connsiteX205" fmla="*/ 454025 w 3128973"/>
                <a:gd name="connsiteY205" fmla="*/ 466725 h 1752600"/>
                <a:gd name="connsiteX206" fmla="*/ 407987 w 3128973"/>
                <a:gd name="connsiteY206" fmla="*/ 473075 h 1752600"/>
                <a:gd name="connsiteX207" fmla="*/ 395287 w 3128973"/>
                <a:gd name="connsiteY207" fmla="*/ 409575 h 1752600"/>
                <a:gd name="connsiteX208" fmla="*/ 376237 w 3128973"/>
                <a:gd name="connsiteY208" fmla="*/ 404812 h 1752600"/>
                <a:gd name="connsiteX209" fmla="*/ 342900 w 3128973"/>
                <a:gd name="connsiteY209" fmla="*/ 400050 h 1752600"/>
                <a:gd name="connsiteX210" fmla="*/ 314325 w 3128973"/>
                <a:gd name="connsiteY210" fmla="*/ 390525 h 1752600"/>
                <a:gd name="connsiteX211" fmla="*/ 273844 w 3128973"/>
                <a:gd name="connsiteY211" fmla="*/ 383382 h 1752600"/>
                <a:gd name="connsiteX212" fmla="*/ 257175 w 3128973"/>
                <a:gd name="connsiteY212" fmla="*/ 371475 h 1752600"/>
                <a:gd name="connsiteX213" fmla="*/ 245269 w 3128973"/>
                <a:gd name="connsiteY213" fmla="*/ 364331 h 1752600"/>
                <a:gd name="connsiteX214" fmla="*/ 223837 w 3128973"/>
                <a:gd name="connsiteY214" fmla="*/ 347662 h 1752600"/>
                <a:gd name="connsiteX215" fmla="*/ 190500 w 3128973"/>
                <a:gd name="connsiteY215" fmla="*/ 338137 h 1752600"/>
                <a:gd name="connsiteX216" fmla="*/ 147637 w 3128973"/>
                <a:gd name="connsiteY216" fmla="*/ 333375 h 1752600"/>
                <a:gd name="connsiteX217" fmla="*/ 119062 w 3128973"/>
                <a:gd name="connsiteY217" fmla="*/ 323850 h 1752600"/>
                <a:gd name="connsiteX218" fmla="*/ 104775 w 3128973"/>
                <a:gd name="connsiteY218" fmla="*/ 319087 h 1752600"/>
                <a:gd name="connsiteX219" fmla="*/ 61912 w 3128973"/>
                <a:gd name="connsiteY219" fmla="*/ 300037 h 1752600"/>
                <a:gd name="connsiteX220" fmla="*/ 23812 w 3128973"/>
                <a:gd name="connsiteY220" fmla="*/ 290512 h 1752600"/>
                <a:gd name="connsiteX221" fmla="*/ 9525 w 3128973"/>
                <a:gd name="connsiteY221" fmla="*/ 261937 h 1752600"/>
                <a:gd name="connsiteX222" fmla="*/ 0 w 3128973"/>
                <a:gd name="connsiteY222" fmla="*/ 290512 h 1752600"/>
                <a:gd name="connsiteX223" fmla="*/ 4762 w 3128973"/>
                <a:gd name="connsiteY223" fmla="*/ 247650 h 1752600"/>
                <a:gd name="connsiteX224" fmla="*/ 19050 w 3128973"/>
                <a:gd name="connsiteY224" fmla="*/ 200025 h 1752600"/>
                <a:gd name="connsiteX225" fmla="*/ 23812 w 3128973"/>
                <a:gd name="connsiteY225" fmla="*/ 185737 h 1752600"/>
                <a:gd name="connsiteX226" fmla="*/ 71437 w 3128973"/>
                <a:gd name="connsiteY226" fmla="*/ 171450 h 1752600"/>
                <a:gd name="connsiteX227" fmla="*/ 85725 w 3128973"/>
                <a:gd name="connsiteY227" fmla="*/ 166687 h 1752600"/>
                <a:gd name="connsiteX228" fmla="*/ 100012 w 3128973"/>
                <a:gd name="connsiteY228" fmla="*/ 161925 h 1752600"/>
                <a:gd name="connsiteX229" fmla="*/ 114300 w 3128973"/>
                <a:gd name="connsiteY229" fmla="*/ 152400 h 1752600"/>
                <a:gd name="connsiteX230" fmla="*/ 133350 w 3128973"/>
                <a:gd name="connsiteY230" fmla="*/ 123825 h 1752600"/>
                <a:gd name="connsiteX231" fmla="*/ 138112 w 3128973"/>
                <a:gd name="connsiteY231" fmla="*/ 109537 h 1752600"/>
                <a:gd name="connsiteX232" fmla="*/ 135467 w 3128973"/>
                <a:gd name="connsiteY232" fmla="*/ 97059 h 1752600"/>
                <a:gd name="connsiteX233" fmla="*/ 142875 w 3128973"/>
                <a:gd name="connsiteY233" fmla="*/ 71437 h 1752600"/>
                <a:gd name="connsiteX234" fmla="*/ 157162 w 3128973"/>
                <a:gd name="connsiteY234" fmla="*/ 57150 h 1752600"/>
                <a:gd name="connsiteX235" fmla="*/ 200025 w 3128973"/>
                <a:gd name="connsiteY235" fmla="*/ 33337 h 1752600"/>
                <a:gd name="connsiteX236" fmla="*/ 309562 w 3128973"/>
                <a:gd name="connsiteY236" fmla="*/ 28575 h 1752600"/>
                <a:gd name="connsiteX237" fmla="*/ 400050 w 3128973"/>
                <a:gd name="connsiteY237" fmla="*/ 14287 h 1752600"/>
                <a:gd name="connsiteX238" fmla="*/ 414337 w 3128973"/>
                <a:gd name="connsiteY238" fmla="*/ 9525 h 1752600"/>
                <a:gd name="connsiteX239" fmla="*/ 481012 w 3128973"/>
                <a:gd name="connsiteY239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364581 w 3128973"/>
                <a:gd name="connsiteY28" fmla="*/ 112345 h 1752600"/>
                <a:gd name="connsiteX29" fmla="*/ 2046801 w 3128973"/>
                <a:gd name="connsiteY29" fmla="*/ 262295 h 1752600"/>
                <a:gd name="connsiteX30" fmla="*/ 2033587 w 3128973"/>
                <a:gd name="connsiteY30" fmla="*/ 266700 h 1752600"/>
                <a:gd name="connsiteX31" fmla="*/ 2019300 w 3128973"/>
                <a:gd name="connsiteY31" fmla="*/ 280987 h 1752600"/>
                <a:gd name="connsiteX32" fmla="*/ 1990725 w 3128973"/>
                <a:gd name="connsiteY32" fmla="*/ 300037 h 1752600"/>
                <a:gd name="connsiteX33" fmla="*/ 1981200 w 3128973"/>
                <a:gd name="connsiteY33" fmla="*/ 314325 h 1752600"/>
                <a:gd name="connsiteX34" fmla="*/ 1981200 w 3128973"/>
                <a:gd name="connsiteY34" fmla="*/ 419100 h 1752600"/>
                <a:gd name="connsiteX35" fmla="*/ 1985962 w 3128973"/>
                <a:gd name="connsiteY35" fmla="*/ 433387 h 1752600"/>
                <a:gd name="connsiteX36" fmla="*/ 2000250 w 3128973"/>
                <a:gd name="connsiteY36" fmla="*/ 442912 h 1752600"/>
                <a:gd name="connsiteX37" fmla="*/ 2005012 w 3128973"/>
                <a:gd name="connsiteY37" fmla="*/ 457200 h 1752600"/>
                <a:gd name="connsiteX38" fmla="*/ 2005012 w 3128973"/>
                <a:gd name="connsiteY38" fmla="*/ 561975 h 1752600"/>
                <a:gd name="connsiteX39" fmla="*/ 2009775 w 3128973"/>
                <a:gd name="connsiteY39" fmla="*/ 576262 h 1752600"/>
                <a:gd name="connsiteX40" fmla="*/ 2024062 w 3128973"/>
                <a:gd name="connsiteY40" fmla="*/ 581025 h 1752600"/>
                <a:gd name="connsiteX41" fmla="*/ 2038350 w 3128973"/>
                <a:gd name="connsiteY41" fmla="*/ 595312 h 1752600"/>
                <a:gd name="connsiteX42" fmla="*/ 2052637 w 3128973"/>
                <a:gd name="connsiteY42" fmla="*/ 600075 h 1752600"/>
                <a:gd name="connsiteX43" fmla="*/ 2133600 w 3128973"/>
                <a:gd name="connsiteY43" fmla="*/ 590550 h 1752600"/>
                <a:gd name="connsiteX44" fmla="*/ 2147887 w 3128973"/>
                <a:gd name="connsiteY44" fmla="*/ 585787 h 1752600"/>
                <a:gd name="connsiteX45" fmla="*/ 2195512 w 3128973"/>
                <a:gd name="connsiteY45" fmla="*/ 600075 h 1752600"/>
                <a:gd name="connsiteX46" fmla="*/ 2205037 w 3128973"/>
                <a:gd name="connsiteY46" fmla="*/ 614362 h 1752600"/>
                <a:gd name="connsiteX47" fmla="*/ 2219325 w 3128973"/>
                <a:gd name="connsiteY47" fmla="*/ 628650 h 1752600"/>
                <a:gd name="connsiteX48" fmla="*/ 2224087 w 3128973"/>
                <a:gd name="connsiteY48" fmla="*/ 642937 h 1752600"/>
                <a:gd name="connsiteX49" fmla="*/ 2233612 w 3128973"/>
                <a:gd name="connsiteY49" fmla="*/ 657225 h 1752600"/>
                <a:gd name="connsiteX50" fmla="*/ 2247900 w 3128973"/>
                <a:gd name="connsiteY50" fmla="*/ 685800 h 1752600"/>
                <a:gd name="connsiteX51" fmla="*/ 2262187 w 3128973"/>
                <a:gd name="connsiteY51" fmla="*/ 733425 h 1752600"/>
                <a:gd name="connsiteX52" fmla="*/ 2305050 w 3128973"/>
                <a:gd name="connsiteY52" fmla="*/ 771525 h 1752600"/>
                <a:gd name="connsiteX53" fmla="*/ 2319337 w 3128973"/>
                <a:gd name="connsiteY53" fmla="*/ 804862 h 1752600"/>
                <a:gd name="connsiteX54" fmla="*/ 2333625 w 3128973"/>
                <a:gd name="connsiteY54" fmla="*/ 819150 h 1752600"/>
                <a:gd name="connsiteX55" fmla="*/ 2338387 w 3128973"/>
                <a:gd name="connsiteY55" fmla="*/ 833437 h 1752600"/>
                <a:gd name="connsiteX56" fmla="*/ 2352675 w 3128973"/>
                <a:gd name="connsiteY56" fmla="*/ 847725 h 1752600"/>
                <a:gd name="connsiteX57" fmla="*/ 2395537 w 3128973"/>
                <a:gd name="connsiteY57" fmla="*/ 871537 h 1752600"/>
                <a:gd name="connsiteX58" fmla="*/ 2409825 w 3128973"/>
                <a:gd name="connsiteY58" fmla="*/ 890587 h 1752600"/>
                <a:gd name="connsiteX59" fmla="*/ 2424112 w 3128973"/>
                <a:gd name="connsiteY59" fmla="*/ 895350 h 1752600"/>
                <a:gd name="connsiteX60" fmla="*/ 2433637 w 3128973"/>
                <a:gd name="connsiteY60" fmla="*/ 914400 h 1752600"/>
                <a:gd name="connsiteX61" fmla="*/ 2466975 w 3128973"/>
                <a:gd name="connsiteY61" fmla="*/ 942975 h 1752600"/>
                <a:gd name="connsiteX62" fmla="*/ 2474637 w 3128973"/>
                <a:gd name="connsiteY62" fmla="*/ 954728 h 1752600"/>
                <a:gd name="connsiteX63" fmla="*/ 2495550 w 3128973"/>
                <a:gd name="connsiteY63" fmla="*/ 971550 h 1752600"/>
                <a:gd name="connsiteX64" fmla="*/ 2508776 w 3128973"/>
                <a:gd name="connsiteY64" fmla="*/ 983894 h 1752600"/>
                <a:gd name="connsiteX65" fmla="*/ 2533650 w 3128973"/>
                <a:gd name="connsiteY65" fmla="*/ 1000125 h 1752600"/>
                <a:gd name="connsiteX66" fmla="*/ 2547937 w 3128973"/>
                <a:gd name="connsiteY66" fmla="*/ 1028700 h 1752600"/>
                <a:gd name="connsiteX67" fmla="*/ 2552700 w 3128973"/>
                <a:gd name="connsiteY67" fmla="*/ 1042987 h 1752600"/>
                <a:gd name="connsiteX68" fmla="*/ 2576512 w 3128973"/>
                <a:gd name="connsiteY68" fmla="*/ 1071562 h 1752600"/>
                <a:gd name="connsiteX69" fmla="*/ 2584921 w 3128973"/>
                <a:gd name="connsiteY69" fmla="*/ 1082873 h 1752600"/>
                <a:gd name="connsiteX70" fmla="*/ 2600325 w 3128973"/>
                <a:gd name="connsiteY70" fmla="*/ 1095375 h 1752600"/>
                <a:gd name="connsiteX71" fmla="*/ 2609850 w 3128973"/>
                <a:gd name="connsiteY71" fmla="*/ 1109662 h 1752600"/>
                <a:gd name="connsiteX72" fmla="*/ 2652712 w 3128973"/>
                <a:gd name="connsiteY72" fmla="*/ 1143000 h 1752600"/>
                <a:gd name="connsiteX73" fmla="*/ 2681287 w 3128973"/>
                <a:gd name="connsiteY73" fmla="*/ 1152525 h 1752600"/>
                <a:gd name="connsiteX74" fmla="*/ 2700337 w 3128973"/>
                <a:gd name="connsiteY74" fmla="*/ 1162050 h 1752600"/>
                <a:gd name="connsiteX75" fmla="*/ 2714625 w 3128973"/>
                <a:gd name="connsiteY75" fmla="*/ 1171575 h 1752600"/>
                <a:gd name="connsiteX76" fmla="*/ 2752725 w 3128973"/>
                <a:gd name="connsiteY76" fmla="*/ 1181100 h 1752600"/>
                <a:gd name="connsiteX77" fmla="*/ 2767012 w 3128973"/>
                <a:gd name="connsiteY77" fmla="*/ 1195387 h 1752600"/>
                <a:gd name="connsiteX78" fmla="*/ 2781300 w 3128973"/>
                <a:gd name="connsiteY78" fmla="*/ 1200150 h 1752600"/>
                <a:gd name="connsiteX79" fmla="*/ 2795587 w 3128973"/>
                <a:gd name="connsiteY79" fmla="*/ 1209675 h 1752600"/>
                <a:gd name="connsiteX80" fmla="*/ 2805112 w 3128973"/>
                <a:gd name="connsiteY80" fmla="*/ 1223962 h 1752600"/>
                <a:gd name="connsiteX81" fmla="*/ 2809875 w 3128973"/>
                <a:gd name="connsiteY81" fmla="*/ 1238250 h 1752600"/>
                <a:gd name="connsiteX82" fmla="*/ 2833687 w 3128973"/>
                <a:gd name="connsiteY82" fmla="*/ 1276350 h 1752600"/>
                <a:gd name="connsiteX83" fmla="*/ 2895600 w 3128973"/>
                <a:gd name="connsiteY83" fmla="*/ 1333500 h 1752600"/>
                <a:gd name="connsiteX84" fmla="*/ 2900362 w 3128973"/>
                <a:gd name="connsiteY84" fmla="*/ 1352550 h 1752600"/>
                <a:gd name="connsiteX85" fmla="*/ 2928937 w 3128973"/>
                <a:gd name="connsiteY85" fmla="*/ 1395412 h 1752600"/>
                <a:gd name="connsiteX86" fmla="*/ 2943225 w 3128973"/>
                <a:gd name="connsiteY86" fmla="*/ 1404937 h 1752600"/>
                <a:gd name="connsiteX87" fmla="*/ 2957512 w 3128973"/>
                <a:gd name="connsiteY87" fmla="*/ 1419225 h 1752600"/>
                <a:gd name="connsiteX88" fmla="*/ 2986087 w 3128973"/>
                <a:gd name="connsiteY88" fmla="*/ 1443037 h 1752600"/>
                <a:gd name="connsiteX89" fmla="*/ 3000375 w 3128973"/>
                <a:gd name="connsiteY89" fmla="*/ 1462087 h 1752600"/>
                <a:gd name="connsiteX90" fmla="*/ 3016395 w 3128973"/>
                <a:gd name="connsiteY90" fmla="*/ 1476222 h 1752600"/>
                <a:gd name="connsiteX91" fmla="*/ 3028950 w 3128973"/>
                <a:gd name="connsiteY91" fmla="*/ 1495425 h 1752600"/>
                <a:gd name="connsiteX92" fmla="*/ 3043237 w 3128973"/>
                <a:gd name="connsiteY92" fmla="*/ 1552575 h 1752600"/>
                <a:gd name="connsiteX93" fmla="*/ 3052762 w 3128973"/>
                <a:gd name="connsiteY93" fmla="*/ 1566862 h 1752600"/>
                <a:gd name="connsiteX94" fmla="*/ 3057525 w 3128973"/>
                <a:gd name="connsiteY94" fmla="*/ 1581150 h 1752600"/>
                <a:gd name="connsiteX95" fmla="*/ 3067050 w 3128973"/>
                <a:gd name="connsiteY95" fmla="*/ 1662112 h 1752600"/>
                <a:gd name="connsiteX96" fmla="*/ 3071812 w 3128973"/>
                <a:gd name="connsiteY96" fmla="*/ 1676400 h 1752600"/>
                <a:gd name="connsiteX97" fmla="*/ 3100387 w 3128973"/>
                <a:gd name="connsiteY97" fmla="*/ 1690687 h 1752600"/>
                <a:gd name="connsiteX98" fmla="*/ 3114675 w 3128973"/>
                <a:gd name="connsiteY98" fmla="*/ 1685925 h 1752600"/>
                <a:gd name="connsiteX99" fmla="*/ 3124200 w 3128973"/>
                <a:gd name="connsiteY99" fmla="*/ 1671637 h 1752600"/>
                <a:gd name="connsiteX100" fmla="*/ 3128973 w 3128973"/>
                <a:gd name="connsiteY100" fmla="*/ 1651467 h 1752600"/>
                <a:gd name="connsiteX101" fmla="*/ 3128021 w 3128973"/>
                <a:gd name="connsiteY101" fmla="*/ 1710279 h 1752600"/>
                <a:gd name="connsiteX102" fmla="*/ 3043237 w 3128973"/>
                <a:gd name="connsiteY102" fmla="*/ 1714500 h 1752600"/>
                <a:gd name="connsiteX103" fmla="*/ 3028950 w 3128973"/>
                <a:gd name="connsiteY103" fmla="*/ 1728787 h 1752600"/>
                <a:gd name="connsiteX104" fmla="*/ 2986087 w 3128973"/>
                <a:gd name="connsiteY104" fmla="*/ 1738312 h 1752600"/>
                <a:gd name="connsiteX105" fmla="*/ 2971800 w 3128973"/>
                <a:gd name="connsiteY105" fmla="*/ 1743075 h 1752600"/>
                <a:gd name="connsiteX106" fmla="*/ 2943225 w 3128973"/>
                <a:gd name="connsiteY106" fmla="*/ 1738312 h 1752600"/>
                <a:gd name="connsiteX107" fmla="*/ 2928937 w 3128973"/>
                <a:gd name="connsiteY107" fmla="*/ 1747837 h 1752600"/>
                <a:gd name="connsiteX108" fmla="*/ 2914650 w 3128973"/>
                <a:gd name="connsiteY108" fmla="*/ 1752600 h 1752600"/>
                <a:gd name="connsiteX109" fmla="*/ 2895600 w 3128973"/>
                <a:gd name="connsiteY109" fmla="*/ 1724025 h 1752600"/>
                <a:gd name="connsiteX110" fmla="*/ 2883310 w 3128973"/>
                <a:gd name="connsiteY110" fmla="*/ 1701201 h 1752600"/>
                <a:gd name="connsiteX111" fmla="*/ 2883805 w 3128973"/>
                <a:gd name="connsiteY111" fmla="*/ 1696138 h 1752600"/>
                <a:gd name="connsiteX112" fmla="*/ 2871787 w 3128973"/>
                <a:gd name="connsiteY112" fmla="*/ 1685925 h 1752600"/>
                <a:gd name="connsiteX113" fmla="*/ 2847975 w 3128973"/>
                <a:gd name="connsiteY113" fmla="*/ 1657350 h 1752600"/>
                <a:gd name="connsiteX114" fmla="*/ 2834034 w 3128973"/>
                <a:gd name="connsiteY114" fmla="*/ 1637762 h 1752600"/>
                <a:gd name="connsiteX115" fmla="*/ 2814637 w 3128973"/>
                <a:gd name="connsiteY115" fmla="*/ 1619250 h 1752600"/>
                <a:gd name="connsiteX116" fmla="*/ 2809875 w 3128973"/>
                <a:gd name="connsiteY116" fmla="*/ 1604962 h 1752600"/>
                <a:gd name="connsiteX117" fmla="*/ 2795587 w 3128973"/>
                <a:gd name="connsiteY117" fmla="*/ 1600200 h 1752600"/>
                <a:gd name="connsiteX118" fmla="*/ 2781300 w 3128973"/>
                <a:gd name="connsiteY118" fmla="*/ 1590675 h 1752600"/>
                <a:gd name="connsiteX119" fmla="*/ 2752725 w 3128973"/>
                <a:gd name="connsiteY119" fmla="*/ 1581150 h 1752600"/>
                <a:gd name="connsiteX120" fmla="*/ 2733675 w 3128973"/>
                <a:gd name="connsiteY120" fmla="*/ 1625600 h 1752600"/>
                <a:gd name="connsiteX121" fmla="*/ 2709862 w 3128973"/>
                <a:gd name="connsiteY121" fmla="*/ 1619250 h 1752600"/>
                <a:gd name="connsiteX122" fmla="*/ 2723566 w 3128973"/>
                <a:gd name="connsiteY122" fmla="*/ 1590361 h 1752600"/>
                <a:gd name="connsiteX123" fmla="*/ 2674937 w 3128973"/>
                <a:gd name="connsiteY123" fmla="*/ 1560512 h 1752600"/>
                <a:gd name="connsiteX124" fmla="*/ 2643187 w 3128973"/>
                <a:gd name="connsiteY124" fmla="*/ 1495425 h 1752600"/>
                <a:gd name="connsiteX125" fmla="*/ 2628900 w 3128973"/>
                <a:gd name="connsiteY125" fmla="*/ 1490662 h 1752600"/>
                <a:gd name="connsiteX126" fmla="*/ 2595562 w 3128973"/>
                <a:gd name="connsiteY126" fmla="*/ 1481137 h 1752600"/>
                <a:gd name="connsiteX127" fmla="*/ 2581275 w 3128973"/>
                <a:gd name="connsiteY127" fmla="*/ 1466850 h 1752600"/>
                <a:gd name="connsiteX128" fmla="*/ 2552700 w 3128973"/>
                <a:gd name="connsiteY128" fmla="*/ 1457325 h 1752600"/>
                <a:gd name="connsiteX129" fmla="*/ 2538412 w 3128973"/>
                <a:gd name="connsiteY129" fmla="*/ 1447800 h 1752600"/>
                <a:gd name="connsiteX130" fmla="*/ 2519362 w 3128973"/>
                <a:gd name="connsiteY130" fmla="*/ 1443037 h 1752600"/>
                <a:gd name="connsiteX131" fmla="*/ 2490787 w 3128973"/>
                <a:gd name="connsiteY131" fmla="*/ 1433512 h 1752600"/>
                <a:gd name="connsiteX132" fmla="*/ 2476500 w 3128973"/>
                <a:gd name="connsiteY132" fmla="*/ 1428750 h 1752600"/>
                <a:gd name="connsiteX133" fmla="*/ 2466975 w 3128973"/>
                <a:gd name="connsiteY133" fmla="*/ 1414462 h 1752600"/>
                <a:gd name="connsiteX134" fmla="*/ 2447925 w 3128973"/>
                <a:gd name="connsiteY134" fmla="*/ 1409700 h 1752600"/>
                <a:gd name="connsiteX135" fmla="*/ 2309812 w 3128973"/>
                <a:gd name="connsiteY135" fmla="*/ 1395412 h 1752600"/>
                <a:gd name="connsiteX136" fmla="*/ 2295525 w 3128973"/>
                <a:gd name="connsiteY136" fmla="*/ 1390650 h 1752600"/>
                <a:gd name="connsiteX137" fmla="*/ 2257425 w 3128973"/>
                <a:gd name="connsiteY137" fmla="*/ 1381125 h 1752600"/>
                <a:gd name="connsiteX138" fmla="*/ 2238375 w 3128973"/>
                <a:gd name="connsiteY138" fmla="*/ 1366837 h 1752600"/>
                <a:gd name="connsiteX139" fmla="*/ 2224087 w 3128973"/>
                <a:gd name="connsiteY139" fmla="*/ 1362075 h 1752600"/>
                <a:gd name="connsiteX140" fmla="*/ 2176462 w 3128973"/>
                <a:gd name="connsiteY140" fmla="*/ 1338262 h 1752600"/>
                <a:gd name="connsiteX141" fmla="*/ 2162175 w 3128973"/>
                <a:gd name="connsiteY141" fmla="*/ 1328737 h 1752600"/>
                <a:gd name="connsiteX142" fmla="*/ 2114550 w 3128973"/>
                <a:gd name="connsiteY142" fmla="*/ 1314450 h 1752600"/>
                <a:gd name="connsiteX143" fmla="*/ 2100262 w 3128973"/>
                <a:gd name="connsiteY143" fmla="*/ 1300162 h 1752600"/>
                <a:gd name="connsiteX144" fmla="*/ 2085975 w 3128973"/>
                <a:gd name="connsiteY144" fmla="*/ 1295400 h 1752600"/>
                <a:gd name="connsiteX145" fmla="*/ 2055019 w 3128973"/>
                <a:gd name="connsiteY145" fmla="*/ 1290637 h 1752600"/>
                <a:gd name="connsiteX146" fmla="*/ 2028824 w 3128973"/>
                <a:gd name="connsiteY146" fmla="*/ 1283494 h 1752600"/>
                <a:gd name="connsiteX147" fmla="*/ 2005012 w 3128973"/>
                <a:gd name="connsiteY147" fmla="*/ 1271587 h 1752600"/>
                <a:gd name="connsiteX148" fmla="*/ 1985962 w 3128973"/>
                <a:gd name="connsiteY148" fmla="*/ 1262062 h 1752600"/>
                <a:gd name="connsiteX149" fmla="*/ 1971675 w 3128973"/>
                <a:gd name="connsiteY149" fmla="*/ 1257300 h 1752600"/>
                <a:gd name="connsiteX150" fmla="*/ 1943100 w 3128973"/>
                <a:gd name="connsiteY150" fmla="*/ 1238250 h 1752600"/>
                <a:gd name="connsiteX151" fmla="*/ 1914525 w 3128973"/>
                <a:gd name="connsiteY151" fmla="*/ 1219200 h 1752600"/>
                <a:gd name="connsiteX152" fmla="*/ 1885950 w 3128973"/>
                <a:gd name="connsiteY152" fmla="*/ 1209675 h 1752600"/>
                <a:gd name="connsiteX153" fmla="*/ 1843087 w 3128973"/>
                <a:gd name="connsiteY153" fmla="*/ 1195387 h 1752600"/>
                <a:gd name="connsiteX154" fmla="*/ 1757362 w 3128973"/>
                <a:gd name="connsiteY154" fmla="*/ 1185862 h 1752600"/>
                <a:gd name="connsiteX155" fmla="*/ 1700212 w 3128973"/>
                <a:gd name="connsiteY155" fmla="*/ 1166812 h 1752600"/>
                <a:gd name="connsiteX156" fmla="*/ 1671637 w 3128973"/>
                <a:gd name="connsiteY156" fmla="*/ 1147762 h 1752600"/>
                <a:gd name="connsiteX157" fmla="*/ 1652587 w 3128973"/>
                <a:gd name="connsiteY157" fmla="*/ 1138237 h 1752600"/>
                <a:gd name="connsiteX158" fmla="*/ 1638300 w 3128973"/>
                <a:gd name="connsiteY158" fmla="*/ 1128712 h 1752600"/>
                <a:gd name="connsiteX159" fmla="*/ 1590675 w 3128973"/>
                <a:gd name="connsiteY159" fmla="*/ 1138238 h 1752600"/>
                <a:gd name="connsiteX160" fmla="*/ 1559719 w 3128973"/>
                <a:gd name="connsiteY160" fmla="*/ 1109662 h 1752600"/>
                <a:gd name="connsiteX161" fmla="*/ 1528762 w 3128973"/>
                <a:gd name="connsiteY161" fmla="*/ 1085850 h 1752600"/>
                <a:gd name="connsiteX162" fmla="*/ 1514475 w 3128973"/>
                <a:gd name="connsiteY162" fmla="*/ 1081087 h 1752600"/>
                <a:gd name="connsiteX163" fmla="*/ 1470025 w 3128973"/>
                <a:gd name="connsiteY163" fmla="*/ 1130300 h 1752600"/>
                <a:gd name="connsiteX164" fmla="*/ 1433512 w 3128973"/>
                <a:gd name="connsiteY164" fmla="*/ 1108075 h 1752600"/>
                <a:gd name="connsiteX165" fmla="*/ 1423987 w 3128973"/>
                <a:gd name="connsiteY165" fmla="*/ 1087437 h 1752600"/>
                <a:gd name="connsiteX166" fmla="*/ 1381125 w 3128973"/>
                <a:gd name="connsiteY166" fmla="*/ 1095375 h 1752600"/>
                <a:gd name="connsiteX167" fmla="*/ 1383506 w 3128973"/>
                <a:gd name="connsiteY167" fmla="*/ 1028700 h 1752600"/>
                <a:gd name="connsiteX168" fmla="*/ 1366838 w 3128973"/>
                <a:gd name="connsiteY168" fmla="*/ 1019175 h 1752600"/>
                <a:gd name="connsiteX169" fmla="*/ 1335881 w 3128973"/>
                <a:gd name="connsiteY169" fmla="*/ 1007268 h 1752600"/>
                <a:gd name="connsiteX170" fmla="*/ 1319213 w 3128973"/>
                <a:gd name="connsiteY170" fmla="*/ 1007268 h 1752600"/>
                <a:gd name="connsiteX171" fmla="*/ 1295400 w 3128973"/>
                <a:gd name="connsiteY171" fmla="*/ 976312 h 1752600"/>
                <a:gd name="connsiteX172" fmla="*/ 1281112 w 3128973"/>
                <a:gd name="connsiteY172" fmla="*/ 966787 h 1752600"/>
                <a:gd name="connsiteX173" fmla="*/ 1238250 w 3128973"/>
                <a:gd name="connsiteY173" fmla="*/ 947737 h 1752600"/>
                <a:gd name="connsiteX174" fmla="*/ 1212850 w 3128973"/>
                <a:gd name="connsiteY174" fmla="*/ 995362 h 1752600"/>
                <a:gd name="connsiteX175" fmla="*/ 1201737 w 3128973"/>
                <a:gd name="connsiteY175" fmla="*/ 987425 h 1752600"/>
                <a:gd name="connsiteX176" fmla="*/ 1163637 w 3128973"/>
                <a:gd name="connsiteY176" fmla="*/ 952277 h 1752600"/>
                <a:gd name="connsiteX177" fmla="*/ 1133475 w 3128973"/>
                <a:gd name="connsiteY177" fmla="*/ 925512 h 1752600"/>
                <a:gd name="connsiteX178" fmla="*/ 1085850 w 3128973"/>
                <a:gd name="connsiteY178" fmla="*/ 859631 h 1752600"/>
                <a:gd name="connsiteX179" fmla="*/ 1071562 w 3128973"/>
                <a:gd name="connsiteY179" fmla="*/ 842962 h 1752600"/>
                <a:gd name="connsiteX180" fmla="*/ 1047750 w 3128973"/>
                <a:gd name="connsiteY180" fmla="*/ 819150 h 1752600"/>
                <a:gd name="connsiteX181" fmla="*/ 1028700 w 3128973"/>
                <a:gd name="connsiteY181" fmla="*/ 804862 h 1752600"/>
                <a:gd name="connsiteX182" fmla="*/ 1018076 w 3128973"/>
                <a:gd name="connsiteY182" fmla="*/ 794816 h 1752600"/>
                <a:gd name="connsiteX183" fmla="*/ 1000125 w 3128973"/>
                <a:gd name="connsiteY183" fmla="*/ 785812 h 1752600"/>
                <a:gd name="connsiteX184" fmla="*/ 984342 w 3128973"/>
                <a:gd name="connsiteY184" fmla="*/ 773578 h 1752600"/>
                <a:gd name="connsiteX185" fmla="*/ 957262 w 3128973"/>
                <a:gd name="connsiteY185" fmla="*/ 766762 h 1752600"/>
                <a:gd name="connsiteX186" fmla="*/ 938212 w 3128973"/>
                <a:gd name="connsiteY186" fmla="*/ 757237 h 1752600"/>
                <a:gd name="connsiteX187" fmla="*/ 904875 w 3128973"/>
                <a:gd name="connsiteY187" fmla="*/ 747712 h 1752600"/>
                <a:gd name="connsiteX188" fmla="*/ 862012 w 3128973"/>
                <a:gd name="connsiteY188" fmla="*/ 723900 h 1752600"/>
                <a:gd name="connsiteX189" fmla="*/ 795337 w 3128973"/>
                <a:gd name="connsiteY189" fmla="*/ 685800 h 1752600"/>
                <a:gd name="connsiteX190" fmla="*/ 776287 w 3128973"/>
                <a:gd name="connsiteY190" fmla="*/ 666750 h 1752600"/>
                <a:gd name="connsiteX191" fmla="*/ 762000 w 3128973"/>
                <a:gd name="connsiteY191" fmla="*/ 661987 h 1752600"/>
                <a:gd name="connsiteX192" fmla="*/ 742950 w 3128973"/>
                <a:gd name="connsiteY192" fmla="*/ 647700 h 1752600"/>
                <a:gd name="connsiteX193" fmla="*/ 709612 w 3128973"/>
                <a:gd name="connsiteY193" fmla="*/ 638175 h 1752600"/>
                <a:gd name="connsiteX194" fmla="*/ 695325 w 3128973"/>
                <a:gd name="connsiteY194" fmla="*/ 628650 h 1752600"/>
                <a:gd name="connsiteX195" fmla="*/ 681037 w 3128973"/>
                <a:gd name="connsiteY195" fmla="*/ 623887 h 1752600"/>
                <a:gd name="connsiteX196" fmla="*/ 676275 w 3128973"/>
                <a:gd name="connsiteY196" fmla="*/ 604837 h 1752600"/>
                <a:gd name="connsiteX197" fmla="*/ 666750 w 3128973"/>
                <a:gd name="connsiteY197" fmla="*/ 576262 h 1752600"/>
                <a:gd name="connsiteX198" fmla="*/ 661987 w 3128973"/>
                <a:gd name="connsiteY198" fmla="*/ 561975 h 1752600"/>
                <a:gd name="connsiteX199" fmla="*/ 666750 w 3128973"/>
                <a:gd name="connsiteY199" fmla="*/ 538162 h 1752600"/>
                <a:gd name="connsiteX200" fmla="*/ 638175 w 3128973"/>
                <a:gd name="connsiteY200" fmla="*/ 514350 h 1752600"/>
                <a:gd name="connsiteX201" fmla="*/ 619125 w 3128973"/>
                <a:gd name="connsiteY201" fmla="*/ 500062 h 1752600"/>
                <a:gd name="connsiteX202" fmla="*/ 576262 w 3128973"/>
                <a:gd name="connsiteY202" fmla="*/ 490537 h 1752600"/>
                <a:gd name="connsiteX203" fmla="*/ 542925 w 3128973"/>
                <a:gd name="connsiteY203" fmla="*/ 452437 h 1752600"/>
                <a:gd name="connsiteX204" fmla="*/ 525462 w 3128973"/>
                <a:gd name="connsiteY204" fmla="*/ 485775 h 1752600"/>
                <a:gd name="connsiteX205" fmla="*/ 504825 w 3128973"/>
                <a:gd name="connsiteY205" fmla="*/ 466725 h 1752600"/>
                <a:gd name="connsiteX206" fmla="*/ 454025 w 3128973"/>
                <a:gd name="connsiteY206" fmla="*/ 466725 h 1752600"/>
                <a:gd name="connsiteX207" fmla="*/ 407987 w 3128973"/>
                <a:gd name="connsiteY207" fmla="*/ 473075 h 1752600"/>
                <a:gd name="connsiteX208" fmla="*/ 395287 w 3128973"/>
                <a:gd name="connsiteY208" fmla="*/ 409575 h 1752600"/>
                <a:gd name="connsiteX209" fmla="*/ 376237 w 3128973"/>
                <a:gd name="connsiteY209" fmla="*/ 404812 h 1752600"/>
                <a:gd name="connsiteX210" fmla="*/ 342900 w 3128973"/>
                <a:gd name="connsiteY210" fmla="*/ 400050 h 1752600"/>
                <a:gd name="connsiteX211" fmla="*/ 314325 w 3128973"/>
                <a:gd name="connsiteY211" fmla="*/ 390525 h 1752600"/>
                <a:gd name="connsiteX212" fmla="*/ 273844 w 3128973"/>
                <a:gd name="connsiteY212" fmla="*/ 383382 h 1752600"/>
                <a:gd name="connsiteX213" fmla="*/ 257175 w 3128973"/>
                <a:gd name="connsiteY213" fmla="*/ 371475 h 1752600"/>
                <a:gd name="connsiteX214" fmla="*/ 245269 w 3128973"/>
                <a:gd name="connsiteY214" fmla="*/ 364331 h 1752600"/>
                <a:gd name="connsiteX215" fmla="*/ 223837 w 3128973"/>
                <a:gd name="connsiteY215" fmla="*/ 347662 h 1752600"/>
                <a:gd name="connsiteX216" fmla="*/ 190500 w 3128973"/>
                <a:gd name="connsiteY216" fmla="*/ 338137 h 1752600"/>
                <a:gd name="connsiteX217" fmla="*/ 147637 w 3128973"/>
                <a:gd name="connsiteY217" fmla="*/ 333375 h 1752600"/>
                <a:gd name="connsiteX218" fmla="*/ 119062 w 3128973"/>
                <a:gd name="connsiteY218" fmla="*/ 323850 h 1752600"/>
                <a:gd name="connsiteX219" fmla="*/ 104775 w 3128973"/>
                <a:gd name="connsiteY219" fmla="*/ 319087 h 1752600"/>
                <a:gd name="connsiteX220" fmla="*/ 61912 w 3128973"/>
                <a:gd name="connsiteY220" fmla="*/ 300037 h 1752600"/>
                <a:gd name="connsiteX221" fmla="*/ 23812 w 3128973"/>
                <a:gd name="connsiteY221" fmla="*/ 290512 h 1752600"/>
                <a:gd name="connsiteX222" fmla="*/ 9525 w 3128973"/>
                <a:gd name="connsiteY222" fmla="*/ 261937 h 1752600"/>
                <a:gd name="connsiteX223" fmla="*/ 0 w 3128973"/>
                <a:gd name="connsiteY223" fmla="*/ 290512 h 1752600"/>
                <a:gd name="connsiteX224" fmla="*/ 4762 w 3128973"/>
                <a:gd name="connsiteY224" fmla="*/ 247650 h 1752600"/>
                <a:gd name="connsiteX225" fmla="*/ 19050 w 3128973"/>
                <a:gd name="connsiteY225" fmla="*/ 200025 h 1752600"/>
                <a:gd name="connsiteX226" fmla="*/ 23812 w 3128973"/>
                <a:gd name="connsiteY226" fmla="*/ 185737 h 1752600"/>
                <a:gd name="connsiteX227" fmla="*/ 71437 w 3128973"/>
                <a:gd name="connsiteY227" fmla="*/ 171450 h 1752600"/>
                <a:gd name="connsiteX228" fmla="*/ 85725 w 3128973"/>
                <a:gd name="connsiteY228" fmla="*/ 166687 h 1752600"/>
                <a:gd name="connsiteX229" fmla="*/ 100012 w 3128973"/>
                <a:gd name="connsiteY229" fmla="*/ 161925 h 1752600"/>
                <a:gd name="connsiteX230" fmla="*/ 114300 w 3128973"/>
                <a:gd name="connsiteY230" fmla="*/ 152400 h 1752600"/>
                <a:gd name="connsiteX231" fmla="*/ 133350 w 3128973"/>
                <a:gd name="connsiteY231" fmla="*/ 123825 h 1752600"/>
                <a:gd name="connsiteX232" fmla="*/ 138112 w 3128973"/>
                <a:gd name="connsiteY232" fmla="*/ 109537 h 1752600"/>
                <a:gd name="connsiteX233" fmla="*/ 135467 w 3128973"/>
                <a:gd name="connsiteY233" fmla="*/ 97059 h 1752600"/>
                <a:gd name="connsiteX234" fmla="*/ 142875 w 3128973"/>
                <a:gd name="connsiteY234" fmla="*/ 71437 h 1752600"/>
                <a:gd name="connsiteX235" fmla="*/ 157162 w 3128973"/>
                <a:gd name="connsiteY235" fmla="*/ 57150 h 1752600"/>
                <a:gd name="connsiteX236" fmla="*/ 200025 w 3128973"/>
                <a:gd name="connsiteY236" fmla="*/ 33337 h 1752600"/>
                <a:gd name="connsiteX237" fmla="*/ 309562 w 3128973"/>
                <a:gd name="connsiteY237" fmla="*/ 28575 h 1752600"/>
                <a:gd name="connsiteX238" fmla="*/ 400050 w 3128973"/>
                <a:gd name="connsiteY238" fmla="*/ 14287 h 1752600"/>
                <a:gd name="connsiteX239" fmla="*/ 414337 w 3128973"/>
                <a:gd name="connsiteY239" fmla="*/ 9525 h 1752600"/>
                <a:gd name="connsiteX240" fmla="*/ 481012 w 3128973"/>
                <a:gd name="connsiteY240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046801 w 3128973"/>
                <a:gd name="connsiteY29" fmla="*/ 262295 h 1752600"/>
                <a:gd name="connsiteX30" fmla="*/ 2033587 w 3128973"/>
                <a:gd name="connsiteY30" fmla="*/ 266700 h 1752600"/>
                <a:gd name="connsiteX31" fmla="*/ 2019300 w 3128973"/>
                <a:gd name="connsiteY31" fmla="*/ 280987 h 1752600"/>
                <a:gd name="connsiteX32" fmla="*/ 1990725 w 3128973"/>
                <a:gd name="connsiteY32" fmla="*/ 300037 h 1752600"/>
                <a:gd name="connsiteX33" fmla="*/ 1981200 w 3128973"/>
                <a:gd name="connsiteY33" fmla="*/ 314325 h 1752600"/>
                <a:gd name="connsiteX34" fmla="*/ 1981200 w 3128973"/>
                <a:gd name="connsiteY34" fmla="*/ 419100 h 1752600"/>
                <a:gd name="connsiteX35" fmla="*/ 1985962 w 3128973"/>
                <a:gd name="connsiteY35" fmla="*/ 433387 h 1752600"/>
                <a:gd name="connsiteX36" fmla="*/ 2000250 w 3128973"/>
                <a:gd name="connsiteY36" fmla="*/ 442912 h 1752600"/>
                <a:gd name="connsiteX37" fmla="*/ 2005012 w 3128973"/>
                <a:gd name="connsiteY37" fmla="*/ 457200 h 1752600"/>
                <a:gd name="connsiteX38" fmla="*/ 2005012 w 3128973"/>
                <a:gd name="connsiteY38" fmla="*/ 561975 h 1752600"/>
                <a:gd name="connsiteX39" fmla="*/ 2009775 w 3128973"/>
                <a:gd name="connsiteY39" fmla="*/ 576262 h 1752600"/>
                <a:gd name="connsiteX40" fmla="*/ 2024062 w 3128973"/>
                <a:gd name="connsiteY40" fmla="*/ 581025 h 1752600"/>
                <a:gd name="connsiteX41" fmla="*/ 2038350 w 3128973"/>
                <a:gd name="connsiteY41" fmla="*/ 595312 h 1752600"/>
                <a:gd name="connsiteX42" fmla="*/ 2052637 w 3128973"/>
                <a:gd name="connsiteY42" fmla="*/ 600075 h 1752600"/>
                <a:gd name="connsiteX43" fmla="*/ 2133600 w 3128973"/>
                <a:gd name="connsiteY43" fmla="*/ 590550 h 1752600"/>
                <a:gd name="connsiteX44" fmla="*/ 2147887 w 3128973"/>
                <a:gd name="connsiteY44" fmla="*/ 585787 h 1752600"/>
                <a:gd name="connsiteX45" fmla="*/ 2195512 w 3128973"/>
                <a:gd name="connsiteY45" fmla="*/ 600075 h 1752600"/>
                <a:gd name="connsiteX46" fmla="*/ 2205037 w 3128973"/>
                <a:gd name="connsiteY46" fmla="*/ 614362 h 1752600"/>
                <a:gd name="connsiteX47" fmla="*/ 2219325 w 3128973"/>
                <a:gd name="connsiteY47" fmla="*/ 628650 h 1752600"/>
                <a:gd name="connsiteX48" fmla="*/ 2224087 w 3128973"/>
                <a:gd name="connsiteY48" fmla="*/ 642937 h 1752600"/>
                <a:gd name="connsiteX49" fmla="*/ 2233612 w 3128973"/>
                <a:gd name="connsiteY49" fmla="*/ 657225 h 1752600"/>
                <a:gd name="connsiteX50" fmla="*/ 2247900 w 3128973"/>
                <a:gd name="connsiteY50" fmla="*/ 685800 h 1752600"/>
                <a:gd name="connsiteX51" fmla="*/ 2262187 w 3128973"/>
                <a:gd name="connsiteY51" fmla="*/ 733425 h 1752600"/>
                <a:gd name="connsiteX52" fmla="*/ 2305050 w 3128973"/>
                <a:gd name="connsiteY52" fmla="*/ 771525 h 1752600"/>
                <a:gd name="connsiteX53" fmla="*/ 2319337 w 3128973"/>
                <a:gd name="connsiteY53" fmla="*/ 804862 h 1752600"/>
                <a:gd name="connsiteX54" fmla="*/ 2333625 w 3128973"/>
                <a:gd name="connsiteY54" fmla="*/ 819150 h 1752600"/>
                <a:gd name="connsiteX55" fmla="*/ 2338387 w 3128973"/>
                <a:gd name="connsiteY55" fmla="*/ 833437 h 1752600"/>
                <a:gd name="connsiteX56" fmla="*/ 2352675 w 3128973"/>
                <a:gd name="connsiteY56" fmla="*/ 847725 h 1752600"/>
                <a:gd name="connsiteX57" fmla="*/ 2395537 w 3128973"/>
                <a:gd name="connsiteY57" fmla="*/ 871537 h 1752600"/>
                <a:gd name="connsiteX58" fmla="*/ 2409825 w 3128973"/>
                <a:gd name="connsiteY58" fmla="*/ 890587 h 1752600"/>
                <a:gd name="connsiteX59" fmla="*/ 2424112 w 3128973"/>
                <a:gd name="connsiteY59" fmla="*/ 895350 h 1752600"/>
                <a:gd name="connsiteX60" fmla="*/ 2433637 w 3128973"/>
                <a:gd name="connsiteY60" fmla="*/ 914400 h 1752600"/>
                <a:gd name="connsiteX61" fmla="*/ 2466975 w 3128973"/>
                <a:gd name="connsiteY61" fmla="*/ 942975 h 1752600"/>
                <a:gd name="connsiteX62" fmla="*/ 2474637 w 3128973"/>
                <a:gd name="connsiteY62" fmla="*/ 954728 h 1752600"/>
                <a:gd name="connsiteX63" fmla="*/ 2495550 w 3128973"/>
                <a:gd name="connsiteY63" fmla="*/ 971550 h 1752600"/>
                <a:gd name="connsiteX64" fmla="*/ 2508776 w 3128973"/>
                <a:gd name="connsiteY64" fmla="*/ 983894 h 1752600"/>
                <a:gd name="connsiteX65" fmla="*/ 2533650 w 3128973"/>
                <a:gd name="connsiteY65" fmla="*/ 1000125 h 1752600"/>
                <a:gd name="connsiteX66" fmla="*/ 2547937 w 3128973"/>
                <a:gd name="connsiteY66" fmla="*/ 1028700 h 1752600"/>
                <a:gd name="connsiteX67" fmla="*/ 2552700 w 3128973"/>
                <a:gd name="connsiteY67" fmla="*/ 1042987 h 1752600"/>
                <a:gd name="connsiteX68" fmla="*/ 2576512 w 3128973"/>
                <a:gd name="connsiteY68" fmla="*/ 1071562 h 1752600"/>
                <a:gd name="connsiteX69" fmla="*/ 2584921 w 3128973"/>
                <a:gd name="connsiteY69" fmla="*/ 1082873 h 1752600"/>
                <a:gd name="connsiteX70" fmla="*/ 2600325 w 3128973"/>
                <a:gd name="connsiteY70" fmla="*/ 1095375 h 1752600"/>
                <a:gd name="connsiteX71" fmla="*/ 2609850 w 3128973"/>
                <a:gd name="connsiteY71" fmla="*/ 1109662 h 1752600"/>
                <a:gd name="connsiteX72" fmla="*/ 2652712 w 3128973"/>
                <a:gd name="connsiteY72" fmla="*/ 1143000 h 1752600"/>
                <a:gd name="connsiteX73" fmla="*/ 2681287 w 3128973"/>
                <a:gd name="connsiteY73" fmla="*/ 1152525 h 1752600"/>
                <a:gd name="connsiteX74" fmla="*/ 2700337 w 3128973"/>
                <a:gd name="connsiteY74" fmla="*/ 1162050 h 1752600"/>
                <a:gd name="connsiteX75" fmla="*/ 2714625 w 3128973"/>
                <a:gd name="connsiteY75" fmla="*/ 1171575 h 1752600"/>
                <a:gd name="connsiteX76" fmla="*/ 2752725 w 3128973"/>
                <a:gd name="connsiteY76" fmla="*/ 1181100 h 1752600"/>
                <a:gd name="connsiteX77" fmla="*/ 2767012 w 3128973"/>
                <a:gd name="connsiteY77" fmla="*/ 1195387 h 1752600"/>
                <a:gd name="connsiteX78" fmla="*/ 2781300 w 3128973"/>
                <a:gd name="connsiteY78" fmla="*/ 1200150 h 1752600"/>
                <a:gd name="connsiteX79" fmla="*/ 2795587 w 3128973"/>
                <a:gd name="connsiteY79" fmla="*/ 1209675 h 1752600"/>
                <a:gd name="connsiteX80" fmla="*/ 2805112 w 3128973"/>
                <a:gd name="connsiteY80" fmla="*/ 1223962 h 1752600"/>
                <a:gd name="connsiteX81" fmla="*/ 2809875 w 3128973"/>
                <a:gd name="connsiteY81" fmla="*/ 1238250 h 1752600"/>
                <a:gd name="connsiteX82" fmla="*/ 2833687 w 3128973"/>
                <a:gd name="connsiteY82" fmla="*/ 1276350 h 1752600"/>
                <a:gd name="connsiteX83" fmla="*/ 2895600 w 3128973"/>
                <a:gd name="connsiteY83" fmla="*/ 1333500 h 1752600"/>
                <a:gd name="connsiteX84" fmla="*/ 2900362 w 3128973"/>
                <a:gd name="connsiteY84" fmla="*/ 1352550 h 1752600"/>
                <a:gd name="connsiteX85" fmla="*/ 2928937 w 3128973"/>
                <a:gd name="connsiteY85" fmla="*/ 1395412 h 1752600"/>
                <a:gd name="connsiteX86" fmla="*/ 2943225 w 3128973"/>
                <a:gd name="connsiteY86" fmla="*/ 1404937 h 1752600"/>
                <a:gd name="connsiteX87" fmla="*/ 2957512 w 3128973"/>
                <a:gd name="connsiteY87" fmla="*/ 1419225 h 1752600"/>
                <a:gd name="connsiteX88" fmla="*/ 2986087 w 3128973"/>
                <a:gd name="connsiteY88" fmla="*/ 1443037 h 1752600"/>
                <a:gd name="connsiteX89" fmla="*/ 3000375 w 3128973"/>
                <a:gd name="connsiteY89" fmla="*/ 1462087 h 1752600"/>
                <a:gd name="connsiteX90" fmla="*/ 3016395 w 3128973"/>
                <a:gd name="connsiteY90" fmla="*/ 1476222 h 1752600"/>
                <a:gd name="connsiteX91" fmla="*/ 3028950 w 3128973"/>
                <a:gd name="connsiteY91" fmla="*/ 1495425 h 1752600"/>
                <a:gd name="connsiteX92" fmla="*/ 3043237 w 3128973"/>
                <a:gd name="connsiteY92" fmla="*/ 1552575 h 1752600"/>
                <a:gd name="connsiteX93" fmla="*/ 3052762 w 3128973"/>
                <a:gd name="connsiteY93" fmla="*/ 1566862 h 1752600"/>
                <a:gd name="connsiteX94" fmla="*/ 3057525 w 3128973"/>
                <a:gd name="connsiteY94" fmla="*/ 1581150 h 1752600"/>
                <a:gd name="connsiteX95" fmla="*/ 3067050 w 3128973"/>
                <a:gd name="connsiteY95" fmla="*/ 1662112 h 1752600"/>
                <a:gd name="connsiteX96" fmla="*/ 3071812 w 3128973"/>
                <a:gd name="connsiteY96" fmla="*/ 1676400 h 1752600"/>
                <a:gd name="connsiteX97" fmla="*/ 3100387 w 3128973"/>
                <a:gd name="connsiteY97" fmla="*/ 1690687 h 1752600"/>
                <a:gd name="connsiteX98" fmla="*/ 3114675 w 3128973"/>
                <a:gd name="connsiteY98" fmla="*/ 1685925 h 1752600"/>
                <a:gd name="connsiteX99" fmla="*/ 3124200 w 3128973"/>
                <a:gd name="connsiteY99" fmla="*/ 1671637 h 1752600"/>
                <a:gd name="connsiteX100" fmla="*/ 3128973 w 3128973"/>
                <a:gd name="connsiteY100" fmla="*/ 1651467 h 1752600"/>
                <a:gd name="connsiteX101" fmla="*/ 3128021 w 3128973"/>
                <a:gd name="connsiteY101" fmla="*/ 1710279 h 1752600"/>
                <a:gd name="connsiteX102" fmla="*/ 3043237 w 3128973"/>
                <a:gd name="connsiteY102" fmla="*/ 1714500 h 1752600"/>
                <a:gd name="connsiteX103" fmla="*/ 3028950 w 3128973"/>
                <a:gd name="connsiteY103" fmla="*/ 1728787 h 1752600"/>
                <a:gd name="connsiteX104" fmla="*/ 2986087 w 3128973"/>
                <a:gd name="connsiteY104" fmla="*/ 1738312 h 1752600"/>
                <a:gd name="connsiteX105" fmla="*/ 2971800 w 3128973"/>
                <a:gd name="connsiteY105" fmla="*/ 1743075 h 1752600"/>
                <a:gd name="connsiteX106" fmla="*/ 2943225 w 3128973"/>
                <a:gd name="connsiteY106" fmla="*/ 1738312 h 1752600"/>
                <a:gd name="connsiteX107" fmla="*/ 2928937 w 3128973"/>
                <a:gd name="connsiteY107" fmla="*/ 1747837 h 1752600"/>
                <a:gd name="connsiteX108" fmla="*/ 2914650 w 3128973"/>
                <a:gd name="connsiteY108" fmla="*/ 1752600 h 1752600"/>
                <a:gd name="connsiteX109" fmla="*/ 2895600 w 3128973"/>
                <a:gd name="connsiteY109" fmla="*/ 1724025 h 1752600"/>
                <a:gd name="connsiteX110" fmla="*/ 2883310 w 3128973"/>
                <a:gd name="connsiteY110" fmla="*/ 1701201 h 1752600"/>
                <a:gd name="connsiteX111" fmla="*/ 2883805 w 3128973"/>
                <a:gd name="connsiteY111" fmla="*/ 1696138 h 1752600"/>
                <a:gd name="connsiteX112" fmla="*/ 2871787 w 3128973"/>
                <a:gd name="connsiteY112" fmla="*/ 1685925 h 1752600"/>
                <a:gd name="connsiteX113" fmla="*/ 2847975 w 3128973"/>
                <a:gd name="connsiteY113" fmla="*/ 1657350 h 1752600"/>
                <a:gd name="connsiteX114" fmla="*/ 2834034 w 3128973"/>
                <a:gd name="connsiteY114" fmla="*/ 1637762 h 1752600"/>
                <a:gd name="connsiteX115" fmla="*/ 2814637 w 3128973"/>
                <a:gd name="connsiteY115" fmla="*/ 1619250 h 1752600"/>
                <a:gd name="connsiteX116" fmla="*/ 2809875 w 3128973"/>
                <a:gd name="connsiteY116" fmla="*/ 1604962 h 1752600"/>
                <a:gd name="connsiteX117" fmla="*/ 2795587 w 3128973"/>
                <a:gd name="connsiteY117" fmla="*/ 1600200 h 1752600"/>
                <a:gd name="connsiteX118" fmla="*/ 2781300 w 3128973"/>
                <a:gd name="connsiteY118" fmla="*/ 1590675 h 1752600"/>
                <a:gd name="connsiteX119" fmla="*/ 2752725 w 3128973"/>
                <a:gd name="connsiteY119" fmla="*/ 1581150 h 1752600"/>
                <a:gd name="connsiteX120" fmla="*/ 2733675 w 3128973"/>
                <a:gd name="connsiteY120" fmla="*/ 1625600 h 1752600"/>
                <a:gd name="connsiteX121" fmla="*/ 2709862 w 3128973"/>
                <a:gd name="connsiteY121" fmla="*/ 1619250 h 1752600"/>
                <a:gd name="connsiteX122" fmla="*/ 2723566 w 3128973"/>
                <a:gd name="connsiteY122" fmla="*/ 1590361 h 1752600"/>
                <a:gd name="connsiteX123" fmla="*/ 2674937 w 3128973"/>
                <a:gd name="connsiteY123" fmla="*/ 1560512 h 1752600"/>
                <a:gd name="connsiteX124" fmla="*/ 2643187 w 3128973"/>
                <a:gd name="connsiteY124" fmla="*/ 1495425 h 1752600"/>
                <a:gd name="connsiteX125" fmla="*/ 2628900 w 3128973"/>
                <a:gd name="connsiteY125" fmla="*/ 1490662 h 1752600"/>
                <a:gd name="connsiteX126" fmla="*/ 2595562 w 3128973"/>
                <a:gd name="connsiteY126" fmla="*/ 1481137 h 1752600"/>
                <a:gd name="connsiteX127" fmla="*/ 2581275 w 3128973"/>
                <a:gd name="connsiteY127" fmla="*/ 1466850 h 1752600"/>
                <a:gd name="connsiteX128" fmla="*/ 2552700 w 3128973"/>
                <a:gd name="connsiteY128" fmla="*/ 1457325 h 1752600"/>
                <a:gd name="connsiteX129" fmla="*/ 2538412 w 3128973"/>
                <a:gd name="connsiteY129" fmla="*/ 1447800 h 1752600"/>
                <a:gd name="connsiteX130" fmla="*/ 2519362 w 3128973"/>
                <a:gd name="connsiteY130" fmla="*/ 1443037 h 1752600"/>
                <a:gd name="connsiteX131" fmla="*/ 2490787 w 3128973"/>
                <a:gd name="connsiteY131" fmla="*/ 1433512 h 1752600"/>
                <a:gd name="connsiteX132" fmla="*/ 2476500 w 3128973"/>
                <a:gd name="connsiteY132" fmla="*/ 1428750 h 1752600"/>
                <a:gd name="connsiteX133" fmla="*/ 2466975 w 3128973"/>
                <a:gd name="connsiteY133" fmla="*/ 1414462 h 1752600"/>
                <a:gd name="connsiteX134" fmla="*/ 2447925 w 3128973"/>
                <a:gd name="connsiteY134" fmla="*/ 1409700 h 1752600"/>
                <a:gd name="connsiteX135" fmla="*/ 2309812 w 3128973"/>
                <a:gd name="connsiteY135" fmla="*/ 1395412 h 1752600"/>
                <a:gd name="connsiteX136" fmla="*/ 2295525 w 3128973"/>
                <a:gd name="connsiteY136" fmla="*/ 1390650 h 1752600"/>
                <a:gd name="connsiteX137" fmla="*/ 2257425 w 3128973"/>
                <a:gd name="connsiteY137" fmla="*/ 1381125 h 1752600"/>
                <a:gd name="connsiteX138" fmla="*/ 2238375 w 3128973"/>
                <a:gd name="connsiteY138" fmla="*/ 1366837 h 1752600"/>
                <a:gd name="connsiteX139" fmla="*/ 2224087 w 3128973"/>
                <a:gd name="connsiteY139" fmla="*/ 1362075 h 1752600"/>
                <a:gd name="connsiteX140" fmla="*/ 2176462 w 3128973"/>
                <a:gd name="connsiteY140" fmla="*/ 1338262 h 1752600"/>
                <a:gd name="connsiteX141" fmla="*/ 2162175 w 3128973"/>
                <a:gd name="connsiteY141" fmla="*/ 1328737 h 1752600"/>
                <a:gd name="connsiteX142" fmla="*/ 2114550 w 3128973"/>
                <a:gd name="connsiteY142" fmla="*/ 1314450 h 1752600"/>
                <a:gd name="connsiteX143" fmla="*/ 2100262 w 3128973"/>
                <a:gd name="connsiteY143" fmla="*/ 1300162 h 1752600"/>
                <a:gd name="connsiteX144" fmla="*/ 2085975 w 3128973"/>
                <a:gd name="connsiteY144" fmla="*/ 1295400 h 1752600"/>
                <a:gd name="connsiteX145" fmla="*/ 2055019 w 3128973"/>
                <a:gd name="connsiteY145" fmla="*/ 1290637 h 1752600"/>
                <a:gd name="connsiteX146" fmla="*/ 2028824 w 3128973"/>
                <a:gd name="connsiteY146" fmla="*/ 1283494 h 1752600"/>
                <a:gd name="connsiteX147" fmla="*/ 2005012 w 3128973"/>
                <a:gd name="connsiteY147" fmla="*/ 1271587 h 1752600"/>
                <a:gd name="connsiteX148" fmla="*/ 1985962 w 3128973"/>
                <a:gd name="connsiteY148" fmla="*/ 1262062 h 1752600"/>
                <a:gd name="connsiteX149" fmla="*/ 1971675 w 3128973"/>
                <a:gd name="connsiteY149" fmla="*/ 1257300 h 1752600"/>
                <a:gd name="connsiteX150" fmla="*/ 1943100 w 3128973"/>
                <a:gd name="connsiteY150" fmla="*/ 1238250 h 1752600"/>
                <a:gd name="connsiteX151" fmla="*/ 1914525 w 3128973"/>
                <a:gd name="connsiteY151" fmla="*/ 1219200 h 1752600"/>
                <a:gd name="connsiteX152" fmla="*/ 1885950 w 3128973"/>
                <a:gd name="connsiteY152" fmla="*/ 1209675 h 1752600"/>
                <a:gd name="connsiteX153" fmla="*/ 1843087 w 3128973"/>
                <a:gd name="connsiteY153" fmla="*/ 1195387 h 1752600"/>
                <a:gd name="connsiteX154" fmla="*/ 1757362 w 3128973"/>
                <a:gd name="connsiteY154" fmla="*/ 1185862 h 1752600"/>
                <a:gd name="connsiteX155" fmla="*/ 1700212 w 3128973"/>
                <a:gd name="connsiteY155" fmla="*/ 1166812 h 1752600"/>
                <a:gd name="connsiteX156" fmla="*/ 1671637 w 3128973"/>
                <a:gd name="connsiteY156" fmla="*/ 1147762 h 1752600"/>
                <a:gd name="connsiteX157" fmla="*/ 1652587 w 3128973"/>
                <a:gd name="connsiteY157" fmla="*/ 1138237 h 1752600"/>
                <a:gd name="connsiteX158" fmla="*/ 1638300 w 3128973"/>
                <a:gd name="connsiteY158" fmla="*/ 1128712 h 1752600"/>
                <a:gd name="connsiteX159" fmla="*/ 1590675 w 3128973"/>
                <a:gd name="connsiteY159" fmla="*/ 1138238 h 1752600"/>
                <a:gd name="connsiteX160" fmla="*/ 1559719 w 3128973"/>
                <a:gd name="connsiteY160" fmla="*/ 1109662 h 1752600"/>
                <a:gd name="connsiteX161" fmla="*/ 1528762 w 3128973"/>
                <a:gd name="connsiteY161" fmla="*/ 1085850 h 1752600"/>
                <a:gd name="connsiteX162" fmla="*/ 1514475 w 3128973"/>
                <a:gd name="connsiteY162" fmla="*/ 1081087 h 1752600"/>
                <a:gd name="connsiteX163" fmla="*/ 1470025 w 3128973"/>
                <a:gd name="connsiteY163" fmla="*/ 1130300 h 1752600"/>
                <a:gd name="connsiteX164" fmla="*/ 1433512 w 3128973"/>
                <a:gd name="connsiteY164" fmla="*/ 1108075 h 1752600"/>
                <a:gd name="connsiteX165" fmla="*/ 1423987 w 3128973"/>
                <a:gd name="connsiteY165" fmla="*/ 1087437 h 1752600"/>
                <a:gd name="connsiteX166" fmla="*/ 1381125 w 3128973"/>
                <a:gd name="connsiteY166" fmla="*/ 1095375 h 1752600"/>
                <a:gd name="connsiteX167" fmla="*/ 1383506 w 3128973"/>
                <a:gd name="connsiteY167" fmla="*/ 1028700 h 1752600"/>
                <a:gd name="connsiteX168" fmla="*/ 1366838 w 3128973"/>
                <a:gd name="connsiteY168" fmla="*/ 1019175 h 1752600"/>
                <a:gd name="connsiteX169" fmla="*/ 1335881 w 3128973"/>
                <a:gd name="connsiteY169" fmla="*/ 1007268 h 1752600"/>
                <a:gd name="connsiteX170" fmla="*/ 1319213 w 3128973"/>
                <a:gd name="connsiteY170" fmla="*/ 1007268 h 1752600"/>
                <a:gd name="connsiteX171" fmla="*/ 1295400 w 3128973"/>
                <a:gd name="connsiteY171" fmla="*/ 976312 h 1752600"/>
                <a:gd name="connsiteX172" fmla="*/ 1281112 w 3128973"/>
                <a:gd name="connsiteY172" fmla="*/ 966787 h 1752600"/>
                <a:gd name="connsiteX173" fmla="*/ 1238250 w 3128973"/>
                <a:gd name="connsiteY173" fmla="*/ 947737 h 1752600"/>
                <a:gd name="connsiteX174" fmla="*/ 1212850 w 3128973"/>
                <a:gd name="connsiteY174" fmla="*/ 995362 h 1752600"/>
                <a:gd name="connsiteX175" fmla="*/ 1201737 w 3128973"/>
                <a:gd name="connsiteY175" fmla="*/ 987425 h 1752600"/>
                <a:gd name="connsiteX176" fmla="*/ 1163637 w 3128973"/>
                <a:gd name="connsiteY176" fmla="*/ 952277 h 1752600"/>
                <a:gd name="connsiteX177" fmla="*/ 1133475 w 3128973"/>
                <a:gd name="connsiteY177" fmla="*/ 925512 h 1752600"/>
                <a:gd name="connsiteX178" fmla="*/ 1085850 w 3128973"/>
                <a:gd name="connsiteY178" fmla="*/ 859631 h 1752600"/>
                <a:gd name="connsiteX179" fmla="*/ 1071562 w 3128973"/>
                <a:gd name="connsiteY179" fmla="*/ 842962 h 1752600"/>
                <a:gd name="connsiteX180" fmla="*/ 1047750 w 3128973"/>
                <a:gd name="connsiteY180" fmla="*/ 819150 h 1752600"/>
                <a:gd name="connsiteX181" fmla="*/ 1028700 w 3128973"/>
                <a:gd name="connsiteY181" fmla="*/ 804862 h 1752600"/>
                <a:gd name="connsiteX182" fmla="*/ 1018076 w 3128973"/>
                <a:gd name="connsiteY182" fmla="*/ 794816 h 1752600"/>
                <a:gd name="connsiteX183" fmla="*/ 1000125 w 3128973"/>
                <a:gd name="connsiteY183" fmla="*/ 785812 h 1752600"/>
                <a:gd name="connsiteX184" fmla="*/ 984342 w 3128973"/>
                <a:gd name="connsiteY184" fmla="*/ 773578 h 1752600"/>
                <a:gd name="connsiteX185" fmla="*/ 957262 w 3128973"/>
                <a:gd name="connsiteY185" fmla="*/ 766762 h 1752600"/>
                <a:gd name="connsiteX186" fmla="*/ 938212 w 3128973"/>
                <a:gd name="connsiteY186" fmla="*/ 757237 h 1752600"/>
                <a:gd name="connsiteX187" fmla="*/ 904875 w 3128973"/>
                <a:gd name="connsiteY187" fmla="*/ 747712 h 1752600"/>
                <a:gd name="connsiteX188" fmla="*/ 862012 w 3128973"/>
                <a:gd name="connsiteY188" fmla="*/ 723900 h 1752600"/>
                <a:gd name="connsiteX189" fmla="*/ 795337 w 3128973"/>
                <a:gd name="connsiteY189" fmla="*/ 685800 h 1752600"/>
                <a:gd name="connsiteX190" fmla="*/ 776287 w 3128973"/>
                <a:gd name="connsiteY190" fmla="*/ 666750 h 1752600"/>
                <a:gd name="connsiteX191" fmla="*/ 762000 w 3128973"/>
                <a:gd name="connsiteY191" fmla="*/ 661987 h 1752600"/>
                <a:gd name="connsiteX192" fmla="*/ 742950 w 3128973"/>
                <a:gd name="connsiteY192" fmla="*/ 647700 h 1752600"/>
                <a:gd name="connsiteX193" fmla="*/ 709612 w 3128973"/>
                <a:gd name="connsiteY193" fmla="*/ 638175 h 1752600"/>
                <a:gd name="connsiteX194" fmla="*/ 695325 w 3128973"/>
                <a:gd name="connsiteY194" fmla="*/ 628650 h 1752600"/>
                <a:gd name="connsiteX195" fmla="*/ 681037 w 3128973"/>
                <a:gd name="connsiteY195" fmla="*/ 623887 h 1752600"/>
                <a:gd name="connsiteX196" fmla="*/ 676275 w 3128973"/>
                <a:gd name="connsiteY196" fmla="*/ 604837 h 1752600"/>
                <a:gd name="connsiteX197" fmla="*/ 666750 w 3128973"/>
                <a:gd name="connsiteY197" fmla="*/ 576262 h 1752600"/>
                <a:gd name="connsiteX198" fmla="*/ 661987 w 3128973"/>
                <a:gd name="connsiteY198" fmla="*/ 561975 h 1752600"/>
                <a:gd name="connsiteX199" fmla="*/ 666750 w 3128973"/>
                <a:gd name="connsiteY199" fmla="*/ 538162 h 1752600"/>
                <a:gd name="connsiteX200" fmla="*/ 638175 w 3128973"/>
                <a:gd name="connsiteY200" fmla="*/ 514350 h 1752600"/>
                <a:gd name="connsiteX201" fmla="*/ 619125 w 3128973"/>
                <a:gd name="connsiteY201" fmla="*/ 500062 h 1752600"/>
                <a:gd name="connsiteX202" fmla="*/ 576262 w 3128973"/>
                <a:gd name="connsiteY202" fmla="*/ 490537 h 1752600"/>
                <a:gd name="connsiteX203" fmla="*/ 542925 w 3128973"/>
                <a:gd name="connsiteY203" fmla="*/ 452437 h 1752600"/>
                <a:gd name="connsiteX204" fmla="*/ 525462 w 3128973"/>
                <a:gd name="connsiteY204" fmla="*/ 485775 h 1752600"/>
                <a:gd name="connsiteX205" fmla="*/ 504825 w 3128973"/>
                <a:gd name="connsiteY205" fmla="*/ 466725 h 1752600"/>
                <a:gd name="connsiteX206" fmla="*/ 454025 w 3128973"/>
                <a:gd name="connsiteY206" fmla="*/ 466725 h 1752600"/>
                <a:gd name="connsiteX207" fmla="*/ 407987 w 3128973"/>
                <a:gd name="connsiteY207" fmla="*/ 473075 h 1752600"/>
                <a:gd name="connsiteX208" fmla="*/ 395287 w 3128973"/>
                <a:gd name="connsiteY208" fmla="*/ 409575 h 1752600"/>
                <a:gd name="connsiteX209" fmla="*/ 376237 w 3128973"/>
                <a:gd name="connsiteY209" fmla="*/ 404812 h 1752600"/>
                <a:gd name="connsiteX210" fmla="*/ 342900 w 3128973"/>
                <a:gd name="connsiteY210" fmla="*/ 400050 h 1752600"/>
                <a:gd name="connsiteX211" fmla="*/ 314325 w 3128973"/>
                <a:gd name="connsiteY211" fmla="*/ 390525 h 1752600"/>
                <a:gd name="connsiteX212" fmla="*/ 273844 w 3128973"/>
                <a:gd name="connsiteY212" fmla="*/ 383382 h 1752600"/>
                <a:gd name="connsiteX213" fmla="*/ 257175 w 3128973"/>
                <a:gd name="connsiteY213" fmla="*/ 371475 h 1752600"/>
                <a:gd name="connsiteX214" fmla="*/ 245269 w 3128973"/>
                <a:gd name="connsiteY214" fmla="*/ 364331 h 1752600"/>
                <a:gd name="connsiteX215" fmla="*/ 223837 w 3128973"/>
                <a:gd name="connsiteY215" fmla="*/ 347662 h 1752600"/>
                <a:gd name="connsiteX216" fmla="*/ 190500 w 3128973"/>
                <a:gd name="connsiteY216" fmla="*/ 338137 h 1752600"/>
                <a:gd name="connsiteX217" fmla="*/ 147637 w 3128973"/>
                <a:gd name="connsiteY217" fmla="*/ 333375 h 1752600"/>
                <a:gd name="connsiteX218" fmla="*/ 119062 w 3128973"/>
                <a:gd name="connsiteY218" fmla="*/ 323850 h 1752600"/>
                <a:gd name="connsiteX219" fmla="*/ 104775 w 3128973"/>
                <a:gd name="connsiteY219" fmla="*/ 319087 h 1752600"/>
                <a:gd name="connsiteX220" fmla="*/ 61912 w 3128973"/>
                <a:gd name="connsiteY220" fmla="*/ 300037 h 1752600"/>
                <a:gd name="connsiteX221" fmla="*/ 23812 w 3128973"/>
                <a:gd name="connsiteY221" fmla="*/ 290512 h 1752600"/>
                <a:gd name="connsiteX222" fmla="*/ 9525 w 3128973"/>
                <a:gd name="connsiteY222" fmla="*/ 261937 h 1752600"/>
                <a:gd name="connsiteX223" fmla="*/ 0 w 3128973"/>
                <a:gd name="connsiteY223" fmla="*/ 290512 h 1752600"/>
                <a:gd name="connsiteX224" fmla="*/ 4762 w 3128973"/>
                <a:gd name="connsiteY224" fmla="*/ 247650 h 1752600"/>
                <a:gd name="connsiteX225" fmla="*/ 19050 w 3128973"/>
                <a:gd name="connsiteY225" fmla="*/ 200025 h 1752600"/>
                <a:gd name="connsiteX226" fmla="*/ 23812 w 3128973"/>
                <a:gd name="connsiteY226" fmla="*/ 185737 h 1752600"/>
                <a:gd name="connsiteX227" fmla="*/ 71437 w 3128973"/>
                <a:gd name="connsiteY227" fmla="*/ 171450 h 1752600"/>
                <a:gd name="connsiteX228" fmla="*/ 85725 w 3128973"/>
                <a:gd name="connsiteY228" fmla="*/ 166687 h 1752600"/>
                <a:gd name="connsiteX229" fmla="*/ 100012 w 3128973"/>
                <a:gd name="connsiteY229" fmla="*/ 161925 h 1752600"/>
                <a:gd name="connsiteX230" fmla="*/ 114300 w 3128973"/>
                <a:gd name="connsiteY230" fmla="*/ 152400 h 1752600"/>
                <a:gd name="connsiteX231" fmla="*/ 133350 w 3128973"/>
                <a:gd name="connsiteY231" fmla="*/ 123825 h 1752600"/>
                <a:gd name="connsiteX232" fmla="*/ 138112 w 3128973"/>
                <a:gd name="connsiteY232" fmla="*/ 109537 h 1752600"/>
                <a:gd name="connsiteX233" fmla="*/ 135467 w 3128973"/>
                <a:gd name="connsiteY233" fmla="*/ 97059 h 1752600"/>
                <a:gd name="connsiteX234" fmla="*/ 142875 w 3128973"/>
                <a:gd name="connsiteY234" fmla="*/ 71437 h 1752600"/>
                <a:gd name="connsiteX235" fmla="*/ 157162 w 3128973"/>
                <a:gd name="connsiteY235" fmla="*/ 57150 h 1752600"/>
                <a:gd name="connsiteX236" fmla="*/ 200025 w 3128973"/>
                <a:gd name="connsiteY236" fmla="*/ 33337 h 1752600"/>
                <a:gd name="connsiteX237" fmla="*/ 309562 w 3128973"/>
                <a:gd name="connsiteY237" fmla="*/ 28575 h 1752600"/>
                <a:gd name="connsiteX238" fmla="*/ 400050 w 3128973"/>
                <a:gd name="connsiteY238" fmla="*/ 14287 h 1752600"/>
                <a:gd name="connsiteX239" fmla="*/ 414337 w 3128973"/>
                <a:gd name="connsiteY239" fmla="*/ 9525 h 1752600"/>
                <a:gd name="connsiteX240" fmla="*/ 481012 w 3128973"/>
                <a:gd name="connsiteY240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395537 w 3128973"/>
                <a:gd name="connsiteY29" fmla="*/ 143045 h 1752600"/>
                <a:gd name="connsiteX30" fmla="*/ 2046801 w 3128973"/>
                <a:gd name="connsiteY30" fmla="*/ 262295 h 1752600"/>
                <a:gd name="connsiteX31" fmla="*/ 2033587 w 3128973"/>
                <a:gd name="connsiteY31" fmla="*/ 266700 h 1752600"/>
                <a:gd name="connsiteX32" fmla="*/ 2019300 w 3128973"/>
                <a:gd name="connsiteY32" fmla="*/ 280987 h 1752600"/>
                <a:gd name="connsiteX33" fmla="*/ 1990725 w 3128973"/>
                <a:gd name="connsiteY33" fmla="*/ 300037 h 1752600"/>
                <a:gd name="connsiteX34" fmla="*/ 1981200 w 3128973"/>
                <a:gd name="connsiteY34" fmla="*/ 314325 h 1752600"/>
                <a:gd name="connsiteX35" fmla="*/ 1981200 w 3128973"/>
                <a:gd name="connsiteY35" fmla="*/ 419100 h 1752600"/>
                <a:gd name="connsiteX36" fmla="*/ 1985962 w 3128973"/>
                <a:gd name="connsiteY36" fmla="*/ 433387 h 1752600"/>
                <a:gd name="connsiteX37" fmla="*/ 2000250 w 3128973"/>
                <a:gd name="connsiteY37" fmla="*/ 442912 h 1752600"/>
                <a:gd name="connsiteX38" fmla="*/ 2005012 w 3128973"/>
                <a:gd name="connsiteY38" fmla="*/ 457200 h 1752600"/>
                <a:gd name="connsiteX39" fmla="*/ 2005012 w 3128973"/>
                <a:gd name="connsiteY39" fmla="*/ 561975 h 1752600"/>
                <a:gd name="connsiteX40" fmla="*/ 2009775 w 3128973"/>
                <a:gd name="connsiteY40" fmla="*/ 576262 h 1752600"/>
                <a:gd name="connsiteX41" fmla="*/ 2024062 w 3128973"/>
                <a:gd name="connsiteY41" fmla="*/ 581025 h 1752600"/>
                <a:gd name="connsiteX42" fmla="*/ 2038350 w 3128973"/>
                <a:gd name="connsiteY42" fmla="*/ 595312 h 1752600"/>
                <a:gd name="connsiteX43" fmla="*/ 2052637 w 3128973"/>
                <a:gd name="connsiteY43" fmla="*/ 600075 h 1752600"/>
                <a:gd name="connsiteX44" fmla="*/ 2133600 w 3128973"/>
                <a:gd name="connsiteY44" fmla="*/ 590550 h 1752600"/>
                <a:gd name="connsiteX45" fmla="*/ 2147887 w 3128973"/>
                <a:gd name="connsiteY45" fmla="*/ 585787 h 1752600"/>
                <a:gd name="connsiteX46" fmla="*/ 2195512 w 3128973"/>
                <a:gd name="connsiteY46" fmla="*/ 600075 h 1752600"/>
                <a:gd name="connsiteX47" fmla="*/ 2205037 w 3128973"/>
                <a:gd name="connsiteY47" fmla="*/ 614362 h 1752600"/>
                <a:gd name="connsiteX48" fmla="*/ 2219325 w 3128973"/>
                <a:gd name="connsiteY48" fmla="*/ 628650 h 1752600"/>
                <a:gd name="connsiteX49" fmla="*/ 2224087 w 3128973"/>
                <a:gd name="connsiteY49" fmla="*/ 642937 h 1752600"/>
                <a:gd name="connsiteX50" fmla="*/ 2233612 w 3128973"/>
                <a:gd name="connsiteY50" fmla="*/ 657225 h 1752600"/>
                <a:gd name="connsiteX51" fmla="*/ 2247900 w 3128973"/>
                <a:gd name="connsiteY51" fmla="*/ 685800 h 1752600"/>
                <a:gd name="connsiteX52" fmla="*/ 2262187 w 3128973"/>
                <a:gd name="connsiteY52" fmla="*/ 733425 h 1752600"/>
                <a:gd name="connsiteX53" fmla="*/ 2305050 w 3128973"/>
                <a:gd name="connsiteY53" fmla="*/ 771525 h 1752600"/>
                <a:gd name="connsiteX54" fmla="*/ 2319337 w 3128973"/>
                <a:gd name="connsiteY54" fmla="*/ 804862 h 1752600"/>
                <a:gd name="connsiteX55" fmla="*/ 2333625 w 3128973"/>
                <a:gd name="connsiteY55" fmla="*/ 819150 h 1752600"/>
                <a:gd name="connsiteX56" fmla="*/ 2338387 w 3128973"/>
                <a:gd name="connsiteY56" fmla="*/ 833437 h 1752600"/>
                <a:gd name="connsiteX57" fmla="*/ 2352675 w 3128973"/>
                <a:gd name="connsiteY57" fmla="*/ 847725 h 1752600"/>
                <a:gd name="connsiteX58" fmla="*/ 2395537 w 3128973"/>
                <a:gd name="connsiteY58" fmla="*/ 871537 h 1752600"/>
                <a:gd name="connsiteX59" fmla="*/ 2409825 w 3128973"/>
                <a:gd name="connsiteY59" fmla="*/ 890587 h 1752600"/>
                <a:gd name="connsiteX60" fmla="*/ 2424112 w 3128973"/>
                <a:gd name="connsiteY60" fmla="*/ 895350 h 1752600"/>
                <a:gd name="connsiteX61" fmla="*/ 2433637 w 3128973"/>
                <a:gd name="connsiteY61" fmla="*/ 914400 h 1752600"/>
                <a:gd name="connsiteX62" fmla="*/ 2466975 w 3128973"/>
                <a:gd name="connsiteY62" fmla="*/ 942975 h 1752600"/>
                <a:gd name="connsiteX63" fmla="*/ 2474637 w 3128973"/>
                <a:gd name="connsiteY63" fmla="*/ 954728 h 1752600"/>
                <a:gd name="connsiteX64" fmla="*/ 2495550 w 3128973"/>
                <a:gd name="connsiteY64" fmla="*/ 971550 h 1752600"/>
                <a:gd name="connsiteX65" fmla="*/ 2508776 w 3128973"/>
                <a:gd name="connsiteY65" fmla="*/ 983894 h 1752600"/>
                <a:gd name="connsiteX66" fmla="*/ 2533650 w 3128973"/>
                <a:gd name="connsiteY66" fmla="*/ 1000125 h 1752600"/>
                <a:gd name="connsiteX67" fmla="*/ 2547937 w 3128973"/>
                <a:gd name="connsiteY67" fmla="*/ 1028700 h 1752600"/>
                <a:gd name="connsiteX68" fmla="*/ 2552700 w 3128973"/>
                <a:gd name="connsiteY68" fmla="*/ 1042987 h 1752600"/>
                <a:gd name="connsiteX69" fmla="*/ 2576512 w 3128973"/>
                <a:gd name="connsiteY69" fmla="*/ 1071562 h 1752600"/>
                <a:gd name="connsiteX70" fmla="*/ 2584921 w 3128973"/>
                <a:gd name="connsiteY70" fmla="*/ 1082873 h 1752600"/>
                <a:gd name="connsiteX71" fmla="*/ 2600325 w 3128973"/>
                <a:gd name="connsiteY71" fmla="*/ 1095375 h 1752600"/>
                <a:gd name="connsiteX72" fmla="*/ 2609850 w 3128973"/>
                <a:gd name="connsiteY72" fmla="*/ 1109662 h 1752600"/>
                <a:gd name="connsiteX73" fmla="*/ 2652712 w 3128973"/>
                <a:gd name="connsiteY73" fmla="*/ 1143000 h 1752600"/>
                <a:gd name="connsiteX74" fmla="*/ 2681287 w 3128973"/>
                <a:gd name="connsiteY74" fmla="*/ 1152525 h 1752600"/>
                <a:gd name="connsiteX75" fmla="*/ 2700337 w 3128973"/>
                <a:gd name="connsiteY75" fmla="*/ 1162050 h 1752600"/>
                <a:gd name="connsiteX76" fmla="*/ 2714625 w 3128973"/>
                <a:gd name="connsiteY76" fmla="*/ 1171575 h 1752600"/>
                <a:gd name="connsiteX77" fmla="*/ 2752725 w 3128973"/>
                <a:gd name="connsiteY77" fmla="*/ 1181100 h 1752600"/>
                <a:gd name="connsiteX78" fmla="*/ 2767012 w 3128973"/>
                <a:gd name="connsiteY78" fmla="*/ 1195387 h 1752600"/>
                <a:gd name="connsiteX79" fmla="*/ 2781300 w 3128973"/>
                <a:gd name="connsiteY79" fmla="*/ 1200150 h 1752600"/>
                <a:gd name="connsiteX80" fmla="*/ 2795587 w 3128973"/>
                <a:gd name="connsiteY80" fmla="*/ 1209675 h 1752600"/>
                <a:gd name="connsiteX81" fmla="*/ 2805112 w 3128973"/>
                <a:gd name="connsiteY81" fmla="*/ 1223962 h 1752600"/>
                <a:gd name="connsiteX82" fmla="*/ 2809875 w 3128973"/>
                <a:gd name="connsiteY82" fmla="*/ 1238250 h 1752600"/>
                <a:gd name="connsiteX83" fmla="*/ 2833687 w 3128973"/>
                <a:gd name="connsiteY83" fmla="*/ 1276350 h 1752600"/>
                <a:gd name="connsiteX84" fmla="*/ 2895600 w 3128973"/>
                <a:gd name="connsiteY84" fmla="*/ 1333500 h 1752600"/>
                <a:gd name="connsiteX85" fmla="*/ 2900362 w 3128973"/>
                <a:gd name="connsiteY85" fmla="*/ 1352550 h 1752600"/>
                <a:gd name="connsiteX86" fmla="*/ 2928937 w 3128973"/>
                <a:gd name="connsiteY86" fmla="*/ 1395412 h 1752600"/>
                <a:gd name="connsiteX87" fmla="*/ 2943225 w 3128973"/>
                <a:gd name="connsiteY87" fmla="*/ 1404937 h 1752600"/>
                <a:gd name="connsiteX88" fmla="*/ 2957512 w 3128973"/>
                <a:gd name="connsiteY88" fmla="*/ 1419225 h 1752600"/>
                <a:gd name="connsiteX89" fmla="*/ 2986087 w 3128973"/>
                <a:gd name="connsiteY89" fmla="*/ 1443037 h 1752600"/>
                <a:gd name="connsiteX90" fmla="*/ 3000375 w 3128973"/>
                <a:gd name="connsiteY90" fmla="*/ 1462087 h 1752600"/>
                <a:gd name="connsiteX91" fmla="*/ 3016395 w 3128973"/>
                <a:gd name="connsiteY91" fmla="*/ 1476222 h 1752600"/>
                <a:gd name="connsiteX92" fmla="*/ 3028950 w 3128973"/>
                <a:gd name="connsiteY92" fmla="*/ 1495425 h 1752600"/>
                <a:gd name="connsiteX93" fmla="*/ 3043237 w 3128973"/>
                <a:gd name="connsiteY93" fmla="*/ 1552575 h 1752600"/>
                <a:gd name="connsiteX94" fmla="*/ 3052762 w 3128973"/>
                <a:gd name="connsiteY94" fmla="*/ 1566862 h 1752600"/>
                <a:gd name="connsiteX95" fmla="*/ 3057525 w 3128973"/>
                <a:gd name="connsiteY95" fmla="*/ 1581150 h 1752600"/>
                <a:gd name="connsiteX96" fmla="*/ 3067050 w 3128973"/>
                <a:gd name="connsiteY96" fmla="*/ 1662112 h 1752600"/>
                <a:gd name="connsiteX97" fmla="*/ 3071812 w 3128973"/>
                <a:gd name="connsiteY97" fmla="*/ 1676400 h 1752600"/>
                <a:gd name="connsiteX98" fmla="*/ 3100387 w 3128973"/>
                <a:gd name="connsiteY98" fmla="*/ 1690687 h 1752600"/>
                <a:gd name="connsiteX99" fmla="*/ 3114675 w 3128973"/>
                <a:gd name="connsiteY99" fmla="*/ 1685925 h 1752600"/>
                <a:gd name="connsiteX100" fmla="*/ 3124200 w 3128973"/>
                <a:gd name="connsiteY100" fmla="*/ 1671637 h 1752600"/>
                <a:gd name="connsiteX101" fmla="*/ 3128973 w 3128973"/>
                <a:gd name="connsiteY101" fmla="*/ 1651467 h 1752600"/>
                <a:gd name="connsiteX102" fmla="*/ 3128021 w 3128973"/>
                <a:gd name="connsiteY102" fmla="*/ 1710279 h 1752600"/>
                <a:gd name="connsiteX103" fmla="*/ 3043237 w 3128973"/>
                <a:gd name="connsiteY103" fmla="*/ 1714500 h 1752600"/>
                <a:gd name="connsiteX104" fmla="*/ 3028950 w 3128973"/>
                <a:gd name="connsiteY104" fmla="*/ 1728787 h 1752600"/>
                <a:gd name="connsiteX105" fmla="*/ 2986087 w 3128973"/>
                <a:gd name="connsiteY105" fmla="*/ 1738312 h 1752600"/>
                <a:gd name="connsiteX106" fmla="*/ 2971800 w 3128973"/>
                <a:gd name="connsiteY106" fmla="*/ 1743075 h 1752600"/>
                <a:gd name="connsiteX107" fmla="*/ 2943225 w 3128973"/>
                <a:gd name="connsiteY107" fmla="*/ 1738312 h 1752600"/>
                <a:gd name="connsiteX108" fmla="*/ 2928937 w 3128973"/>
                <a:gd name="connsiteY108" fmla="*/ 1747837 h 1752600"/>
                <a:gd name="connsiteX109" fmla="*/ 2914650 w 3128973"/>
                <a:gd name="connsiteY109" fmla="*/ 1752600 h 1752600"/>
                <a:gd name="connsiteX110" fmla="*/ 2895600 w 3128973"/>
                <a:gd name="connsiteY110" fmla="*/ 1724025 h 1752600"/>
                <a:gd name="connsiteX111" fmla="*/ 2883310 w 3128973"/>
                <a:gd name="connsiteY111" fmla="*/ 1701201 h 1752600"/>
                <a:gd name="connsiteX112" fmla="*/ 2883805 w 3128973"/>
                <a:gd name="connsiteY112" fmla="*/ 1696138 h 1752600"/>
                <a:gd name="connsiteX113" fmla="*/ 2871787 w 3128973"/>
                <a:gd name="connsiteY113" fmla="*/ 1685925 h 1752600"/>
                <a:gd name="connsiteX114" fmla="*/ 2847975 w 3128973"/>
                <a:gd name="connsiteY114" fmla="*/ 1657350 h 1752600"/>
                <a:gd name="connsiteX115" fmla="*/ 2834034 w 3128973"/>
                <a:gd name="connsiteY115" fmla="*/ 1637762 h 1752600"/>
                <a:gd name="connsiteX116" fmla="*/ 2814637 w 3128973"/>
                <a:gd name="connsiteY116" fmla="*/ 1619250 h 1752600"/>
                <a:gd name="connsiteX117" fmla="*/ 2809875 w 3128973"/>
                <a:gd name="connsiteY117" fmla="*/ 1604962 h 1752600"/>
                <a:gd name="connsiteX118" fmla="*/ 2795587 w 3128973"/>
                <a:gd name="connsiteY118" fmla="*/ 1600200 h 1752600"/>
                <a:gd name="connsiteX119" fmla="*/ 2781300 w 3128973"/>
                <a:gd name="connsiteY119" fmla="*/ 1590675 h 1752600"/>
                <a:gd name="connsiteX120" fmla="*/ 2752725 w 3128973"/>
                <a:gd name="connsiteY120" fmla="*/ 1581150 h 1752600"/>
                <a:gd name="connsiteX121" fmla="*/ 2733675 w 3128973"/>
                <a:gd name="connsiteY121" fmla="*/ 1625600 h 1752600"/>
                <a:gd name="connsiteX122" fmla="*/ 2709862 w 3128973"/>
                <a:gd name="connsiteY122" fmla="*/ 1619250 h 1752600"/>
                <a:gd name="connsiteX123" fmla="*/ 2723566 w 3128973"/>
                <a:gd name="connsiteY123" fmla="*/ 1590361 h 1752600"/>
                <a:gd name="connsiteX124" fmla="*/ 2674937 w 3128973"/>
                <a:gd name="connsiteY124" fmla="*/ 1560512 h 1752600"/>
                <a:gd name="connsiteX125" fmla="*/ 2643187 w 3128973"/>
                <a:gd name="connsiteY125" fmla="*/ 1495425 h 1752600"/>
                <a:gd name="connsiteX126" fmla="*/ 2628900 w 3128973"/>
                <a:gd name="connsiteY126" fmla="*/ 1490662 h 1752600"/>
                <a:gd name="connsiteX127" fmla="*/ 2595562 w 3128973"/>
                <a:gd name="connsiteY127" fmla="*/ 1481137 h 1752600"/>
                <a:gd name="connsiteX128" fmla="*/ 2581275 w 3128973"/>
                <a:gd name="connsiteY128" fmla="*/ 1466850 h 1752600"/>
                <a:gd name="connsiteX129" fmla="*/ 2552700 w 3128973"/>
                <a:gd name="connsiteY129" fmla="*/ 1457325 h 1752600"/>
                <a:gd name="connsiteX130" fmla="*/ 2538412 w 3128973"/>
                <a:gd name="connsiteY130" fmla="*/ 1447800 h 1752600"/>
                <a:gd name="connsiteX131" fmla="*/ 2519362 w 3128973"/>
                <a:gd name="connsiteY131" fmla="*/ 1443037 h 1752600"/>
                <a:gd name="connsiteX132" fmla="*/ 2490787 w 3128973"/>
                <a:gd name="connsiteY132" fmla="*/ 1433512 h 1752600"/>
                <a:gd name="connsiteX133" fmla="*/ 2476500 w 3128973"/>
                <a:gd name="connsiteY133" fmla="*/ 1428750 h 1752600"/>
                <a:gd name="connsiteX134" fmla="*/ 2466975 w 3128973"/>
                <a:gd name="connsiteY134" fmla="*/ 1414462 h 1752600"/>
                <a:gd name="connsiteX135" fmla="*/ 2447925 w 3128973"/>
                <a:gd name="connsiteY135" fmla="*/ 1409700 h 1752600"/>
                <a:gd name="connsiteX136" fmla="*/ 2309812 w 3128973"/>
                <a:gd name="connsiteY136" fmla="*/ 1395412 h 1752600"/>
                <a:gd name="connsiteX137" fmla="*/ 2295525 w 3128973"/>
                <a:gd name="connsiteY137" fmla="*/ 1390650 h 1752600"/>
                <a:gd name="connsiteX138" fmla="*/ 2257425 w 3128973"/>
                <a:gd name="connsiteY138" fmla="*/ 1381125 h 1752600"/>
                <a:gd name="connsiteX139" fmla="*/ 2238375 w 3128973"/>
                <a:gd name="connsiteY139" fmla="*/ 1366837 h 1752600"/>
                <a:gd name="connsiteX140" fmla="*/ 2224087 w 3128973"/>
                <a:gd name="connsiteY140" fmla="*/ 1362075 h 1752600"/>
                <a:gd name="connsiteX141" fmla="*/ 2176462 w 3128973"/>
                <a:gd name="connsiteY141" fmla="*/ 1338262 h 1752600"/>
                <a:gd name="connsiteX142" fmla="*/ 2162175 w 3128973"/>
                <a:gd name="connsiteY142" fmla="*/ 1328737 h 1752600"/>
                <a:gd name="connsiteX143" fmla="*/ 2114550 w 3128973"/>
                <a:gd name="connsiteY143" fmla="*/ 1314450 h 1752600"/>
                <a:gd name="connsiteX144" fmla="*/ 2100262 w 3128973"/>
                <a:gd name="connsiteY144" fmla="*/ 1300162 h 1752600"/>
                <a:gd name="connsiteX145" fmla="*/ 2085975 w 3128973"/>
                <a:gd name="connsiteY145" fmla="*/ 1295400 h 1752600"/>
                <a:gd name="connsiteX146" fmla="*/ 2055019 w 3128973"/>
                <a:gd name="connsiteY146" fmla="*/ 1290637 h 1752600"/>
                <a:gd name="connsiteX147" fmla="*/ 2028824 w 3128973"/>
                <a:gd name="connsiteY147" fmla="*/ 1283494 h 1752600"/>
                <a:gd name="connsiteX148" fmla="*/ 2005012 w 3128973"/>
                <a:gd name="connsiteY148" fmla="*/ 1271587 h 1752600"/>
                <a:gd name="connsiteX149" fmla="*/ 1985962 w 3128973"/>
                <a:gd name="connsiteY149" fmla="*/ 1262062 h 1752600"/>
                <a:gd name="connsiteX150" fmla="*/ 1971675 w 3128973"/>
                <a:gd name="connsiteY150" fmla="*/ 1257300 h 1752600"/>
                <a:gd name="connsiteX151" fmla="*/ 1943100 w 3128973"/>
                <a:gd name="connsiteY151" fmla="*/ 1238250 h 1752600"/>
                <a:gd name="connsiteX152" fmla="*/ 1914525 w 3128973"/>
                <a:gd name="connsiteY152" fmla="*/ 1219200 h 1752600"/>
                <a:gd name="connsiteX153" fmla="*/ 1885950 w 3128973"/>
                <a:gd name="connsiteY153" fmla="*/ 1209675 h 1752600"/>
                <a:gd name="connsiteX154" fmla="*/ 1843087 w 3128973"/>
                <a:gd name="connsiteY154" fmla="*/ 1195387 h 1752600"/>
                <a:gd name="connsiteX155" fmla="*/ 1757362 w 3128973"/>
                <a:gd name="connsiteY155" fmla="*/ 1185862 h 1752600"/>
                <a:gd name="connsiteX156" fmla="*/ 1700212 w 3128973"/>
                <a:gd name="connsiteY156" fmla="*/ 1166812 h 1752600"/>
                <a:gd name="connsiteX157" fmla="*/ 1671637 w 3128973"/>
                <a:gd name="connsiteY157" fmla="*/ 1147762 h 1752600"/>
                <a:gd name="connsiteX158" fmla="*/ 1652587 w 3128973"/>
                <a:gd name="connsiteY158" fmla="*/ 1138237 h 1752600"/>
                <a:gd name="connsiteX159" fmla="*/ 1638300 w 3128973"/>
                <a:gd name="connsiteY159" fmla="*/ 1128712 h 1752600"/>
                <a:gd name="connsiteX160" fmla="*/ 1590675 w 3128973"/>
                <a:gd name="connsiteY160" fmla="*/ 1138238 h 1752600"/>
                <a:gd name="connsiteX161" fmla="*/ 1559719 w 3128973"/>
                <a:gd name="connsiteY161" fmla="*/ 1109662 h 1752600"/>
                <a:gd name="connsiteX162" fmla="*/ 1528762 w 3128973"/>
                <a:gd name="connsiteY162" fmla="*/ 1085850 h 1752600"/>
                <a:gd name="connsiteX163" fmla="*/ 1514475 w 3128973"/>
                <a:gd name="connsiteY163" fmla="*/ 1081087 h 1752600"/>
                <a:gd name="connsiteX164" fmla="*/ 1470025 w 3128973"/>
                <a:gd name="connsiteY164" fmla="*/ 1130300 h 1752600"/>
                <a:gd name="connsiteX165" fmla="*/ 1433512 w 3128973"/>
                <a:gd name="connsiteY165" fmla="*/ 1108075 h 1752600"/>
                <a:gd name="connsiteX166" fmla="*/ 1423987 w 3128973"/>
                <a:gd name="connsiteY166" fmla="*/ 1087437 h 1752600"/>
                <a:gd name="connsiteX167" fmla="*/ 1381125 w 3128973"/>
                <a:gd name="connsiteY167" fmla="*/ 1095375 h 1752600"/>
                <a:gd name="connsiteX168" fmla="*/ 1383506 w 3128973"/>
                <a:gd name="connsiteY168" fmla="*/ 1028700 h 1752600"/>
                <a:gd name="connsiteX169" fmla="*/ 1366838 w 3128973"/>
                <a:gd name="connsiteY169" fmla="*/ 1019175 h 1752600"/>
                <a:gd name="connsiteX170" fmla="*/ 1335881 w 3128973"/>
                <a:gd name="connsiteY170" fmla="*/ 1007268 h 1752600"/>
                <a:gd name="connsiteX171" fmla="*/ 1319213 w 3128973"/>
                <a:gd name="connsiteY171" fmla="*/ 1007268 h 1752600"/>
                <a:gd name="connsiteX172" fmla="*/ 1295400 w 3128973"/>
                <a:gd name="connsiteY172" fmla="*/ 976312 h 1752600"/>
                <a:gd name="connsiteX173" fmla="*/ 1281112 w 3128973"/>
                <a:gd name="connsiteY173" fmla="*/ 966787 h 1752600"/>
                <a:gd name="connsiteX174" fmla="*/ 1238250 w 3128973"/>
                <a:gd name="connsiteY174" fmla="*/ 947737 h 1752600"/>
                <a:gd name="connsiteX175" fmla="*/ 1212850 w 3128973"/>
                <a:gd name="connsiteY175" fmla="*/ 995362 h 1752600"/>
                <a:gd name="connsiteX176" fmla="*/ 1201737 w 3128973"/>
                <a:gd name="connsiteY176" fmla="*/ 987425 h 1752600"/>
                <a:gd name="connsiteX177" fmla="*/ 1163637 w 3128973"/>
                <a:gd name="connsiteY177" fmla="*/ 952277 h 1752600"/>
                <a:gd name="connsiteX178" fmla="*/ 1133475 w 3128973"/>
                <a:gd name="connsiteY178" fmla="*/ 925512 h 1752600"/>
                <a:gd name="connsiteX179" fmla="*/ 1085850 w 3128973"/>
                <a:gd name="connsiteY179" fmla="*/ 859631 h 1752600"/>
                <a:gd name="connsiteX180" fmla="*/ 1071562 w 3128973"/>
                <a:gd name="connsiteY180" fmla="*/ 842962 h 1752600"/>
                <a:gd name="connsiteX181" fmla="*/ 1047750 w 3128973"/>
                <a:gd name="connsiteY181" fmla="*/ 819150 h 1752600"/>
                <a:gd name="connsiteX182" fmla="*/ 1028700 w 3128973"/>
                <a:gd name="connsiteY182" fmla="*/ 804862 h 1752600"/>
                <a:gd name="connsiteX183" fmla="*/ 1018076 w 3128973"/>
                <a:gd name="connsiteY183" fmla="*/ 794816 h 1752600"/>
                <a:gd name="connsiteX184" fmla="*/ 1000125 w 3128973"/>
                <a:gd name="connsiteY184" fmla="*/ 785812 h 1752600"/>
                <a:gd name="connsiteX185" fmla="*/ 984342 w 3128973"/>
                <a:gd name="connsiteY185" fmla="*/ 773578 h 1752600"/>
                <a:gd name="connsiteX186" fmla="*/ 957262 w 3128973"/>
                <a:gd name="connsiteY186" fmla="*/ 766762 h 1752600"/>
                <a:gd name="connsiteX187" fmla="*/ 938212 w 3128973"/>
                <a:gd name="connsiteY187" fmla="*/ 757237 h 1752600"/>
                <a:gd name="connsiteX188" fmla="*/ 904875 w 3128973"/>
                <a:gd name="connsiteY188" fmla="*/ 747712 h 1752600"/>
                <a:gd name="connsiteX189" fmla="*/ 862012 w 3128973"/>
                <a:gd name="connsiteY189" fmla="*/ 723900 h 1752600"/>
                <a:gd name="connsiteX190" fmla="*/ 795337 w 3128973"/>
                <a:gd name="connsiteY190" fmla="*/ 685800 h 1752600"/>
                <a:gd name="connsiteX191" fmla="*/ 776287 w 3128973"/>
                <a:gd name="connsiteY191" fmla="*/ 666750 h 1752600"/>
                <a:gd name="connsiteX192" fmla="*/ 762000 w 3128973"/>
                <a:gd name="connsiteY192" fmla="*/ 661987 h 1752600"/>
                <a:gd name="connsiteX193" fmla="*/ 742950 w 3128973"/>
                <a:gd name="connsiteY193" fmla="*/ 647700 h 1752600"/>
                <a:gd name="connsiteX194" fmla="*/ 709612 w 3128973"/>
                <a:gd name="connsiteY194" fmla="*/ 638175 h 1752600"/>
                <a:gd name="connsiteX195" fmla="*/ 695325 w 3128973"/>
                <a:gd name="connsiteY195" fmla="*/ 628650 h 1752600"/>
                <a:gd name="connsiteX196" fmla="*/ 681037 w 3128973"/>
                <a:gd name="connsiteY196" fmla="*/ 623887 h 1752600"/>
                <a:gd name="connsiteX197" fmla="*/ 676275 w 3128973"/>
                <a:gd name="connsiteY197" fmla="*/ 604837 h 1752600"/>
                <a:gd name="connsiteX198" fmla="*/ 666750 w 3128973"/>
                <a:gd name="connsiteY198" fmla="*/ 576262 h 1752600"/>
                <a:gd name="connsiteX199" fmla="*/ 661987 w 3128973"/>
                <a:gd name="connsiteY199" fmla="*/ 561975 h 1752600"/>
                <a:gd name="connsiteX200" fmla="*/ 666750 w 3128973"/>
                <a:gd name="connsiteY200" fmla="*/ 538162 h 1752600"/>
                <a:gd name="connsiteX201" fmla="*/ 638175 w 3128973"/>
                <a:gd name="connsiteY201" fmla="*/ 514350 h 1752600"/>
                <a:gd name="connsiteX202" fmla="*/ 619125 w 3128973"/>
                <a:gd name="connsiteY202" fmla="*/ 500062 h 1752600"/>
                <a:gd name="connsiteX203" fmla="*/ 576262 w 3128973"/>
                <a:gd name="connsiteY203" fmla="*/ 490537 h 1752600"/>
                <a:gd name="connsiteX204" fmla="*/ 542925 w 3128973"/>
                <a:gd name="connsiteY204" fmla="*/ 452437 h 1752600"/>
                <a:gd name="connsiteX205" fmla="*/ 525462 w 3128973"/>
                <a:gd name="connsiteY205" fmla="*/ 485775 h 1752600"/>
                <a:gd name="connsiteX206" fmla="*/ 504825 w 3128973"/>
                <a:gd name="connsiteY206" fmla="*/ 466725 h 1752600"/>
                <a:gd name="connsiteX207" fmla="*/ 454025 w 3128973"/>
                <a:gd name="connsiteY207" fmla="*/ 466725 h 1752600"/>
                <a:gd name="connsiteX208" fmla="*/ 407987 w 3128973"/>
                <a:gd name="connsiteY208" fmla="*/ 473075 h 1752600"/>
                <a:gd name="connsiteX209" fmla="*/ 395287 w 3128973"/>
                <a:gd name="connsiteY209" fmla="*/ 409575 h 1752600"/>
                <a:gd name="connsiteX210" fmla="*/ 376237 w 3128973"/>
                <a:gd name="connsiteY210" fmla="*/ 404812 h 1752600"/>
                <a:gd name="connsiteX211" fmla="*/ 342900 w 3128973"/>
                <a:gd name="connsiteY211" fmla="*/ 400050 h 1752600"/>
                <a:gd name="connsiteX212" fmla="*/ 314325 w 3128973"/>
                <a:gd name="connsiteY212" fmla="*/ 390525 h 1752600"/>
                <a:gd name="connsiteX213" fmla="*/ 273844 w 3128973"/>
                <a:gd name="connsiteY213" fmla="*/ 383382 h 1752600"/>
                <a:gd name="connsiteX214" fmla="*/ 257175 w 3128973"/>
                <a:gd name="connsiteY214" fmla="*/ 371475 h 1752600"/>
                <a:gd name="connsiteX215" fmla="*/ 245269 w 3128973"/>
                <a:gd name="connsiteY215" fmla="*/ 364331 h 1752600"/>
                <a:gd name="connsiteX216" fmla="*/ 223837 w 3128973"/>
                <a:gd name="connsiteY216" fmla="*/ 347662 h 1752600"/>
                <a:gd name="connsiteX217" fmla="*/ 190500 w 3128973"/>
                <a:gd name="connsiteY217" fmla="*/ 338137 h 1752600"/>
                <a:gd name="connsiteX218" fmla="*/ 147637 w 3128973"/>
                <a:gd name="connsiteY218" fmla="*/ 333375 h 1752600"/>
                <a:gd name="connsiteX219" fmla="*/ 119062 w 3128973"/>
                <a:gd name="connsiteY219" fmla="*/ 323850 h 1752600"/>
                <a:gd name="connsiteX220" fmla="*/ 104775 w 3128973"/>
                <a:gd name="connsiteY220" fmla="*/ 319087 h 1752600"/>
                <a:gd name="connsiteX221" fmla="*/ 61912 w 3128973"/>
                <a:gd name="connsiteY221" fmla="*/ 300037 h 1752600"/>
                <a:gd name="connsiteX222" fmla="*/ 23812 w 3128973"/>
                <a:gd name="connsiteY222" fmla="*/ 290512 h 1752600"/>
                <a:gd name="connsiteX223" fmla="*/ 9525 w 3128973"/>
                <a:gd name="connsiteY223" fmla="*/ 261937 h 1752600"/>
                <a:gd name="connsiteX224" fmla="*/ 0 w 3128973"/>
                <a:gd name="connsiteY224" fmla="*/ 290512 h 1752600"/>
                <a:gd name="connsiteX225" fmla="*/ 4762 w 3128973"/>
                <a:gd name="connsiteY225" fmla="*/ 247650 h 1752600"/>
                <a:gd name="connsiteX226" fmla="*/ 19050 w 3128973"/>
                <a:gd name="connsiteY226" fmla="*/ 200025 h 1752600"/>
                <a:gd name="connsiteX227" fmla="*/ 23812 w 3128973"/>
                <a:gd name="connsiteY227" fmla="*/ 185737 h 1752600"/>
                <a:gd name="connsiteX228" fmla="*/ 71437 w 3128973"/>
                <a:gd name="connsiteY228" fmla="*/ 171450 h 1752600"/>
                <a:gd name="connsiteX229" fmla="*/ 85725 w 3128973"/>
                <a:gd name="connsiteY229" fmla="*/ 166687 h 1752600"/>
                <a:gd name="connsiteX230" fmla="*/ 100012 w 3128973"/>
                <a:gd name="connsiteY230" fmla="*/ 161925 h 1752600"/>
                <a:gd name="connsiteX231" fmla="*/ 114300 w 3128973"/>
                <a:gd name="connsiteY231" fmla="*/ 152400 h 1752600"/>
                <a:gd name="connsiteX232" fmla="*/ 133350 w 3128973"/>
                <a:gd name="connsiteY232" fmla="*/ 123825 h 1752600"/>
                <a:gd name="connsiteX233" fmla="*/ 138112 w 3128973"/>
                <a:gd name="connsiteY233" fmla="*/ 109537 h 1752600"/>
                <a:gd name="connsiteX234" fmla="*/ 135467 w 3128973"/>
                <a:gd name="connsiteY234" fmla="*/ 97059 h 1752600"/>
                <a:gd name="connsiteX235" fmla="*/ 142875 w 3128973"/>
                <a:gd name="connsiteY235" fmla="*/ 71437 h 1752600"/>
                <a:gd name="connsiteX236" fmla="*/ 157162 w 3128973"/>
                <a:gd name="connsiteY236" fmla="*/ 57150 h 1752600"/>
                <a:gd name="connsiteX237" fmla="*/ 200025 w 3128973"/>
                <a:gd name="connsiteY237" fmla="*/ 33337 h 1752600"/>
                <a:gd name="connsiteX238" fmla="*/ 309562 w 3128973"/>
                <a:gd name="connsiteY238" fmla="*/ 28575 h 1752600"/>
                <a:gd name="connsiteX239" fmla="*/ 400050 w 3128973"/>
                <a:gd name="connsiteY239" fmla="*/ 14287 h 1752600"/>
                <a:gd name="connsiteX240" fmla="*/ 414337 w 3128973"/>
                <a:gd name="connsiteY240" fmla="*/ 9525 h 1752600"/>
                <a:gd name="connsiteX241" fmla="*/ 481012 w 3128973"/>
                <a:gd name="connsiteY241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046801 w 3128973"/>
                <a:gd name="connsiteY30" fmla="*/ 262295 h 1752600"/>
                <a:gd name="connsiteX31" fmla="*/ 2033587 w 3128973"/>
                <a:gd name="connsiteY31" fmla="*/ 266700 h 1752600"/>
                <a:gd name="connsiteX32" fmla="*/ 2019300 w 3128973"/>
                <a:gd name="connsiteY32" fmla="*/ 280987 h 1752600"/>
                <a:gd name="connsiteX33" fmla="*/ 1990725 w 3128973"/>
                <a:gd name="connsiteY33" fmla="*/ 300037 h 1752600"/>
                <a:gd name="connsiteX34" fmla="*/ 1981200 w 3128973"/>
                <a:gd name="connsiteY34" fmla="*/ 314325 h 1752600"/>
                <a:gd name="connsiteX35" fmla="*/ 1981200 w 3128973"/>
                <a:gd name="connsiteY35" fmla="*/ 419100 h 1752600"/>
                <a:gd name="connsiteX36" fmla="*/ 1985962 w 3128973"/>
                <a:gd name="connsiteY36" fmla="*/ 433387 h 1752600"/>
                <a:gd name="connsiteX37" fmla="*/ 2000250 w 3128973"/>
                <a:gd name="connsiteY37" fmla="*/ 442912 h 1752600"/>
                <a:gd name="connsiteX38" fmla="*/ 2005012 w 3128973"/>
                <a:gd name="connsiteY38" fmla="*/ 457200 h 1752600"/>
                <a:gd name="connsiteX39" fmla="*/ 2005012 w 3128973"/>
                <a:gd name="connsiteY39" fmla="*/ 561975 h 1752600"/>
                <a:gd name="connsiteX40" fmla="*/ 2009775 w 3128973"/>
                <a:gd name="connsiteY40" fmla="*/ 576262 h 1752600"/>
                <a:gd name="connsiteX41" fmla="*/ 2024062 w 3128973"/>
                <a:gd name="connsiteY41" fmla="*/ 581025 h 1752600"/>
                <a:gd name="connsiteX42" fmla="*/ 2038350 w 3128973"/>
                <a:gd name="connsiteY42" fmla="*/ 595312 h 1752600"/>
                <a:gd name="connsiteX43" fmla="*/ 2052637 w 3128973"/>
                <a:gd name="connsiteY43" fmla="*/ 600075 h 1752600"/>
                <a:gd name="connsiteX44" fmla="*/ 2133600 w 3128973"/>
                <a:gd name="connsiteY44" fmla="*/ 590550 h 1752600"/>
                <a:gd name="connsiteX45" fmla="*/ 2147887 w 3128973"/>
                <a:gd name="connsiteY45" fmla="*/ 585787 h 1752600"/>
                <a:gd name="connsiteX46" fmla="*/ 2195512 w 3128973"/>
                <a:gd name="connsiteY46" fmla="*/ 600075 h 1752600"/>
                <a:gd name="connsiteX47" fmla="*/ 2205037 w 3128973"/>
                <a:gd name="connsiteY47" fmla="*/ 614362 h 1752600"/>
                <a:gd name="connsiteX48" fmla="*/ 2219325 w 3128973"/>
                <a:gd name="connsiteY48" fmla="*/ 628650 h 1752600"/>
                <a:gd name="connsiteX49" fmla="*/ 2224087 w 3128973"/>
                <a:gd name="connsiteY49" fmla="*/ 642937 h 1752600"/>
                <a:gd name="connsiteX50" fmla="*/ 2233612 w 3128973"/>
                <a:gd name="connsiteY50" fmla="*/ 657225 h 1752600"/>
                <a:gd name="connsiteX51" fmla="*/ 2247900 w 3128973"/>
                <a:gd name="connsiteY51" fmla="*/ 685800 h 1752600"/>
                <a:gd name="connsiteX52" fmla="*/ 2262187 w 3128973"/>
                <a:gd name="connsiteY52" fmla="*/ 733425 h 1752600"/>
                <a:gd name="connsiteX53" fmla="*/ 2305050 w 3128973"/>
                <a:gd name="connsiteY53" fmla="*/ 771525 h 1752600"/>
                <a:gd name="connsiteX54" fmla="*/ 2319337 w 3128973"/>
                <a:gd name="connsiteY54" fmla="*/ 804862 h 1752600"/>
                <a:gd name="connsiteX55" fmla="*/ 2333625 w 3128973"/>
                <a:gd name="connsiteY55" fmla="*/ 819150 h 1752600"/>
                <a:gd name="connsiteX56" fmla="*/ 2338387 w 3128973"/>
                <a:gd name="connsiteY56" fmla="*/ 833437 h 1752600"/>
                <a:gd name="connsiteX57" fmla="*/ 2352675 w 3128973"/>
                <a:gd name="connsiteY57" fmla="*/ 847725 h 1752600"/>
                <a:gd name="connsiteX58" fmla="*/ 2395537 w 3128973"/>
                <a:gd name="connsiteY58" fmla="*/ 871537 h 1752600"/>
                <a:gd name="connsiteX59" fmla="*/ 2409825 w 3128973"/>
                <a:gd name="connsiteY59" fmla="*/ 890587 h 1752600"/>
                <a:gd name="connsiteX60" fmla="*/ 2424112 w 3128973"/>
                <a:gd name="connsiteY60" fmla="*/ 895350 h 1752600"/>
                <a:gd name="connsiteX61" fmla="*/ 2433637 w 3128973"/>
                <a:gd name="connsiteY61" fmla="*/ 914400 h 1752600"/>
                <a:gd name="connsiteX62" fmla="*/ 2466975 w 3128973"/>
                <a:gd name="connsiteY62" fmla="*/ 942975 h 1752600"/>
                <a:gd name="connsiteX63" fmla="*/ 2474637 w 3128973"/>
                <a:gd name="connsiteY63" fmla="*/ 954728 h 1752600"/>
                <a:gd name="connsiteX64" fmla="*/ 2495550 w 3128973"/>
                <a:gd name="connsiteY64" fmla="*/ 971550 h 1752600"/>
                <a:gd name="connsiteX65" fmla="*/ 2508776 w 3128973"/>
                <a:gd name="connsiteY65" fmla="*/ 983894 h 1752600"/>
                <a:gd name="connsiteX66" fmla="*/ 2533650 w 3128973"/>
                <a:gd name="connsiteY66" fmla="*/ 1000125 h 1752600"/>
                <a:gd name="connsiteX67" fmla="*/ 2547937 w 3128973"/>
                <a:gd name="connsiteY67" fmla="*/ 1028700 h 1752600"/>
                <a:gd name="connsiteX68" fmla="*/ 2552700 w 3128973"/>
                <a:gd name="connsiteY68" fmla="*/ 1042987 h 1752600"/>
                <a:gd name="connsiteX69" fmla="*/ 2576512 w 3128973"/>
                <a:gd name="connsiteY69" fmla="*/ 1071562 h 1752600"/>
                <a:gd name="connsiteX70" fmla="*/ 2584921 w 3128973"/>
                <a:gd name="connsiteY70" fmla="*/ 1082873 h 1752600"/>
                <a:gd name="connsiteX71" fmla="*/ 2600325 w 3128973"/>
                <a:gd name="connsiteY71" fmla="*/ 1095375 h 1752600"/>
                <a:gd name="connsiteX72" fmla="*/ 2609850 w 3128973"/>
                <a:gd name="connsiteY72" fmla="*/ 1109662 h 1752600"/>
                <a:gd name="connsiteX73" fmla="*/ 2652712 w 3128973"/>
                <a:gd name="connsiteY73" fmla="*/ 1143000 h 1752600"/>
                <a:gd name="connsiteX74" fmla="*/ 2681287 w 3128973"/>
                <a:gd name="connsiteY74" fmla="*/ 1152525 h 1752600"/>
                <a:gd name="connsiteX75" fmla="*/ 2700337 w 3128973"/>
                <a:gd name="connsiteY75" fmla="*/ 1162050 h 1752600"/>
                <a:gd name="connsiteX76" fmla="*/ 2714625 w 3128973"/>
                <a:gd name="connsiteY76" fmla="*/ 1171575 h 1752600"/>
                <a:gd name="connsiteX77" fmla="*/ 2752725 w 3128973"/>
                <a:gd name="connsiteY77" fmla="*/ 1181100 h 1752600"/>
                <a:gd name="connsiteX78" fmla="*/ 2767012 w 3128973"/>
                <a:gd name="connsiteY78" fmla="*/ 1195387 h 1752600"/>
                <a:gd name="connsiteX79" fmla="*/ 2781300 w 3128973"/>
                <a:gd name="connsiteY79" fmla="*/ 1200150 h 1752600"/>
                <a:gd name="connsiteX80" fmla="*/ 2795587 w 3128973"/>
                <a:gd name="connsiteY80" fmla="*/ 1209675 h 1752600"/>
                <a:gd name="connsiteX81" fmla="*/ 2805112 w 3128973"/>
                <a:gd name="connsiteY81" fmla="*/ 1223962 h 1752600"/>
                <a:gd name="connsiteX82" fmla="*/ 2809875 w 3128973"/>
                <a:gd name="connsiteY82" fmla="*/ 1238250 h 1752600"/>
                <a:gd name="connsiteX83" fmla="*/ 2833687 w 3128973"/>
                <a:gd name="connsiteY83" fmla="*/ 1276350 h 1752600"/>
                <a:gd name="connsiteX84" fmla="*/ 2895600 w 3128973"/>
                <a:gd name="connsiteY84" fmla="*/ 1333500 h 1752600"/>
                <a:gd name="connsiteX85" fmla="*/ 2900362 w 3128973"/>
                <a:gd name="connsiteY85" fmla="*/ 1352550 h 1752600"/>
                <a:gd name="connsiteX86" fmla="*/ 2928937 w 3128973"/>
                <a:gd name="connsiteY86" fmla="*/ 1395412 h 1752600"/>
                <a:gd name="connsiteX87" fmla="*/ 2943225 w 3128973"/>
                <a:gd name="connsiteY87" fmla="*/ 1404937 h 1752600"/>
                <a:gd name="connsiteX88" fmla="*/ 2957512 w 3128973"/>
                <a:gd name="connsiteY88" fmla="*/ 1419225 h 1752600"/>
                <a:gd name="connsiteX89" fmla="*/ 2986087 w 3128973"/>
                <a:gd name="connsiteY89" fmla="*/ 1443037 h 1752600"/>
                <a:gd name="connsiteX90" fmla="*/ 3000375 w 3128973"/>
                <a:gd name="connsiteY90" fmla="*/ 1462087 h 1752600"/>
                <a:gd name="connsiteX91" fmla="*/ 3016395 w 3128973"/>
                <a:gd name="connsiteY91" fmla="*/ 1476222 h 1752600"/>
                <a:gd name="connsiteX92" fmla="*/ 3028950 w 3128973"/>
                <a:gd name="connsiteY92" fmla="*/ 1495425 h 1752600"/>
                <a:gd name="connsiteX93" fmla="*/ 3043237 w 3128973"/>
                <a:gd name="connsiteY93" fmla="*/ 1552575 h 1752600"/>
                <a:gd name="connsiteX94" fmla="*/ 3052762 w 3128973"/>
                <a:gd name="connsiteY94" fmla="*/ 1566862 h 1752600"/>
                <a:gd name="connsiteX95" fmla="*/ 3057525 w 3128973"/>
                <a:gd name="connsiteY95" fmla="*/ 1581150 h 1752600"/>
                <a:gd name="connsiteX96" fmla="*/ 3067050 w 3128973"/>
                <a:gd name="connsiteY96" fmla="*/ 1662112 h 1752600"/>
                <a:gd name="connsiteX97" fmla="*/ 3071812 w 3128973"/>
                <a:gd name="connsiteY97" fmla="*/ 1676400 h 1752600"/>
                <a:gd name="connsiteX98" fmla="*/ 3100387 w 3128973"/>
                <a:gd name="connsiteY98" fmla="*/ 1690687 h 1752600"/>
                <a:gd name="connsiteX99" fmla="*/ 3114675 w 3128973"/>
                <a:gd name="connsiteY99" fmla="*/ 1685925 h 1752600"/>
                <a:gd name="connsiteX100" fmla="*/ 3124200 w 3128973"/>
                <a:gd name="connsiteY100" fmla="*/ 1671637 h 1752600"/>
                <a:gd name="connsiteX101" fmla="*/ 3128973 w 3128973"/>
                <a:gd name="connsiteY101" fmla="*/ 1651467 h 1752600"/>
                <a:gd name="connsiteX102" fmla="*/ 3128021 w 3128973"/>
                <a:gd name="connsiteY102" fmla="*/ 1710279 h 1752600"/>
                <a:gd name="connsiteX103" fmla="*/ 3043237 w 3128973"/>
                <a:gd name="connsiteY103" fmla="*/ 1714500 h 1752600"/>
                <a:gd name="connsiteX104" fmla="*/ 3028950 w 3128973"/>
                <a:gd name="connsiteY104" fmla="*/ 1728787 h 1752600"/>
                <a:gd name="connsiteX105" fmla="*/ 2986087 w 3128973"/>
                <a:gd name="connsiteY105" fmla="*/ 1738312 h 1752600"/>
                <a:gd name="connsiteX106" fmla="*/ 2971800 w 3128973"/>
                <a:gd name="connsiteY106" fmla="*/ 1743075 h 1752600"/>
                <a:gd name="connsiteX107" fmla="*/ 2943225 w 3128973"/>
                <a:gd name="connsiteY107" fmla="*/ 1738312 h 1752600"/>
                <a:gd name="connsiteX108" fmla="*/ 2928937 w 3128973"/>
                <a:gd name="connsiteY108" fmla="*/ 1747837 h 1752600"/>
                <a:gd name="connsiteX109" fmla="*/ 2914650 w 3128973"/>
                <a:gd name="connsiteY109" fmla="*/ 1752600 h 1752600"/>
                <a:gd name="connsiteX110" fmla="*/ 2895600 w 3128973"/>
                <a:gd name="connsiteY110" fmla="*/ 1724025 h 1752600"/>
                <a:gd name="connsiteX111" fmla="*/ 2883310 w 3128973"/>
                <a:gd name="connsiteY111" fmla="*/ 1701201 h 1752600"/>
                <a:gd name="connsiteX112" fmla="*/ 2883805 w 3128973"/>
                <a:gd name="connsiteY112" fmla="*/ 1696138 h 1752600"/>
                <a:gd name="connsiteX113" fmla="*/ 2871787 w 3128973"/>
                <a:gd name="connsiteY113" fmla="*/ 1685925 h 1752600"/>
                <a:gd name="connsiteX114" fmla="*/ 2847975 w 3128973"/>
                <a:gd name="connsiteY114" fmla="*/ 1657350 h 1752600"/>
                <a:gd name="connsiteX115" fmla="*/ 2834034 w 3128973"/>
                <a:gd name="connsiteY115" fmla="*/ 1637762 h 1752600"/>
                <a:gd name="connsiteX116" fmla="*/ 2814637 w 3128973"/>
                <a:gd name="connsiteY116" fmla="*/ 1619250 h 1752600"/>
                <a:gd name="connsiteX117" fmla="*/ 2809875 w 3128973"/>
                <a:gd name="connsiteY117" fmla="*/ 1604962 h 1752600"/>
                <a:gd name="connsiteX118" fmla="*/ 2795587 w 3128973"/>
                <a:gd name="connsiteY118" fmla="*/ 1600200 h 1752600"/>
                <a:gd name="connsiteX119" fmla="*/ 2781300 w 3128973"/>
                <a:gd name="connsiteY119" fmla="*/ 1590675 h 1752600"/>
                <a:gd name="connsiteX120" fmla="*/ 2752725 w 3128973"/>
                <a:gd name="connsiteY120" fmla="*/ 1581150 h 1752600"/>
                <a:gd name="connsiteX121" fmla="*/ 2733675 w 3128973"/>
                <a:gd name="connsiteY121" fmla="*/ 1625600 h 1752600"/>
                <a:gd name="connsiteX122" fmla="*/ 2709862 w 3128973"/>
                <a:gd name="connsiteY122" fmla="*/ 1619250 h 1752600"/>
                <a:gd name="connsiteX123" fmla="*/ 2723566 w 3128973"/>
                <a:gd name="connsiteY123" fmla="*/ 1590361 h 1752600"/>
                <a:gd name="connsiteX124" fmla="*/ 2674937 w 3128973"/>
                <a:gd name="connsiteY124" fmla="*/ 1560512 h 1752600"/>
                <a:gd name="connsiteX125" fmla="*/ 2643187 w 3128973"/>
                <a:gd name="connsiteY125" fmla="*/ 1495425 h 1752600"/>
                <a:gd name="connsiteX126" fmla="*/ 2628900 w 3128973"/>
                <a:gd name="connsiteY126" fmla="*/ 1490662 h 1752600"/>
                <a:gd name="connsiteX127" fmla="*/ 2595562 w 3128973"/>
                <a:gd name="connsiteY127" fmla="*/ 1481137 h 1752600"/>
                <a:gd name="connsiteX128" fmla="*/ 2581275 w 3128973"/>
                <a:gd name="connsiteY128" fmla="*/ 1466850 h 1752600"/>
                <a:gd name="connsiteX129" fmla="*/ 2552700 w 3128973"/>
                <a:gd name="connsiteY129" fmla="*/ 1457325 h 1752600"/>
                <a:gd name="connsiteX130" fmla="*/ 2538412 w 3128973"/>
                <a:gd name="connsiteY130" fmla="*/ 1447800 h 1752600"/>
                <a:gd name="connsiteX131" fmla="*/ 2519362 w 3128973"/>
                <a:gd name="connsiteY131" fmla="*/ 1443037 h 1752600"/>
                <a:gd name="connsiteX132" fmla="*/ 2490787 w 3128973"/>
                <a:gd name="connsiteY132" fmla="*/ 1433512 h 1752600"/>
                <a:gd name="connsiteX133" fmla="*/ 2476500 w 3128973"/>
                <a:gd name="connsiteY133" fmla="*/ 1428750 h 1752600"/>
                <a:gd name="connsiteX134" fmla="*/ 2466975 w 3128973"/>
                <a:gd name="connsiteY134" fmla="*/ 1414462 h 1752600"/>
                <a:gd name="connsiteX135" fmla="*/ 2447925 w 3128973"/>
                <a:gd name="connsiteY135" fmla="*/ 1409700 h 1752600"/>
                <a:gd name="connsiteX136" fmla="*/ 2309812 w 3128973"/>
                <a:gd name="connsiteY136" fmla="*/ 1395412 h 1752600"/>
                <a:gd name="connsiteX137" fmla="*/ 2295525 w 3128973"/>
                <a:gd name="connsiteY137" fmla="*/ 1390650 h 1752600"/>
                <a:gd name="connsiteX138" fmla="*/ 2257425 w 3128973"/>
                <a:gd name="connsiteY138" fmla="*/ 1381125 h 1752600"/>
                <a:gd name="connsiteX139" fmla="*/ 2238375 w 3128973"/>
                <a:gd name="connsiteY139" fmla="*/ 1366837 h 1752600"/>
                <a:gd name="connsiteX140" fmla="*/ 2224087 w 3128973"/>
                <a:gd name="connsiteY140" fmla="*/ 1362075 h 1752600"/>
                <a:gd name="connsiteX141" fmla="*/ 2176462 w 3128973"/>
                <a:gd name="connsiteY141" fmla="*/ 1338262 h 1752600"/>
                <a:gd name="connsiteX142" fmla="*/ 2162175 w 3128973"/>
                <a:gd name="connsiteY142" fmla="*/ 1328737 h 1752600"/>
                <a:gd name="connsiteX143" fmla="*/ 2114550 w 3128973"/>
                <a:gd name="connsiteY143" fmla="*/ 1314450 h 1752600"/>
                <a:gd name="connsiteX144" fmla="*/ 2100262 w 3128973"/>
                <a:gd name="connsiteY144" fmla="*/ 1300162 h 1752600"/>
                <a:gd name="connsiteX145" fmla="*/ 2085975 w 3128973"/>
                <a:gd name="connsiteY145" fmla="*/ 1295400 h 1752600"/>
                <a:gd name="connsiteX146" fmla="*/ 2055019 w 3128973"/>
                <a:gd name="connsiteY146" fmla="*/ 1290637 h 1752600"/>
                <a:gd name="connsiteX147" fmla="*/ 2028824 w 3128973"/>
                <a:gd name="connsiteY147" fmla="*/ 1283494 h 1752600"/>
                <a:gd name="connsiteX148" fmla="*/ 2005012 w 3128973"/>
                <a:gd name="connsiteY148" fmla="*/ 1271587 h 1752600"/>
                <a:gd name="connsiteX149" fmla="*/ 1985962 w 3128973"/>
                <a:gd name="connsiteY149" fmla="*/ 1262062 h 1752600"/>
                <a:gd name="connsiteX150" fmla="*/ 1971675 w 3128973"/>
                <a:gd name="connsiteY150" fmla="*/ 1257300 h 1752600"/>
                <a:gd name="connsiteX151" fmla="*/ 1943100 w 3128973"/>
                <a:gd name="connsiteY151" fmla="*/ 1238250 h 1752600"/>
                <a:gd name="connsiteX152" fmla="*/ 1914525 w 3128973"/>
                <a:gd name="connsiteY152" fmla="*/ 1219200 h 1752600"/>
                <a:gd name="connsiteX153" fmla="*/ 1885950 w 3128973"/>
                <a:gd name="connsiteY153" fmla="*/ 1209675 h 1752600"/>
                <a:gd name="connsiteX154" fmla="*/ 1843087 w 3128973"/>
                <a:gd name="connsiteY154" fmla="*/ 1195387 h 1752600"/>
                <a:gd name="connsiteX155" fmla="*/ 1757362 w 3128973"/>
                <a:gd name="connsiteY155" fmla="*/ 1185862 h 1752600"/>
                <a:gd name="connsiteX156" fmla="*/ 1700212 w 3128973"/>
                <a:gd name="connsiteY156" fmla="*/ 1166812 h 1752600"/>
                <a:gd name="connsiteX157" fmla="*/ 1671637 w 3128973"/>
                <a:gd name="connsiteY157" fmla="*/ 1147762 h 1752600"/>
                <a:gd name="connsiteX158" fmla="*/ 1652587 w 3128973"/>
                <a:gd name="connsiteY158" fmla="*/ 1138237 h 1752600"/>
                <a:gd name="connsiteX159" fmla="*/ 1638300 w 3128973"/>
                <a:gd name="connsiteY159" fmla="*/ 1128712 h 1752600"/>
                <a:gd name="connsiteX160" fmla="*/ 1590675 w 3128973"/>
                <a:gd name="connsiteY160" fmla="*/ 1138238 h 1752600"/>
                <a:gd name="connsiteX161" fmla="*/ 1559719 w 3128973"/>
                <a:gd name="connsiteY161" fmla="*/ 1109662 h 1752600"/>
                <a:gd name="connsiteX162" fmla="*/ 1528762 w 3128973"/>
                <a:gd name="connsiteY162" fmla="*/ 1085850 h 1752600"/>
                <a:gd name="connsiteX163" fmla="*/ 1514475 w 3128973"/>
                <a:gd name="connsiteY163" fmla="*/ 1081087 h 1752600"/>
                <a:gd name="connsiteX164" fmla="*/ 1470025 w 3128973"/>
                <a:gd name="connsiteY164" fmla="*/ 1130300 h 1752600"/>
                <a:gd name="connsiteX165" fmla="*/ 1433512 w 3128973"/>
                <a:gd name="connsiteY165" fmla="*/ 1108075 h 1752600"/>
                <a:gd name="connsiteX166" fmla="*/ 1423987 w 3128973"/>
                <a:gd name="connsiteY166" fmla="*/ 1087437 h 1752600"/>
                <a:gd name="connsiteX167" fmla="*/ 1381125 w 3128973"/>
                <a:gd name="connsiteY167" fmla="*/ 1095375 h 1752600"/>
                <a:gd name="connsiteX168" fmla="*/ 1383506 w 3128973"/>
                <a:gd name="connsiteY168" fmla="*/ 1028700 h 1752600"/>
                <a:gd name="connsiteX169" fmla="*/ 1366838 w 3128973"/>
                <a:gd name="connsiteY169" fmla="*/ 1019175 h 1752600"/>
                <a:gd name="connsiteX170" fmla="*/ 1335881 w 3128973"/>
                <a:gd name="connsiteY170" fmla="*/ 1007268 h 1752600"/>
                <a:gd name="connsiteX171" fmla="*/ 1319213 w 3128973"/>
                <a:gd name="connsiteY171" fmla="*/ 1007268 h 1752600"/>
                <a:gd name="connsiteX172" fmla="*/ 1295400 w 3128973"/>
                <a:gd name="connsiteY172" fmla="*/ 976312 h 1752600"/>
                <a:gd name="connsiteX173" fmla="*/ 1281112 w 3128973"/>
                <a:gd name="connsiteY173" fmla="*/ 966787 h 1752600"/>
                <a:gd name="connsiteX174" fmla="*/ 1238250 w 3128973"/>
                <a:gd name="connsiteY174" fmla="*/ 947737 h 1752600"/>
                <a:gd name="connsiteX175" fmla="*/ 1212850 w 3128973"/>
                <a:gd name="connsiteY175" fmla="*/ 995362 h 1752600"/>
                <a:gd name="connsiteX176" fmla="*/ 1201737 w 3128973"/>
                <a:gd name="connsiteY176" fmla="*/ 987425 h 1752600"/>
                <a:gd name="connsiteX177" fmla="*/ 1163637 w 3128973"/>
                <a:gd name="connsiteY177" fmla="*/ 952277 h 1752600"/>
                <a:gd name="connsiteX178" fmla="*/ 1133475 w 3128973"/>
                <a:gd name="connsiteY178" fmla="*/ 925512 h 1752600"/>
                <a:gd name="connsiteX179" fmla="*/ 1085850 w 3128973"/>
                <a:gd name="connsiteY179" fmla="*/ 859631 h 1752600"/>
                <a:gd name="connsiteX180" fmla="*/ 1071562 w 3128973"/>
                <a:gd name="connsiteY180" fmla="*/ 842962 h 1752600"/>
                <a:gd name="connsiteX181" fmla="*/ 1047750 w 3128973"/>
                <a:gd name="connsiteY181" fmla="*/ 819150 h 1752600"/>
                <a:gd name="connsiteX182" fmla="*/ 1028700 w 3128973"/>
                <a:gd name="connsiteY182" fmla="*/ 804862 h 1752600"/>
                <a:gd name="connsiteX183" fmla="*/ 1018076 w 3128973"/>
                <a:gd name="connsiteY183" fmla="*/ 794816 h 1752600"/>
                <a:gd name="connsiteX184" fmla="*/ 1000125 w 3128973"/>
                <a:gd name="connsiteY184" fmla="*/ 785812 h 1752600"/>
                <a:gd name="connsiteX185" fmla="*/ 984342 w 3128973"/>
                <a:gd name="connsiteY185" fmla="*/ 773578 h 1752600"/>
                <a:gd name="connsiteX186" fmla="*/ 957262 w 3128973"/>
                <a:gd name="connsiteY186" fmla="*/ 766762 h 1752600"/>
                <a:gd name="connsiteX187" fmla="*/ 938212 w 3128973"/>
                <a:gd name="connsiteY187" fmla="*/ 757237 h 1752600"/>
                <a:gd name="connsiteX188" fmla="*/ 904875 w 3128973"/>
                <a:gd name="connsiteY188" fmla="*/ 747712 h 1752600"/>
                <a:gd name="connsiteX189" fmla="*/ 862012 w 3128973"/>
                <a:gd name="connsiteY189" fmla="*/ 723900 h 1752600"/>
                <a:gd name="connsiteX190" fmla="*/ 795337 w 3128973"/>
                <a:gd name="connsiteY190" fmla="*/ 685800 h 1752600"/>
                <a:gd name="connsiteX191" fmla="*/ 776287 w 3128973"/>
                <a:gd name="connsiteY191" fmla="*/ 666750 h 1752600"/>
                <a:gd name="connsiteX192" fmla="*/ 762000 w 3128973"/>
                <a:gd name="connsiteY192" fmla="*/ 661987 h 1752600"/>
                <a:gd name="connsiteX193" fmla="*/ 742950 w 3128973"/>
                <a:gd name="connsiteY193" fmla="*/ 647700 h 1752600"/>
                <a:gd name="connsiteX194" fmla="*/ 709612 w 3128973"/>
                <a:gd name="connsiteY194" fmla="*/ 638175 h 1752600"/>
                <a:gd name="connsiteX195" fmla="*/ 695325 w 3128973"/>
                <a:gd name="connsiteY195" fmla="*/ 628650 h 1752600"/>
                <a:gd name="connsiteX196" fmla="*/ 681037 w 3128973"/>
                <a:gd name="connsiteY196" fmla="*/ 623887 h 1752600"/>
                <a:gd name="connsiteX197" fmla="*/ 676275 w 3128973"/>
                <a:gd name="connsiteY197" fmla="*/ 604837 h 1752600"/>
                <a:gd name="connsiteX198" fmla="*/ 666750 w 3128973"/>
                <a:gd name="connsiteY198" fmla="*/ 576262 h 1752600"/>
                <a:gd name="connsiteX199" fmla="*/ 661987 w 3128973"/>
                <a:gd name="connsiteY199" fmla="*/ 561975 h 1752600"/>
                <a:gd name="connsiteX200" fmla="*/ 666750 w 3128973"/>
                <a:gd name="connsiteY200" fmla="*/ 538162 h 1752600"/>
                <a:gd name="connsiteX201" fmla="*/ 638175 w 3128973"/>
                <a:gd name="connsiteY201" fmla="*/ 514350 h 1752600"/>
                <a:gd name="connsiteX202" fmla="*/ 619125 w 3128973"/>
                <a:gd name="connsiteY202" fmla="*/ 500062 h 1752600"/>
                <a:gd name="connsiteX203" fmla="*/ 576262 w 3128973"/>
                <a:gd name="connsiteY203" fmla="*/ 490537 h 1752600"/>
                <a:gd name="connsiteX204" fmla="*/ 542925 w 3128973"/>
                <a:gd name="connsiteY204" fmla="*/ 452437 h 1752600"/>
                <a:gd name="connsiteX205" fmla="*/ 525462 w 3128973"/>
                <a:gd name="connsiteY205" fmla="*/ 485775 h 1752600"/>
                <a:gd name="connsiteX206" fmla="*/ 504825 w 3128973"/>
                <a:gd name="connsiteY206" fmla="*/ 466725 h 1752600"/>
                <a:gd name="connsiteX207" fmla="*/ 454025 w 3128973"/>
                <a:gd name="connsiteY207" fmla="*/ 466725 h 1752600"/>
                <a:gd name="connsiteX208" fmla="*/ 407987 w 3128973"/>
                <a:gd name="connsiteY208" fmla="*/ 473075 h 1752600"/>
                <a:gd name="connsiteX209" fmla="*/ 395287 w 3128973"/>
                <a:gd name="connsiteY209" fmla="*/ 409575 h 1752600"/>
                <a:gd name="connsiteX210" fmla="*/ 376237 w 3128973"/>
                <a:gd name="connsiteY210" fmla="*/ 404812 h 1752600"/>
                <a:gd name="connsiteX211" fmla="*/ 342900 w 3128973"/>
                <a:gd name="connsiteY211" fmla="*/ 400050 h 1752600"/>
                <a:gd name="connsiteX212" fmla="*/ 314325 w 3128973"/>
                <a:gd name="connsiteY212" fmla="*/ 390525 h 1752600"/>
                <a:gd name="connsiteX213" fmla="*/ 273844 w 3128973"/>
                <a:gd name="connsiteY213" fmla="*/ 383382 h 1752600"/>
                <a:gd name="connsiteX214" fmla="*/ 257175 w 3128973"/>
                <a:gd name="connsiteY214" fmla="*/ 371475 h 1752600"/>
                <a:gd name="connsiteX215" fmla="*/ 245269 w 3128973"/>
                <a:gd name="connsiteY215" fmla="*/ 364331 h 1752600"/>
                <a:gd name="connsiteX216" fmla="*/ 223837 w 3128973"/>
                <a:gd name="connsiteY216" fmla="*/ 347662 h 1752600"/>
                <a:gd name="connsiteX217" fmla="*/ 190500 w 3128973"/>
                <a:gd name="connsiteY217" fmla="*/ 338137 h 1752600"/>
                <a:gd name="connsiteX218" fmla="*/ 147637 w 3128973"/>
                <a:gd name="connsiteY218" fmla="*/ 333375 h 1752600"/>
                <a:gd name="connsiteX219" fmla="*/ 119062 w 3128973"/>
                <a:gd name="connsiteY219" fmla="*/ 323850 h 1752600"/>
                <a:gd name="connsiteX220" fmla="*/ 104775 w 3128973"/>
                <a:gd name="connsiteY220" fmla="*/ 319087 h 1752600"/>
                <a:gd name="connsiteX221" fmla="*/ 61912 w 3128973"/>
                <a:gd name="connsiteY221" fmla="*/ 300037 h 1752600"/>
                <a:gd name="connsiteX222" fmla="*/ 23812 w 3128973"/>
                <a:gd name="connsiteY222" fmla="*/ 290512 h 1752600"/>
                <a:gd name="connsiteX223" fmla="*/ 9525 w 3128973"/>
                <a:gd name="connsiteY223" fmla="*/ 261937 h 1752600"/>
                <a:gd name="connsiteX224" fmla="*/ 0 w 3128973"/>
                <a:gd name="connsiteY224" fmla="*/ 290512 h 1752600"/>
                <a:gd name="connsiteX225" fmla="*/ 4762 w 3128973"/>
                <a:gd name="connsiteY225" fmla="*/ 247650 h 1752600"/>
                <a:gd name="connsiteX226" fmla="*/ 19050 w 3128973"/>
                <a:gd name="connsiteY226" fmla="*/ 200025 h 1752600"/>
                <a:gd name="connsiteX227" fmla="*/ 23812 w 3128973"/>
                <a:gd name="connsiteY227" fmla="*/ 185737 h 1752600"/>
                <a:gd name="connsiteX228" fmla="*/ 71437 w 3128973"/>
                <a:gd name="connsiteY228" fmla="*/ 171450 h 1752600"/>
                <a:gd name="connsiteX229" fmla="*/ 85725 w 3128973"/>
                <a:gd name="connsiteY229" fmla="*/ 166687 h 1752600"/>
                <a:gd name="connsiteX230" fmla="*/ 100012 w 3128973"/>
                <a:gd name="connsiteY230" fmla="*/ 161925 h 1752600"/>
                <a:gd name="connsiteX231" fmla="*/ 114300 w 3128973"/>
                <a:gd name="connsiteY231" fmla="*/ 152400 h 1752600"/>
                <a:gd name="connsiteX232" fmla="*/ 133350 w 3128973"/>
                <a:gd name="connsiteY232" fmla="*/ 123825 h 1752600"/>
                <a:gd name="connsiteX233" fmla="*/ 138112 w 3128973"/>
                <a:gd name="connsiteY233" fmla="*/ 109537 h 1752600"/>
                <a:gd name="connsiteX234" fmla="*/ 135467 w 3128973"/>
                <a:gd name="connsiteY234" fmla="*/ 97059 h 1752600"/>
                <a:gd name="connsiteX235" fmla="*/ 142875 w 3128973"/>
                <a:gd name="connsiteY235" fmla="*/ 71437 h 1752600"/>
                <a:gd name="connsiteX236" fmla="*/ 157162 w 3128973"/>
                <a:gd name="connsiteY236" fmla="*/ 57150 h 1752600"/>
                <a:gd name="connsiteX237" fmla="*/ 200025 w 3128973"/>
                <a:gd name="connsiteY237" fmla="*/ 33337 h 1752600"/>
                <a:gd name="connsiteX238" fmla="*/ 309562 w 3128973"/>
                <a:gd name="connsiteY238" fmla="*/ 28575 h 1752600"/>
                <a:gd name="connsiteX239" fmla="*/ 400050 w 3128973"/>
                <a:gd name="connsiteY239" fmla="*/ 14287 h 1752600"/>
                <a:gd name="connsiteX240" fmla="*/ 414337 w 3128973"/>
                <a:gd name="connsiteY240" fmla="*/ 9525 h 1752600"/>
                <a:gd name="connsiteX241" fmla="*/ 481012 w 3128973"/>
                <a:gd name="connsiteY241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436018 w 3128973"/>
                <a:gd name="connsiteY30" fmla="*/ 176106 h 1752600"/>
                <a:gd name="connsiteX31" fmla="*/ 2046801 w 3128973"/>
                <a:gd name="connsiteY31" fmla="*/ 262295 h 1752600"/>
                <a:gd name="connsiteX32" fmla="*/ 2033587 w 3128973"/>
                <a:gd name="connsiteY32" fmla="*/ 266700 h 1752600"/>
                <a:gd name="connsiteX33" fmla="*/ 2019300 w 3128973"/>
                <a:gd name="connsiteY33" fmla="*/ 280987 h 1752600"/>
                <a:gd name="connsiteX34" fmla="*/ 1990725 w 3128973"/>
                <a:gd name="connsiteY34" fmla="*/ 300037 h 1752600"/>
                <a:gd name="connsiteX35" fmla="*/ 1981200 w 3128973"/>
                <a:gd name="connsiteY35" fmla="*/ 314325 h 1752600"/>
                <a:gd name="connsiteX36" fmla="*/ 1981200 w 3128973"/>
                <a:gd name="connsiteY36" fmla="*/ 419100 h 1752600"/>
                <a:gd name="connsiteX37" fmla="*/ 1985962 w 3128973"/>
                <a:gd name="connsiteY37" fmla="*/ 433387 h 1752600"/>
                <a:gd name="connsiteX38" fmla="*/ 2000250 w 3128973"/>
                <a:gd name="connsiteY38" fmla="*/ 442912 h 1752600"/>
                <a:gd name="connsiteX39" fmla="*/ 2005012 w 3128973"/>
                <a:gd name="connsiteY39" fmla="*/ 457200 h 1752600"/>
                <a:gd name="connsiteX40" fmla="*/ 2005012 w 3128973"/>
                <a:gd name="connsiteY40" fmla="*/ 561975 h 1752600"/>
                <a:gd name="connsiteX41" fmla="*/ 2009775 w 3128973"/>
                <a:gd name="connsiteY41" fmla="*/ 576262 h 1752600"/>
                <a:gd name="connsiteX42" fmla="*/ 2024062 w 3128973"/>
                <a:gd name="connsiteY42" fmla="*/ 581025 h 1752600"/>
                <a:gd name="connsiteX43" fmla="*/ 2038350 w 3128973"/>
                <a:gd name="connsiteY43" fmla="*/ 595312 h 1752600"/>
                <a:gd name="connsiteX44" fmla="*/ 2052637 w 3128973"/>
                <a:gd name="connsiteY44" fmla="*/ 600075 h 1752600"/>
                <a:gd name="connsiteX45" fmla="*/ 2133600 w 3128973"/>
                <a:gd name="connsiteY45" fmla="*/ 590550 h 1752600"/>
                <a:gd name="connsiteX46" fmla="*/ 2147887 w 3128973"/>
                <a:gd name="connsiteY46" fmla="*/ 585787 h 1752600"/>
                <a:gd name="connsiteX47" fmla="*/ 2195512 w 3128973"/>
                <a:gd name="connsiteY47" fmla="*/ 600075 h 1752600"/>
                <a:gd name="connsiteX48" fmla="*/ 2205037 w 3128973"/>
                <a:gd name="connsiteY48" fmla="*/ 614362 h 1752600"/>
                <a:gd name="connsiteX49" fmla="*/ 2219325 w 3128973"/>
                <a:gd name="connsiteY49" fmla="*/ 628650 h 1752600"/>
                <a:gd name="connsiteX50" fmla="*/ 2224087 w 3128973"/>
                <a:gd name="connsiteY50" fmla="*/ 642937 h 1752600"/>
                <a:gd name="connsiteX51" fmla="*/ 2233612 w 3128973"/>
                <a:gd name="connsiteY51" fmla="*/ 657225 h 1752600"/>
                <a:gd name="connsiteX52" fmla="*/ 2247900 w 3128973"/>
                <a:gd name="connsiteY52" fmla="*/ 685800 h 1752600"/>
                <a:gd name="connsiteX53" fmla="*/ 2262187 w 3128973"/>
                <a:gd name="connsiteY53" fmla="*/ 733425 h 1752600"/>
                <a:gd name="connsiteX54" fmla="*/ 2305050 w 3128973"/>
                <a:gd name="connsiteY54" fmla="*/ 771525 h 1752600"/>
                <a:gd name="connsiteX55" fmla="*/ 2319337 w 3128973"/>
                <a:gd name="connsiteY55" fmla="*/ 804862 h 1752600"/>
                <a:gd name="connsiteX56" fmla="*/ 2333625 w 3128973"/>
                <a:gd name="connsiteY56" fmla="*/ 819150 h 1752600"/>
                <a:gd name="connsiteX57" fmla="*/ 2338387 w 3128973"/>
                <a:gd name="connsiteY57" fmla="*/ 833437 h 1752600"/>
                <a:gd name="connsiteX58" fmla="*/ 2352675 w 3128973"/>
                <a:gd name="connsiteY58" fmla="*/ 847725 h 1752600"/>
                <a:gd name="connsiteX59" fmla="*/ 2395537 w 3128973"/>
                <a:gd name="connsiteY59" fmla="*/ 871537 h 1752600"/>
                <a:gd name="connsiteX60" fmla="*/ 2409825 w 3128973"/>
                <a:gd name="connsiteY60" fmla="*/ 890587 h 1752600"/>
                <a:gd name="connsiteX61" fmla="*/ 2424112 w 3128973"/>
                <a:gd name="connsiteY61" fmla="*/ 895350 h 1752600"/>
                <a:gd name="connsiteX62" fmla="*/ 2433637 w 3128973"/>
                <a:gd name="connsiteY62" fmla="*/ 914400 h 1752600"/>
                <a:gd name="connsiteX63" fmla="*/ 2466975 w 3128973"/>
                <a:gd name="connsiteY63" fmla="*/ 942975 h 1752600"/>
                <a:gd name="connsiteX64" fmla="*/ 2474637 w 3128973"/>
                <a:gd name="connsiteY64" fmla="*/ 954728 h 1752600"/>
                <a:gd name="connsiteX65" fmla="*/ 2495550 w 3128973"/>
                <a:gd name="connsiteY65" fmla="*/ 971550 h 1752600"/>
                <a:gd name="connsiteX66" fmla="*/ 2508776 w 3128973"/>
                <a:gd name="connsiteY66" fmla="*/ 983894 h 1752600"/>
                <a:gd name="connsiteX67" fmla="*/ 2533650 w 3128973"/>
                <a:gd name="connsiteY67" fmla="*/ 1000125 h 1752600"/>
                <a:gd name="connsiteX68" fmla="*/ 2547937 w 3128973"/>
                <a:gd name="connsiteY68" fmla="*/ 1028700 h 1752600"/>
                <a:gd name="connsiteX69" fmla="*/ 2552700 w 3128973"/>
                <a:gd name="connsiteY69" fmla="*/ 1042987 h 1752600"/>
                <a:gd name="connsiteX70" fmla="*/ 2576512 w 3128973"/>
                <a:gd name="connsiteY70" fmla="*/ 1071562 h 1752600"/>
                <a:gd name="connsiteX71" fmla="*/ 2584921 w 3128973"/>
                <a:gd name="connsiteY71" fmla="*/ 1082873 h 1752600"/>
                <a:gd name="connsiteX72" fmla="*/ 2600325 w 3128973"/>
                <a:gd name="connsiteY72" fmla="*/ 1095375 h 1752600"/>
                <a:gd name="connsiteX73" fmla="*/ 2609850 w 3128973"/>
                <a:gd name="connsiteY73" fmla="*/ 1109662 h 1752600"/>
                <a:gd name="connsiteX74" fmla="*/ 2652712 w 3128973"/>
                <a:gd name="connsiteY74" fmla="*/ 1143000 h 1752600"/>
                <a:gd name="connsiteX75" fmla="*/ 2681287 w 3128973"/>
                <a:gd name="connsiteY75" fmla="*/ 1152525 h 1752600"/>
                <a:gd name="connsiteX76" fmla="*/ 2700337 w 3128973"/>
                <a:gd name="connsiteY76" fmla="*/ 1162050 h 1752600"/>
                <a:gd name="connsiteX77" fmla="*/ 2714625 w 3128973"/>
                <a:gd name="connsiteY77" fmla="*/ 1171575 h 1752600"/>
                <a:gd name="connsiteX78" fmla="*/ 2752725 w 3128973"/>
                <a:gd name="connsiteY78" fmla="*/ 1181100 h 1752600"/>
                <a:gd name="connsiteX79" fmla="*/ 2767012 w 3128973"/>
                <a:gd name="connsiteY79" fmla="*/ 1195387 h 1752600"/>
                <a:gd name="connsiteX80" fmla="*/ 2781300 w 3128973"/>
                <a:gd name="connsiteY80" fmla="*/ 1200150 h 1752600"/>
                <a:gd name="connsiteX81" fmla="*/ 2795587 w 3128973"/>
                <a:gd name="connsiteY81" fmla="*/ 1209675 h 1752600"/>
                <a:gd name="connsiteX82" fmla="*/ 2805112 w 3128973"/>
                <a:gd name="connsiteY82" fmla="*/ 1223962 h 1752600"/>
                <a:gd name="connsiteX83" fmla="*/ 2809875 w 3128973"/>
                <a:gd name="connsiteY83" fmla="*/ 1238250 h 1752600"/>
                <a:gd name="connsiteX84" fmla="*/ 2833687 w 3128973"/>
                <a:gd name="connsiteY84" fmla="*/ 1276350 h 1752600"/>
                <a:gd name="connsiteX85" fmla="*/ 2895600 w 3128973"/>
                <a:gd name="connsiteY85" fmla="*/ 1333500 h 1752600"/>
                <a:gd name="connsiteX86" fmla="*/ 2900362 w 3128973"/>
                <a:gd name="connsiteY86" fmla="*/ 1352550 h 1752600"/>
                <a:gd name="connsiteX87" fmla="*/ 2928937 w 3128973"/>
                <a:gd name="connsiteY87" fmla="*/ 1395412 h 1752600"/>
                <a:gd name="connsiteX88" fmla="*/ 2943225 w 3128973"/>
                <a:gd name="connsiteY88" fmla="*/ 1404937 h 1752600"/>
                <a:gd name="connsiteX89" fmla="*/ 2957512 w 3128973"/>
                <a:gd name="connsiteY89" fmla="*/ 1419225 h 1752600"/>
                <a:gd name="connsiteX90" fmla="*/ 2986087 w 3128973"/>
                <a:gd name="connsiteY90" fmla="*/ 1443037 h 1752600"/>
                <a:gd name="connsiteX91" fmla="*/ 3000375 w 3128973"/>
                <a:gd name="connsiteY91" fmla="*/ 1462087 h 1752600"/>
                <a:gd name="connsiteX92" fmla="*/ 3016395 w 3128973"/>
                <a:gd name="connsiteY92" fmla="*/ 1476222 h 1752600"/>
                <a:gd name="connsiteX93" fmla="*/ 3028950 w 3128973"/>
                <a:gd name="connsiteY93" fmla="*/ 1495425 h 1752600"/>
                <a:gd name="connsiteX94" fmla="*/ 3043237 w 3128973"/>
                <a:gd name="connsiteY94" fmla="*/ 1552575 h 1752600"/>
                <a:gd name="connsiteX95" fmla="*/ 3052762 w 3128973"/>
                <a:gd name="connsiteY95" fmla="*/ 1566862 h 1752600"/>
                <a:gd name="connsiteX96" fmla="*/ 3057525 w 3128973"/>
                <a:gd name="connsiteY96" fmla="*/ 1581150 h 1752600"/>
                <a:gd name="connsiteX97" fmla="*/ 3067050 w 3128973"/>
                <a:gd name="connsiteY97" fmla="*/ 1662112 h 1752600"/>
                <a:gd name="connsiteX98" fmla="*/ 3071812 w 3128973"/>
                <a:gd name="connsiteY98" fmla="*/ 1676400 h 1752600"/>
                <a:gd name="connsiteX99" fmla="*/ 3100387 w 3128973"/>
                <a:gd name="connsiteY99" fmla="*/ 1690687 h 1752600"/>
                <a:gd name="connsiteX100" fmla="*/ 3114675 w 3128973"/>
                <a:gd name="connsiteY100" fmla="*/ 1685925 h 1752600"/>
                <a:gd name="connsiteX101" fmla="*/ 3124200 w 3128973"/>
                <a:gd name="connsiteY101" fmla="*/ 1671637 h 1752600"/>
                <a:gd name="connsiteX102" fmla="*/ 3128973 w 3128973"/>
                <a:gd name="connsiteY102" fmla="*/ 1651467 h 1752600"/>
                <a:gd name="connsiteX103" fmla="*/ 3128021 w 3128973"/>
                <a:gd name="connsiteY103" fmla="*/ 1710279 h 1752600"/>
                <a:gd name="connsiteX104" fmla="*/ 3043237 w 3128973"/>
                <a:gd name="connsiteY104" fmla="*/ 1714500 h 1752600"/>
                <a:gd name="connsiteX105" fmla="*/ 3028950 w 3128973"/>
                <a:gd name="connsiteY105" fmla="*/ 1728787 h 1752600"/>
                <a:gd name="connsiteX106" fmla="*/ 2986087 w 3128973"/>
                <a:gd name="connsiteY106" fmla="*/ 1738312 h 1752600"/>
                <a:gd name="connsiteX107" fmla="*/ 2971800 w 3128973"/>
                <a:gd name="connsiteY107" fmla="*/ 1743075 h 1752600"/>
                <a:gd name="connsiteX108" fmla="*/ 2943225 w 3128973"/>
                <a:gd name="connsiteY108" fmla="*/ 1738312 h 1752600"/>
                <a:gd name="connsiteX109" fmla="*/ 2928937 w 3128973"/>
                <a:gd name="connsiteY109" fmla="*/ 1747837 h 1752600"/>
                <a:gd name="connsiteX110" fmla="*/ 2914650 w 3128973"/>
                <a:gd name="connsiteY110" fmla="*/ 1752600 h 1752600"/>
                <a:gd name="connsiteX111" fmla="*/ 2895600 w 3128973"/>
                <a:gd name="connsiteY111" fmla="*/ 1724025 h 1752600"/>
                <a:gd name="connsiteX112" fmla="*/ 2883310 w 3128973"/>
                <a:gd name="connsiteY112" fmla="*/ 1701201 h 1752600"/>
                <a:gd name="connsiteX113" fmla="*/ 2883805 w 3128973"/>
                <a:gd name="connsiteY113" fmla="*/ 1696138 h 1752600"/>
                <a:gd name="connsiteX114" fmla="*/ 2871787 w 3128973"/>
                <a:gd name="connsiteY114" fmla="*/ 1685925 h 1752600"/>
                <a:gd name="connsiteX115" fmla="*/ 2847975 w 3128973"/>
                <a:gd name="connsiteY115" fmla="*/ 1657350 h 1752600"/>
                <a:gd name="connsiteX116" fmla="*/ 2834034 w 3128973"/>
                <a:gd name="connsiteY116" fmla="*/ 1637762 h 1752600"/>
                <a:gd name="connsiteX117" fmla="*/ 2814637 w 3128973"/>
                <a:gd name="connsiteY117" fmla="*/ 1619250 h 1752600"/>
                <a:gd name="connsiteX118" fmla="*/ 2809875 w 3128973"/>
                <a:gd name="connsiteY118" fmla="*/ 1604962 h 1752600"/>
                <a:gd name="connsiteX119" fmla="*/ 2795587 w 3128973"/>
                <a:gd name="connsiteY119" fmla="*/ 1600200 h 1752600"/>
                <a:gd name="connsiteX120" fmla="*/ 2781300 w 3128973"/>
                <a:gd name="connsiteY120" fmla="*/ 1590675 h 1752600"/>
                <a:gd name="connsiteX121" fmla="*/ 2752725 w 3128973"/>
                <a:gd name="connsiteY121" fmla="*/ 1581150 h 1752600"/>
                <a:gd name="connsiteX122" fmla="*/ 2733675 w 3128973"/>
                <a:gd name="connsiteY122" fmla="*/ 1625600 h 1752600"/>
                <a:gd name="connsiteX123" fmla="*/ 2709862 w 3128973"/>
                <a:gd name="connsiteY123" fmla="*/ 1619250 h 1752600"/>
                <a:gd name="connsiteX124" fmla="*/ 2723566 w 3128973"/>
                <a:gd name="connsiteY124" fmla="*/ 1590361 h 1752600"/>
                <a:gd name="connsiteX125" fmla="*/ 2674937 w 3128973"/>
                <a:gd name="connsiteY125" fmla="*/ 1560512 h 1752600"/>
                <a:gd name="connsiteX126" fmla="*/ 2643187 w 3128973"/>
                <a:gd name="connsiteY126" fmla="*/ 1495425 h 1752600"/>
                <a:gd name="connsiteX127" fmla="*/ 2628900 w 3128973"/>
                <a:gd name="connsiteY127" fmla="*/ 1490662 h 1752600"/>
                <a:gd name="connsiteX128" fmla="*/ 2595562 w 3128973"/>
                <a:gd name="connsiteY128" fmla="*/ 1481137 h 1752600"/>
                <a:gd name="connsiteX129" fmla="*/ 2581275 w 3128973"/>
                <a:gd name="connsiteY129" fmla="*/ 1466850 h 1752600"/>
                <a:gd name="connsiteX130" fmla="*/ 2552700 w 3128973"/>
                <a:gd name="connsiteY130" fmla="*/ 1457325 h 1752600"/>
                <a:gd name="connsiteX131" fmla="*/ 2538412 w 3128973"/>
                <a:gd name="connsiteY131" fmla="*/ 1447800 h 1752600"/>
                <a:gd name="connsiteX132" fmla="*/ 2519362 w 3128973"/>
                <a:gd name="connsiteY132" fmla="*/ 1443037 h 1752600"/>
                <a:gd name="connsiteX133" fmla="*/ 2490787 w 3128973"/>
                <a:gd name="connsiteY133" fmla="*/ 1433512 h 1752600"/>
                <a:gd name="connsiteX134" fmla="*/ 2476500 w 3128973"/>
                <a:gd name="connsiteY134" fmla="*/ 1428750 h 1752600"/>
                <a:gd name="connsiteX135" fmla="*/ 2466975 w 3128973"/>
                <a:gd name="connsiteY135" fmla="*/ 1414462 h 1752600"/>
                <a:gd name="connsiteX136" fmla="*/ 2447925 w 3128973"/>
                <a:gd name="connsiteY136" fmla="*/ 1409700 h 1752600"/>
                <a:gd name="connsiteX137" fmla="*/ 2309812 w 3128973"/>
                <a:gd name="connsiteY137" fmla="*/ 1395412 h 1752600"/>
                <a:gd name="connsiteX138" fmla="*/ 2295525 w 3128973"/>
                <a:gd name="connsiteY138" fmla="*/ 1390650 h 1752600"/>
                <a:gd name="connsiteX139" fmla="*/ 2257425 w 3128973"/>
                <a:gd name="connsiteY139" fmla="*/ 1381125 h 1752600"/>
                <a:gd name="connsiteX140" fmla="*/ 2238375 w 3128973"/>
                <a:gd name="connsiteY140" fmla="*/ 1366837 h 1752600"/>
                <a:gd name="connsiteX141" fmla="*/ 2224087 w 3128973"/>
                <a:gd name="connsiteY141" fmla="*/ 1362075 h 1752600"/>
                <a:gd name="connsiteX142" fmla="*/ 2176462 w 3128973"/>
                <a:gd name="connsiteY142" fmla="*/ 1338262 h 1752600"/>
                <a:gd name="connsiteX143" fmla="*/ 2162175 w 3128973"/>
                <a:gd name="connsiteY143" fmla="*/ 1328737 h 1752600"/>
                <a:gd name="connsiteX144" fmla="*/ 2114550 w 3128973"/>
                <a:gd name="connsiteY144" fmla="*/ 1314450 h 1752600"/>
                <a:gd name="connsiteX145" fmla="*/ 2100262 w 3128973"/>
                <a:gd name="connsiteY145" fmla="*/ 1300162 h 1752600"/>
                <a:gd name="connsiteX146" fmla="*/ 2085975 w 3128973"/>
                <a:gd name="connsiteY146" fmla="*/ 1295400 h 1752600"/>
                <a:gd name="connsiteX147" fmla="*/ 2055019 w 3128973"/>
                <a:gd name="connsiteY147" fmla="*/ 1290637 h 1752600"/>
                <a:gd name="connsiteX148" fmla="*/ 2028824 w 3128973"/>
                <a:gd name="connsiteY148" fmla="*/ 1283494 h 1752600"/>
                <a:gd name="connsiteX149" fmla="*/ 2005012 w 3128973"/>
                <a:gd name="connsiteY149" fmla="*/ 1271587 h 1752600"/>
                <a:gd name="connsiteX150" fmla="*/ 1985962 w 3128973"/>
                <a:gd name="connsiteY150" fmla="*/ 1262062 h 1752600"/>
                <a:gd name="connsiteX151" fmla="*/ 1971675 w 3128973"/>
                <a:gd name="connsiteY151" fmla="*/ 1257300 h 1752600"/>
                <a:gd name="connsiteX152" fmla="*/ 1943100 w 3128973"/>
                <a:gd name="connsiteY152" fmla="*/ 1238250 h 1752600"/>
                <a:gd name="connsiteX153" fmla="*/ 1914525 w 3128973"/>
                <a:gd name="connsiteY153" fmla="*/ 1219200 h 1752600"/>
                <a:gd name="connsiteX154" fmla="*/ 1885950 w 3128973"/>
                <a:gd name="connsiteY154" fmla="*/ 1209675 h 1752600"/>
                <a:gd name="connsiteX155" fmla="*/ 1843087 w 3128973"/>
                <a:gd name="connsiteY155" fmla="*/ 1195387 h 1752600"/>
                <a:gd name="connsiteX156" fmla="*/ 1757362 w 3128973"/>
                <a:gd name="connsiteY156" fmla="*/ 1185862 h 1752600"/>
                <a:gd name="connsiteX157" fmla="*/ 1700212 w 3128973"/>
                <a:gd name="connsiteY157" fmla="*/ 1166812 h 1752600"/>
                <a:gd name="connsiteX158" fmla="*/ 1671637 w 3128973"/>
                <a:gd name="connsiteY158" fmla="*/ 1147762 h 1752600"/>
                <a:gd name="connsiteX159" fmla="*/ 1652587 w 3128973"/>
                <a:gd name="connsiteY159" fmla="*/ 1138237 h 1752600"/>
                <a:gd name="connsiteX160" fmla="*/ 1638300 w 3128973"/>
                <a:gd name="connsiteY160" fmla="*/ 1128712 h 1752600"/>
                <a:gd name="connsiteX161" fmla="*/ 1590675 w 3128973"/>
                <a:gd name="connsiteY161" fmla="*/ 1138238 h 1752600"/>
                <a:gd name="connsiteX162" fmla="*/ 1559719 w 3128973"/>
                <a:gd name="connsiteY162" fmla="*/ 1109662 h 1752600"/>
                <a:gd name="connsiteX163" fmla="*/ 1528762 w 3128973"/>
                <a:gd name="connsiteY163" fmla="*/ 1085850 h 1752600"/>
                <a:gd name="connsiteX164" fmla="*/ 1514475 w 3128973"/>
                <a:gd name="connsiteY164" fmla="*/ 1081087 h 1752600"/>
                <a:gd name="connsiteX165" fmla="*/ 1470025 w 3128973"/>
                <a:gd name="connsiteY165" fmla="*/ 1130300 h 1752600"/>
                <a:gd name="connsiteX166" fmla="*/ 1433512 w 3128973"/>
                <a:gd name="connsiteY166" fmla="*/ 1108075 h 1752600"/>
                <a:gd name="connsiteX167" fmla="*/ 1423987 w 3128973"/>
                <a:gd name="connsiteY167" fmla="*/ 1087437 h 1752600"/>
                <a:gd name="connsiteX168" fmla="*/ 1381125 w 3128973"/>
                <a:gd name="connsiteY168" fmla="*/ 1095375 h 1752600"/>
                <a:gd name="connsiteX169" fmla="*/ 1383506 w 3128973"/>
                <a:gd name="connsiteY169" fmla="*/ 1028700 h 1752600"/>
                <a:gd name="connsiteX170" fmla="*/ 1366838 w 3128973"/>
                <a:gd name="connsiteY170" fmla="*/ 1019175 h 1752600"/>
                <a:gd name="connsiteX171" fmla="*/ 1335881 w 3128973"/>
                <a:gd name="connsiteY171" fmla="*/ 1007268 h 1752600"/>
                <a:gd name="connsiteX172" fmla="*/ 1319213 w 3128973"/>
                <a:gd name="connsiteY172" fmla="*/ 1007268 h 1752600"/>
                <a:gd name="connsiteX173" fmla="*/ 1295400 w 3128973"/>
                <a:gd name="connsiteY173" fmla="*/ 976312 h 1752600"/>
                <a:gd name="connsiteX174" fmla="*/ 1281112 w 3128973"/>
                <a:gd name="connsiteY174" fmla="*/ 966787 h 1752600"/>
                <a:gd name="connsiteX175" fmla="*/ 1238250 w 3128973"/>
                <a:gd name="connsiteY175" fmla="*/ 947737 h 1752600"/>
                <a:gd name="connsiteX176" fmla="*/ 1212850 w 3128973"/>
                <a:gd name="connsiteY176" fmla="*/ 995362 h 1752600"/>
                <a:gd name="connsiteX177" fmla="*/ 1201737 w 3128973"/>
                <a:gd name="connsiteY177" fmla="*/ 987425 h 1752600"/>
                <a:gd name="connsiteX178" fmla="*/ 1163637 w 3128973"/>
                <a:gd name="connsiteY178" fmla="*/ 952277 h 1752600"/>
                <a:gd name="connsiteX179" fmla="*/ 1133475 w 3128973"/>
                <a:gd name="connsiteY179" fmla="*/ 925512 h 1752600"/>
                <a:gd name="connsiteX180" fmla="*/ 1085850 w 3128973"/>
                <a:gd name="connsiteY180" fmla="*/ 859631 h 1752600"/>
                <a:gd name="connsiteX181" fmla="*/ 1071562 w 3128973"/>
                <a:gd name="connsiteY181" fmla="*/ 842962 h 1752600"/>
                <a:gd name="connsiteX182" fmla="*/ 1047750 w 3128973"/>
                <a:gd name="connsiteY182" fmla="*/ 819150 h 1752600"/>
                <a:gd name="connsiteX183" fmla="*/ 1028700 w 3128973"/>
                <a:gd name="connsiteY183" fmla="*/ 804862 h 1752600"/>
                <a:gd name="connsiteX184" fmla="*/ 1018076 w 3128973"/>
                <a:gd name="connsiteY184" fmla="*/ 794816 h 1752600"/>
                <a:gd name="connsiteX185" fmla="*/ 1000125 w 3128973"/>
                <a:gd name="connsiteY185" fmla="*/ 785812 h 1752600"/>
                <a:gd name="connsiteX186" fmla="*/ 984342 w 3128973"/>
                <a:gd name="connsiteY186" fmla="*/ 773578 h 1752600"/>
                <a:gd name="connsiteX187" fmla="*/ 957262 w 3128973"/>
                <a:gd name="connsiteY187" fmla="*/ 766762 h 1752600"/>
                <a:gd name="connsiteX188" fmla="*/ 938212 w 3128973"/>
                <a:gd name="connsiteY188" fmla="*/ 757237 h 1752600"/>
                <a:gd name="connsiteX189" fmla="*/ 904875 w 3128973"/>
                <a:gd name="connsiteY189" fmla="*/ 747712 h 1752600"/>
                <a:gd name="connsiteX190" fmla="*/ 862012 w 3128973"/>
                <a:gd name="connsiteY190" fmla="*/ 723900 h 1752600"/>
                <a:gd name="connsiteX191" fmla="*/ 795337 w 3128973"/>
                <a:gd name="connsiteY191" fmla="*/ 685800 h 1752600"/>
                <a:gd name="connsiteX192" fmla="*/ 776287 w 3128973"/>
                <a:gd name="connsiteY192" fmla="*/ 666750 h 1752600"/>
                <a:gd name="connsiteX193" fmla="*/ 762000 w 3128973"/>
                <a:gd name="connsiteY193" fmla="*/ 661987 h 1752600"/>
                <a:gd name="connsiteX194" fmla="*/ 742950 w 3128973"/>
                <a:gd name="connsiteY194" fmla="*/ 647700 h 1752600"/>
                <a:gd name="connsiteX195" fmla="*/ 709612 w 3128973"/>
                <a:gd name="connsiteY195" fmla="*/ 638175 h 1752600"/>
                <a:gd name="connsiteX196" fmla="*/ 695325 w 3128973"/>
                <a:gd name="connsiteY196" fmla="*/ 628650 h 1752600"/>
                <a:gd name="connsiteX197" fmla="*/ 681037 w 3128973"/>
                <a:gd name="connsiteY197" fmla="*/ 623887 h 1752600"/>
                <a:gd name="connsiteX198" fmla="*/ 676275 w 3128973"/>
                <a:gd name="connsiteY198" fmla="*/ 604837 h 1752600"/>
                <a:gd name="connsiteX199" fmla="*/ 666750 w 3128973"/>
                <a:gd name="connsiteY199" fmla="*/ 576262 h 1752600"/>
                <a:gd name="connsiteX200" fmla="*/ 661987 w 3128973"/>
                <a:gd name="connsiteY200" fmla="*/ 561975 h 1752600"/>
                <a:gd name="connsiteX201" fmla="*/ 666750 w 3128973"/>
                <a:gd name="connsiteY201" fmla="*/ 538162 h 1752600"/>
                <a:gd name="connsiteX202" fmla="*/ 638175 w 3128973"/>
                <a:gd name="connsiteY202" fmla="*/ 514350 h 1752600"/>
                <a:gd name="connsiteX203" fmla="*/ 619125 w 3128973"/>
                <a:gd name="connsiteY203" fmla="*/ 500062 h 1752600"/>
                <a:gd name="connsiteX204" fmla="*/ 576262 w 3128973"/>
                <a:gd name="connsiteY204" fmla="*/ 490537 h 1752600"/>
                <a:gd name="connsiteX205" fmla="*/ 542925 w 3128973"/>
                <a:gd name="connsiteY205" fmla="*/ 452437 h 1752600"/>
                <a:gd name="connsiteX206" fmla="*/ 525462 w 3128973"/>
                <a:gd name="connsiteY206" fmla="*/ 485775 h 1752600"/>
                <a:gd name="connsiteX207" fmla="*/ 504825 w 3128973"/>
                <a:gd name="connsiteY207" fmla="*/ 466725 h 1752600"/>
                <a:gd name="connsiteX208" fmla="*/ 454025 w 3128973"/>
                <a:gd name="connsiteY208" fmla="*/ 466725 h 1752600"/>
                <a:gd name="connsiteX209" fmla="*/ 407987 w 3128973"/>
                <a:gd name="connsiteY209" fmla="*/ 473075 h 1752600"/>
                <a:gd name="connsiteX210" fmla="*/ 395287 w 3128973"/>
                <a:gd name="connsiteY210" fmla="*/ 409575 h 1752600"/>
                <a:gd name="connsiteX211" fmla="*/ 376237 w 3128973"/>
                <a:gd name="connsiteY211" fmla="*/ 404812 h 1752600"/>
                <a:gd name="connsiteX212" fmla="*/ 342900 w 3128973"/>
                <a:gd name="connsiteY212" fmla="*/ 400050 h 1752600"/>
                <a:gd name="connsiteX213" fmla="*/ 314325 w 3128973"/>
                <a:gd name="connsiteY213" fmla="*/ 390525 h 1752600"/>
                <a:gd name="connsiteX214" fmla="*/ 273844 w 3128973"/>
                <a:gd name="connsiteY214" fmla="*/ 383382 h 1752600"/>
                <a:gd name="connsiteX215" fmla="*/ 257175 w 3128973"/>
                <a:gd name="connsiteY215" fmla="*/ 371475 h 1752600"/>
                <a:gd name="connsiteX216" fmla="*/ 245269 w 3128973"/>
                <a:gd name="connsiteY216" fmla="*/ 364331 h 1752600"/>
                <a:gd name="connsiteX217" fmla="*/ 223837 w 3128973"/>
                <a:gd name="connsiteY217" fmla="*/ 347662 h 1752600"/>
                <a:gd name="connsiteX218" fmla="*/ 190500 w 3128973"/>
                <a:gd name="connsiteY218" fmla="*/ 338137 h 1752600"/>
                <a:gd name="connsiteX219" fmla="*/ 147637 w 3128973"/>
                <a:gd name="connsiteY219" fmla="*/ 333375 h 1752600"/>
                <a:gd name="connsiteX220" fmla="*/ 119062 w 3128973"/>
                <a:gd name="connsiteY220" fmla="*/ 323850 h 1752600"/>
                <a:gd name="connsiteX221" fmla="*/ 104775 w 3128973"/>
                <a:gd name="connsiteY221" fmla="*/ 319087 h 1752600"/>
                <a:gd name="connsiteX222" fmla="*/ 61912 w 3128973"/>
                <a:gd name="connsiteY222" fmla="*/ 300037 h 1752600"/>
                <a:gd name="connsiteX223" fmla="*/ 23812 w 3128973"/>
                <a:gd name="connsiteY223" fmla="*/ 290512 h 1752600"/>
                <a:gd name="connsiteX224" fmla="*/ 9525 w 3128973"/>
                <a:gd name="connsiteY224" fmla="*/ 261937 h 1752600"/>
                <a:gd name="connsiteX225" fmla="*/ 0 w 3128973"/>
                <a:gd name="connsiteY225" fmla="*/ 290512 h 1752600"/>
                <a:gd name="connsiteX226" fmla="*/ 4762 w 3128973"/>
                <a:gd name="connsiteY226" fmla="*/ 247650 h 1752600"/>
                <a:gd name="connsiteX227" fmla="*/ 19050 w 3128973"/>
                <a:gd name="connsiteY227" fmla="*/ 200025 h 1752600"/>
                <a:gd name="connsiteX228" fmla="*/ 23812 w 3128973"/>
                <a:gd name="connsiteY228" fmla="*/ 185737 h 1752600"/>
                <a:gd name="connsiteX229" fmla="*/ 71437 w 3128973"/>
                <a:gd name="connsiteY229" fmla="*/ 171450 h 1752600"/>
                <a:gd name="connsiteX230" fmla="*/ 85725 w 3128973"/>
                <a:gd name="connsiteY230" fmla="*/ 166687 h 1752600"/>
                <a:gd name="connsiteX231" fmla="*/ 100012 w 3128973"/>
                <a:gd name="connsiteY231" fmla="*/ 161925 h 1752600"/>
                <a:gd name="connsiteX232" fmla="*/ 114300 w 3128973"/>
                <a:gd name="connsiteY232" fmla="*/ 152400 h 1752600"/>
                <a:gd name="connsiteX233" fmla="*/ 133350 w 3128973"/>
                <a:gd name="connsiteY233" fmla="*/ 123825 h 1752600"/>
                <a:gd name="connsiteX234" fmla="*/ 138112 w 3128973"/>
                <a:gd name="connsiteY234" fmla="*/ 109537 h 1752600"/>
                <a:gd name="connsiteX235" fmla="*/ 135467 w 3128973"/>
                <a:gd name="connsiteY235" fmla="*/ 97059 h 1752600"/>
                <a:gd name="connsiteX236" fmla="*/ 142875 w 3128973"/>
                <a:gd name="connsiteY236" fmla="*/ 71437 h 1752600"/>
                <a:gd name="connsiteX237" fmla="*/ 157162 w 3128973"/>
                <a:gd name="connsiteY237" fmla="*/ 57150 h 1752600"/>
                <a:gd name="connsiteX238" fmla="*/ 200025 w 3128973"/>
                <a:gd name="connsiteY238" fmla="*/ 33337 h 1752600"/>
                <a:gd name="connsiteX239" fmla="*/ 309562 w 3128973"/>
                <a:gd name="connsiteY239" fmla="*/ 28575 h 1752600"/>
                <a:gd name="connsiteX240" fmla="*/ 400050 w 3128973"/>
                <a:gd name="connsiteY240" fmla="*/ 14287 h 1752600"/>
                <a:gd name="connsiteX241" fmla="*/ 414337 w 3128973"/>
                <a:gd name="connsiteY241" fmla="*/ 9525 h 1752600"/>
                <a:gd name="connsiteX242" fmla="*/ 481012 w 3128973"/>
                <a:gd name="connsiteY242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046801 w 3128973"/>
                <a:gd name="connsiteY31" fmla="*/ 262295 h 1752600"/>
                <a:gd name="connsiteX32" fmla="*/ 2033587 w 3128973"/>
                <a:gd name="connsiteY32" fmla="*/ 266700 h 1752600"/>
                <a:gd name="connsiteX33" fmla="*/ 2019300 w 3128973"/>
                <a:gd name="connsiteY33" fmla="*/ 280987 h 1752600"/>
                <a:gd name="connsiteX34" fmla="*/ 1990725 w 3128973"/>
                <a:gd name="connsiteY34" fmla="*/ 300037 h 1752600"/>
                <a:gd name="connsiteX35" fmla="*/ 1981200 w 3128973"/>
                <a:gd name="connsiteY35" fmla="*/ 314325 h 1752600"/>
                <a:gd name="connsiteX36" fmla="*/ 1981200 w 3128973"/>
                <a:gd name="connsiteY36" fmla="*/ 419100 h 1752600"/>
                <a:gd name="connsiteX37" fmla="*/ 1985962 w 3128973"/>
                <a:gd name="connsiteY37" fmla="*/ 433387 h 1752600"/>
                <a:gd name="connsiteX38" fmla="*/ 2000250 w 3128973"/>
                <a:gd name="connsiteY38" fmla="*/ 442912 h 1752600"/>
                <a:gd name="connsiteX39" fmla="*/ 2005012 w 3128973"/>
                <a:gd name="connsiteY39" fmla="*/ 457200 h 1752600"/>
                <a:gd name="connsiteX40" fmla="*/ 2005012 w 3128973"/>
                <a:gd name="connsiteY40" fmla="*/ 561975 h 1752600"/>
                <a:gd name="connsiteX41" fmla="*/ 2009775 w 3128973"/>
                <a:gd name="connsiteY41" fmla="*/ 576262 h 1752600"/>
                <a:gd name="connsiteX42" fmla="*/ 2024062 w 3128973"/>
                <a:gd name="connsiteY42" fmla="*/ 581025 h 1752600"/>
                <a:gd name="connsiteX43" fmla="*/ 2038350 w 3128973"/>
                <a:gd name="connsiteY43" fmla="*/ 595312 h 1752600"/>
                <a:gd name="connsiteX44" fmla="*/ 2052637 w 3128973"/>
                <a:gd name="connsiteY44" fmla="*/ 600075 h 1752600"/>
                <a:gd name="connsiteX45" fmla="*/ 2133600 w 3128973"/>
                <a:gd name="connsiteY45" fmla="*/ 590550 h 1752600"/>
                <a:gd name="connsiteX46" fmla="*/ 2147887 w 3128973"/>
                <a:gd name="connsiteY46" fmla="*/ 585787 h 1752600"/>
                <a:gd name="connsiteX47" fmla="*/ 2195512 w 3128973"/>
                <a:gd name="connsiteY47" fmla="*/ 600075 h 1752600"/>
                <a:gd name="connsiteX48" fmla="*/ 2205037 w 3128973"/>
                <a:gd name="connsiteY48" fmla="*/ 614362 h 1752600"/>
                <a:gd name="connsiteX49" fmla="*/ 2219325 w 3128973"/>
                <a:gd name="connsiteY49" fmla="*/ 628650 h 1752600"/>
                <a:gd name="connsiteX50" fmla="*/ 2224087 w 3128973"/>
                <a:gd name="connsiteY50" fmla="*/ 642937 h 1752600"/>
                <a:gd name="connsiteX51" fmla="*/ 2233612 w 3128973"/>
                <a:gd name="connsiteY51" fmla="*/ 657225 h 1752600"/>
                <a:gd name="connsiteX52" fmla="*/ 2247900 w 3128973"/>
                <a:gd name="connsiteY52" fmla="*/ 685800 h 1752600"/>
                <a:gd name="connsiteX53" fmla="*/ 2262187 w 3128973"/>
                <a:gd name="connsiteY53" fmla="*/ 733425 h 1752600"/>
                <a:gd name="connsiteX54" fmla="*/ 2305050 w 3128973"/>
                <a:gd name="connsiteY54" fmla="*/ 771525 h 1752600"/>
                <a:gd name="connsiteX55" fmla="*/ 2319337 w 3128973"/>
                <a:gd name="connsiteY55" fmla="*/ 804862 h 1752600"/>
                <a:gd name="connsiteX56" fmla="*/ 2333625 w 3128973"/>
                <a:gd name="connsiteY56" fmla="*/ 819150 h 1752600"/>
                <a:gd name="connsiteX57" fmla="*/ 2338387 w 3128973"/>
                <a:gd name="connsiteY57" fmla="*/ 833437 h 1752600"/>
                <a:gd name="connsiteX58" fmla="*/ 2352675 w 3128973"/>
                <a:gd name="connsiteY58" fmla="*/ 847725 h 1752600"/>
                <a:gd name="connsiteX59" fmla="*/ 2395537 w 3128973"/>
                <a:gd name="connsiteY59" fmla="*/ 871537 h 1752600"/>
                <a:gd name="connsiteX60" fmla="*/ 2409825 w 3128973"/>
                <a:gd name="connsiteY60" fmla="*/ 890587 h 1752600"/>
                <a:gd name="connsiteX61" fmla="*/ 2424112 w 3128973"/>
                <a:gd name="connsiteY61" fmla="*/ 895350 h 1752600"/>
                <a:gd name="connsiteX62" fmla="*/ 2433637 w 3128973"/>
                <a:gd name="connsiteY62" fmla="*/ 914400 h 1752600"/>
                <a:gd name="connsiteX63" fmla="*/ 2466975 w 3128973"/>
                <a:gd name="connsiteY63" fmla="*/ 942975 h 1752600"/>
                <a:gd name="connsiteX64" fmla="*/ 2474637 w 3128973"/>
                <a:gd name="connsiteY64" fmla="*/ 954728 h 1752600"/>
                <a:gd name="connsiteX65" fmla="*/ 2495550 w 3128973"/>
                <a:gd name="connsiteY65" fmla="*/ 971550 h 1752600"/>
                <a:gd name="connsiteX66" fmla="*/ 2508776 w 3128973"/>
                <a:gd name="connsiteY66" fmla="*/ 983894 h 1752600"/>
                <a:gd name="connsiteX67" fmla="*/ 2533650 w 3128973"/>
                <a:gd name="connsiteY67" fmla="*/ 1000125 h 1752600"/>
                <a:gd name="connsiteX68" fmla="*/ 2547937 w 3128973"/>
                <a:gd name="connsiteY68" fmla="*/ 1028700 h 1752600"/>
                <a:gd name="connsiteX69" fmla="*/ 2552700 w 3128973"/>
                <a:gd name="connsiteY69" fmla="*/ 1042987 h 1752600"/>
                <a:gd name="connsiteX70" fmla="*/ 2576512 w 3128973"/>
                <a:gd name="connsiteY70" fmla="*/ 1071562 h 1752600"/>
                <a:gd name="connsiteX71" fmla="*/ 2584921 w 3128973"/>
                <a:gd name="connsiteY71" fmla="*/ 1082873 h 1752600"/>
                <a:gd name="connsiteX72" fmla="*/ 2600325 w 3128973"/>
                <a:gd name="connsiteY72" fmla="*/ 1095375 h 1752600"/>
                <a:gd name="connsiteX73" fmla="*/ 2609850 w 3128973"/>
                <a:gd name="connsiteY73" fmla="*/ 1109662 h 1752600"/>
                <a:gd name="connsiteX74" fmla="*/ 2652712 w 3128973"/>
                <a:gd name="connsiteY74" fmla="*/ 1143000 h 1752600"/>
                <a:gd name="connsiteX75" fmla="*/ 2681287 w 3128973"/>
                <a:gd name="connsiteY75" fmla="*/ 1152525 h 1752600"/>
                <a:gd name="connsiteX76" fmla="*/ 2700337 w 3128973"/>
                <a:gd name="connsiteY76" fmla="*/ 1162050 h 1752600"/>
                <a:gd name="connsiteX77" fmla="*/ 2714625 w 3128973"/>
                <a:gd name="connsiteY77" fmla="*/ 1171575 h 1752600"/>
                <a:gd name="connsiteX78" fmla="*/ 2752725 w 3128973"/>
                <a:gd name="connsiteY78" fmla="*/ 1181100 h 1752600"/>
                <a:gd name="connsiteX79" fmla="*/ 2767012 w 3128973"/>
                <a:gd name="connsiteY79" fmla="*/ 1195387 h 1752600"/>
                <a:gd name="connsiteX80" fmla="*/ 2781300 w 3128973"/>
                <a:gd name="connsiteY80" fmla="*/ 1200150 h 1752600"/>
                <a:gd name="connsiteX81" fmla="*/ 2795587 w 3128973"/>
                <a:gd name="connsiteY81" fmla="*/ 1209675 h 1752600"/>
                <a:gd name="connsiteX82" fmla="*/ 2805112 w 3128973"/>
                <a:gd name="connsiteY82" fmla="*/ 1223962 h 1752600"/>
                <a:gd name="connsiteX83" fmla="*/ 2809875 w 3128973"/>
                <a:gd name="connsiteY83" fmla="*/ 1238250 h 1752600"/>
                <a:gd name="connsiteX84" fmla="*/ 2833687 w 3128973"/>
                <a:gd name="connsiteY84" fmla="*/ 1276350 h 1752600"/>
                <a:gd name="connsiteX85" fmla="*/ 2895600 w 3128973"/>
                <a:gd name="connsiteY85" fmla="*/ 1333500 h 1752600"/>
                <a:gd name="connsiteX86" fmla="*/ 2900362 w 3128973"/>
                <a:gd name="connsiteY86" fmla="*/ 1352550 h 1752600"/>
                <a:gd name="connsiteX87" fmla="*/ 2928937 w 3128973"/>
                <a:gd name="connsiteY87" fmla="*/ 1395412 h 1752600"/>
                <a:gd name="connsiteX88" fmla="*/ 2943225 w 3128973"/>
                <a:gd name="connsiteY88" fmla="*/ 1404937 h 1752600"/>
                <a:gd name="connsiteX89" fmla="*/ 2957512 w 3128973"/>
                <a:gd name="connsiteY89" fmla="*/ 1419225 h 1752600"/>
                <a:gd name="connsiteX90" fmla="*/ 2986087 w 3128973"/>
                <a:gd name="connsiteY90" fmla="*/ 1443037 h 1752600"/>
                <a:gd name="connsiteX91" fmla="*/ 3000375 w 3128973"/>
                <a:gd name="connsiteY91" fmla="*/ 1462087 h 1752600"/>
                <a:gd name="connsiteX92" fmla="*/ 3016395 w 3128973"/>
                <a:gd name="connsiteY92" fmla="*/ 1476222 h 1752600"/>
                <a:gd name="connsiteX93" fmla="*/ 3028950 w 3128973"/>
                <a:gd name="connsiteY93" fmla="*/ 1495425 h 1752600"/>
                <a:gd name="connsiteX94" fmla="*/ 3043237 w 3128973"/>
                <a:gd name="connsiteY94" fmla="*/ 1552575 h 1752600"/>
                <a:gd name="connsiteX95" fmla="*/ 3052762 w 3128973"/>
                <a:gd name="connsiteY95" fmla="*/ 1566862 h 1752600"/>
                <a:gd name="connsiteX96" fmla="*/ 3057525 w 3128973"/>
                <a:gd name="connsiteY96" fmla="*/ 1581150 h 1752600"/>
                <a:gd name="connsiteX97" fmla="*/ 3067050 w 3128973"/>
                <a:gd name="connsiteY97" fmla="*/ 1662112 h 1752600"/>
                <a:gd name="connsiteX98" fmla="*/ 3071812 w 3128973"/>
                <a:gd name="connsiteY98" fmla="*/ 1676400 h 1752600"/>
                <a:gd name="connsiteX99" fmla="*/ 3100387 w 3128973"/>
                <a:gd name="connsiteY99" fmla="*/ 1690687 h 1752600"/>
                <a:gd name="connsiteX100" fmla="*/ 3114675 w 3128973"/>
                <a:gd name="connsiteY100" fmla="*/ 1685925 h 1752600"/>
                <a:gd name="connsiteX101" fmla="*/ 3124200 w 3128973"/>
                <a:gd name="connsiteY101" fmla="*/ 1671637 h 1752600"/>
                <a:gd name="connsiteX102" fmla="*/ 3128973 w 3128973"/>
                <a:gd name="connsiteY102" fmla="*/ 1651467 h 1752600"/>
                <a:gd name="connsiteX103" fmla="*/ 3128021 w 3128973"/>
                <a:gd name="connsiteY103" fmla="*/ 1710279 h 1752600"/>
                <a:gd name="connsiteX104" fmla="*/ 3043237 w 3128973"/>
                <a:gd name="connsiteY104" fmla="*/ 1714500 h 1752600"/>
                <a:gd name="connsiteX105" fmla="*/ 3028950 w 3128973"/>
                <a:gd name="connsiteY105" fmla="*/ 1728787 h 1752600"/>
                <a:gd name="connsiteX106" fmla="*/ 2986087 w 3128973"/>
                <a:gd name="connsiteY106" fmla="*/ 1738312 h 1752600"/>
                <a:gd name="connsiteX107" fmla="*/ 2971800 w 3128973"/>
                <a:gd name="connsiteY107" fmla="*/ 1743075 h 1752600"/>
                <a:gd name="connsiteX108" fmla="*/ 2943225 w 3128973"/>
                <a:gd name="connsiteY108" fmla="*/ 1738312 h 1752600"/>
                <a:gd name="connsiteX109" fmla="*/ 2928937 w 3128973"/>
                <a:gd name="connsiteY109" fmla="*/ 1747837 h 1752600"/>
                <a:gd name="connsiteX110" fmla="*/ 2914650 w 3128973"/>
                <a:gd name="connsiteY110" fmla="*/ 1752600 h 1752600"/>
                <a:gd name="connsiteX111" fmla="*/ 2895600 w 3128973"/>
                <a:gd name="connsiteY111" fmla="*/ 1724025 h 1752600"/>
                <a:gd name="connsiteX112" fmla="*/ 2883310 w 3128973"/>
                <a:gd name="connsiteY112" fmla="*/ 1701201 h 1752600"/>
                <a:gd name="connsiteX113" fmla="*/ 2883805 w 3128973"/>
                <a:gd name="connsiteY113" fmla="*/ 1696138 h 1752600"/>
                <a:gd name="connsiteX114" fmla="*/ 2871787 w 3128973"/>
                <a:gd name="connsiteY114" fmla="*/ 1685925 h 1752600"/>
                <a:gd name="connsiteX115" fmla="*/ 2847975 w 3128973"/>
                <a:gd name="connsiteY115" fmla="*/ 1657350 h 1752600"/>
                <a:gd name="connsiteX116" fmla="*/ 2834034 w 3128973"/>
                <a:gd name="connsiteY116" fmla="*/ 1637762 h 1752600"/>
                <a:gd name="connsiteX117" fmla="*/ 2814637 w 3128973"/>
                <a:gd name="connsiteY117" fmla="*/ 1619250 h 1752600"/>
                <a:gd name="connsiteX118" fmla="*/ 2809875 w 3128973"/>
                <a:gd name="connsiteY118" fmla="*/ 1604962 h 1752600"/>
                <a:gd name="connsiteX119" fmla="*/ 2795587 w 3128973"/>
                <a:gd name="connsiteY119" fmla="*/ 1600200 h 1752600"/>
                <a:gd name="connsiteX120" fmla="*/ 2781300 w 3128973"/>
                <a:gd name="connsiteY120" fmla="*/ 1590675 h 1752600"/>
                <a:gd name="connsiteX121" fmla="*/ 2752725 w 3128973"/>
                <a:gd name="connsiteY121" fmla="*/ 1581150 h 1752600"/>
                <a:gd name="connsiteX122" fmla="*/ 2733675 w 3128973"/>
                <a:gd name="connsiteY122" fmla="*/ 1625600 h 1752600"/>
                <a:gd name="connsiteX123" fmla="*/ 2709862 w 3128973"/>
                <a:gd name="connsiteY123" fmla="*/ 1619250 h 1752600"/>
                <a:gd name="connsiteX124" fmla="*/ 2723566 w 3128973"/>
                <a:gd name="connsiteY124" fmla="*/ 1590361 h 1752600"/>
                <a:gd name="connsiteX125" fmla="*/ 2674937 w 3128973"/>
                <a:gd name="connsiteY125" fmla="*/ 1560512 h 1752600"/>
                <a:gd name="connsiteX126" fmla="*/ 2643187 w 3128973"/>
                <a:gd name="connsiteY126" fmla="*/ 1495425 h 1752600"/>
                <a:gd name="connsiteX127" fmla="*/ 2628900 w 3128973"/>
                <a:gd name="connsiteY127" fmla="*/ 1490662 h 1752600"/>
                <a:gd name="connsiteX128" fmla="*/ 2595562 w 3128973"/>
                <a:gd name="connsiteY128" fmla="*/ 1481137 h 1752600"/>
                <a:gd name="connsiteX129" fmla="*/ 2581275 w 3128973"/>
                <a:gd name="connsiteY129" fmla="*/ 1466850 h 1752600"/>
                <a:gd name="connsiteX130" fmla="*/ 2552700 w 3128973"/>
                <a:gd name="connsiteY130" fmla="*/ 1457325 h 1752600"/>
                <a:gd name="connsiteX131" fmla="*/ 2538412 w 3128973"/>
                <a:gd name="connsiteY131" fmla="*/ 1447800 h 1752600"/>
                <a:gd name="connsiteX132" fmla="*/ 2519362 w 3128973"/>
                <a:gd name="connsiteY132" fmla="*/ 1443037 h 1752600"/>
                <a:gd name="connsiteX133" fmla="*/ 2490787 w 3128973"/>
                <a:gd name="connsiteY133" fmla="*/ 1433512 h 1752600"/>
                <a:gd name="connsiteX134" fmla="*/ 2476500 w 3128973"/>
                <a:gd name="connsiteY134" fmla="*/ 1428750 h 1752600"/>
                <a:gd name="connsiteX135" fmla="*/ 2466975 w 3128973"/>
                <a:gd name="connsiteY135" fmla="*/ 1414462 h 1752600"/>
                <a:gd name="connsiteX136" fmla="*/ 2447925 w 3128973"/>
                <a:gd name="connsiteY136" fmla="*/ 1409700 h 1752600"/>
                <a:gd name="connsiteX137" fmla="*/ 2309812 w 3128973"/>
                <a:gd name="connsiteY137" fmla="*/ 1395412 h 1752600"/>
                <a:gd name="connsiteX138" fmla="*/ 2295525 w 3128973"/>
                <a:gd name="connsiteY138" fmla="*/ 1390650 h 1752600"/>
                <a:gd name="connsiteX139" fmla="*/ 2257425 w 3128973"/>
                <a:gd name="connsiteY139" fmla="*/ 1381125 h 1752600"/>
                <a:gd name="connsiteX140" fmla="*/ 2238375 w 3128973"/>
                <a:gd name="connsiteY140" fmla="*/ 1366837 h 1752600"/>
                <a:gd name="connsiteX141" fmla="*/ 2224087 w 3128973"/>
                <a:gd name="connsiteY141" fmla="*/ 1362075 h 1752600"/>
                <a:gd name="connsiteX142" fmla="*/ 2176462 w 3128973"/>
                <a:gd name="connsiteY142" fmla="*/ 1338262 h 1752600"/>
                <a:gd name="connsiteX143" fmla="*/ 2162175 w 3128973"/>
                <a:gd name="connsiteY143" fmla="*/ 1328737 h 1752600"/>
                <a:gd name="connsiteX144" fmla="*/ 2114550 w 3128973"/>
                <a:gd name="connsiteY144" fmla="*/ 1314450 h 1752600"/>
                <a:gd name="connsiteX145" fmla="*/ 2100262 w 3128973"/>
                <a:gd name="connsiteY145" fmla="*/ 1300162 h 1752600"/>
                <a:gd name="connsiteX146" fmla="*/ 2085975 w 3128973"/>
                <a:gd name="connsiteY146" fmla="*/ 1295400 h 1752600"/>
                <a:gd name="connsiteX147" fmla="*/ 2055019 w 3128973"/>
                <a:gd name="connsiteY147" fmla="*/ 1290637 h 1752600"/>
                <a:gd name="connsiteX148" fmla="*/ 2028824 w 3128973"/>
                <a:gd name="connsiteY148" fmla="*/ 1283494 h 1752600"/>
                <a:gd name="connsiteX149" fmla="*/ 2005012 w 3128973"/>
                <a:gd name="connsiteY149" fmla="*/ 1271587 h 1752600"/>
                <a:gd name="connsiteX150" fmla="*/ 1985962 w 3128973"/>
                <a:gd name="connsiteY150" fmla="*/ 1262062 h 1752600"/>
                <a:gd name="connsiteX151" fmla="*/ 1971675 w 3128973"/>
                <a:gd name="connsiteY151" fmla="*/ 1257300 h 1752600"/>
                <a:gd name="connsiteX152" fmla="*/ 1943100 w 3128973"/>
                <a:gd name="connsiteY152" fmla="*/ 1238250 h 1752600"/>
                <a:gd name="connsiteX153" fmla="*/ 1914525 w 3128973"/>
                <a:gd name="connsiteY153" fmla="*/ 1219200 h 1752600"/>
                <a:gd name="connsiteX154" fmla="*/ 1885950 w 3128973"/>
                <a:gd name="connsiteY154" fmla="*/ 1209675 h 1752600"/>
                <a:gd name="connsiteX155" fmla="*/ 1843087 w 3128973"/>
                <a:gd name="connsiteY155" fmla="*/ 1195387 h 1752600"/>
                <a:gd name="connsiteX156" fmla="*/ 1757362 w 3128973"/>
                <a:gd name="connsiteY156" fmla="*/ 1185862 h 1752600"/>
                <a:gd name="connsiteX157" fmla="*/ 1700212 w 3128973"/>
                <a:gd name="connsiteY157" fmla="*/ 1166812 h 1752600"/>
                <a:gd name="connsiteX158" fmla="*/ 1671637 w 3128973"/>
                <a:gd name="connsiteY158" fmla="*/ 1147762 h 1752600"/>
                <a:gd name="connsiteX159" fmla="*/ 1652587 w 3128973"/>
                <a:gd name="connsiteY159" fmla="*/ 1138237 h 1752600"/>
                <a:gd name="connsiteX160" fmla="*/ 1638300 w 3128973"/>
                <a:gd name="connsiteY160" fmla="*/ 1128712 h 1752600"/>
                <a:gd name="connsiteX161" fmla="*/ 1590675 w 3128973"/>
                <a:gd name="connsiteY161" fmla="*/ 1138238 h 1752600"/>
                <a:gd name="connsiteX162" fmla="*/ 1559719 w 3128973"/>
                <a:gd name="connsiteY162" fmla="*/ 1109662 h 1752600"/>
                <a:gd name="connsiteX163" fmla="*/ 1528762 w 3128973"/>
                <a:gd name="connsiteY163" fmla="*/ 1085850 h 1752600"/>
                <a:gd name="connsiteX164" fmla="*/ 1514475 w 3128973"/>
                <a:gd name="connsiteY164" fmla="*/ 1081087 h 1752600"/>
                <a:gd name="connsiteX165" fmla="*/ 1470025 w 3128973"/>
                <a:gd name="connsiteY165" fmla="*/ 1130300 h 1752600"/>
                <a:gd name="connsiteX166" fmla="*/ 1433512 w 3128973"/>
                <a:gd name="connsiteY166" fmla="*/ 1108075 h 1752600"/>
                <a:gd name="connsiteX167" fmla="*/ 1423987 w 3128973"/>
                <a:gd name="connsiteY167" fmla="*/ 1087437 h 1752600"/>
                <a:gd name="connsiteX168" fmla="*/ 1381125 w 3128973"/>
                <a:gd name="connsiteY168" fmla="*/ 1095375 h 1752600"/>
                <a:gd name="connsiteX169" fmla="*/ 1383506 w 3128973"/>
                <a:gd name="connsiteY169" fmla="*/ 1028700 h 1752600"/>
                <a:gd name="connsiteX170" fmla="*/ 1366838 w 3128973"/>
                <a:gd name="connsiteY170" fmla="*/ 1019175 h 1752600"/>
                <a:gd name="connsiteX171" fmla="*/ 1335881 w 3128973"/>
                <a:gd name="connsiteY171" fmla="*/ 1007268 h 1752600"/>
                <a:gd name="connsiteX172" fmla="*/ 1319213 w 3128973"/>
                <a:gd name="connsiteY172" fmla="*/ 1007268 h 1752600"/>
                <a:gd name="connsiteX173" fmla="*/ 1295400 w 3128973"/>
                <a:gd name="connsiteY173" fmla="*/ 976312 h 1752600"/>
                <a:gd name="connsiteX174" fmla="*/ 1281112 w 3128973"/>
                <a:gd name="connsiteY174" fmla="*/ 966787 h 1752600"/>
                <a:gd name="connsiteX175" fmla="*/ 1238250 w 3128973"/>
                <a:gd name="connsiteY175" fmla="*/ 947737 h 1752600"/>
                <a:gd name="connsiteX176" fmla="*/ 1212850 w 3128973"/>
                <a:gd name="connsiteY176" fmla="*/ 995362 h 1752600"/>
                <a:gd name="connsiteX177" fmla="*/ 1201737 w 3128973"/>
                <a:gd name="connsiteY177" fmla="*/ 987425 h 1752600"/>
                <a:gd name="connsiteX178" fmla="*/ 1163637 w 3128973"/>
                <a:gd name="connsiteY178" fmla="*/ 952277 h 1752600"/>
                <a:gd name="connsiteX179" fmla="*/ 1133475 w 3128973"/>
                <a:gd name="connsiteY179" fmla="*/ 925512 h 1752600"/>
                <a:gd name="connsiteX180" fmla="*/ 1085850 w 3128973"/>
                <a:gd name="connsiteY180" fmla="*/ 859631 h 1752600"/>
                <a:gd name="connsiteX181" fmla="*/ 1071562 w 3128973"/>
                <a:gd name="connsiteY181" fmla="*/ 842962 h 1752600"/>
                <a:gd name="connsiteX182" fmla="*/ 1047750 w 3128973"/>
                <a:gd name="connsiteY182" fmla="*/ 819150 h 1752600"/>
                <a:gd name="connsiteX183" fmla="*/ 1028700 w 3128973"/>
                <a:gd name="connsiteY183" fmla="*/ 804862 h 1752600"/>
                <a:gd name="connsiteX184" fmla="*/ 1018076 w 3128973"/>
                <a:gd name="connsiteY184" fmla="*/ 794816 h 1752600"/>
                <a:gd name="connsiteX185" fmla="*/ 1000125 w 3128973"/>
                <a:gd name="connsiteY185" fmla="*/ 785812 h 1752600"/>
                <a:gd name="connsiteX186" fmla="*/ 984342 w 3128973"/>
                <a:gd name="connsiteY186" fmla="*/ 773578 h 1752600"/>
                <a:gd name="connsiteX187" fmla="*/ 957262 w 3128973"/>
                <a:gd name="connsiteY187" fmla="*/ 766762 h 1752600"/>
                <a:gd name="connsiteX188" fmla="*/ 938212 w 3128973"/>
                <a:gd name="connsiteY188" fmla="*/ 757237 h 1752600"/>
                <a:gd name="connsiteX189" fmla="*/ 904875 w 3128973"/>
                <a:gd name="connsiteY189" fmla="*/ 747712 h 1752600"/>
                <a:gd name="connsiteX190" fmla="*/ 862012 w 3128973"/>
                <a:gd name="connsiteY190" fmla="*/ 723900 h 1752600"/>
                <a:gd name="connsiteX191" fmla="*/ 795337 w 3128973"/>
                <a:gd name="connsiteY191" fmla="*/ 685800 h 1752600"/>
                <a:gd name="connsiteX192" fmla="*/ 776287 w 3128973"/>
                <a:gd name="connsiteY192" fmla="*/ 666750 h 1752600"/>
                <a:gd name="connsiteX193" fmla="*/ 762000 w 3128973"/>
                <a:gd name="connsiteY193" fmla="*/ 661987 h 1752600"/>
                <a:gd name="connsiteX194" fmla="*/ 742950 w 3128973"/>
                <a:gd name="connsiteY194" fmla="*/ 647700 h 1752600"/>
                <a:gd name="connsiteX195" fmla="*/ 709612 w 3128973"/>
                <a:gd name="connsiteY195" fmla="*/ 638175 h 1752600"/>
                <a:gd name="connsiteX196" fmla="*/ 695325 w 3128973"/>
                <a:gd name="connsiteY196" fmla="*/ 628650 h 1752600"/>
                <a:gd name="connsiteX197" fmla="*/ 681037 w 3128973"/>
                <a:gd name="connsiteY197" fmla="*/ 623887 h 1752600"/>
                <a:gd name="connsiteX198" fmla="*/ 676275 w 3128973"/>
                <a:gd name="connsiteY198" fmla="*/ 604837 h 1752600"/>
                <a:gd name="connsiteX199" fmla="*/ 666750 w 3128973"/>
                <a:gd name="connsiteY199" fmla="*/ 576262 h 1752600"/>
                <a:gd name="connsiteX200" fmla="*/ 661987 w 3128973"/>
                <a:gd name="connsiteY200" fmla="*/ 561975 h 1752600"/>
                <a:gd name="connsiteX201" fmla="*/ 666750 w 3128973"/>
                <a:gd name="connsiteY201" fmla="*/ 538162 h 1752600"/>
                <a:gd name="connsiteX202" fmla="*/ 638175 w 3128973"/>
                <a:gd name="connsiteY202" fmla="*/ 514350 h 1752600"/>
                <a:gd name="connsiteX203" fmla="*/ 619125 w 3128973"/>
                <a:gd name="connsiteY203" fmla="*/ 500062 h 1752600"/>
                <a:gd name="connsiteX204" fmla="*/ 576262 w 3128973"/>
                <a:gd name="connsiteY204" fmla="*/ 490537 h 1752600"/>
                <a:gd name="connsiteX205" fmla="*/ 542925 w 3128973"/>
                <a:gd name="connsiteY205" fmla="*/ 452437 h 1752600"/>
                <a:gd name="connsiteX206" fmla="*/ 525462 w 3128973"/>
                <a:gd name="connsiteY206" fmla="*/ 485775 h 1752600"/>
                <a:gd name="connsiteX207" fmla="*/ 504825 w 3128973"/>
                <a:gd name="connsiteY207" fmla="*/ 466725 h 1752600"/>
                <a:gd name="connsiteX208" fmla="*/ 454025 w 3128973"/>
                <a:gd name="connsiteY208" fmla="*/ 466725 h 1752600"/>
                <a:gd name="connsiteX209" fmla="*/ 407987 w 3128973"/>
                <a:gd name="connsiteY209" fmla="*/ 473075 h 1752600"/>
                <a:gd name="connsiteX210" fmla="*/ 395287 w 3128973"/>
                <a:gd name="connsiteY210" fmla="*/ 409575 h 1752600"/>
                <a:gd name="connsiteX211" fmla="*/ 376237 w 3128973"/>
                <a:gd name="connsiteY211" fmla="*/ 404812 h 1752600"/>
                <a:gd name="connsiteX212" fmla="*/ 342900 w 3128973"/>
                <a:gd name="connsiteY212" fmla="*/ 400050 h 1752600"/>
                <a:gd name="connsiteX213" fmla="*/ 314325 w 3128973"/>
                <a:gd name="connsiteY213" fmla="*/ 390525 h 1752600"/>
                <a:gd name="connsiteX214" fmla="*/ 273844 w 3128973"/>
                <a:gd name="connsiteY214" fmla="*/ 383382 h 1752600"/>
                <a:gd name="connsiteX215" fmla="*/ 257175 w 3128973"/>
                <a:gd name="connsiteY215" fmla="*/ 371475 h 1752600"/>
                <a:gd name="connsiteX216" fmla="*/ 245269 w 3128973"/>
                <a:gd name="connsiteY216" fmla="*/ 364331 h 1752600"/>
                <a:gd name="connsiteX217" fmla="*/ 223837 w 3128973"/>
                <a:gd name="connsiteY217" fmla="*/ 347662 h 1752600"/>
                <a:gd name="connsiteX218" fmla="*/ 190500 w 3128973"/>
                <a:gd name="connsiteY218" fmla="*/ 338137 h 1752600"/>
                <a:gd name="connsiteX219" fmla="*/ 147637 w 3128973"/>
                <a:gd name="connsiteY219" fmla="*/ 333375 h 1752600"/>
                <a:gd name="connsiteX220" fmla="*/ 119062 w 3128973"/>
                <a:gd name="connsiteY220" fmla="*/ 323850 h 1752600"/>
                <a:gd name="connsiteX221" fmla="*/ 104775 w 3128973"/>
                <a:gd name="connsiteY221" fmla="*/ 319087 h 1752600"/>
                <a:gd name="connsiteX222" fmla="*/ 61912 w 3128973"/>
                <a:gd name="connsiteY222" fmla="*/ 300037 h 1752600"/>
                <a:gd name="connsiteX223" fmla="*/ 23812 w 3128973"/>
                <a:gd name="connsiteY223" fmla="*/ 290512 h 1752600"/>
                <a:gd name="connsiteX224" fmla="*/ 9525 w 3128973"/>
                <a:gd name="connsiteY224" fmla="*/ 261937 h 1752600"/>
                <a:gd name="connsiteX225" fmla="*/ 0 w 3128973"/>
                <a:gd name="connsiteY225" fmla="*/ 290512 h 1752600"/>
                <a:gd name="connsiteX226" fmla="*/ 4762 w 3128973"/>
                <a:gd name="connsiteY226" fmla="*/ 247650 h 1752600"/>
                <a:gd name="connsiteX227" fmla="*/ 19050 w 3128973"/>
                <a:gd name="connsiteY227" fmla="*/ 200025 h 1752600"/>
                <a:gd name="connsiteX228" fmla="*/ 23812 w 3128973"/>
                <a:gd name="connsiteY228" fmla="*/ 185737 h 1752600"/>
                <a:gd name="connsiteX229" fmla="*/ 71437 w 3128973"/>
                <a:gd name="connsiteY229" fmla="*/ 171450 h 1752600"/>
                <a:gd name="connsiteX230" fmla="*/ 85725 w 3128973"/>
                <a:gd name="connsiteY230" fmla="*/ 166687 h 1752600"/>
                <a:gd name="connsiteX231" fmla="*/ 100012 w 3128973"/>
                <a:gd name="connsiteY231" fmla="*/ 161925 h 1752600"/>
                <a:gd name="connsiteX232" fmla="*/ 114300 w 3128973"/>
                <a:gd name="connsiteY232" fmla="*/ 152400 h 1752600"/>
                <a:gd name="connsiteX233" fmla="*/ 133350 w 3128973"/>
                <a:gd name="connsiteY233" fmla="*/ 123825 h 1752600"/>
                <a:gd name="connsiteX234" fmla="*/ 138112 w 3128973"/>
                <a:gd name="connsiteY234" fmla="*/ 109537 h 1752600"/>
                <a:gd name="connsiteX235" fmla="*/ 135467 w 3128973"/>
                <a:gd name="connsiteY235" fmla="*/ 97059 h 1752600"/>
                <a:gd name="connsiteX236" fmla="*/ 142875 w 3128973"/>
                <a:gd name="connsiteY236" fmla="*/ 71437 h 1752600"/>
                <a:gd name="connsiteX237" fmla="*/ 157162 w 3128973"/>
                <a:gd name="connsiteY237" fmla="*/ 57150 h 1752600"/>
                <a:gd name="connsiteX238" fmla="*/ 200025 w 3128973"/>
                <a:gd name="connsiteY238" fmla="*/ 33337 h 1752600"/>
                <a:gd name="connsiteX239" fmla="*/ 309562 w 3128973"/>
                <a:gd name="connsiteY239" fmla="*/ 28575 h 1752600"/>
                <a:gd name="connsiteX240" fmla="*/ 400050 w 3128973"/>
                <a:gd name="connsiteY240" fmla="*/ 14287 h 1752600"/>
                <a:gd name="connsiteX241" fmla="*/ 414337 w 3128973"/>
                <a:gd name="connsiteY241" fmla="*/ 9525 h 1752600"/>
                <a:gd name="connsiteX242" fmla="*/ 481012 w 3128973"/>
                <a:gd name="connsiteY242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555081 w 3128973"/>
                <a:gd name="connsiteY31" fmla="*/ 204444 h 1752600"/>
                <a:gd name="connsiteX32" fmla="*/ 2046801 w 3128973"/>
                <a:gd name="connsiteY32" fmla="*/ 262295 h 1752600"/>
                <a:gd name="connsiteX33" fmla="*/ 2033587 w 3128973"/>
                <a:gd name="connsiteY33" fmla="*/ 266700 h 1752600"/>
                <a:gd name="connsiteX34" fmla="*/ 2019300 w 3128973"/>
                <a:gd name="connsiteY34" fmla="*/ 280987 h 1752600"/>
                <a:gd name="connsiteX35" fmla="*/ 1990725 w 3128973"/>
                <a:gd name="connsiteY35" fmla="*/ 300037 h 1752600"/>
                <a:gd name="connsiteX36" fmla="*/ 1981200 w 3128973"/>
                <a:gd name="connsiteY36" fmla="*/ 314325 h 1752600"/>
                <a:gd name="connsiteX37" fmla="*/ 1981200 w 3128973"/>
                <a:gd name="connsiteY37" fmla="*/ 419100 h 1752600"/>
                <a:gd name="connsiteX38" fmla="*/ 1985962 w 3128973"/>
                <a:gd name="connsiteY38" fmla="*/ 433387 h 1752600"/>
                <a:gd name="connsiteX39" fmla="*/ 2000250 w 3128973"/>
                <a:gd name="connsiteY39" fmla="*/ 442912 h 1752600"/>
                <a:gd name="connsiteX40" fmla="*/ 2005012 w 3128973"/>
                <a:gd name="connsiteY40" fmla="*/ 457200 h 1752600"/>
                <a:gd name="connsiteX41" fmla="*/ 2005012 w 3128973"/>
                <a:gd name="connsiteY41" fmla="*/ 561975 h 1752600"/>
                <a:gd name="connsiteX42" fmla="*/ 2009775 w 3128973"/>
                <a:gd name="connsiteY42" fmla="*/ 576262 h 1752600"/>
                <a:gd name="connsiteX43" fmla="*/ 2024062 w 3128973"/>
                <a:gd name="connsiteY43" fmla="*/ 581025 h 1752600"/>
                <a:gd name="connsiteX44" fmla="*/ 2038350 w 3128973"/>
                <a:gd name="connsiteY44" fmla="*/ 595312 h 1752600"/>
                <a:gd name="connsiteX45" fmla="*/ 2052637 w 3128973"/>
                <a:gd name="connsiteY45" fmla="*/ 600075 h 1752600"/>
                <a:gd name="connsiteX46" fmla="*/ 2133600 w 3128973"/>
                <a:gd name="connsiteY46" fmla="*/ 590550 h 1752600"/>
                <a:gd name="connsiteX47" fmla="*/ 2147887 w 3128973"/>
                <a:gd name="connsiteY47" fmla="*/ 585787 h 1752600"/>
                <a:gd name="connsiteX48" fmla="*/ 2195512 w 3128973"/>
                <a:gd name="connsiteY48" fmla="*/ 600075 h 1752600"/>
                <a:gd name="connsiteX49" fmla="*/ 2205037 w 3128973"/>
                <a:gd name="connsiteY49" fmla="*/ 614362 h 1752600"/>
                <a:gd name="connsiteX50" fmla="*/ 2219325 w 3128973"/>
                <a:gd name="connsiteY50" fmla="*/ 628650 h 1752600"/>
                <a:gd name="connsiteX51" fmla="*/ 2224087 w 3128973"/>
                <a:gd name="connsiteY51" fmla="*/ 642937 h 1752600"/>
                <a:gd name="connsiteX52" fmla="*/ 2233612 w 3128973"/>
                <a:gd name="connsiteY52" fmla="*/ 657225 h 1752600"/>
                <a:gd name="connsiteX53" fmla="*/ 2247900 w 3128973"/>
                <a:gd name="connsiteY53" fmla="*/ 685800 h 1752600"/>
                <a:gd name="connsiteX54" fmla="*/ 2262187 w 3128973"/>
                <a:gd name="connsiteY54" fmla="*/ 733425 h 1752600"/>
                <a:gd name="connsiteX55" fmla="*/ 2305050 w 3128973"/>
                <a:gd name="connsiteY55" fmla="*/ 771525 h 1752600"/>
                <a:gd name="connsiteX56" fmla="*/ 2319337 w 3128973"/>
                <a:gd name="connsiteY56" fmla="*/ 804862 h 1752600"/>
                <a:gd name="connsiteX57" fmla="*/ 2333625 w 3128973"/>
                <a:gd name="connsiteY57" fmla="*/ 819150 h 1752600"/>
                <a:gd name="connsiteX58" fmla="*/ 2338387 w 3128973"/>
                <a:gd name="connsiteY58" fmla="*/ 833437 h 1752600"/>
                <a:gd name="connsiteX59" fmla="*/ 2352675 w 3128973"/>
                <a:gd name="connsiteY59" fmla="*/ 847725 h 1752600"/>
                <a:gd name="connsiteX60" fmla="*/ 2395537 w 3128973"/>
                <a:gd name="connsiteY60" fmla="*/ 871537 h 1752600"/>
                <a:gd name="connsiteX61" fmla="*/ 2409825 w 3128973"/>
                <a:gd name="connsiteY61" fmla="*/ 890587 h 1752600"/>
                <a:gd name="connsiteX62" fmla="*/ 2424112 w 3128973"/>
                <a:gd name="connsiteY62" fmla="*/ 895350 h 1752600"/>
                <a:gd name="connsiteX63" fmla="*/ 2433637 w 3128973"/>
                <a:gd name="connsiteY63" fmla="*/ 914400 h 1752600"/>
                <a:gd name="connsiteX64" fmla="*/ 2466975 w 3128973"/>
                <a:gd name="connsiteY64" fmla="*/ 942975 h 1752600"/>
                <a:gd name="connsiteX65" fmla="*/ 2474637 w 3128973"/>
                <a:gd name="connsiteY65" fmla="*/ 954728 h 1752600"/>
                <a:gd name="connsiteX66" fmla="*/ 2495550 w 3128973"/>
                <a:gd name="connsiteY66" fmla="*/ 971550 h 1752600"/>
                <a:gd name="connsiteX67" fmla="*/ 2508776 w 3128973"/>
                <a:gd name="connsiteY67" fmla="*/ 983894 h 1752600"/>
                <a:gd name="connsiteX68" fmla="*/ 2533650 w 3128973"/>
                <a:gd name="connsiteY68" fmla="*/ 1000125 h 1752600"/>
                <a:gd name="connsiteX69" fmla="*/ 2547937 w 3128973"/>
                <a:gd name="connsiteY69" fmla="*/ 1028700 h 1752600"/>
                <a:gd name="connsiteX70" fmla="*/ 2552700 w 3128973"/>
                <a:gd name="connsiteY70" fmla="*/ 1042987 h 1752600"/>
                <a:gd name="connsiteX71" fmla="*/ 2576512 w 3128973"/>
                <a:gd name="connsiteY71" fmla="*/ 1071562 h 1752600"/>
                <a:gd name="connsiteX72" fmla="*/ 2584921 w 3128973"/>
                <a:gd name="connsiteY72" fmla="*/ 1082873 h 1752600"/>
                <a:gd name="connsiteX73" fmla="*/ 2600325 w 3128973"/>
                <a:gd name="connsiteY73" fmla="*/ 1095375 h 1752600"/>
                <a:gd name="connsiteX74" fmla="*/ 2609850 w 3128973"/>
                <a:gd name="connsiteY74" fmla="*/ 1109662 h 1752600"/>
                <a:gd name="connsiteX75" fmla="*/ 2652712 w 3128973"/>
                <a:gd name="connsiteY75" fmla="*/ 1143000 h 1752600"/>
                <a:gd name="connsiteX76" fmla="*/ 2681287 w 3128973"/>
                <a:gd name="connsiteY76" fmla="*/ 1152525 h 1752600"/>
                <a:gd name="connsiteX77" fmla="*/ 2700337 w 3128973"/>
                <a:gd name="connsiteY77" fmla="*/ 1162050 h 1752600"/>
                <a:gd name="connsiteX78" fmla="*/ 2714625 w 3128973"/>
                <a:gd name="connsiteY78" fmla="*/ 1171575 h 1752600"/>
                <a:gd name="connsiteX79" fmla="*/ 2752725 w 3128973"/>
                <a:gd name="connsiteY79" fmla="*/ 1181100 h 1752600"/>
                <a:gd name="connsiteX80" fmla="*/ 2767012 w 3128973"/>
                <a:gd name="connsiteY80" fmla="*/ 1195387 h 1752600"/>
                <a:gd name="connsiteX81" fmla="*/ 2781300 w 3128973"/>
                <a:gd name="connsiteY81" fmla="*/ 1200150 h 1752600"/>
                <a:gd name="connsiteX82" fmla="*/ 2795587 w 3128973"/>
                <a:gd name="connsiteY82" fmla="*/ 1209675 h 1752600"/>
                <a:gd name="connsiteX83" fmla="*/ 2805112 w 3128973"/>
                <a:gd name="connsiteY83" fmla="*/ 1223962 h 1752600"/>
                <a:gd name="connsiteX84" fmla="*/ 2809875 w 3128973"/>
                <a:gd name="connsiteY84" fmla="*/ 1238250 h 1752600"/>
                <a:gd name="connsiteX85" fmla="*/ 2833687 w 3128973"/>
                <a:gd name="connsiteY85" fmla="*/ 1276350 h 1752600"/>
                <a:gd name="connsiteX86" fmla="*/ 2895600 w 3128973"/>
                <a:gd name="connsiteY86" fmla="*/ 1333500 h 1752600"/>
                <a:gd name="connsiteX87" fmla="*/ 2900362 w 3128973"/>
                <a:gd name="connsiteY87" fmla="*/ 1352550 h 1752600"/>
                <a:gd name="connsiteX88" fmla="*/ 2928937 w 3128973"/>
                <a:gd name="connsiteY88" fmla="*/ 1395412 h 1752600"/>
                <a:gd name="connsiteX89" fmla="*/ 2943225 w 3128973"/>
                <a:gd name="connsiteY89" fmla="*/ 1404937 h 1752600"/>
                <a:gd name="connsiteX90" fmla="*/ 2957512 w 3128973"/>
                <a:gd name="connsiteY90" fmla="*/ 1419225 h 1752600"/>
                <a:gd name="connsiteX91" fmla="*/ 2986087 w 3128973"/>
                <a:gd name="connsiteY91" fmla="*/ 1443037 h 1752600"/>
                <a:gd name="connsiteX92" fmla="*/ 3000375 w 3128973"/>
                <a:gd name="connsiteY92" fmla="*/ 1462087 h 1752600"/>
                <a:gd name="connsiteX93" fmla="*/ 3016395 w 3128973"/>
                <a:gd name="connsiteY93" fmla="*/ 1476222 h 1752600"/>
                <a:gd name="connsiteX94" fmla="*/ 3028950 w 3128973"/>
                <a:gd name="connsiteY94" fmla="*/ 1495425 h 1752600"/>
                <a:gd name="connsiteX95" fmla="*/ 3043237 w 3128973"/>
                <a:gd name="connsiteY95" fmla="*/ 1552575 h 1752600"/>
                <a:gd name="connsiteX96" fmla="*/ 3052762 w 3128973"/>
                <a:gd name="connsiteY96" fmla="*/ 1566862 h 1752600"/>
                <a:gd name="connsiteX97" fmla="*/ 3057525 w 3128973"/>
                <a:gd name="connsiteY97" fmla="*/ 1581150 h 1752600"/>
                <a:gd name="connsiteX98" fmla="*/ 3067050 w 3128973"/>
                <a:gd name="connsiteY98" fmla="*/ 1662112 h 1752600"/>
                <a:gd name="connsiteX99" fmla="*/ 3071812 w 3128973"/>
                <a:gd name="connsiteY99" fmla="*/ 1676400 h 1752600"/>
                <a:gd name="connsiteX100" fmla="*/ 3100387 w 3128973"/>
                <a:gd name="connsiteY100" fmla="*/ 1690687 h 1752600"/>
                <a:gd name="connsiteX101" fmla="*/ 3114675 w 3128973"/>
                <a:gd name="connsiteY101" fmla="*/ 1685925 h 1752600"/>
                <a:gd name="connsiteX102" fmla="*/ 3124200 w 3128973"/>
                <a:gd name="connsiteY102" fmla="*/ 1671637 h 1752600"/>
                <a:gd name="connsiteX103" fmla="*/ 3128973 w 3128973"/>
                <a:gd name="connsiteY103" fmla="*/ 1651467 h 1752600"/>
                <a:gd name="connsiteX104" fmla="*/ 3128021 w 3128973"/>
                <a:gd name="connsiteY104" fmla="*/ 1710279 h 1752600"/>
                <a:gd name="connsiteX105" fmla="*/ 3043237 w 3128973"/>
                <a:gd name="connsiteY105" fmla="*/ 1714500 h 1752600"/>
                <a:gd name="connsiteX106" fmla="*/ 3028950 w 3128973"/>
                <a:gd name="connsiteY106" fmla="*/ 1728787 h 1752600"/>
                <a:gd name="connsiteX107" fmla="*/ 2986087 w 3128973"/>
                <a:gd name="connsiteY107" fmla="*/ 1738312 h 1752600"/>
                <a:gd name="connsiteX108" fmla="*/ 2971800 w 3128973"/>
                <a:gd name="connsiteY108" fmla="*/ 1743075 h 1752600"/>
                <a:gd name="connsiteX109" fmla="*/ 2943225 w 3128973"/>
                <a:gd name="connsiteY109" fmla="*/ 1738312 h 1752600"/>
                <a:gd name="connsiteX110" fmla="*/ 2928937 w 3128973"/>
                <a:gd name="connsiteY110" fmla="*/ 1747837 h 1752600"/>
                <a:gd name="connsiteX111" fmla="*/ 2914650 w 3128973"/>
                <a:gd name="connsiteY111" fmla="*/ 1752600 h 1752600"/>
                <a:gd name="connsiteX112" fmla="*/ 2895600 w 3128973"/>
                <a:gd name="connsiteY112" fmla="*/ 1724025 h 1752600"/>
                <a:gd name="connsiteX113" fmla="*/ 2883310 w 3128973"/>
                <a:gd name="connsiteY113" fmla="*/ 1701201 h 1752600"/>
                <a:gd name="connsiteX114" fmla="*/ 2883805 w 3128973"/>
                <a:gd name="connsiteY114" fmla="*/ 1696138 h 1752600"/>
                <a:gd name="connsiteX115" fmla="*/ 2871787 w 3128973"/>
                <a:gd name="connsiteY115" fmla="*/ 1685925 h 1752600"/>
                <a:gd name="connsiteX116" fmla="*/ 2847975 w 3128973"/>
                <a:gd name="connsiteY116" fmla="*/ 1657350 h 1752600"/>
                <a:gd name="connsiteX117" fmla="*/ 2834034 w 3128973"/>
                <a:gd name="connsiteY117" fmla="*/ 1637762 h 1752600"/>
                <a:gd name="connsiteX118" fmla="*/ 2814637 w 3128973"/>
                <a:gd name="connsiteY118" fmla="*/ 1619250 h 1752600"/>
                <a:gd name="connsiteX119" fmla="*/ 2809875 w 3128973"/>
                <a:gd name="connsiteY119" fmla="*/ 1604962 h 1752600"/>
                <a:gd name="connsiteX120" fmla="*/ 2795587 w 3128973"/>
                <a:gd name="connsiteY120" fmla="*/ 1600200 h 1752600"/>
                <a:gd name="connsiteX121" fmla="*/ 2781300 w 3128973"/>
                <a:gd name="connsiteY121" fmla="*/ 1590675 h 1752600"/>
                <a:gd name="connsiteX122" fmla="*/ 2752725 w 3128973"/>
                <a:gd name="connsiteY122" fmla="*/ 1581150 h 1752600"/>
                <a:gd name="connsiteX123" fmla="*/ 2733675 w 3128973"/>
                <a:gd name="connsiteY123" fmla="*/ 1625600 h 1752600"/>
                <a:gd name="connsiteX124" fmla="*/ 2709862 w 3128973"/>
                <a:gd name="connsiteY124" fmla="*/ 1619250 h 1752600"/>
                <a:gd name="connsiteX125" fmla="*/ 2723566 w 3128973"/>
                <a:gd name="connsiteY125" fmla="*/ 1590361 h 1752600"/>
                <a:gd name="connsiteX126" fmla="*/ 2674937 w 3128973"/>
                <a:gd name="connsiteY126" fmla="*/ 1560512 h 1752600"/>
                <a:gd name="connsiteX127" fmla="*/ 2643187 w 3128973"/>
                <a:gd name="connsiteY127" fmla="*/ 1495425 h 1752600"/>
                <a:gd name="connsiteX128" fmla="*/ 2628900 w 3128973"/>
                <a:gd name="connsiteY128" fmla="*/ 1490662 h 1752600"/>
                <a:gd name="connsiteX129" fmla="*/ 2595562 w 3128973"/>
                <a:gd name="connsiteY129" fmla="*/ 1481137 h 1752600"/>
                <a:gd name="connsiteX130" fmla="*/ 2581275 w 3128973"/>
                <a:gd name="connsiteY130" fmla="*/ 1466850 h 1752600"/>
                <a:gd name="connsiteX131" fmla="*/ 2552700 w 3128973"/>
                <a:gd name="connsiteY131" fmla="*/ 1457325 h 1752600"/>
                <a:gd name="connsiteX132" fmla="*/ 2538412 w 3128973"/>
                <a:gd name="connsiteY132" fmla="*/ 1447800 h 1752600"/>
                <a:gd name="connsiteX133" fmla="*/ 2519362 w 3128973"/>
                <a:gd name="connsiteY133" fmla="*/ 1443037 h 1752600"/>
                <a:gd name="connsiteX134" fmla="*/ 2490787 w 3128973"/>
                <a:gd name="connsiteY134" fmla="*/ 1433512 h 1752600"/>
                <a:gd name="connsiteX135" fmla="*/ 2476500 w 3128973"/>
                <a:gd name="connsiteY135" fmla="*/ 1428750 h 1752600"/>
                <a:gd name="connsiteX136" fmla="*/ 2466975 w 3128973"/>
                <a:gd name="connsiteY136" fmla="*/ 1414462 h 1752600"/>
                <a:gd name="connsiteX137" fmla="*/ 2447925 w 3128973"/>
                <a:gd name="connsiteY137" fmla="*/ 1409700 h 1752600"/>
                <a:gd name="connsiteX138" fmla="*/ 2309812 w 3128973"/>
                <a:gd name="connsiteY138" fmla="*/ 1395412 h 1752600"/>
                <a:gd name="connsiteX139" fmla="*/ 2295525 w 3128973"/>
                <a:gd name="connsiteY139" fmla="*/ 1390650 h 1752600"/>
                <a:gd name="connsiteX140" fmla="*/ 2257425 w 3128973"/>
                <a:gd name="connsiteY140" fmla="*/ 1381125 h 1752600"/>
                <a:gd name="connsiteX141" fmla="*/ 2238375 w 3128973"/>
                <a:gd name="connsiteY141" fmla="*/ 1366837 h 1752600"/>
                <a:gd name="connsiteX142" fmla="*/ 2224087 w 3128973"/>
                <a:gd name="connsiteY142" fmla="*/ 1362075 h 1752600"/>
                <a:gd name="connsiteX143" fmla="*/ 2176462 w 3128973"/>
                <a:gd name="connsiteY143" fmla="*/ 1338262 h 1752600"/>
                <a:gd name="connsiteX144" fmla="*/ 2162175 w 3128973"/>
                <a:gd name="connsiteY144" fmla="*/ 1328737 h 1752600"/>
                <a:gd name="connsiteX145" fmla="*/ 2114550 w 3128973"/>
                <a:gd name="connsiteY145" fmla="*/ 1314450 h 1752600"/>
                <a:gd name="connsiteX146" fmla="*/ 2100262 w 3128973"/>
                <a:gd name="connsiteY146" fmla="*/ 1300162 h 1752600"/>
                <a:gd name="connsiteX147" fmla="*/ 2085975 w 3128973"/>
                <a:gd name="connsiteY147" fmla="*/ 1295400 h 1752600"/>
                <a:gd name="connsiteX148" fmla="*/ 2055019 w 3128973"/>
                <a:gd name="connsiteY148" fmla="*/ 1290637 h 1752600"/>
                <a:gd name="connsiteX149" fmla="*/ 2028824 w 3128973"/>
                <a:gd name="connsiteY149" fmla="*/ 1283494 h 1752600"/>
                <a:gd name="connsiteX150" fmla="*/ 2005012 w 3128973"/>
                <a:gd name="connsiteY150" fmla="*/ 1271587 h 1752600"/>
                <a:gd name="connsiteX151" fmla="*/ 1985962 w 3128973"/>
                <a:gd name="connsiteY151" fmla="*/ 1262062 h 1752600"/>
                <a:gd name="connsiteX152" fmla="*/ 1971675 w 3128973"/>
                <a:gd name="connsiteY152" fmla="*/ 1257300 h 1752600"/>
                <a:gd name="connsiteX153" fmla="*/ 1943100 w 3128973"/>
                <a:gd name="connsiteY153" fmla="*/ 1238250 h 1752600"/>
                <a:gd name="connsiteX154" fmla="*/ 1914525 w 3128973"/>
                <a:gd name="connsiteY154" fmla="*/ 1219200 h 1752600"/>
                <a:gd name="connsiteX155" fmla="*/ 1885950 w 3128973"/>
                <a:gd name="connsiteY155" fmla="*/ 1209675 h 1752600"/>
                <a:gd name="connsiteX156" fmla="*/ 1843087 w 3128973"/>
                <a:gd name="connsiteY156" fmla="*/ 1195387 h 1752600"/>
                <a:gd name="connsiteX157" fmla="*/ 1757362 w 3128973"/>
                <a:gd name="connsiteY157" fmla="*/ 1185862 h 1752600"/>
                <a:gd name="connsiteX158" fmla="*/ 1700212 w 3128973"/>
                <a:gd name="connsiteY158" fmla="*/ 1166812 h 1752600"/>
                <a:gd name="connsiteX159" fmla="*/ 1671637 w 3128973"/>
                <a:gd name="connsiteY159" fmla="*/ 1147762 h 1752600"/>
                <a:gd name="connsiteX160" fmla="*/ 1652587 w 3128973"/>
                <a:gd name="connsiteY160" fmla="*/ 1138237 h 1752600"/>
                <a:gd name="connsiteX161" fmla="*/ 1638300 w 3128973"/>
                <a:gd name="connsiteY161" fmla="*/ 1128712 h 1752600"/>
                <a:gd name="connsiteX162" fmla="*/ 1590675 w 3128973"/>
                <a:gd name="connsiteY162" fmla="*/ 1138238 h 1752600"/>
                <a:gd name="connsiteX163" fmla="*/ 1559719 w 3128973"/>
                <a:gd name="connsiteY163" fmla="*/ 1109662 h 1752600"/>
                <a:gd name="connsiteX164" fmla="*/ 1528762 w 3128973"/>
                <a:gd name="connsiteY164" fmla="*/ 1085850 h 1752600"/>
                <a:gd name="connsiteX165" fmla="*/ 1514475 w 3128973"/>
                <a:gd name="connsiteY165" fmla="*/ 1081087 h 1752600"/>
                <a:gd name="connsiteX166" fmla="*/ 1470025 w 3128973"/>
                <a:gd name="connsiteY166" fmla="*/ 1130300 h 1752600"/>
                <a:gd name="connsiteX167" fmla="*/ 1433512 w 3128973"/>
                <a:gd name="connsiteY167" fmla="*/ 1108075 h 1752600"/>
                <a:gd name="connsiteX168" fmla="*/ 1423987 w 3128973"/>
                <a:gd name="connsiteY168" fmla="*/ 1087437 h 1752600"/>
                <a:gd name="connsiteX169" fmla="*/ 1381125 w 3128973"/>
                <a:gd name="connsiteY169" fmla="*/ 1095375 h 1752600"/>
                <a:gd name="connsiteX170" fmla="*/ 1383506 w 3128973"/>
                <a:gd name="connsiteY170" fmla="*/ 1028700 h 1752600"/>
                <a:gd name="connsiteX171" fmla="*/ 1366838 w 3128973"/>
                <a:gd name="connsiteY171" fmla="*/ 1019175 h 1752600"/>
                <a:gd name="connsiteX172" fmla="*/ 1335881 w 3128973"/>
                <a:gd name="connsiteY172" fmla="*/ 1007268 h 1752600"/>
                <a:gd name="connsiteX173" fmla="*/ 1319213 w 3128973"/>
                <a:gd name="connsiteY173" fmla="*/ 1007268 h 1752600"/>
                <a:gd name="connsiteX174" fmla="*/ 1295400 w 3128973"/>
                <a:gd name="connsiteY174" fmla="*/ 976312 h 1752600"/>
                <a:gd name="connsiteX175" fmla="*/ 1281112 w 3128973"/>
                <a:gd name="connsiteY175" fmla="*/ 966787 h 1752600"/>
                <a:gd name="connsiteX176" fmla="*/ 1238250 w 3128973"/>
                <a:gd name="connsiteY176" fmla="*/ 947737 h 1752600"/>
                <a:gd name="connsiteX177" fmla="*/ 1212850 w 3128973"/>
                <a:gd name="connsiteY177" fmla="*/ 995362 h 1752600"/>
                <a:gd name="connsiteX178" fmla="*/ 1201737 w 3128973"/>
                <a:gd name="connsiteY178" fmla="*/ 987425 h 1752600"/>
                <a:gd name="connsiteX179" fmla="*/ 1163637 w 3128973"/>
                <a:gd name="connsiteY179" fmla="*/ 952277 h 1752600"/>
                <a:gd name="connsiteX180" fmla="*/ 1133475 w 3128973"/>
                <a:gd name="connsiteY180" fmla="*/ 925512 h 1752600"/>
                <a:gd name="connsiteX181" fmla="*/ 1085850 w 3128973"/>
                <a:gd name="connsiteY181" fmla="*/ 859631 h 1752600"/>
                <a:gd name="connsiteX182" fmla="*/ 1071562 w 3128973"/>
                <a:gd name="connsiteY182" fmla="*/ 842962 h 1752600"/>
                <a:gd name="connsiteX183" fmla="*/ 1047750 w 3128973"/>
                <a:gd name="connsiteY183" fmla="*/ 819150 h 1752600"/>
                <a:gd name="connsiteX184" fmla="*/ 1028700 w 3128973"/>
                <a:gd name="connsiteY184" fmla="*/ 804862 h 1752600"/>
                <a:gd name="connsiteX185" fmla="*/ 1018076 w 3128973"/>
                <a:gd name="connsiteY185" fmla="*/ 794816 h 1752600"/>
                <a:gd name="connsiteX186" fmla="*/ 1000125 w 3128973"/>
                <a:gd name="connsiteY186" fmla="*/ 785812 h 1752600"/>
                <a:gd name="connsiteX187" fmla="*/ 984342 w 3128973"/>
                <a:gd name="connsiteY187" fmla="*/ 773578 h 1752600"/>
                <a:gd name="connsiteX188" fmla="*/ 957262 w 3128973"/>
                <a:gd name="connsiteY188" fmla="*/ 766762 h 1752600"/>
                <a:gd name="connsiteX189" fmla="*/ 938212 w 3128973"/>
                <a:gd name="connsiteY189" fmla="*/ 757237 h 1752600"/>
                <a:gd name="connsiteX190" fmla="*/ 904875 w 3128973"/>
                <a:gd name="connsiteY190" fmla="*/ 747712 h 1752600"/>
                <a:gd name="connsiteX191" fmla="*/ 862012 w 3128973"/>
                <a:gd name="connsiteY191" fmla="*/ 723900 h 1752600"/>
                <a:gd name="connsiteX192" fmla="*/ 795337 w 3128973"/>
                <a:gd name="connsiteY192" fmla="*/ 685800 h 1752600"/>
                <a:gd name="connsiteX193" fmla="*/ 776287 w 3128973"/>
                <a:gd name="connsiteY193" fmla="*/ 666750 h 1752600"/>
                <a:gd name="connsiteX194" fmla="*/ 762000 w 3128973"/>
                <a:gd name="connsiteY194" fmla="*/ 661987 h 1752600"/>
                <a:gd name="connsiteX195" fmla="*/ 742950 w 3128973"/>
                <a:gd name="connsiteY195" fmla="*/ 647700 h 1752600"/>
                <a:gd name="connsiteX196" fmla="*/ 709612 w 3128973"/>
                <a:gd name="connsiteY196" fmla="*/ 638175 h 1752600"/>
                <a:gd name="connsiteX197" fmla="*/ 695325 w 3128973"/>
                <a:gd name="connsiteY197" fmla="*/ 628650 h 1752600"/>
                <a:gd name="connsiteX198" fmla="*/ 681037 w 3128973"/>
                <a:gd name="connsiteY198" fmla="*/ 623887 h 1752600"/>
                <a:gd name="connsiteX199" fmla="*/ 676275 w 3128973"/>
                <a:gd name="connsiteY199" fmla="*/ 604837 h 1752600"/>
                <a:gd name="connsiteX200" fmla="*/ 666750 w 3128973"/>
                <a:gd name="connsiteY200" fmla="*/ 576262 h 1752600"/>
                <a:gd name="connsiteX201" fmla="*/ 661987 w 3128973"/>
                <a:gd name="connsiteY201" fmla="*/ 561975 h 1752600"/>
                <a:gd name="connsiteX202" fmla="*/ 666750 w 3128973"/>
                <a:gd name="connsiteY202" fmla="*/ 538162 h 1752600"/>
                <a:gd name="connsiteX203" fmla="*/ 638175 w 3128973"/>
                <a:gd name="connsiteY203" fmla="*/ 514350 h 1752600"/>
                <a:gd name="connsiteX204" fmla="*/ 619125 w 3128973"/>
                <a:gd name="connsiteY204" fmla="*/ 500062 h 1752600"/>
                <a:gd name="connsiteX205" fmla="*/ 576262 w 3128973"/>
                <a:gd name="connsiteY205" fmla="*/ 490537 h 1752600"/>
                <a:gd name="connsiteX206" fmla="*/ 542925 w 3128973"/>
                <a:gd name="connsiteY206" fmla="*/ 452437 h 1752600"/>
                <a:gd name="connsiteX207" fmla="*/ 525462 w 3128973"/>
                <a:gd name="connsiteY207" fmla="*/ 485775 h 1752600"/>
                <a:gd name="connsiteX208" fmla="*/ 504825 w 3128973"/>
                <a:gd name="connsiteY208" fmla="*/ 466725 h 1752600"/>
                <a:gd name="connsiteX209" fmla="*/ 454025 w 3128973"/>
                <a:gd name="connsiteY209" fmla="*/ 466725 h 1752600"/>
                <a:gd name="connsiteX210" fmla="*/ 407987 w 3128973"/>
                <a:gd name="connsiteY210" fmla="*/ 473075 h 1752600"/>
                <a:gd name="connsiteX211" fmla="*/ 395287 w 3128973"/>
                <a:gd name="connsiteY211" fmla="*/ 409575 h 1752600"/>
                <a:gd name="connsiteX212" fmla="*/ 376237 w 3128973"/>
                <a:gd name="connsiteY212" fmla="*/ 404812 h 1752600"/>
                <a:gd name="connsiteX213" fmla="*/ 342900 w 3128973"/>
                <a:gd name="connsiteY213" fmla="*/ 400050 h 1752600"/>
                <a:gd name="connsiteX214" fmla="*/ 314325 w 3128973"/>
                <a:gd name="connsiteY214" fmla="*/ 390525 h 1752600"/>
                <a:gd name="connsiteX215" fmla="*/ 273844 w 3128973"/>
                <a:gd name="connsiteY215" fmla="*/ 383382 h 1752600"/>
                <a:gd name="connsiteX216" fmla="*/ 257175 w 3128973"/>
                <a:gd name="connsiteY216" fmla="*/ 371475 h 1752600"/>
                <a:gd name="connsiteX217" fmla="*/ 245269 w 3128973"/>
                <a:gd name="connsiteY217" fmla="*/ 364331 h 1752600"/>
                <a:gd name="connsiteX218" fmla="*/ 223837 w 3128973"/>
                <a:gd name="connsiteY218" fmla="*/ 347662 h 1752600"/>
                <a:gd name="connsiteX219" fmla="*/ 190500 w 3128973"/>
                <a:gd name="connsiteY219" fmla="*/ 338137 h 1752600"/>
                <a:gd name="connsiteX220" fmla="*/ 147637 w 3128973"/>
                <a:gd name="connsiteY220" fmla="*/ 333375 h 1752600"/>
                <a:gd name="connsiteX221" fmla="*/ 119062 w 3128973"/>
                <a:gd name="connsiteY221" fmla="*/ 323850 h 1752600"/>
                <a:gd name="connsiteX222" fmla="*/ 104775 w 3128973"/>
                <a:gd name="connsiteY222" fmla="*/ 319087 h 1752600"/>
                <a:gd name="connsiteX223" fmla="*/ 61912 w 3128973"/>
                <a:gd name="connsiteY223" fmla="*/ 300037 h 1752600"/>
                <a:gd name="connsiteX224" fmla="*/ 23812 w 3128973"/>
                <a:gd name="connsiteY224" fmla="*/ 290512 h 1752600"/>
                <a:gd name="connsiteX225" fmla="*/ 9525 w 3128973"/>
                <a:gd name="connsiteY225" fmla="*/ 261937 h 1752600"/>
                <a:gd name="connsiteX226" fmla="*/ 0 w 3128973"/>
                <a:gd name="connsiteY226" fmla="*/ 290512 h 1752600"/>
                <a:gd name="connsiteX227" fmla="*/ 4762 w 3128973"/>
                <a:gd name="connsiteY227" fmla="*/ 247650 h 1752600"/>
                <a:gd name="connsiteX228" fmla="*/ 19050 w 3128973"/>
                <a:gd name="connsiteY228" fmla="*/ 200025 h 1752600"/>
                <a:gd name="connsiteX229" fmla="*/ 23812 w 3128973"/>
                <a:gd name="connsiteY229" fmla="*/ 185737 h 1752600"/>
                <a:gd name="connsiteX230" fmla="*/ 71437 w 3128973"/>
                <a:gd name="connsiteY230" fmla="*/ 171450 h 1752600"/>
                <a:gd name="connsiteX231" fmla="*/ 85725 w 3128973"/>
                <a:gd name="connsiteY231" fmla="*/ 166687 h 1752600"/>
                <a:gd name="connsiteX232" fmla="*/ 100012 w 3128973"/>
                <a:gd name="connsiteY232" fmla="*/ 161925 h 1752600"/>
                <a:gd name="connsiteX233" fmla="*/ 114300 w 3128973"/>
                <a:gd name="connsiteY233" fmla="*/ 152400 h 1752600"/>
                <a:gd name="connsiteX234" fmla="*/ 133350 w 3128973"/>
                <a:gd name="connsiteY234" fmla="*/ 123825 h 1752600"/>
                <a:gd name="connsiteX235" fmla="*/ 138112 w 3128973"/>
                <a:gd name="connsiteY235" fmla="*/ 109537 h 1752600"/>
                <a:gd name="connsiteX236" fmla="*/ 135467 w 3128973"/>
                <a:gd name="connsiteY236" fmla="*/ 97059 h 1752600"/>
                <a:gd name="connsiteX237" fmla="*/ 142875 w 3128973"/>
                <a:gd name="connsiteY237" fmla="*/ 71437 h 1752600"/>
                <a:gd name="connsiteX238" fmla="*/ 157162 w 3128973"/>
                <a:gd name="connsiteY238" fmla="*/ 57150 h 1752600"/>
                <a:gd name="connsiteX239" fmla="*/ 200025 w 3128973"/>
                <a:gd name="connsiteY239" fmla="*/ 33337 h 1752600"/>
                <a:gd name="connsiteX240" fmla="*/ 309562 w 3128973"/>
                <a:gd name="connsiteY240" fmla="*/ 28575 h 1752600"/>
                <a:gd name="connsiteX241" fmla="*/ 400050 w 3128973"/>
                <a:gd name="connsiteY241" fmla="*/ 14287 h 1752600"/>
                <a:gd name="connsiteX242" fmla="*/ 414337 w 3128973"/>
                <a:gd name="connsiteY242" fmla="*/ 9525 h 1752600"/>
                <a:gd name="connsiteX243" fmla="*/ 481012 w 3128973"/>
                <a:gd name="connsiteY24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681287 w 3128973"/>
                <a:gd name="connsiteY31" fmla="*/ 218614 h 1752600"/>
                <a:gd name="connsiteX32" fmla="*/ 2046801 w 3128973"/>
                <a:gd name="connsiteY32" fmla="*/ 262295 h 1752600"/>
                <a:gd name="connsiteX33" fmla="*/ 2033587 w 3128973"/>
                <a:gd name="connsiteY33" fmla="*/ 266700 h 1752600"/>
                <a:gd name="connsiteX34" fmla="*/ 2019300 w 3128973"/>
                <a:gd name="connsiteY34" fmla="*/ 280987 h 1752600"/>
                <a:gd name="connsiteX35" fmla="*/ 1990725 w 3128973"/>
                <a:gd name="connsiteY35" fmla="*/ 300037 h 1752600"/>
                <a:gd name="connsiteX36" fmla="*/ 1981200 w 3128973"/>
                <a:gd name="connsiteY36" fmla="*/ 314325 h 1752600"/>
                <a:gd name="connsiteX37" fmla="*/ 1981200 w 3128973"/>
                <a:gd name="connsiteY37" fmla="*/ 419100 h 1752600"/>
                <a:gd name="connsiteX38" fmla="*/ 1985962 w 3128973"/>
                <a:gd name="connsiteY38" fmla="*/ 433387 h 1752600"/>
                <a:gd name="connsiteX39" fmla="*/ 2000250 w 3128973"/>
                <a:gd name="connsiteY39" fmla="*/ 442912 h 1752600"/>
                <a:gd name="connsiteX40" fmla="*/ 2005012 w 3128973"/>
                <a:gd name="connsiteY40" fmla="*/ 457200 h 1752600"/>
                <a:gd name="connsiteX41" fmla="*/ 2005012 w 3128973"/>
                <a:gd name="connsiteY41" fmla="*/ 561975 h 1752600"/>
                <a:gd name="connsiteX42" fmla="*/ 2009775 w 3128973"/>
                <a:gd name="connsiteY42" fmla="*/ 576262 h 1752600"/>
                <a:gd name="connsiteX43" fmla="*/ 2024062 w 3128973"/>
                <a:gd name="connsiteY43" fmla="*/ 581025 h 1752600"/>
                <a:gd name="connsiteX44" fmla="*/ 2038350 w 3128973"/>
                <a:gd name="connsiteY44" fmla="*/ 595312 h 1752600"/>
                <a:gd name="connsiteX45" fmla="*/ 2052637 w 3128973"/>
                <a:gd name="connsiteY45" fmla="*/ 600075 h 1752600"/>
                <a:gd name="connsiteX46" fmla="*/ 2133600 w 3128973"/>
                <a:gd name="connsiteY46" fmla="*/ 590550 h 1752600"/>
                <a:gd name="connsiteX47" fmla="*/ 2147887 w 3128973"/>
                <a:gd name="connsiteY47" fmla="*/ 585787 h 1752600"/>
                <a:gd name="connsiteX48" fmla="*/ 2195512 w 3128973"/>
                <a:gd name="connsiteY48" fmla="*/ 600075 h 1752600"/>
                <a:gd name="connsiteX49" fmla="*/ 2205037 w 3128973"/>
                <a:gd name="connsiteY49" fmla="*/ 614362 h 1752600"/>
                <a:gd name="connsiteX50" fmla="*/ 2219325 w 3128973"/>
                <a:gd name="connsiteY50" fmla="*/ 628650 h 1752600"/>
                <a:gd name="connsiteX51" fmla="*/ 2224087 w 3128973"/>
                <a:gd name="connsiteY51" fmla="*/ 642937 h 1752600"/>
                <a:gd name="connsiteX52" fmla="*/ 2233612 w 3128973"/>
                <a:gd name="connsiteY52" fmla="*/ 657225 h 1752600"/>
                <a:gd name="connsiteX53" fmla="*/ 2247900 w 3128973"/>
                <a:gd name="connsiteY53" fmla="*/ 685800 h 1752600"/>
                <a:gd name="connsiteX54" fmla="*/ 2262187 w 3128973"/>
                <a:gd name="connsiteY54" fmla="*/ 733425 h 1752600"/>
                <a:gd name="connsiteX55" fmla="*/ 2305050 w 3128973"/>
                <a:gd name="connsiteY55" fmla="*/ 771525 h 1752600"/>
                <a:gd name="connsiteX56" fmla="*/ 2319337 w 3128973"/>
                <a:gd name="connsiteY56" fmla="*/ 804862 h 1752600"/>
                <a:gd name="connsiteX57" fmla="*/ 2333625 w 3128973"/>
                <a:gd name="connsiteY57" fmla="*/ 819150 h 1752600"/>
                <a:gd name="connsiteX58" fmla="*/ 2338387 w 3128973"/>
                <a:gd name="connsiteY58" fmla="*/ 833437 h 1752600"/>
                <a:gd name="connsiteX59" fmla="*/ 2352675 w 3128973"/>
                <a:gd name="connsiteY59" fmla="*/ 847725 h 1752600"/>
                <a:gd name="connsiteX60" fmla="*/ 2395537 w 3128973"/>
                <a:gd name="connsiteY60" fmla="*/ 871537 h 1752600"/>
                <a:gd name="connsiteX61" fmla="*/ 2409825 w 3128973"/>
                <a:gd name="connsiteY61" fmla="*/ 890587 h 1752600"/>
                <a:gd name="connsiteX62" fmla="*/ 2424112 w 3128973"/>
                <a:gd name="connsiteY62" fmla="*/ 895350 h 1752600"/>
                <a:gd name="connsiteX63" fmla="*/ 2433637 w 3128973"/>
                <a:gd name="connsiteY63" fmla="*/ 914400 h 1752600"/>
                <a:gd name="connsiteX64" fmla="*/ 2466975 w 3128973"/>
                <a:gd name="connsiteY64" fmla="*/ 942975 h 1752600"/>
                <a:gd name="connsiteX65" fmla="*/ 2474637 w 3128973"/>
                <a:gd name="connsiteY65" fmla="*/ 954728 h 1752600"/>
                <a:gd name="connsiteX66" fmla="*/ 2495550 w 3128973"/>
                <a:gd name="connsiteY66" fmla="*/ 971550 h 1752600"/>
                <a:gd name="connsiteX67" fmla="*/ 2508776 w 3128973"/>
                <a:gd name="connsiteY67" fmla="*/ 983894 h 1752600"/>
                <a:gd name="connsiteX68" fmla="*/ 2533650 w 3128973"/>
                <a:gd name="connsiteY68" fmla="*/ 1000125 h 1752600"/>
                <a:gd name="connsiteX69" fmla="*/ 2547937 w 3128973"/>
                <a:gd name="connsiteY69" fmla="*/ 1028700 h 1752600"/>
                <a:gd name="connsiteX70" fmla="*/ 2552700 w 3128973"/>
                <a:gd name="connsiteY70" fmla="*/ 1042987 h 1752600"/>
                <a:gd name="connsiteX71" fmla="*/ 2576512 w 3128973"/>
                <a:gd name="connsiteY71" fmla="*/ 1071562 h 1752600"/>
                <a:gd name="connsiteX72" fmla="*/ 2584921 w 3128973"/>
                <a:gd name="connsiteY72" fmla="*/ 1082873 h 1752600"/>
                <a:gd name="connsiteX73" fmla="*/ 2600325 w 3128973"/>
                <a:gd name="connsiteY73" fmla="*/ 1095375 h 1752600"/>
                <a:gd name="connsiteX74" fmla="*/ 2609850 w 3128973"/>
                <a:gd name="connsiteY74" fmla="*/ 1109662 h 1752600"/>
                <a:gd name="connsiteX75" fmla="*/ 2652712 w 3128973"/>
                <a:gd name="connsiteY75" fmla="*/ 1143000 h 1752600"/>
                <a:gd name="connsiteX76" fmla="*/ 2681287 w 3128973"/>
                <a:gd name="connsiteY76" fmla="*/ 1152525 h 1752600"/>
                <a:gd name="connsiteX77" fmla="*/ 2700337 w 3128973"/>
                <a:gd name="connsiteY77" fmla="*/ 1162050 h 1752600"/>
                <a:gd name="connsiteX78" fmla="*/ 2714625 w 3128973"/>
                <a:gd name="connsiteY78" fmla="*/ 1171575 h 1752600"/>
                <a:gd name="connsiteX79" fmla="*/ 2752725 w 3128973"/>
                <a:gd name="connsiteY79" fmla="*/ 1181100 h 1752600"/>
                <a:gd name="connsiteX80" fmla="*/ 2767012 w 3128973"/>
                <a:gd name="connsiteY80" fmla="*/ 1195387 h 1752600"/>
                <a:gd name="connsiteX81" fmla="*/ 2781300 w 3128973"/>
                <a:gd name="connsiteY81" fmla="*/ 1200150 h 1752600"/>
                <a:gd name="connsiteX82" fmla="*/ 2795587 w 3128973"/>
                <a:gd name="connsiteY82" fmla="*/ 1209675 h 1752600"/>
                <a:gd name="connsiteX83" fmla="*/ 2805112 w 3128973"/>
                <a:gd name="connsiteY83" fmla="*/ 1223962 h 1752600"/>
                <a:gd name="connsiteX84" fmla="*/ 2809875 w 3128973"/>
                <a:gd name="connsiteY84" fmla="*/ 1238250 h 1752600"/>
                <a:gd name="connsiteX85" fmla="*/ 2833687 w 3128973"/>
                <a:gd name="connsiteY85" fmla="*/ 1276350 h 1752600"/>
                <a:gd name="connsiteX86" fmla="*/ 2895600 w 3128973"/>
                <a:gd name="connsiteY86" fmla="*/ 1333500 h 1752600"/>
                <a:gd name="connsiteX87" fmla="*/ 2900362 w 3128973"/>
                <a:gd name="connsiteY87" fmla="*/ 1352550 h 1752600"/>
                <a:gd name="connsiteX88" fmla="*/ 2928937 w 3128973"/>
                <a:gd name="connsiteY88" fmla="*/ 1395412 h 1752600"/>
                <a:gd name="connsiteX89" fmla="*/ 2943225 w 3128973"/>
                <a:gd name="connsiteY89" fmla="*/ 1404937 h 1752600"/>
                <a:gd name="connsiteX90" fmla="*/ 2957512 w 3128973"/>
                <a:gd name="connsiteY90" fmla="*/ 1419225 h 1752600"/>
                <a:gd name="connsiteX91" fmla="*/ 2986087 w 3128973"/>
                <a:gd name="connsiteY91" fmla="*/ 1443037 h 1752600"/>
                <a:gd name="connsiteX92" fmla="*/ 3000375 w 3128973"/>
                <a:gd name="connsiteY92" fmla="*/ 1462087 h 1752600"/>
                <a:gd name="connsiteX93" fmla="*/ 3016395 w 3128973"/>
                <a:gd name="connsiteY93" fmla="*/ 1476222 h 1752600"/>
                <a:gd name="connsiteX94" fmla="*/ 3028950 w 3128973"/>
                <a:gd name="connsiteY94" fmla="*/ 1495425 h 1752600"/>
                <a:gd name="connsiteX95" fmla="*/ 3043237 w 3128973"/>
                <a:gd name="connsiteY95" fmla="*/ 1552575 h 1752600"/>
                <a:gd name="connsiteX96" fmla="*/ 3052762 w 3128973"/>
                <a:gd name="connsiteY96" fmla="*/ 1566862 h 1752600"/>
                <a:gd name="connsiteX97" fmla="*/ 3057525 w 3128973"/>
                <a:gd name="connsiteY97" fmla="*/ 1581150 h 1752600"/>
                <a:gd name="connsiteX98" fmla="*/ 3067050 w 3128973"/>
                <a:gd name="connsiteY98" fmla="*/ 1662112 h 1752600"/>
                <a:gd name="connsiteX99" fmla="*/ 3071812 w 3128973"/>
                <a:gd name="connsiteY99" fmla="*/ 1676400 h 1752600"/>
                <a:gd name="connsiteX100" fmla="*/ 3100387 w 3128973"/>
                <a:gd name="connsiteY100" fmla="*/ 1690687 h 1752600"/>
                <a:gd name="connsiteX101" fmla="*/ 3114675 w 3128973"/>
                <a:gd name="connsiteY101" fmla="*/ 1685925 h 1752600"/>
                <a:gd name="connsiteX102" fmla="*/ 3124200 w 3128973"/>
                <a:gd name="connsiteY102" fmla="*/ 1671637 h 1752600"/>
                <a:gd name="connsiteX103" fmla="*/ 3128973 w 3128973"/>
                <a:gd name="connsiteY103" fmla="*/ 1651467 h 1752600"/>
                <a:gd name="connsiteX104" fmla="*/ 3128021 w 3128973"/>
                <a:gd name="connsiteY104" fmla="*/ 1710279 h 1752600"/>
                <a:gd name="connsiteX105" fmla="*/ 3043237 w 3128973"/>
                <a:gd name="connsiteY105" fmla="*/ 1714500 h 1752600"/>
                <a:gd name="connsiteX106" fmla="*/ 3028950 w 3128973"/>
                <a:gd name="connsiteY106" fmla="*/ 1728787 h 1752600"/>
                <a:gd name="connsiteX107" fmla="*/ 2986087 w 3128973"/>
                <a:gd name="connsiteY107" fmla="*/ 1738312 h 1752600"/>
                <a:gd name="connsiteX108" fmla="*/ 2971800 w 3128973"/>
                <a:gd name="connsiteY108" fmla="*/ 1743075 h 1752600"/>
                <a:gd name="connsiteX109" fmla="*/ 2943225 w 3128973"/>
                <a:gd name="connsiteY109" fmla="*/ 1738312 h 1752600"/>
                <a:gd name="connsiteX110" fmla="*/ 2928937 w 3128973"/>
                <a:gd name="connsiteY110" fmla="*/ 1747837 h 1752600"/>
                <a:gd name="connsiteX111" fmla="*/ 2914650 w 3128973"/>
                <a:gd name="connsiteY111" fmla="*/ 1752600 h 1752600"/>
                <a:gd name="connsiteX112" fmla="*/ 2895600 w 3128973"/>
                <a:gd name="connsiteY112" fmla="*/ 1724025 h 1752600"/>
                <a:gd name="connsiteX113" fmla="*/ 2883310 w 3128973"/>
                <a:gd name="connsiteY113" fmla="*/ 1701201 h 1752600"/>
                <a:gd name="connsiteX114" fmla="*/ 2883805 w 3128973"/>
                <a:gd name="connsiteY114" fmla="*/ 1696138 h 1752600"/>
                <a:gd name="connsiteX115" fmla="*/ 2871787 w 3128973"/>
                <a:gd name="connsiteY115" fmla="*/ 1685925 h 1752600"/>
                <a:gd name="connsiteX116" fmla="*/ 2847975 w 3128973"/>
                <a:gd name="connsiteY116" fmla="*/ 1657350 h 1752600"/>
                <a:gd name="connsiteX117" fmla="*/ 2834034 w 3128973"/>
                <a:gd name="connsiteY117" fmla="*/ 1637762 h 1752600"/>
                <a:gd name="connsiteX118" fmla="*/ 2814637 w 3128973"/>
                <a:gd name="connsiteY118" fmla="*/ 1619250 h 1752600"/>
                <a:gd name="connsiteX119" fmla="*/ 2809875 w 3128973"/>
                <a:gd name="connsiteY119" fmla="*/ 1604962 h 1752600"/>
                <a:gd name="connsiteX120" fmla="*/ 2795587 w 3128973"/>
                <a:gd name="connsiteY120" fmla="*/ 1600200 h 1752600"/>
                <a:gd name="connsiteX121" fmla="*/ 2781300 w 3128973"/>
                <a:gd name="connsiteY121" fmla="*/ 1590675 h 1752600"/>
                <a:gd name="connsiteX122" fmla="*/ 2752725 w 3128973"/>
                <a:gd name="connsiteY122" fmla="*/ 1581150 h 1752600"/>
                <a:gd name="connsiteX123" fmla="*/ 2733675 w 3128973"/>
                <a:gd name="connsiteY123" fmla="*/ 1625600 h 1752600"/>
                <a:gd name="connsiteX124" fmla="*/ 2709862 w 3128973"/>
                <a:gd name="connsiteY124" fmla="*/ 1619250 h 1752600"/>
                <a:gd name="connsiteX125" fmla="*/ 2723566 w 3128973"/>
                <a:gd name="connsiteY125" fmla="*/ 1590361 h 1752600"/>
                <a:gd name="connsiteX126" fmla="*/ 2674937 w 3128973"/>
                <a:gd name="connsiteY126" fmla="*/ 1560512 h 1752600"/>
                <a:gd name="connsiteX127" fmla="*/ 2643187 w 3128973"/>
                <a:gd name="connsiteY127" fmla="*/ 1495425 h 1752600"/>
                <a:gd name="connsiteX128" fmla="*/ 2628900 w 3128973"/>
                <a:gd name="connsiteY128" fmla="*/ 1490662 h 1752600"/>
                <a:gd name="connsiteX129" fmla="*/ 2595562 w 3128973"/>
                <a:gd name="connsiteY129" fmla="*/ 1481137 h 1752600"/>
                <a:gd name="connsiteX130" fmla="*/ 2581275 w 3128973"/>
                <a:gd name="connsiteY130" fmla="*/ 1466850 h 1752600"/>
                <a:gd name="connsiteX131" fmla="*/ 2552700 w 3128973"/>
                <a:gd name="connsiteY131" fmla="*/ 1457325 h 1752600"/>
                <a:gd name="connsiteX132" fmla="*/ 2538412 w 3128973"/>
                <a:gd name="connsiteY132" fmla="*/ 1447800 h 1752600"/>
                <a:gd name="connsiteX133" fmla="*/ 2519362 w 3128973"/>
                <a:gd name="connsiteY133" fmla="*/ 1443037 h 1752600"/>
                <a:gd name="connsiteX134" fmla="*/ 2490787 w 3128973"/>
                <a:gd name="connsiteY134" fmla="*/ 1433512 h 1752600"/>
                <a:gd name="connsiteX135" fmla="*/ 2476500 w 3128973"/>
                <a:gd name="connsiteY135" fmla="*/ 1428750 h 1752600"/>
                <a:gd name="connsiteX136" fmla="*/ 2466975 w 3128973"/>
                <a:gd name="connsiteY136" fmla="*/ 1414462 h 1752600"/>
                <a:gd name="connsiteX137" fmla="*/ 2447925 w 3128973"/>
                <a:gd name="connsiteY137" fmla="*/ 1409700 h 1752600"/>
                <a:gd name="connsiteX138" fmla="*/ 2309812 w 3128973"/>
                <a:gd name="connsiteY138" fmla="*/ 1395412 h 1752600"/>
                <a:gd name="connsiteX139" fmla="*/ 2295525 w 3128973"/>
                <a:gd name="connsiteY139" fmla="*/ 1390650 h 1752600"/>
                <a:gd name="connsiteX140" fmla="*/ 2257425 w 3128973"/>
                <a:gd name="connsiteY140" fmla="*/ 1381125 h 1752600"/>
                <a:gd name="connsiteX141" fmla="*/ 2238375 w 3128973"/>
                <a:gd name="connsiteY141" fmla="*/ 1366837 h 1752600"/>
                <a:gd name="connsiteX142" fmla="*/ 2224087 w 3128973"/>
                <a:gd name="connsiteY142" fmla="*/ 1362075 h 1752600"/>
                <a:gd name="connsiteX143" fmla="*/ 2176462 w 3128973"/>
                <a:gd name="connsiteY143" fmla="*/ 1338262 h 1752600"/>
                <a:gd name="connsiteX144" fmla="*/ 2162175 w 3128973"/>
                <a:gd name="connsiteY144" fmla="*/ 1328737 h 1752600"/>
                <a:gd name="connsiteX145" fmla="*/ 2114550 w 3128973"/>
                <a:gd name="connsiteY145" fmla="*/ 1314450 h 1752600"/>
                <a:gd name="connsiteX146" fmla="*/ 2100262 w 3128973"/>
                <a:gd name="connsiteY146" fmla="*/ 1300162 h 1752600"/>
                <a:gd name="connsiteX147" fmla="*/ 2085975 w 3128973"/>
                <a:gd name="connsiteY147" fmla="*/ 1295400 h 1752600"/>
                <a:gd name="connsiteX148" fmla="*/ 2055019 w 3128973"/>
                <a:gd name="connsiteY148" fmla="*/ 1290637 h 1752600"/>
                <a:gd name="connsiteX149" fmla="*/ 2028824 w 3128973"/>
                <a:gd name="connsiteY149" fmla="*/ 1283494 h 1752600"/>
                <a:gd name="connsiteX150" fmla="*/ 2005012 w 3128973"/>
                <a:gd name="connsiteY150" fmla="*/ 1271587 h 1752600"/>
                <a:gd name="connsiteX151" fmla="*/ 1985962 w 3128973"/>
                <a:gd name="connsiteY151" fmla="*/ 1262062 h 1752600"/>
                <a:gd name="connsiteX152" fmla="*/ 1971675 w 3128973"/>
                <a:gd name="connsiteY152" fmla="*/ 1257300 h 1752600"/>
                <a:gd name="connsiteX153" fmla="*/ 1943100 w 3128973"/>
                <a:gd name="connsiteY153" fmla="*/ 1238250 h 1752600"/>
                <a:gd name="connsiteX154" fmla="*/ 1914525 w 3128973"/>
                <a:gd name="connsiteY154" fmla="*/ 1219200 h 1752600"/>
                <a:gd name="connsiteX155" fmla="*/ 1885950 w 3128973"/>
                <a:gd name="connsiteY155" fmla="*/ 1209675 h 1752600"/>
                <a:gd name="connsiteX156" fmla="*/ 1843087 w 3128973"/>
                <a:gd name="connsiteY156" fmla="*/ 1195387 h 1752600"/>
                <a:gd name="connsiteX157" fmla="*/ 1757362 w 3128973"/>
                <a:gd name="connsiteY157" fmla="*/ 1185862 h 1752600"/>
                <a:gd name="connsiteX158" fmla="*/ 1700212 w 3128973"/>
                <a:gd name="connsiteY158" fmla="*/ 1166812 h 1752600"/>
                <a:gd name="connsiteX159" fmla="*/ 1671637 w 3128973"/>
                <a:gd name="connsiteY159" fmla="*/ 1147762 h 1752600"/>
                <a:gd name="connsiteX160" fmla="*/ 1652587 w 3128973"/>
                <a:gd name="connsiteY160" fmla="*/ 1138237 h 1752600"/>
                <a:gd name="connsiteX161" fmla="*/ 1638300 w 3128973"/>
                <a:gd name="connsiteY161" fmla="*/ 1128712 h 1752600"/>
                <a:gd name="connsiteX162" fmla="*/ 1590675 w 3128973"/>
                <a:gd name="connsiteY162" fmla="*/ 1138238 h 1752600"/>
                <a:gd name="connsiteX163" fmla="*/ 1559719 w 3128973"/>
                <a:gd name="connsiteY163" fmla="*/ 1109662 h 1752600"/>
                <a:gd name="connsiteX164" fmla="*/ 1528762 w 3128973"/>
                <a:gd name="connsiteY164" fmla="*/ 1085850 h 1752600"/>
                <a:gd name="connsiteX165" fmla="*/ 1514475 w 3128973"/>
                <a:gd name="connsiteY165" fmla="*/ 1081087 h 1752600"/>
                <a:gd name="connsiteX166" fmla="*/ 1470025 w 3128973"/>
                <a:gd name="connsiteY166" fmla="*/ 1130300 h 1752600"/>
                <a:gd name="connsiteX167" fmla="*/ 1433512 w 3128973"/>
                <a:gd name="connsiteY167" fmla="*/ 1108075 h 1752600"/>
                <a:gd name="connsiteX168" fmla="*/ 1423987 w 3128973"/>
                <a:gd name="connsiteY168" fmla="*/ 1087437 h 1752600"/>
                <a:gd name="connsiteX169" fmla="*/ 1381125 w 3128973"/>
                <a:gd name="connsiteY169" fmla="*/ 1095375 h 1752600"/>
                <a:gd name="connsiteX170" fmla="*/ 1383506 w 3128973"/>
                <a:gd name="connsiteY170" fmla="*/ 1028700 h 1752600"/>
                <a:gd name="connsiteX171" fmla="*/ 1366838 w 3128973"/>
                <a:gd name="connsiteY171" fmla="*/ 1019175 h 1752600"/>
                <a:gd name="connsiteX172" fmla="*/ 1335881 w 3128973"/>
                <a:gd name="connsiteY172" fmla="*/ 1007268 h 1752600"/>
                <a:gd name="connsiteX173" fmla="*/ 1319213 w 3128973"/>
                <a:gd name="connsiteY173" fmla="*/ 1007268 h 1752600"/>
                <a:gd name="connsiteX174" fmla="*/ 1295400 w 3128973"/>
                <a:gd name="connsiteY174" fmla="*/ 976312 h 1752600"/>
                <a:gd name="connsiteX175" fmla="*/ 1281112 w 3128973"/>
                <a:gd name="connsiteY175" fmla="*/ 966787 h 1752600"/>
                <a:gd name="connsiteX176" fmla="*/ 1238250 w 3128973"/>
                <a:gd name="connsiteY176" fmla="*/ 947737 h 1752600"/>
                <a:gd name="connsiteX177" fmla="*/ 1212850 w 3128973"/>
                <a:gd name="connsiteY177" fmla="*/ 995362 h 1752600"/>
                <a:gd name="connsiteX178" fmla="*/ 1201737 w 3128973"/>
                <a:gd name="connsiteY178" fmla="*/ 987425 h 1752600"/>
                <a:gd name="connsiteX179" fmla="*/ 1163637 w 3128973"/>
                <a:gd name="connsiteY179" fmla="*/ 952277 h 1752600"/>
                <a:gd name="connsiteX180" fmla="*/ 1133475 w 3128973"/>
                <a:gd name="connsiteY180" fmla="*/ 925512 h 1752600"/>
                <a:gd name="connsiteX181" fmla="*/ 1085850 w 3128973"/>
                <a:gd name="connsiteY181" fmla="*/ 859631 h 1752600"/>
                <a:gd name="connsiteX182" fmla="*/ 1071562 w 3128973"/>
                <a:gd name="connsiteY182" fmla="*/ 842962 h 1752600"/>
                <a:gd name="connsiteX183" fmla="*/ 1047750 w 3128973"/>
                <a:gd name="connsiteY183" fmla="*/ 819150 h 1752600"/>
                <a:gd name="connsiteX184" fmla="*/ 1028700 w 3128973"/>
                <a:gd name="connsiteY184" fmla="*/ 804862 h 1752600"/>
                <a:gd name="connsiteX185" fmla="*/ 1018076 w 3128973"/>
                <a:gd name="connsiteY185" fmla="*/ 794816 h 1752600"/>
                <a:gd name="connsiteX186" fmla="*/ 1000125 w 3128973"/>
                <a:gd name="connsiteY186" fmla="*/ 785812 h 1752600"/>
                <a:gd name="connsiteX187" fmla="*/ 984342 w 3128973"/>
                <a:gd name="connsiteY187" fmla="*/ 773578 h 1752600"/>
                <a:gd name="connsiteX188" fmla="*/ 957262 w 3128973"/>
                <a:gd name="connsiteY188" fmla="*/ 766762 h 1752600"/>
                <a:gd name="connsiteX189" fmla="*/ 938212 w 3128973"/>
                <a:gd name="connsiteY189" fmla="*/ 757237 h 1752600"/>
                <a:gd name="connsiteX190" fmla="*/ 904875 w 3128973"/>
                <a:gd name="connsiteY190" fmla="*/ 747712 h 1752600"/>
                <a:gd name="connsiteX191" fmla="*/ 862012 w 3128973"/>
                <a:gd name="connsiteY191" fmla="*/ 723900 h 1752600"/>
                <a:gd name="connsiteX192" fmla="*/ 795337 w 3128973"/>
                <a:gd name="connsiteY192" fmla="*/ 685800 h 1752600"/>
                <a:gd name="connsiteX193" fmla="*/ 776287 w 3128973"/>
                <a:gd name="connsiteY193" fmla="*/ 666750 h 1752600"/>
                <a:gd name="connsiteX194" fmla="*/ 762000 w 3128973"/>
                <a:gd name="connsiteY194" fmla="*/ 661987 h 1752600"/>
                <a:gd name="connsiteX195" fmla="*/ 742950 w 3128973"/>
                <a:gd name="connsiteY195" fmla="*/ 647700 h 1752600"/>
                <a:gd name="connsiteX196" fmla="*/ 709612 w 3128973"/>
                <a:gd name="connsiteY196" fmla="*/ 638175 h 1752600"/>
                <a:gd name="connsiteX197" fmla="*/ 695325 w 3128973"/>
                <a:gd name="connsiteY197" fmla="*/ 628650 h 1752600"/>
                <a:gd name="connsiteX198" fmla="*/ 681037 w 3128973"/>
                <a:gd name="connsiteY198" fmla="*/ 623887 h 1752600"/>
                <a:gd name="connsiteX199" fmla="*/ 676275 w 3128973"/>
                <a:gd name="connsiteY199" fmla="*/ 604837 h 1752600"/>
                <a:gd name="connsiteX200" fmla="*/ 666750 w 3128973"/>
                <a:gd name="connsiteY200" fmla="*/ 576262 h 1752600"/>
                <a:gd name="connsiteX201" fmla="*/ 661987 w 3128973"/>
                <a:gd name="connsiteY201" fmla="*/ 561975 h 1752600"/>
                <a:gd name="connsiteX202" fmla="*/ 666750 w 3128973"/>
                <a:gd name="connsiteY202" fmla="*/ 538162 h 1752600"/>
                <a:gd name="connsiteX203" fmla="*/ 638175 w 3128973"/>
                <a:gd name="connsiteY203" fmla="*/ 514350 h 1752600"/>
                <a:gd name="connsiteX204" fmla="*/ 619125 w 3128973"/>
                <a:gd name="connsiteY204" fmla="*/ 500062 h 1752600"/>
                <a:gd name="connsiteX205" fmla="*/ 576262 w 3128973"/>
                <a:gd name="connsiteY205" fmla="*/ 490537 h 1752600"/>
                <a:gd name="connsiteX206" fmla="*/ 542925 w 3128973"/>
                <a:gd name="connsiteY206" fmla="*/ 452437 h 1752600"/>
                <a:gd name="connsiteX207" fmla="*/ 525462 w 3128973"/>
                <a:gd name="connsiteY207" fmla="*/ 485775 h 1752600"/>
                <a:gd name="connsiteX208" fmla="*/ 504825 w 3128973"/>
                <a:gd name="connsiteY208" fmla="*/ 466725 h 1752600"/>
                <a:gd name="connsiteX209" fmla="*/ 454025 w 3128973"/>
                <a:gd name="connsiteY209" fmla="*/ 466725 h 1752600"/>
                <a:gd name="connsiteX210" fmla="*/ 407987 w 3128973"/>
                <a:gd name="connsiteY210" fmla="*/ 473075 h 1752600"/>
                <a:gd name="connsiteX211" fmla="*/ 395287 w 3128973"/>
                <a:gd name="connsiteY211" fmla="*/ 409575 h 1752600"/>
                <a:gd name="connsiteX212" fmla="*/ 376237 w 3128973"/>
                <a:gd name="connsiteY212" fmla="*/ 404812 h 1752600"/>
                <a:gd name="connsiteX213" fmla="*/ 342900 w 3128973"/>
                <a:gd name="connsiteY213" fmla="*/ 400050 h 1752600"/>
                <a:gd name="connsiteX214" fmla="*/ 314325 w 3128973"/>
                <a:gd name="connsiteY214" fmla="*/ 390525 h 1752600"/>
                <a:gd name="connsiteX215" fmla="*/ 273844 w 3128973"/>
                <a:gd name="connsiteY215" fmla="*/ 383382 h 1752600"/>
                <a:gd name="connsiteX216" fmla="*/ 257175 w 3128973"/>
                <a:gd name="connsiteY216" fmla="*/ 371475 h 1752600"/>
                <a:gd name="connsiteX217" fmla="*/ 245269 w 3128973"/>
                <a:gd name="connsiteY217" fmla="*/ 364331 h 1752600"/>
                <a:gd name="connsiteX218" fmla="*/ 223837 w 3128973"/>
                <a:gd name="connsiteY218" fmla="*/ 347662 h 1752600"/>
                <a:gd name="connsiteX219" fmla="*/ 190500 w 3128973"/>
                <a:gd name="connsiteY219" fmla="*/ 338137 h 1752600"/>
                <a:gd name="connsiteX220" fmla="*/ 147637 w 3128973"/>
                <a:gd name="connsiteY220" fmla="*/ 333375 h 1752600"/>
                <a:gd name="connsiteX221" fmla="*/ 119062 w 3128973"/>
                <a:gd name="connsiteY221" fmla="*/ 323850 h 1752600"/>
                <a:gd name="connsiteX222" fmla="*/ 104775 w 3128973"/>
                <a:gd name="connsiteY222" fmla="*/ 319087 h 1752600"/>
                <a:gd name="connsiteX223" fmla="*/ 61912 w 3128973"/>
                <a:gd name="connsiteY223" fmla="*/ 300037 h 1752600"/>
                <a:gd name="connsiteX224" fmla="*/ 23812 w 3128973"/>
                <a:gd name="connsiteY224" fmla="*/ 290512 h 1752600"/>
                <a:gd name="connsiteX225" fmla="*/ 9525 w 3128973"/>
                <a:gd name="connsiteY225" fmla="*/ 261937 h 1752600"/>
                <a:gd name="connsiteX226" fmla="*/ 0 w 3128973"/>
                <a:gd name="connsiteY226" fmla="*/ 290512 h 1752600"/>
                <a:gd name="connsiteX227" fmla="*/ 4762 w 3128973"/>
                <a:gd name="connsiteY227" fmla="*/ 247650 h 1752600"/>
                <a:gd name="connsiteX228" fmla="*/ 19050 w 3128973"/>
                <a:gd name="connsiteY228" fmla="*/ 200025 h 1752600"/>
                <a:gd name="connsiteX229" fmla="*/ 23812 w 3128973"/>
                <a:gd name="connsiteY229" fmla="*/ 185737 h 1752600"/>
                <a:gd name="connsiteX230" fmla="*/ 71437 w 3128973"/>
                <a:gd name="connsiteY230" fmla="*/ 171450 h 1752600"/>
                <a:gd name="connsiteX231" fmla="*/ 85725 w 3128973"/>
                <a:gd name="connsiteY231" fmla="*/ 166687 h 1752600"/>
                <a:gd name="connsiteX232" fmla="*/ 100012 w 3128973"/>
                <a:gd name="connsiteY232" fmla="*/ 161925 h 1752600"/>
                <a:gd name="connsiteX233" fmla="*/ 114300 w 3128973"/>
                <a:gd name="connsiteY233" fmla="*/ 152400 h 1752600"/>
                <a:gd name="connsiteX234" fmla="*/ 133350 w 3128973"/>
                <a:gd name="connsiteY234" fmla="*/ 123825 h 1752600"/>
                <a:gd name="connsiteX235" fmla="*/ 138112 w 3128973"/>
                <a:gd name="connsiteY235" fmla="*/ 109537 h 1752600"/>
                <a:gd name="connsiteX236" fmla="*/ 135467 w 3128973"/>
                <a:gd name="connsiteY236" fmla="*/ 97059 h 1752600"/>
                <a:gd name="connsiteX237" fmla="*/ 142875 w 3128973"/>
                <a:gd name="connsiteY237" fmla="*/ 71437 h 1752600"/>
                <a:gd name="connsiteX238" fmla="*/ 157162 w 3128973"/>
                <a:gd name="connsiteY238" fmla="*/ 57150 h 1752600"/>
                <a:gd name="connsiteX239" fmla="*/ 200025 w 3128973"/>
                <a:gd name="connsiteY239" fmla="*/ 33337 h 1752600"/>
                <a:gd name="connsiteX240" fmla="*/ 309562 w 3128973"/>
                <a:gd name="connsiteY240" fmla="*/ 28575 h 1752600"/>
                <a:gd name="connsiteX241" fmla="*/ 400050 w 3128973"/>
                <a:gd name="connsiteY241" fmla="*/ 14287 h 1752600"/>
                <a:gd name="connsiteX242" fmla="*/ 414337 w 3128973"/>
                <a:gd name="connsiteY242" fmla="*/ 9525 h 1752600"/>
                <a:gd name="connsiteX243" fmla="*/ 481012 w 3128973"/>
                <a:gd name="connsiteY243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681287 w 3128973"/>
                <a:gd name="connsiteY31" fmla="*/ 218614 h 1752600"/>
                <a:gd name="connsiteX32" fmla="*/ 2624137 w 3128973"/>
                <a:gd name="connsiteY32" fmla="*/ 225698 h 1752600"/>
                <a:gd name="connsiteX33" fmla="*/ 2046801 w 3128973"/>
                <a:gd name="connsiteY33" fmla="*/ 262295 h 1752600"/>
                <a:gd name="connsiteX34" fmla="*/ 2033587 w 3128973"/>
                <a:gd name="connsiteY34" fmla="*/ 266700 h 1752600"/>
                <a:gd name="connsiteX35" fmla="*/ 2019300 w 3128973"/>
                <a:gd name="connsiteY35" fmla="*/ 280987 h 1752600"/>
                <a:gd name="connsiteX36" fmla="*/ 1990725 w 3128973"/>
                <a:gd name="connsiteY36" fmla="*/ 300037 h 1752600"/>
                <a:gd name="connsiteX37" fmla="*/ 1981200 w 3128973"/>
                <a:gd name="connsiteY37" fmla="*/ 314325 h 1752600"/>
                <a:gd name="connsiteX38" fmla="*/ 1981200 w 3128973"/>
                <a:gd name="connsiteY38" fmla="*/ 419100 h 1752600"/>
                <a:gd name="connsiteX39" fmla="*/ 1985962 w 3128973"/>
                <a:gd name="connsiteY39" fmla="*/ 433387 h 1752600"/>
                <a:gd name="connsiteX40" fmla="*/ 2000250 w 3128973"/>
                <a:gd name="connsiteY40" fmla="*/ 442912 h 1752600"/>
                <a:gd name="connsiteX41" fmla="*/ 2005012 w 3128973"/>
                <a:gd name="connsiteY41" fmla="*/ 457200 h 1752600"/>
                <a:gd name="connsiteX42" fmla="*/ 2005012 w 3128973"/>
                <a:gd name="connsiteY42" fmla="*/ 561975 h 1752600"/>
                <a:gd name="connsiteX43" fmla="*/ 2009775 w 3128973"/>
                <a:gd name="connsiteY43" fmla="*/ 576262 h 1752600"/>
                <a:gd name="connsiteX44" fmla="*/ 2024062 w 3128973"/>
                <a:gd name="connsiteY44" fmla="*/ 581025 h 1752600"/>
                <a:gd name="connsiteX45" fmla="*/ 2038350 w 3128973"/>
                <a:gd name="connsiteY45" fmla="*/ 595312 h 1752600"/>
                <a:gd name="connsiteX46" fmla="*/ 2052637 w 3128973"/>
                <a:gd name="connsiteY46" fmla="*/ 600075 h 1752600"/>
                <a:gd name="connsiteX47" fmla="*/ 2133600 w 3128973"/>
                <a:gd name="connsiteY47" fmla="*/ 590550 h 1752600"/>
                <a:gd name="connsiteX48" fmla="*/ 2147887 w 3128973"/>
                <a:gd name="connsiteY48" fmla="*/ 585787 h 1752600"/>
                <a:gd name="connsiteX49" fmla="*/ 2195512 w 3128973"/>
                <a:gd name="connsiteY49" fmla="*/ 600075 h 1752600"/>
                <a:gd name="connsiteX50" fmla="*/ 2205037 w 3128973"/>
                <a:gd name="connsiteY50" fmla="*/ 614362 h 1752600"/>
                <a:gd name="connsiteX51" fmla="*/ 2219325 w 3128973"/>
                <a:gd name="connsiteY51" fmla="*/ 628650 h 1752600"/>
                <a:gd name="connsiteX52" fmla="*/ 2224087 w 3128973"/>
                <a:gd name="connsiteY52" fmla="*/ 642937 h 1752600"/>
                <a:gd name="connsiteX53" fmla="*/ 2233612 w 3128973"/>
                <a:gd name="connsiteY53" fmla="*/ 657225 h 1752600"/>
                <a:gd name="connsiteX54" fmla="*/ 2247900 w 3128973"/>
                <a:gd name="connsiteY54" fmla="*/ 685800 h 1752600"/>
                <a:gd name="connsiteX55" fmla="*/ 2262187 w 3128973"/>
                <a:gd name="connsiteY55" fmla="*/ 733425 h 1752600"/>
                <a:gd name="connsiteX56" fmla="*/ 2305050 w 3128973"/>
                <a:gd name="connsiteY56" fmla="*/ 771525 h 1752600"/>
                <a:gd name="connsiteX57" fmla="*/ 2319337 w 3128973"/>
                <a:gd name="connsiteY57" fmla="*/ 804862 h 1752600"/>
                <a:gd name="connsiteX58" fmla="*/ 2333625 w 3128973"/>
                <a:gd name="connsiteY58" fmla="*/ 819150 h 1752600"/>
                <a:gd name="connsiteX59" fmla="*/ 2338387 w 3128973"/>
                <a:gd name="connsiteY59" fmla="*/ 833437 h 1752600"/>
                <a:gd name="connsiteX60" fmla="*/ 2352675 w 3128973"/>
                <a:gd name="connsiteY60" fmla="*/ 847725 h 1752600"/>
                <a:gd name="connsiteX61" fmla="*/ 2395537 w 3128973"/>
                <a:gd name="connsiteY61" fmla="*/ 871537 h 1752600"/>
                <a:gd name="connsiteX62" fmla="*/ 2409825 w 3128973"/>
                <a:gd name="connsiteY62" fmla="*/ 890587 h 1752600"/>
                <a:gd name="connsiteX63" fmla="*/ 2424112 w 3128973"/>
                <a:gd name="connsiteY63" fmla="*/ 895350 h 1752600"/>
                <a:gd name="connsiteX64" fmla="*/ 2433637 w 3128973"/>
                <a:gd name="connsiteY64" fmla="*/ 914400 h 1752600"/>
                <a:gd name="connsiteX65" fmla="*/ 2466975 w 3128973"/>
                <a:gd name="connsiteY65" fmla="*/ 942975 h 1752600"/>
                <a:gd name="connsiteX66" fmla="*/ 2474637 w 3128973"/>
                <a:gd name="connsiteY66" fmla="*/ 954728 h 1752600"/>
                <a:gd name="connsiteX67" fmla="*/ 2495550 w 3128973"/>
                <a:gd name="connsiteY67" fmla="*/ 971550 h 1752600"/>
                <a:gd name="connsiteX68" fmla="*/ 2508776 w 3128973"/>
                <a:gd name="connsiteY68" fmla="*/ 983894 h 1752600"/>
                <a:gd name="connsiteX69" fmla="*/ 2533650 w 3128973"/>
                <a:gd name="connsiteY69" fmla="*/ 1000125 h 1752600"/>
                <a:gd name="connsiteX70" fmla="*/ 2547937 w 3128973"/>
                <a:gd name="connsiteY70" fmla="*/ 1028700 h 1752600"/>
                <a:gd name="connsiteX71" fmla="*/ 2552700 w 3128973"/>
                <a:gd name="connsiteY71" fmla="*/ 1042987 h 1752600"/>
                <a:gd name="connsiteX72" fmla="*/ 2576512 w 3128973"/>
                <a:gd name="connsiteY72" fmla="*/ 1071562 h 1752600"/>
                <a:gd name="connsiteX73" fmla="*/ 2584921 w 3128973"/>
                <a:gd name="connsiteY73" fmla="*/ 1082873 h 1752600"/>
                <a:gd name="connsiteX74" fmla="*/ 2600325 w 3128973"/>
                <a:gd name="connsiteY74" fmla="*/ 1095375 h 1752600"/>
                <a:gd name="connsiteX75" fmla="*/ 2609850 w 3128973"/>
                <a:gd name="connsiteY75" fmla="*/ 1109662 h 1752600"/>
                <a:gd name="connsiteX76" fmla="*/ 2652712 w 3128973"/>
                <a:gd name="connsiteY76" fmla="*/ 1143000 h 1752600"/>
                <a:gd name="connsiteX77" fmla="*/ 2681287 w 3128973"/>
                <a:gd name="connsiteY77" fmla="*/ 1152525 h 1752600"/>
                <a:gd name="connsiteX78" fmla="*/ 2700337 w 3128973"/>
                <a:gd name="connsiteY78" fmla="*/ 1162050 h 1752600"/>
                <a:gd name="connsiteX79" fmla="*/ 2714625 w 3128973"/>
                <a:gd name="connsiteY79" fmla="*/ 1171575 h 1752600"/>
                <a:gd name="connsiteX80" fmla="*/ 2752725 w 3128973"/>
                <a:gd name="connsiteY80" fmla="*/ 1181100 h 1752600"/>
                <a:gd name="connsiteX81" fmla="*/ 2767012 w 3128973"/>
                <a:gd name="connsiteY81" fmla="*/ 1195387 h 1752600"/>
                <a:gd name="connsiteX82" fmla="*/ 2781300 w 3128973"/>
                <a:gd name="connsiteY82" fmla="*/ 1200150 h 1752600"/>
                <a:gd name="connsiteX83" fmla="*/ 2795587 w 3128973"/>
                <a:gd name="connsiteY83" fmla="*/ 1209675 h 1752600"/>
                <a:gd name="connsiteX84" fmla="*/ 2805112 w 3128973"/>
                <a:gd name="connsiteY84" fmla="*/ 1223962 h 1752600"/>
                <a:gd name="connsiteX85" fmla="*/ 2809875 w 3128973"/>
                <a:gd name="connsiteY85" fmla="*/ 1238250 h 1752600"/>
                <a:gd name="connsiteX86" fmla="*/ 2833687 w 3128973"/>
                <a:gd name="connsiteY86" fmla="*/ 1276350 h 1752600"/>
                <a:gd name="connsiteX87" fmla="*/ 2895600 w 3128973"/>
                <a:gd name="connsiteY87" fmla="*/ 1333500 h 1752600"/>
                <a:gd name="connsiteX88" fmla="*/ 2900362 w 3128973"/>
                <a:gd name="connsiteY88" fmla="*/ 1352550 h 1752600"/>
                <a:gd name="connsiteX89" fmla="*/ 2928937 w 3128973"/>
                <a:gd name="connsiteY89" fmla="*/ 1395412 h 1752600"/>
                <a:gd name="connsiteX90" fmla="*/ 2943225 w 3128973"/>
                <a:gd name="connsiteY90" fmla="*/ 1404937 h 1752600"/>
                <a:gd name="connsiteX91" fmla="*/ 2957512 w 3128973"/>
                <a:gd name="connsiteY91" fmla="*/ 1419225 h 1752600"/>
                <a:gd name="connsiteX92" fmla="*/ 2986087 w 3128973"/>
                <a:gd name="connsiteY92" fmla="*/ 1443037 h 1752600"/>
                <a:gd name="connsiteX93" fmla="*/ 3000375 w 3128973"/>
                <a:gd name="connsiteY93" fmla="*/ 1462087 h 1752600"/>
                <a:gd name="connsiteX94" fmla="*/ 3016395 w 3128973"/>
                <a:gd name="connsiteY94" fmla="*/ 1476222 h 1752600"/>
                <a:gd name="connsiteX95" fmla="*/ 3028950 w 3128973"/>
                <a:gd name="connsiteY95" fmla="*/ 1495425 h 1752600"/>
                <a:gd name="connsiteX96" fmla="*/ 3043237 w 3128973"/>
                <a:gd name="connsiteY96" fmla="*/ 1552575 h 1752600"/>
                <a:gd name="connsiteX97" fmla="*/ 3052762 w 3128973"/>
                <a:gd name="connsiteY97" fmla="*/ 1566862 h 1752600"/>
                <a:gd name="connsiteX98" fmla="*/ 3057525 w 3128973"/>
                <a:gd name="connsiteY98" fmla="*/ 1581150 h 1752600"/>
                <a:gd name="connsiteX99" fmla="*/ 3067050 w 3128973"/>
                <a:gd name="connsiteY99" fmla="*/ 1662112 h 1752600"/>
                <a:gd name="connsiteX100" fmla="*/ 3071812 w 3128973"/>
                <a:gd name="connsiteY100" fmla="*/ 1676400 h 1752600"/>
                <a:gd name="connsiteX101" fmla="*/ 3100387 w 3128973"/>
                <a:gd name="connsiteY101" fmla="*/ 1690687 h 1752600"/>
                <a:gd name="connsiteX102" fmla="*/ 3114675 w 3128973"/>
                <a:gd name="connsiteY102" fmla="*/ 1685925 h 1752600"/>
                <a:gd name="connsiteX103" fmla="*/ 3124200 w 3128973"/>
                <a:gd name="connsiteY103" fmla="*/ 1671637 h 1752600"/>
                <a:gd name="connsiteX104" fmla="*/ 3128973 w 3128973"/>
                <a:gd name="connsiteY104" fmla="*/ 1651467 h 1752600"/>
                <a:gd name="connsiteX105" fmla="*/ 3128021 w 3128973"/>
                <a:gd name="connsiteY105" fmla="*/ 1710279 h 1752600"/>
                <a:gd name="connsiteX106" fmla="*/ 3043237 w 3128973"/>
                <a:gd name="connsiteY106" fmla="*/ 1714500 h 1752600"/>
                <a:gd name="connsiteX107" fmla="*/ 3028950 w 3128973"/>
                <a:gd name="connsiteY107" fmla="*/ 1728787 h 1752600"/>
                <a:gd name="connsiteX108" fmla="*/ 2986087 w 3128973"/>
                <a:gd name="connsiteY108" fmla="*/ 1738312 h 1752600"/>
                <a:gd name="connsiteX109" fmla="*/ 2971800 w 3128973"/>
                <a:gd name="connsiteY109" fmla="*/ 1743075 h 1752600"/>
                <a:gd name="connsiteX110" fmla="*/ 2943225 w 3128973"/>
                <a:gd name="connsiteY110" fmla="*/ 1738312 h 1752600"/>
                <a:gd name="connsiteX111" fmla="*/ 2928937 w 3128973"/>
                <a:gd name="connsiteY111" fmla="*/ 1747837 h 1752600"/>
                <a:gd name="connsiteX112" fmla="*/ 2914650 w 3128973"/>
                <a:gd name="connsiteY112" fmla="*/ 1752600 h 1752600"/>
                <a:gd name="connsiteX113" fmla="*/ 2895600 w 3128973"/>
                <a:gd name="connsiteY113" fmla="*/ 1724025 h 1752600"/>
                <a:gd name="connsiteX114" fmla="*/ 2883310 w 3128973"/>
                <a:gd name="connsiteY114" fmla="*/ 1701201 h 1752600"/>
                <a:gd name="connsiteX115" fmla="*/ 2883805 w 3128973"/>
                <a:gd name="connsiteY115" fmla="*/ 1696138 h 1752600"/>
                <a:gd name="connsiteX116" fmla="*/ 2871787 w 3128973"/>
                <a:gd name="connsiteY116" fmla="*/ 1685925 h 1752600"/>
                <a:gd name="connsiteX117" fmla="*/ 2847975 w 3128973"/>
                <a:gd name="connsiteY117" fmla="*/ 1657350 h 1752600"/>
                <a:gd name="connsiteX118" fmla="*/ 2834034 w 3128973"/>
                <a:gd name="connsiteY118" fmla="*/ 1637762 h 1752600"/>
                <a:gd name="connsiteX119" fmla="*/ 2814637 w 3128973"/>
                <a:gd name="connsiteY119" fmla="*/ 1619250 h 1752600"/>
                <a:gd name="connsiteX120" fmla="*/ 2809875 w 3128973"/>
                <a:gd name="connsiteY120" fmla="*/ 1604962 h 1752600"/>
                <a:gd name="connsiteX121" fmla="*/ 2795587 w 3128973"/>
                <a:gd name="connsiteY121" fmla="*/ 1600200 h 1752600"/>
                <a:gd name="connsiteX122" fmla="*/ 2781300 w 3128973"/>
                <a:gd name="connsiteY122" fmla="*/ 1590675 h 1752600"/>
                <a:gd name="connsiteX123" fmla="*/ 2752725 w 3128973"/>
                <a:gd name="connsiteY123" fmla="*/ 1581150 h 1752600"/>
                <a:gd name="connsiteX124" fmla="*/ 2733675 w 3128973"/>
                <a:gd name="connsiteY124" fmla="*/ 1625600 h 1752600"/>
                <a:gd name="connsiteX125" fmla="*/ 2709862 w 3128973"/>
                <a:gd name="connsiteY125" fmla="*/ 1619250 h 1752600"/>
                <a:gd name="connsiteX126" fmla="*/ 2723566 w 3128973"/>
                <a:gd name="connsiteY126" fmla="*/ 1590361 h 1752600"/>
                <a:gd name="connsiteX127" fmla="*/ 2674937 w 3128973"/>
                <a:gd name="connsiteY127" fmla="*/ 1560512 h 1752600"/>
                <a:gd name="connsiteX128" fmla="*/ 2643187 w 3128973"/>
                <a:gd name="connsiteY128" fmla="*/ 1495425 h 1752600"/>
                <a:gd name="connsiteX129" fmla="*/ 2628900 w 3128973"/>
                <a:gd name="connsiteY129" fmla="*/ 1490662 h 1752600"/>
                <a:gd name="connsiteX130" fmla="*/ 2595562 w 3128973"/>
                <a:gd name="connsiteY130" fmla="*/ 1481137 h 1752600"/>
                <a:gd name="connsiteX131" fmla="*/ 2581275 w 3128973"/>
                <a:gd name="connsiteY131" fmla="*/ 1466850 h 1752600"/>
                <a:gd name="connsiteX132" fmla="*/ 2552700 w 3128973"/>
                <a:gd name="connsiteY132" fmla="*/ 1457325 h 1752600"/>
                <a:gd name="connsiteX133" fmla="*/ 2538412 w 3128973"/>
                <a:gd name="connsiteY133" fmla="*/ 1447800 h 1752600"/>
                <a:gd name="connsiteX134" fmla="*/ 2519362 w 3128973"/>
                <a:gd name="connsiteY134" fmla="*/ 1443037 h 1752600"/>
                <a:gd name="connsiteX135" fmla="*/ 2490787 w 3128973"/>
                <a:gd name="connsiteY135" fmla="*/ 1433512 h 1752600"/>
                <a:gd name="connsiteX136" fmla="*/ 2476500 w 3128973"/>
                <a:gd name="connsiteY136" fmla="*/ 1428750 h 1752600"/>
                <a:gd name="connsiteX137" fmla="*/ 2466975 w 3128973"/>
                <a:gd name="connsiteY137" fmla="*/ 1414462 h 1752600"/>
                <a:gd name="connsiteX138" fmla="*/ 2447925 w 3128973"/>
                <a:gd name="connsiteY138" fmla="*/ 1409700 h 1752600"/>
                <a:gd name="connsiteX139" fmla="*/ 2309812 w 3128973"/>
                <a:gd name="connsiteY139" fmla="*/ 1395412 h 1752600"/>
                <a:gd name="connsiteX140" fmla="*/ 2295525 w 3128973"/>
                <a:gd name="connsiteY140" fmla="*/ 1390650 h 1752600"/>
                <a:gd name="connsiteX141" fmla="*/ 2257425 w 3128973"/>
                <a:gd name="connsiteY141" fmla="*/ 1381125 h 1752600"/>
                <a:gd name="connsiteX142" fmla="*/ 2238375 w 3128973"/>
                <a:gd name="connsiteY142" fmla="*/ 1366837 h 1752600"/>
                <a:gd name="connsiteX143" fmla="*/ 2224087 w 3128973"/>
                <a:gd name="connsiteY143" fmla="*/ 1362075 h 1752600"/>
                <a:gd name="connsiteX144" fmla="*/ 2176462 w 3128973"/>
                <a:gd name="connsiteY144" fmla="*/ 1338262 h 1752600"/>
                <a:gd name="connsiteX145" fmla="*/ 2162175 w 3128973"/>
                <a:gd name="connsiteY145" fmla="*/ 1328737 h 1752600"/>
                <a:gd name="connsiteX146" fmla="*/ 2114550 w 3128973"/>
                <a:gd name="connsiteY146" fmla="*/ 1314450 h 1752600"/>
                <a:gd name="connsiteX147" fmla="*/ 2100262 w 3128973"/>
                <a:gd name="connsiteY147" fmla="*/ 1300162 h 1752600"/>
                <a:gd name="connsiteX148" fmla="*/ 2085975 w 3128973"/>
                <a:gd name="connsiteY148" fmla="*/ 1295400 h 1752600"/>
                <a:gd name="connsiteX149" fmla="*/ 2055019 w 3128973"/>
                <a:gd name="connsiteY149" fmla="*/ 1290637 h 1752600"/>
                <a:gd name="connsiteX150" fmla="*/ 2028824 w 3128973"/>
                <a:gd name="connsiteY150" fmla="*/ 1283494 h 1752600"/>
                <a:gd name="connsiteX151" fmla="*/ 2005012 w 3128973"/>
                <a:gd name="connsiteY151" fmla="*/ 1271587 h 1752600"/>
                <a:gd name="connsiteX152" fmla="*/ 1985962 w 3128973"/>
                <a:gd name="connsiteY152" fmla="*/ 1262062 h 1752600"/>
                <a:gd name="connsiteX153" fmla="*/ 1971675 w 3128973"/>
                <a:gd name="connsiteY153" fmla="*/ 1257300 h 1752600"/>
                <a:gd name="connsiteX154" fmla="*/ 1943100 w 3128973"/>
                <a:gd name="connsiteY154" fmla="*/ 1238250 h 1752600"/>
                <a:gd name="connsiteX155" fmla="*/ 1914525 w 3128973"/>
                <a:gd name="connsiteY155" fmla="*/ 1219200 h 1752600"/>
                <a:gd name="connsiteX156" fmla="*/ 1885950 w 3128973"/>
                <a:gd name="connsiteY156" fmla="*/ 1209675 h 1752600"/>
                <a:gd name="connsiteX157" fmla="*/ 1843087 w 3128973"/>
                <a:gd name="connsiteY157" fmla="*/ 1195387 h 1752600"/>
                <a:gd name="connsiteX158" fmla="*/ 1757362 w 3128973"/>
                <a:gd name="connsiteY158" fmla="*/ 1185862 h 1752600"/>
                <a:gd name="connsiteX159" fmla="*/ 1700212 w 3128973"/>
                <a:gd name="connsiteY159" fmla="*/ 1166812 h 1752600"/>
                <a:gd name="connsiteX160" fmla="*/ 1671637 w 3128973"/>
                <a:gd name="connsiteY160" fmla="*/ 1147762 h 1752600"/>
                <a:gd name="connsiteX161" fmla="*/ 1652587 w 3128973"/>
                <a:gd name="connsiteY161" fmla="*/ 1138237 h 1752600"/>
                <a:gd name="connsiteX162" fmla="*/ 1638300 w 3128973"/>
                <a:gd name="connsiteY162" fmla="*/ 1128712 h 1752600"/>
                <a:gd name="connsiteX163" fmla="*/ 1590675 w 3128973"/>
                <a:gd name="connsiteY163" fmla="*/ 1138238 h 1752600"/>
                <a:gd name="connsiteX164" fmla="*/ 1559719 w 3128973"/>
                <a:gd name="connsiteY164" fmla="*/ 1109662 h 1752600"/>
                <a:gd name="connsiteX165" fmla="*/ 1528762 w 3128973"/>
                <a:gd name="connsiteY165" fmla="*/ 1085850 h 1752600"/>
                <a:gd name="connsiteX166" fmla="*/ 1514475 w 3128973"/>
                <a:gd name="connsiteY166" fmla="*/ 1081087 h 1752600"/>
                <a:gd name="connsiteX167" fmla="*/ 1470025 w 3128973"/>
                <a:gd name="connsiteY167" fmla="*/ 1130300 h 1752600"/>
                <a:gd name="connsiteX168" fmla="*/ 1433512 w 3128973"/>
                <a:gd name="connsiteY168" fmla="*/ 1108075 h 1752600"/>
                <a:gd name="connsiteX169" fmla="*/ 1423987 w 3128973"/>
                <a:gd name="connsiteY169" fmla="*/ 1087437 h 1752600"/>
                <a:gd name="connsiteX170" fmla="*/ 1381125 w 3128973"/>
                <a:gd name="connsiteY170" fmla="*/ 1095375 h 1752600"/>
                <a:gd name="connsiteX171" fmla="*/ 1383506 w 3128973"/>
                <a:gd name="connsiteY171" fmla="*/ 1028700 h 1752600"/>
                <a:gd name="connsiteX172" fmla="*/ 1366838 w 3128973"/>
                <a:gd name="connsiteY172" fmla="*/ 1019175 h 1752600"/>
                <a:gd name="connsiteX173" fmla="*/ 1335881 w 3128973"/>
                <a:gd name="connsiteY173" fmla="*/ 1007268 h 1752600"/>
                <a:gd name="connsiteX174" fmla="*/ 1319213 w 3128973"/>
                <a:gd name="connsiteY174" fmla="*/ 1007268 h 1752600"/>
                <a:gd name="connsiteX175" fmla="*/ 1295400 w 3128973"/>
                <a:gd name="connsiteY175" fmla="*/ 976312 h 1752600"/>
                <a:gd name="connsiteX176" fmla="*/ 1281112 w 3128973"/>
                <a:gd name="connsiteY176" fmla="*/ 966787 h 1752600"/>
                <a:gd name="connsiteX177" fmla="*/ 1238250 w 3128973"/>
                <a:gd name="connsiteY177" fmla="*/ 947737 h 1752600"/>
                <a:gd name="connsiteX178" fmla="*/ 1212850 w 3128973"/>
                <a:gd name="connsiteY178" fmla="*/ 995362 h 1752600"/>
                <a:gd name="connsiteX179" fmla="*/ 1201737 w 3128973"/>
                <a:gd name="connsiteY179" fmla="*/ 987425 h 1752600"/>
                <a:gd name="connsiteX180" fmla="*/ 1163637 w 3128973"/>
                <a:gd name="connsiteY180" fmla="*/ 952277 h 1752600"/>
                <a:gd name="connsiteX181" fmla="*/ 1133475 w 3128973"/>
                <a:gd name="connsiteY181" fmla="*/ 925512 h 1752600"/>
                <a:gd name="connsiteX182" fmla="*/ 1085850 w 3128973"/>
                <a:gd name="connsiteY182" fmla="*/ 859631 h 1752600"/>
                <a:gd name="connsiteX183" fmla="*/ 1071562 w 3128973"/>
                <a:gd name="connsiteY183" fmla="*/ 842962 h 1752600"/>
                <a:gd name="connsiteX184" fmla="*/ 1047750 w 3128973"/>
                <a:gd name="connsiteY184" fmla="*/ 819150 h 1752600"/>
                <a:gd name="connsiteX185" fmla="*/ 1028700 w 3128973"/>
                <a:gd name="connsiteY185" fmla="*/ 804862 h 1752600"/>
                <a:gd name="connsiteX186" fmla="*/ 1018076 w 3128973"/>
                <a:gd name="connsiteY186" fmla="*/ 794816 h 1752600"/>
                <a:gd name="connsiteX187" fmla="*/ 1000125 w 3128973"/>
                <a:gd name="connsiteY187" fmla="*/ 785812 h 1752600"/>
                <a:gd name="connsiteX188" fmla="*/ 984342 w 3128973"/>
                <a:gd name="connsiteY188" fmla="*/ 773578 h 1752600"/>
                <a:gd name="connsiteX189" fmla="*/ 957262 w 3128973"/>
                <a:gd name="connsiteY189" fmla="*/ 766762 h 1752600"/>
                <a:gd name="connsiteX190" fmla="*/ 938212 w 3128973"/>
                <a:gd name="connsiteY190" fmla="*/ 757237 h 1752600"/>
                <a:gd name="connsiteX191" fmla="*/ 904875 w 3128973"/>
                <a:gd name="connsiteY191" fmla="*/ 747712 h 1752600"/>
                <a:gd name="connsiteX192" fmla="*/ 862012 w 3128973"/>
                <a:gd name="connsiteY192" fmla="*/ 723900 h 1752600"/>
                <a:gd name="connsiteX193" fmla="*/ 795337 w 3128973"/>
                <a:gd name="connsiteY193" fmla="*/ 685800 h 1752600"/>
                <a:gd name="connsiteX194" fmla="*/ 776287 w 3128973"/>
                <a:gd name="connsiteY194" fmla="*/ 666750 h 1752600"/>
                <a:gd name="connsiteX195" fmla="*/ 762000 w 3128973"/>
                <a:gd name="connsiteY195" fmla="*/ 661987 h 1752600"/>
                <a:gd name="connsiteX196" fmla="*/ 742950 w 3128973"/>
                <a:gd name="connsiteY196" fmla="*/ 647700 h 1752600"/>
                <a:gd name="connsiteX197" fmla="*/ 709612 w 3128973"/>
                <a:gd name="connsiteY197" fmla="*/ 638175 h 1752600"/>
                <a:gd name="connsiteX198" fmla="*/ 695325 w 3128973"/>
                <a:gd name="connsiteY198" fmla="*/ 628650 h 1752600"/>
                <a:gd name="connsiteX199" fmla="*/ 681037 w 3128973"/>
                <a:gd name="connsiteY199" fmla="*/ 623887 h 1752600"/>
                <a:gd name="connsiteX200" fmla="*/ 676275 w 3128973"/>
                <a:gd name="connsiteY200" fmla="*/ 604837 h 1752600"/>
                <a:gd name="connsiteX201" fmla="*/ 666750 w 3128973"/>
                <a:gd name="connsiteY201" fmla="*/ 576262 h 1752600"/>
                <a:gd name="connsiteX202" fmla="*/ 661987 w 3128973"/>
                <a:gd name="connsiteY202" fmla="*/ 561975 h 1752600"/>
                <a:gd name="connsiteX203" fmla="*/ 666750 w 3128973"/>
                <a:gd name="connsiteY203" fmla="*/ 538162 h 1752600"/>
                <a:gd name="connsiteX204" fmla="*/ 638175 w 3128973"/>
                <a:gd name="connsiteY204" fmla="*/ 514350 h 1752600"/>
                <a:gd name="connsiteX205" fmla="*/ 619125 w 3128973"/>
                <a:gd name="connsiteY205" fmla="*/ 500062 h 1752600"/>
                <a:gd name="connsiteX206" fmla="*/ 576262 w 3128973"/>
                <a:gd name="connsiteY206" fmla="*/ 490537 h 1752600"/>
                <a:gd name="connsiteX207" fmla="*/ 542925 w 3128973"/>
                <a:gd name="connsiteY207" fmla="*/ 452437 h 1752600"/>
                <a:gd name="connsiteX208" fmla="*/ 525462 w 3128973"/>
                <a:gd name="connsiteY208" fmla="*/ 485775 h 1752600"/>
                <a:gd name="connsiteX209" fmla="*/ 504825 w 3128973"/>
                <a:gd name="connsiteY209" fmla="*/ 466725 h 1752600"/>
                <a:gd name="connsiteX210" fmla="*/ 454025 w 3128973"/>
                <a:gd name="connsiteY210" fmla="*/ 466725 h 1752600"/>
                <a:gd name="connsiteX211" fmla="*/ 407987 w 3128973"/>
                <a:gd name="connsiteY211" fmla="*/ 473075 h 1752600"/>
                <a:gd name="connsiteX212" fmla="*/ 395287 w 3128973"/>
                <a:gd name="connsiteY212" fmla="*/ 409575 h 1752600"/>
                <a:gd name="connsiteX213" fmla="*/ 376237 w 3128973"/>
                <a:gd name="connsiteY213" fmla="*/ 404812 h 1752600"/>
                <a:gd name="connsiteX214" fmla="*/ 342900 w 3128973"/>
                <a:gd name="connsiteY214" fmla="*/ 400050 h 1752600"/>
                <a:gd name="connsiteX215" fmla="*/ 314325 w 3128973"/>
                <a:gd name="connsiteY215" fmla="*/ 390525 h 1752600"/>
                <a:gd name="connsiteX216" fmla="*/ 273844 w 3128973"/>
                <a:gd name="connsiteY216" fmla="*/ 383382 h 1752600"/>
                <a:gd name="connsiteX217" fmla="*/ 257175 w 3128973"/>
                <a:gd name="connsiteY217" fmla="*/ 371475 h 1752600"/>
                <a:gd name="connsiteX218" fmla="*/ 245269 w 3128973"/>
                <a:gd name="connsiteY218" fmla="*/ 364331 h 1752600"/>
                <a:gd name="connsiteX219" fmla="*/ 223837 w 3128973"/>
                <a:gd name="connsiteY219" fmla="*/ 347662 h 1752600"/>
                <a:gd name="connsiteX220" fmla="*/ 190500 w 3128973"/>
                <a:gd name="connsiteY220" fmla="*/ 338137 h 1752600"/>
                <a:gd name="connsiteX221" fmla="*/ 147637 w 3128973"/>
                <a:gd name="connsiteY221" fmla="*/ 333375 h 1752600"/>
                <a:gd name="connsiteX222" fmla="*/ 119062 w 3128973"/>
                <a:gd name="connsiteY222" fmla="*/ 323850 h 1752600"/>
                <a:gd name="connsiteX223" fmla="*/ 104775 w 3128973"/>
                <a:gd name="connsiteY223" fmla="*/ 319087 h 1752600"/>
                <a:gd name="connsiteX224" fmla="*/ 61912 w 3128973"/>
                <a:gd name="connsiteY224" fmla="*/ 300037 h 1752600"/>
                <a:gd name="connsiteX225" fmla="*/ 23812 w 3128973"/>
                <a:gd name="connsiteY225" fmla="*/ 290512 h 1752600"/>
                <a:gd name="connsiteX226" fmla="*/ 9525 w 3128973"/>
                <a:gd name="connsiteY226" fmla="*/ 261937 h 1752600"/>
                <a:gd name="connsiteX227" fmla="*/ 0 w 3128973"/>
                <a:gd name="connsiteY227" fmla="*/ 290512 h 1752600"/>
                <a:gd name="connsiteX228" fmla="*/ 4762 w 3128973"/>
                <a:gd name="connsiteY228" fmla="*/ 247650 h 1752600"/>
                <a:gd name="connsiteX229" fmla="*/ 19050 w 3128973"/>
                <a:gd name="connsiteY229" fmla="*/ 200025 h 1752600"/>
                <a:gd name="connsiteX230" fmla="*/ 23812 w 3128973"/>
                <a:gd name="connsiteY230" fmla="*/ 185737 h 1752600"/>
                <a:gd name="connsiteX231" fmla="*/ 71437 w 3128973"/>
                <a:gd name="connsiteY231" fmla="*/ 171450 h 1752600"/>
                <a:gd name="connsiteX232" fmla="*/ 85725 w 3128973"/>
                <a:gd name="connsiteY232" fmla="*/ 166687 h 1752600"/>
                <a:gd name="connsiteX233" fmla="*/ 100012 w 3128973"/>
                <a:gd name="connsiteY233" fmla="*/ 161925 h 1752600"/>
                <a:gd name="connsiteX234" fmla="*/ 114300 w 3128973"/>
                <a:gd name="connsiteY234" fmla="*/ 152400 h 1752600"/>
                <a:gd name="connsiteX235" fmla="*/ 133350 w 3128973"/>
                <a:gd name="connsiteY235" fmla="*/ 123825 h 1752600"/>
                <a:gd name="connsiteX236" fmla="*/ 138112 w 3128973"/>
                <a:gd name="connsiteY236" fmla="*/ 109537 h 1752600"/>
                <a:gd name="connsiteX237" fmla="*/ 135467 w 3128973"/>
                <a:gd name="connsiteY237" fmla="*/ 97059 h 1752600"/>
                <a:gd name="connsiteX238" fmla="*/ 142875 w 3128973"/>
                <a:gd name="connsiteY238" fmla="*/ 71437 h 1752600"/>
                <a:gd name="connsiteX239" fmla="*/ 157162 w 3128973"/>
                <a:gd name="connsiteY239" fmla="*/ 57150 h 1752600"/>
                <a:gd name="connsiteX240" fmla="*/ 200025 w 3128973"/>
                <a:gd name="connsiteY240" fmla="*/ 33337 h 1752600"/>
                <a:gd name="connsiteX241" fmla="*/ 309562 w 3128973"/>
                <a:gd name="connsiteY241" fmla="*/ 28575 h 1752600"/>
                <a:gd name="connsiteX242" fmla="*/ 400050 w 3128973"/>
                <a:gd name="connsiteY242" fmla="*/ 14287 h 1752600"/>
                <a:gd name="connsiteX243" fmla="*/ 414337 w 3128973"/>
                <a:gd name="connsiteY243" fmla="*/ 9525 h 1752600"/>
                <a:gd name="connsiteX244" fmla="*/ 481012 w 3128973"/>
                <a:gd name="connsiteY244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681287 w 3128973"/>
                <a:gd name="connsiteY31" fmla="*/ 218614 h 1752600"/>
                <a:gd name="connsiteX32" fmla="*/ 2678905 w 3128973"/>
                <a:gd name="connsiteY32" fmla="*/ 232782 h 1752600"/>
                <a:gd name="connsiteX33" fmla="*/ 2046801 w 3128973"/>
                <a:gd name="connsiteY33" fmla="*/ 262295 h 1752600"/>
                <a:gd name="connsiteX34" fmla="*/ 2033587 w 3128973"/>
                <a:gd name="connsiteY34" fmla="*/ 266700 h 1752600"/>
                <a:gd name="connsiteX35" fmla="*/ 2019300 w 3128973"/>
                <a:gd name="connsiteY35" fmla="*/ 280987 h 1752600"/>
                <a:gd name="connsiteX36" fmla="*/ 1990725 w 3128973"/>
                <a:gd name="connsiteY36" fmla="*/ 300037 h 1752600"/>
                <a:gd name="connsiteX37" fmla="*/ 1981200 w 3128973"/>
                <a:gd name="connsiteY37" fmla="*/ 314325 h 1752600"/>
                <a:gd name="connsiteX38" fmla="*/ 1981200 w 3128973"/>
                <a:gd name="connsiteY38" fmla="*/ 419100 h 1752600"/>
                <a:gd name="connsiteX39" fmla="*/ 1985962 w 3128973"/>
                <a:gd name="connsiteY39" fmla="*/ 433387 h 1752600"/>
                <a:gd name="connsiteX40" fmla="*/ 2000250 w 3128973"/>
                <a:gd name="connsiteY40" fmla="*/ 442912 h 1752600"/>
                <a:gd name="connsiteX41" fmla="*/ 2005012 w 3128973"/>
                <a:gd name="connsiteY41" fmla="*/ 457200 h 1752600"/>
                <a:gd name="connsiteX42" fmla="*/ 2005012 w 3128973"/>
                <a:gd name="connsiteY42" fmla="*/ 561975 h 1752600"/>
                <a:gd name="connsiteX43" fmla="*/ 2009775 w 3128973"/>
                <a:gd name="connsiteY43" fmla="*/ 576262 h 1752600"/>
                <a:gd name="connsiteX44" fmla="*/ 2024062 w 3128973"/>
                <a:gd name="connsiteY44" fmla="*/ 581025 h 1752600"/>
                <a:gd name="connsiteX45" fmla="*/ 2038350 w 3128973"/>
                <a:gd name="connsiteY45" fmla="*/ 595312 h 1752600"/>
                <a:gd name="connsiteX46" fmla="*/ 2052637 w 3128973"/>
                <a:gd name="connsiteY46" fmla="*/ 600075 h 1752600"/>
                <a:gd name="connsiteX47" fmla="*/ 2133600 w 3128973"/>
                <a:gd name="connsiteY47" fmla="*/ 590550 h 1752600"/>
                <a:gd name="connsiteX48" fmla="*/ 2147887 w 3128973"/>
                <a:gd name="connsiteY48" fmla="*/ 585787 h 1752600"/>
                <a:gd name="connsiteX49" fmla="*/ 2195512 w 3128973"/>
                <a:gd name="connsiteY49" fmla="*/ 600075 h 1752600"/>
                <a:gd name="connsiteX50" fmla="*/ 2205037 w 3128973"/>
                <a:gd name="connsiteY50" fmla="*/ 614362 h 1752600"/>
                <a:gd name="connsiteX51" fmla="*/ 2219325 w 3128973"/>
                <a:gd name="connsiteY51" fmla="*/ 628650 h 1752600"/>
                <a:gd name="connsiteX52" fmla="*/ 2224087 w 3128973"/>
                <a:gd name="connsiteY52" fmla="*/ 642937 h 1752600"/>
                <a:gd name="connsiteX53" fmla="*/ 2233612 w 3128973"/>
                <a:gd name="connsiteY53" fmla="*/ 657225 h 1752600"/>
                <a:gd name="connsiteX54" fmla="*/ 2247900 w 3128973"/>
                <a:gd name="connsiteY54" fmla="*/ 685800 h 1752600"/>
                <a:gd name="connsiteX55" fmla="*/ 2262187 w 3128973"/>
                <a:gd name="connsiteY55" fmla="*/ 733425 h 1752600"/>
                <a:gd name="connsiteX56" fmla="*/ 2305050 w 3128973"/>
                <a:gd name="connsiteY56" fmla="*/ 771525 h 1752600"/>
                <a:gd name="connsiteX57" fmla="*/ 2319337 w 3128973"/>
                <a:gd name="connsiteY57" fmla="*/ 804862 h 1752600"/>
                <a:gd name="connsiteX58" fmla="*/ 2333625 w 3128973"/>
                <a:gd name="connsiteY58" fmla="*/ 819150 h 1752600"/>
                <a:gd name="connsiteX59" fmla="*/ 2338387 w 3128973"/>
                <a:gd name="connsiteY59" fmla="*/ 833437 h 1752600"/>
                <a:gd name="connsiteX60" fmla="*/ 2352675 w 3128973"/>
                <a:gd name="connsiteY60" fmla="*/ 847725 h 1752600"/>
                <a:gd name="connsiteX61" fmla="*/ 2395537 w 3128973"/>
                <a:gd name="connsiteY61" fmla="*/ 871537 h 1752600"/>
                <a:gd name="connsiteX62" fmla="*/ 2409825 w 3128973"/>
                <a:gd name="connsiteY62" fmla="*/ 890587 h 1752600"/>
                <a:gd name="connsiteX63" fmla="*/ 2424112 w 3128973"/>
                <a:gd name="connsiteY63" fmla="*/ 895350 h 1752600"/>
                <a:gd name="connsiteX64" fmla="*/ 2433637 w 3128973"/>
                <a:gd name="connsiteY64" fmla="*/ 914400 h 1752600"/>
                <a:gd name="connsiteX65" fmla="*/ 2466975 w 3128973"/>
                <a:gd name="connsiteY65" fmla="*/ 942975 h 1752600"/>
                <a:gd name="connsiteX66" fmla="*/ 2474637 w 3128973"/>
                <a:gd name="connsiteY66" fmla="*/ 954728 h 1752600"/>
                <a:gd name="connsiteX67" fmla="*/ 2495550 w 3128973"/>
                <a:gd name="connsiteY67" fmla="*/ 971550 h 1752600"/>
                <a:gd name="connsiteX68" fmla="*/ 2508776 w 3128973"/>
                <a:gd name="connsiteY68" fmla="*/ 983894 h 1752600"/>
                <a:gd name="connsiteX69" fmla="*/ 2533650 w 3128973"/>
                <a:gd name="connsiteY69" fmla="*/ 1000125 h 1752600"/>
                <a:gd name="connsiteX70" fmla="*/ 2547937 w 3128973"/>
                <a:gd name="connsiteY70" fmla="*/ 1028700 h 1752600"/>
                <a:gd name="connsiteX71" fmla="*/ 2552700 w 3128973"/>
                <a:gd name="connsiteY71" fmla="*/ 1042987 h 1752600"/>
                <a:gd name="connsiteX72" fmla="*/ 2576512 w 3128973"/>
                <a:gd name="connsiteY72" fmla="*/ 1071562 h 1752600"/>
                <a:gd name="connsiteX73" fmla="*/ 2584921 w 3128973"/>
                <a:gd name="connsiteY73" fmla="*/ 1082873 h 1752600"/>
                <a:gd name="connsiteX74" fmla="*/ 2600325 w 3128973"/>
                <a:gd name="connsiteY74" fmla="*/ 1095375 h 1752600"/>
                <a:gd name="connsiteX75" fmla="*/ 2609850 w 3128973"/>
                <a:gd name="connsiteY75" fmla="*/ 1109662 h 1752600"/>
                <a:gd name="connsiteX76" fmla="*/ 2652712 w 3128973"/>
                <a:gd name="connsiteY76" fmla="*/ 1143000 h 1752600"/>
                <a:gd name="connsiteX77" fmla="*/ 2681287 w 3128973"/>
                <a:gd name="connsiteY77" fmla="*/ 1152525 h 1752600"/>
                <a:gd name="connsiteX78" fmla="*/ 2700337 w 3128973"/>
                <a:gd name="connsiteY78" fmla="*/ 1162050 h 1752600"/>
                <a:gd name="connsiteX79" fmla="*/ 2714625 w 3128973"/>
                <a:gd name="connsiteY79" fmla="*/ 1171575 h 1752600"/>
                <a:gd name="connsiteX80" fmla="*/ 2752725 w 3128973"/>
                <a:gd name="connsiteY80" fmla="*/ 1181100 h 1752600"/>
                <a:gd name="connsiteX81" fmla="*/ 2767012 w 3128973"/>
                <a:gd name="connsiteY81" fmla="*/ 1195387 h 1752600"/>
                <a:gd name="connsiteX82" fmla="*/ 2781300 w 3128973"/>
                <a:gd name="connsiteY82" fmla="*/ 1200150 h 1752600"/>
                <a:gd name="connsiteX83" fmla="*/ 2795587 w 3128973"/>
                <a:gd name="connsiteY83" fmla="*/ 1209675 h 1752600"/>
                <a:gd name="connsiteX84" fmla="*/ 2805112 w 3128973"/>
                <a:gd name="connsiteY84" fmla="*/ 1223962 h 1752600"/>
                <a:gd name="connsiteX85" fmla="*/ 2809875 w 3128973"/>
                <a:gd name="connsiteY85" fmla="*/ 1238250 h 1752600"/>
                <a:gd name="connsiteX86" fmla="*/ 2833687 w 3128973"/>
                <a:gd name="connsiteY86" fmla="*/ 1276350 h 1752600"/>
                <a:gd name="connsiteX87" fmla="*/ 2895600 w 3128973"/>
                <a:gd name="connsiteY87" fmla="*/ 1333500 h 1752600"/>
                <a:gd name="connsiteX88" fmla="*/ 2900362 w 3128973"/>
                <a:gd name="connsiteY88" fmla="*/ 1352550 h 1752600"/>
                <a:gd name="connsiteX89" fmla="*/ 2928937 w 3128973"/>
                <a:gd name="connsiteY89" fmla="*/ 1395412 h 1752600"/>
                <a:gd name="connsiteX90" fmla="*/ 2943225 w 3128973"/>
                <a:gd name="connsiteY90" fmla="*/ 1404937 h 1752600"/>
                <a:gd name="connsiteX91" fmla="*/ 2957512 w 3128973"/>
                <a:gd name="connsiteY91" fmla="*/ 1419225 h 1752600"/>
                <a:gd name="connsiteX92" fmla="*/ 2986087 w 3128973"/>
                <a:gd name="connsiteY92" fmla="*/ 1443037 h 1752600"/>
                <a:gd name="connsiteX93" fmla="*/ 3000375 w 3128973"/>
                <a:gd name="connsiteY93" fmla="*/ 1462087 h 1752600"/>
                <a:gd name="connsiteX94" fmla="*/ 3016395 w 3128973"/>
                <a:gd name="connsiteY94" fmla="*/ 1476222 h 1752600"/>
                <a:gd name="connsiteX95" fmla="*/ 3028950 w 3128973"/>
                <a:gd name="connsiteY95" fmla="*/ 1495425 h 1752600"/>
                <a:gd name="connsiteX96" fmla="*/ 3043237 w 3128973"/>
                <a:gd name="connsiteY96" fmla="*/ 1552575 h 1752600"/>
                <a:gd name="connsiteX97" fmla="*/ 3052762 w 3128973"/>
                <a:gd name="connsiteY97" fmla="*/ 1566862 h 1752600"/>
                <a:gd name="connsiteX98" fmla="*/ 3057525 w 3128973"/>
                <a:gd name="connsiteY98" fmla="*/ 1581150 h 1752600"/>
                <a:gd name="connsiteX99" fmla="*/ 3067050 w 3128973"/>
                <a:gd name="connsiteY99" fmla="*/ 1662112 h 1752600"/>
                <a:gd name="connsiteX100" fmla="*/ 3071812 w 3128973"/>
                <a:gd name="connsiteY100" fmla="*/ 1676400 h 1752600"/>
                <a:gd name="connsiteX101" fmla="*/ 3100387 w 3128973"/>
                <a:gd name="connsiteY101" fmla="*/ 1690687 h 1752600"/>
                <a:gd name="connsiteX102" fmla="*/ 3114675 w 3128973"/>
                <a:gd name="connsiteY102" fmla="*/ 1685925 h 1752600"/>
                <a:gd name="connsiteX103" fmla="*/ 3124200 w 3128973"/>
                <a:gd name="connsiteY103" fmla="*/ 1671637 h 1752600"/>
                <a:gd name="connsiteX104" fmla="*/ 3128973 w 3128973"/>
                <a:gd name="connsiteY104" fmla="*/ 1651467 h 1752600"/>
                <a:gd name="connsiteX105" fmla="*/ 3128021 w 3128973"/>
                <a:gd name="connsiteY105" fmla="*/ 1710279 h 1752600"/>
                <a:gd name="connsiteX106" fmla="*/ 3043237 w 3128973"/>
                <a:gd name="connsiteY106" fmla="*/ 1714500 h 1752600"/>
                <a:gd name="connsiteX107" fmla="*/ 3028950 w 3128973"/>
                <a:gd name="connsiteY107" fmla="*/ 1728787 h 1752600"/>
                <a:gd name="connsiteX108" fmla="*/ 2986087 w 3128973"/>
                <a:gd name="connsiteY108" fmla="*/ 1738312 h 1752600"/>
                <a:gd name="connsiteX109" fmla="*/ 2971800 w 3128973"/>
                <a:gd name="connsiteY109" fmla="*/ 1743075 h 1752600"/>
                <a:gd name="connsiteX110" fmla="*/ 2943225 w 3128973"/>
                <a:gd name="connsiteY110" fmla="*/ 1738312 h 1752600"/>
                <a:gd name="connsiteX111" fmla="*/ 2928937 w 3128973"/>
                <a:gd name="connsiteY111" fmla="*/ 1747837 h 1752600"/>
                <a:gd name="connsiteX112" fmla="*/ 2914650 w 3128973"/>
                <a:gd name="connsiteY112" fmla="*/ 1752600 h 1752600"/>
                <a:gd name="connsiteX113" fmla="*/ 2895600 w 3128973"/>
                <a:gd name="connsiteY113" fmla="*/ 1724025 h 1752600"/>
                <a:gd name="connsiteX114" fmla="*/ 2883310 w 3128973"/>
                <a:gd name="connsiteY114" fmla="*/ 1701201 h 1752600"/>
                <a:gd name="connsiteX115" fmla="*/ 2883805 w 3128973"/>
                <a:gd name="connsiteY115" fmla="*/ 1696138 h 1752600"/>
                <a:gd name="connsiteX116" fmla="*/ 2871787 w 3128973"/>
                <a:gd name="connsiteY116" fmla="*/ 1685925 h 1752600"/>
                <a:gd name="connsiteX117" fmla="*/ 2847975 w 3128973"/>
                <a:gd name="connsiteY117" fmla="*/ 1657350 h 1752600"/>
                <a:gd name="connsiteX118" fmla="*/ 2834034 w 3128973"/>
                <a:gd name="connsiteY118" fmla="*/ 1637762 h 1752600"/>
                <a:gd name="connsiteX119" fmla="*/ 2814637 w 3128973"/>
                <a:gd name="connsiteY119" fmla="*/ 1619250 h 1752600"/>
                <a:gd name="connsiteX120" fmla="*/ 2809875 w 3128973"/>
                <a:gd name="connsiteY120" fmla="*/ 1604962 h 1752600"/>
                <a:gd name="connsiteX121" fmla="*/ 2795587 w 3128973"/>
                <a:gd name="connsiteY121" fmla="*/ 1600200 h 1752600"/>
                <a:gd name="connsiteX122" fmla="*/ 2781300 w 3128973"/>
                <a:gd name="connsiteY122" fmla="*/ 1590675 h 1752600"/>
                <a:gd name="connsiteX123" fmla="*/ 2752725 w 3128973"/>
                <a:gd name="connsiteY123" fmla="*/ 1581150 h 1752600"/>
                <a:gd name="connsiteX124" fmla="*/ 2733675 w 3128973"/>
                <a:gd name="connsiteY124" fmla="*/ 1625600 h 1752600"/>
                <a:gd name="connsiteX125" fmla="*/ 2709862 w 3128973"/>
                <a:gd name="connsiteY125" fmla="*/ 1619250 h 1752600"/>
                <a:gd name="connsiteX126" fmla="*/ 2723566 w 3128973"/>
                <a:gd name="connsiteY126" fmla="*/ 1590361 h 1752600"/>
                <a:gd name="connsiteX127" fmla="*/ 2674937 w 3128973"/>
                <a:gd name="connsiteY127" fmla="*/ 1560512 h 1752600"/>
                <a:gd name="connsiteX128" fmla="*/ 2643187 w 3128973"/>
                <a:gd name="connsiteY128" fmla="*/ 1495425 h 1752600"/>
                <a:gd name="connsiteX129" fmla="*/ 2628900 w 3128973"/>
                <a:gd name="connsiteY129" fmla="*/ 1490662 h 1752600"/>
                <a:gd name="connsiteX130" fmla="*/ 2595562 w 3128973"/>
                <a:gd name="connsiteY130" fmla="*/ 1481137 h 1752600"/>
                <a:gd name="connsiteX131" fmla="*/ 2581275 w 3128973"/>
                <a:gd name="connsiteY131" fmla="*/ 1466850 h 1752600"/>
                <a:gd name="connsiteX132" fmla="*/ 2552700 w 3128973"/>
                <a:gd name="connsiteY132" fmla="*/ 1457325 h 1752600"/>
                <a:gd name="connsiteX133" fmla="*/ 2538412 w 3128973"/>
                <a:gd name="connsiteY133" fmla="*/ 1447800 h 1752600"/>
                <a:gd name="connsiteX134" fmla="*/ 2519362 w 3128973"/>
                <a:gd name="connsiteY134" fmla="*/ 1443037 h 1752600"/>
                <a:gd name="connsiteX135" fmla="*/ 2490787 w 3128973"/>
                <a:gd name="connsiteY135" fmla="*/ 1433512 h 1752600"/>
                <a:gd name="connsiteX136" fmla="*/ 2476500 w 3128973"/>
                <a:gd name="connsiteY136" fmla="*/ 1428750 h 1752600"/>
                <a:gd name="connsiteX137" fmla="*/ 2466975 w 3128973"/>
                <a:gd name="connsiteY137" fmla="*/ 1414462 h 1752600"/>
                <a:gd name="connsiteX138" fmla="*/ 2447925 w 3128973"/>
                <a:gd name="connsiteY138" fmla="*/ 1409700 h 1752600"/>
                <a:gd name="connsiteX139" fmla="*/ 2309812 w 3128973"/>
                <a:gd name="connsiteY139" fmla="*/ 1395412 h 1752600"/>
                <a:gd name="connsiteX140" fmla="*/ 2295525 w 3128973"/>
                <a:gd name="connsiteY140" fmla="*/ 1390650 h 1752600"/>
                <a:gd name="connsiteX141" fmla="*/ 2257425 w 3128973"/>
                <a:gd name="connsiteY141" fmla="*/ 1381125 h 1752600"/>
                <a:gd name="connsiteX142" fmla="*/ 2238375 w 3128973"/>
                <a:gd name="connsiteY142" fmla="*/ 1366837 h 1752600"/>
                <a:gd name="connsiteX143" fmla="*/ 2224087 w 3128973"/>
                <a:gd name="connsiteY143" fmla="*/ 1362075 h 1752600"/>
                <a:gd name="connsiteX144" fmla="*/ 2176462 w 3128973"/>
                <a:gd name="connsiteY144" fmla="*/ 1338262 h 1752600"/>
                <a:gd name="connsiteX145" fmla="*/ 2162175 w 3128973"/>
                <a:gd name="connsiteY145" fmla="*/ 1328737 h 1752600"/>
                <a:gd name="connsiteX146" fmla="*/ 2114550 w 3128973"/>
                <a:gd name="connsiteY146" fmla="*/ 1314450 h 1752600"/>
                <a:gd name="connsiteX147" fmla="*/ 2100262 w 3128973"/>
                <a:gd name="connsiteY147" fmla="*/ 1300162 h 1752600"/>
                <a:gd name="connsiteX148" fmla="*/ 2085975 w 3128973"/>
                <a:gd name="connsiteY148" fmla="*/ 1295400 h 1752600"/>
                <a:gd name="connsiteX149" fmla="*/ 2055019 w 3128973"/>
                <a:gd name="connsiteY149" fmla="*/ 1290637 h 1752600"/>
                <a:gd name="connsiteX150" fmla="*/ 2028824 w 3128973"/>
                <a:gd name="connsiteY150" fmla="*/ 1283494 h 1752600"/>
                <a:gd name="connsiteX151" fmla="*/ 2005012 w 3128973"/>
                <a:gd name="connsiteY151" fmla="*/ 1271587 h 1752600"/>
                <a:gd name="connsiteX152" fmla="*/ 1985962 w 3128973"/>
                <a:gd name="connsiteY152" fmla="*/ 1262062 h 1752600"/>
                <a:gd name="connsiteX153" fmla="*/ 1971675 w 3128973"/>
                <a:gd name="connsiteY153" fmla="*/ 1257300 h 1752600"/>
                <a:gd name="connsiteX154" fmla="*/ 1943100 w 3128973"/>
                <a:gd name="connsiteY154" fmla="*/ 1238250 h 1752600"/>
                <a:gd name="connsiteX155" fmla="*/ 1914525 w 3128973"/>
                <a:gd name="connsiteY155" fmla="*/ 1219200 h 1752600"/>
                <a:gd name="connsiteX156" fmla="*/ 1885950 w 3128973"/>
                <a:gd name="connsiteY156" fmla="*/ 1209675 h 1752600"/>
                <a:gd name="connsiteX157" fmla="*/ 1843087 w 3128973"/>
                <a:gd name="connsiteY157" fmla="*/ 1195387 h 1752600"/>
                <a:gd name="connsiteX158" fmla="*/ 1757362 w 3128973"/>
                <a:gd name="connsiteY158" fmla="*/ 1185862 h 1752600"/>
                <a:gd name="connsiteX159" fmla="*/ 1700212 w 3128973"/>
                <a:gd name="connsiteY159" fmla="*/ 1166812 h 1752600"/>
                <a:gd name="connsiteX160" fmla="*/ 1671637 w 3128973"/>
                <a:gd name="connsiteY160" fmla="*/ 1147762 h 1752600"/>
                <a:gd name="connsiteX161" fmla="*/ 1652587 w 3128973"/>
                <a:gd name="connsiteY161" fmla="*/ 1138237 h 1752600"/>
                <a:gd name="connsiteX162" fmla="*/ 1638300 w 3128973"/>
                <a:gd name="connsiteY162" fmla="*/ 1128712 h 1752600"/>
                <a:gd name="connsiteX163" fmla="*/ 1590675 w 3128973"/>
                <a:gd name="connsiteY163" fmla="*/ 1138238 h 1752600"/>
                <a:gd name="connsiteX164" fmla="*/ 1559719 w 3128973"/>
                <a:gd name="connsiteY164" fmla="*/ 1109662 h 1752600"/>
                <a:gd name="connsiteX165" fmla="*/ 1528762 w 3128973"/>
                <a:gd name="connsiteY165" fmla="*/ 1085850 h 1752600"/>
                <a:gd name="connsiteX166" fmla="*/ 1514475 w 3128973"/>
                <a:gd name="connsiteY166" fmla="*/ 1081087 h 1752600"/>
                <a:gd name="connsiteX167" fmla="*/ 1470025 w 3128973"/>
                <a:gd name="connsiteY167" fmla="*/ 1130300 h 1752600"/>
                <a:gd name="connsiteX168" fmla="*/ 1433512 w 3128973"/>
                <a:gd name="connsiteY168" fmla="*/ 1108075 h 1752600"/>
                <a:gd name="connsiteX169" fmla="*/ 1423987 w 3128973"/>
                <a:gd name="connsiteY169" fmla="*/ 1087437 h 1752600"/>
                <a:gd name="connsiteX170" fmla="*/ 1381125 w 3128973"/>
                <a:gd name="connsiteY170" fmla="*/ 1095375 h 1752600"/>
                <a:gd name="connsiteX171" fmla="*/ 1383506 w 3128973"/>
                <a:gd name="connsiteY171" fmla="*/ 1028700 h 1752600"/>
                <a:gd name="connsiteX172" fmla="*/ 1366838 w 3128973"/>
                <a:gd name="connsiteY172" fmla="*/ 1019175 h 1752600"/>
                <a:gd name="connsiteX173" fmla="*/ 1335881 w 3128973"/>
                <a:gd name="connsiteY173" fmla="*/ 1007268 h 1752600"/>
                <a:gd name="connsiteX174" fmla="*/ 1319213 w 3128973"/>
                <a:gd name="connsiteY174" fmla="*/ 1007268 h 1752600"/>
                <a:gd name="connsiteX175" fmla="*/ 1295400 w 3128973"/>
                <a:gd name="connsiteY175" fmla="*/ 976312 h 1752600"/>
                <a:gd name="connsiteX176" fmla="*/ 1281112 w 3128973"/>
                <a:gd name="connsiteY176" fmla="*/ 966787 h 1752600"/>
                <a:gd name="connsiteX177" fmla="*/ 1238250 w 3128973"/>
                <a:gd name="connsiteY177" fmla="*/ 947737 h 1752600"/>
                <a:gd name="connsiteX178" fmla="*/ 1212850 w 3128973"/>
                <a:gd name="connsiteY178" fmla="*/ 995362 h 1752600"/>
                <a:gd name="connsiteX179" fmla="*/ 1201737 w 3128973"/>
                <a:gd name="connsiteY179" fmla="*/ 987425 h 1752600"/>
                <a:gd name="connsiteX180" fmla="*/ 1163637 w 3128973"/>
                <a:gd name="connsiteY180" fmla="*/ 952277 h 1752600"/>
                <a:gd name="connsiteX181" fmla="*/ 1133475 w 3128973"/>
                <a:gd name="connsiteY181" fmla="*/ 925512 h 1752600"/>
                <a:gd name="connsiteX182" fmla="*/ 1085850 w 3128973"/>
                <a:gd name="connsiteY182" fmla="*/ 859631 h 1752600"/>
                <a:gd name="connsiteX183" fmla="*/ 1071562 w 3128973"/>
                <a:gd name="connsiteY183" fmla="*/ 842962 h 1752600"/>
                <a:gd name="connsiteX184" fmla="*/ 1047750 w 3128973"/>
                <a:gd name="connsiteY184" fmla="*/ 819150 h 1752600"/>
                <a:gd name="connsiteX185" fmla="*/ 1028700 w 3128973"/>
                <a:gd name="connsiteY185" fmla="*/ 804862 h 1752600"/>
                <a:gd name="connsiteX186" fmla="*/ 1018076 w 3128973"/>
                <a:gd name="connsiteY186" fmla="*/ 794816 h 1752600"/>
                <a:gd name="connsiteX187" fmla="*/ 1000125 w 3128973"/>
                <a:gd name="connsiteY187" fmla="*/ 785812 h 1752600"/>
                <a:gd name="connsiteX188" fmla="*/ 984342 w 3128973"/>
                <a:gd name="connsiteY188" fmla="*/ 773578 h 1752600"/>
                <a:gd name="connsiteX189" fmla="*/ 957262 w 3128973"/>
                <a:gd name="connsiteY189" fmla="*/ 766762 h 1752600"/>
                <a:gd name="connsiteX190" fmla="*/ 938212 w 3128973"/>
                <a:gd name="connsiteY190" fmla="*/ 757237 h 1752600"/>
                <a:gd name="connsiteX191" fmla="*/ 904875 w 3128973"/>
                <a:gd name="connsiteY191" fmla="*/ 747712 h 1752600"/>
                <a:gd name="connsiteX192" fmla="*/ 862012 w 3128973"/>
                <a:gd name="connsiteY192" fmla="*/ 723900 h 1752600"/>
                <a:gd name="connsiteX193" fmla="*/ 795337 w 3128973"/>
                <a:gd name="connsiteY193" fmla="*/ 685800 h 1752600"/>
                <a:gd name="connsiteX194" fmla="*/ 776287 w 3128973"/>
                <a:gd name="connsiteY194" fmla="*/ 666750 h 1752600"/>
                <a:gd name="connsiteX195" fmla="*/ 762000 w 3128973"/>
                <a:gd name="connsiteY195" fmla="*/ 661987 h 1752600"/>
                <a:gd name="connsiteX196" fmla="*/ 742950 w 3128973"/>
                <a:gd name="connsiteY196" fmla="*/ 647700 h 1752600"/>
                <a:gd name="connsiteX197" fmla="*/ 709612 w 3128973"/>
                <a:gd name="connsiteY197" fmla="*/ 638175 h 1752600"/>
                <a:gd name="connsiteX198" fmla="*/ 695325 w 3128973"/>
                <a:gd name="connsiteY198" fmla="*/ 628650 h 1752600"/>
                <a:gd name="connsiteX199" fmla="*/ 681037 w 3128973"/>
                <a:gd name="connsiteY199" fmla="*/ 623887 h 1752600"/>
                <a:gd name="connsiteX200" fmla="*/ 676275 w 3128973"/>
                <a:gd name="connsiteY200" fmla="*/ 604837 h 1752600"/>
                <a:gd name="connsiteX201" fmla="*/ 666750 w 3128973"/>
                <a:gd name="connsiteY201" fmla="*/ 576262 h 1752600"/>
                <a:gd name="connsiteX202" fmla="*/ 661987 w 3128973"/>
                <a:gd name="connsiteY202" fmla="*/ 561975 h 1752600"/>
                <a:gd name="connsiteX203" fmla="*/ 666750 w 3128973"/>
                <a:gd name="connsiteY203" fmla="*/ 538162 h 1752600"/>
                <a:gd name="connsiteX204" fmla="*/ 638175 w 3128973"/>
                <a:gd name="connsiteY204" fmla="*/ 514350 h 1752600"/>
                <a:gd name="connsiteX205" fmla="*/ 619125 w 3128973"/>
                <a:gd name="connsiteY205" fmla="*/ 500062 h 1752600"/>
                <a:gd name="connsiteX206" fmla="*/ 576262 w 3128973"/>
                <a:gd name="connsiteY206" fmla="*/ 490537 h 1752600"/>
                <a:gd name="connsiteX207" fmla="*/ 542925 w 3128973"/>
                <a:gd name="connsiteY207" fmla="*/ 452437 h 1752600"/>
                <a:gd name="connsiteX208" fmla="*/ 525462 w 3128973"/>
                <a:gd name="connsiteY208" fmla="*/ 485775 h 1752600"/>
                <a:gd name="connsiteX209" fmla="*/ 504825 w 3128973"/>
                <a:gd name="connsiteY209" fmla="*/ 466725 h 1752600"/>
                <a:gd name="connsiteX210" fmla="*/ 454025 w 3128973"/>
                <a:gd name="connsiteY210" fmla="*/ 466725 h 1752600"/>
                <a:gd name="connsiteX211" fmla="*/ 407987 w 3128973"/>
                <a:gd name="connsiteY211" fmla="*/ 473075 h 1752600"/>
                <a:gd name="connsiteX212" fmla="*/ 395287 w 3128973"/>
                <a:gd name="connsiteY212" fmla="*/ 409575 h 1752600"/>
                <a:gd name="connsiteX213" fmla="*/ 376237 w 3128973"/>
                <a:gd name="connsiteY213" fmla="*/ 404812 h 1752600"/>
                <a:gd name="connsiteX214" fmla="*/ 342900 w 3128973"/>
                <a:gd name="connsiteY214" fmla="*/ 400050 h 1752600"/>
                <a:gd name="connsiteX215" fmla="*/ 314325 w 3128973"/>
                <a:gd name="connsiteY215" fmla="*/ 390525 h 1752600"/>
                <a:gd name="connsiteX216" fmla="*/ 273844 w 3128973"/>
                <a:gd name="connsiteY216" fmla="*/ 383382 h 1752600"/>
                <a:gd name="connsiteX217" fmla="*/ 257175 w 3128973"/>
                <a:gd name="connsiteY217" fmla="*/ 371475 h 1752600"/>
                <a:gd name="connsiteX218" fmla="*/ 245269 w 3128973"/>
                <a:gd name="connsiteY218" fmla="*/ 364331 h 1752600"/>
                <a:gd name="connsiteX219" fmla="*/ 223837 w 3128973"/>
                <a:gd name="connsiteY219" fmla="*/ 347662 h 1752600"/>
                <a:gd name="connsiteX220" fmla="*/ 190500 w 3128973"/>
                <a:gd name="connsiteY220" fmla="*/ 338137 h 1752600"/>
                <a:gd name="connsiteX221" fmla="*/ 147637 w 3128973"/>
                <a:gd name="connsiteY221" fmla="*/ 333375 h 1752600"/>
                <a:gd name="connsiteX222" fmla="*/ 119062 w 3128973"/>
                <a:gd name="connsiteY222" fmla="*/ 323850 h 1752600"/>
                <a:gd name="connsiteX223" fmla="*/ 104775 w 3128973"/>
                <a:gd name="connsiteY223" fmla="*/ 319087 h 1752600"/>
                <a:gd name="connsiteX224" fmla="*/ 61912 w 3128973"/>
                <a:gd name="connsiteY224" fmla="*/ 300037 h 1752600"/>
                <a:gd name="connsiteX225" fmla="*/ 23812 w 3128973"/>
                <a:gd name="connsiteY225" fmla="*/ 290512 h 1752600"/>
                <a:gd name="connsiteX226" fmla="*/ 9525 w 3128973"/>
                <a:gd name="connsiteY226" fmla="*/ 261937 h 1752600"/>
                <a:gd name="connsiteX227" fmla="*/ 0 w 3128973"/>
                <a:gd name="connsiteY227" fmla="*/ 290512 h 1752600"/>
                <a:gd name="connsiteX228" fmla="*/ 4762 w 3128973"/>
                <a:gd name="connsiteY228" fmla="*/ 247650 h 1752600"/>
                <a:gd name="connsiteX229" fmla="*/ 19050 w 3128973"/>
                <a:gd name="connsiteY229" fmla="*/ 200025 h 1752600"/>
                <a:gd name="connsiteX230" fmla="*/ 23812 w 3128973"/>
                <a:gd name="connsiteY230" fmla="*/ 185737 h 1752600"/>
                <a:gd name="connsiteX231" fmla="*/ 71437 w 3128973"/>
                <a:gd name="connsiteY231" fmla="*/ 171450 h 1752600"/>
                <a:gd name="connsiteX232" fmla="*/ 85725 w 3128973"/>
                <a:gd name="connsiteY232" fmla="*/ 166687 h 1752600"/>
                <a:gd name="connsiteX233" fmla="*/ 100012 w 3128973"/>
                <a:gd name="connsiteY233" fmla="*/ 161925 h 1752600"/>
                <a:gd name="connsiteX234" fmla="*/ 114300 w 3128973"/>
                <a:gd name="connsiteY234" fmla="*/ 152400 h 1752600"/>
                <a:gd name="connsiteX235" fmla="*/ 133350 w 3128973"/>
                <a:gd name="connsiteY235" fmla="*/ 123825 h 1752600"/>
                <a:gd name="connsiteX236" fmla="*/ 138112 w 3128973"/>
                <a:gd name="connsiteY236" fmla="*/ 109537 h 1752600"/>
                <a:gd name="connsiteX237" fmla="*/ 135467 w 3128973"/>
                <a:gd name="connsiteY237" fmla="*/ 97059 h 1752600"/>
                <a:gd name="connsiteX238" fmla="*/ 142875 w 3128973"/>
                <a:gd name="connsiteY238" fmla="*/ 71437 h 1752600"/>
                <a:gd name="connsiteX239" fmla="*/ 157162 w 3128973"/>
                <a:gd name="connsiteY239" fmla="*/ 57150 h 1752600"/>
                <a:gd name="connsiteX240" fmla="*/ 200025 w 3128973"/>
                <a:gd name="connsiteY240" fmla="*/ 33337 h 1752600"/>
                <a:gd name="connsiteX241" fmla="*/ 309562 w 3128973"/>
                <a:gd name="connsiteY241" fmla="*/ 28575 h 1752600"/>
                <a:gd name="connsiteX242" fmla="*/ 400050 w 3128973"/>
                <a:gd name="connsiteY242" fmla="*/ 14287 h 1752600"/>
                <a:gd name="connsiteX243" fmla="*/ 414337 w 3128973"/>
                <a:gd name="connsiteY243" fmla="*/ 9525 h 1752600"/>
                <a:gd name="connsiteX244" fmla="*/ 481012 w 3128973"/>
                <a:gd name="connsiteY244" fmla="*/ 0 h 1752600"/>
                <a:gd name="connsiteX0" fmla="*/ 481012 w 3128973"/>
                <a:gd name="connsiteY0" fmla="*/ 0 h 1752600"/>
                <a:gd name="connsiteX1" fmla="*/ 509587 w 3128973"/>
                <a:gd name="connsiteY1" fmla="*/ 4762 h 1752600"/>
                <a:gd name="connsiteX2" fmla="*/ 519112 w 3128973"/>
                <a:gd name="connsiteY2" fmla="*/ 19050 h 1752600"/>
                <a:gd name="connsiteX3" fmla="*/ 519112 w 3128973"/>
                <a:gd name="connsiteY3" fmla="*/ 80962 h 1752600"/>
                <a:gd name="connsiteX4" fmla="*/ 576262 w 3128973"/>
                <a:gd name="connsiteY4" fmla="*/ 95250 h 1752600"/>
                <a:gd name="connsiteX5" fmla="*/ 590550 w 3128973"/>
                <a:gd name="connsiteY5" fmla="*/ 128587 h 1752600"/>
                <a:gd name="connsiteX6" fmla="*/ 657225 w 3128973"/>
                <a:gd name="connsiteY6" fmla="*/ 161925 h 1752600"/>
                <a:gd name="connsiteX7" fmla="*/ 690562 w 3128973"/>
                <a:gd name="connsiteY7" fmla="*/ 247650 h 1752600"/>
                <a:gd name="connsiteX8" fmla="*/ 747712 w 3128973"/>
                <a:gd name="connsiteY8" fmla="*/ 280987 h 1752600"/>
                <a:gd name="connsiteX9" fmla="*/ 828675 w 3128973"/>
                <a:gd name="connsiteY9" fmla="*/ 300037 h 1752600"/>
                <a:gd name="connsiteX10" fmla="*/ 981075 w 3128973"/>
                <a:gd name="connsiteY10" fmla="*/ 276225 h 1752600"/>
                <a:gd name="connsiteX11" fmla="*/ 1081087 w 3128973"/>
                <a:gd name="connsiteY11" fmla="*/ 252412 h 1752600"/>
                <a:gd name="connsiteX12" fmla="*/ 1171575 w 3128973"/>
                <a:gd name="connsiteY12" fmla="*/ 257175 h 1752600"/>
                <a:gd name="connsiteX13" fmla="*/ 1271587 w 3128973"/>
                <a:gd name="connsiteY13" fmla="*/ 257175 h 1752600"/>
                <a:gd name="connsiteX14" fmla="*/ 1376362 w 3128973"/>
                <a:gd name="connsiteY14" fmla="*/ 266700 h 1752600"/>
                <a:gd name="connsiteX15" fmla="*/ 1404937 w 3128973"/>
                <a:gd name="connsiteY15" fmla="*/ 261937 h 1752600"/>
                <a:gd name="connsiteX16" fmla="*/ 1323975 w 3128973"/>
                <a:gd name="connsiteY16" fmla="*/ 176212 h 1752600"/>
                <a:gd name="connsiteX17" fmla="*/ 1328737 w 3128973"/>
                <a:gd name="connsiteY17" fmla="*/ 80962 h 1752600"/>
                <a:gd name="connsiteX18" fmla="*/ 1852612 w 3128973"/>
                <a:gd name="connsiteY18" fmla="*/ 85725 h 1752600"/>
                <a:gd name="connsiteX19" fmla="*/ 1847850 w 3128973"/>
                <a:gd name="connsiteY19" fmla="*/ 261937 h 1752600"/>
                <a:gd name="connsiteX20" fmla="*/ 1895475 w 3128973"/>
                <a:gd name="connsiteY20" fmla="*/ 228600 h 1752600"/>
                <a:gd name="connsiteX21" fmla="*/ 2046801 w 3128973"/>
                <a:gd name="connsiteY21" fmla="*/ 228600 h 1752600"/>
                <a:gd name="connsiteX22" fmla="*/ 2126456 w 3128973"/>
                <a:gd name="connsiteY22" fmla="*/ 225698 h 1752600"/>
                <a:gd name="connsiteX23" fmla="*/ 2131219 w 3128973"/>
                <a:gd name="connsiteY23" fmla="*/ 119430 h 1752600"/>
                <a:gd name="connsiteX24" fmla="*/ 2266949 w 3128973"/>
                <a:gd name="connsiteY24" fmla="*/ 60392 h 1752600"/>
                <a:gd name="connsiteX25" fmla="*/ 2309812 w 3128973"/>
                <a:gd name="connsiteY25" fmla="*/ 48585 h 1752600"/>
                <a:gd name="connsiteX26" fmla="*/ 2359818 w 3128973"/>
                <a:gd name="connsiteY26" fmla="*/ 53307 h 1752600"/>
                <a:gd name="connsiteX27" fmla="*/ 2416968 w 3128973"/>
                <a:gd name="connsiteY27" fmla="*/ 88731 h 1752600"/>
                <a:gd name="connsiteX28" fmla="*/ 2486025 w 3128973"/>
                <a:gd name="connsiteY28" fmla="*/ 112345 h 1752600"/>
                <a:gd name="connsiteX29" fmla="*/ 2566987 w 3128973"/>
                <a:gd name="connsiteY29" fmla="*/ 152491 h 1752600"/>
                <a:gd name="connsiteX30" fmla="*/ 2650330 w 3128973"/>
                <a:gd name="connsiteY30" fmla="*/ 194998 h 1752600"/>
                <a:gd name="connsiteX31" fmla="*/ 2681287 w 3128973"/>
                <a:gd name="connsiteY31" fmla="*/ 218614 h 1752600"/>
                <a:gd name="connsiteX32" fmla="*/ 2678905 w 3128973"/>
                <a:gd name="connsiteY32" fmla="*/ 232782 h 1752600"/>
                <a:gd name="connsiteX33" fmla="*/ 2077757 w 3128973"/>
                <a:gd name="connsiteY33" fmla="*/ 243403 h 1752600"/>
                <a:gd name="connsiteX34" fmla="*/ 2033587 w 3128973"/>
                <a:gd name="connsiteY34" fmla="*/ 266700 h 1752600"/>
                <a:gd name="connsiteX35" fmla="*/ 2019300 w 3128973"/>
                <a:gd name="connsiteY35" fmla="*/ 280987 h 1752600"/>
                <a:gd name="connsiteX36" fmla="*/ 1990725 w 3128973"/>
                <a:gd name="connsiteY36" fmla="*/ 300037 h 1752600"/>
                <a:gd name="connsiteX37" fmla="*/ 1981200 w 3128973"/>
                <a:gd name="connsiteY37" fmla="*/ 314325 h 1752600"/>
                <a:gd name="connsiteX38" fmla="*/ 1981200 w 3128973"/>
                <a:gd name="connsiteY38" fmla="*/ 419100 h 1752600"/>
                <a:gd name="connsiteX39" fmla="*/ 1985962 w 3128973"/>
                <a:gd name="connsiteY39" fmla="*/ 433387 h 1752600"/>
                <a:gd name="connsiteX40" fmla="*/ 2000250 w 3128973"/>
                <a:gd name="connsiteY40" fmla="*/ 442912 h 1752600"/>
                <a:gd name="connsiteX41" fmla="*/ 2005012 w 3128973"/>
                <a:gd name="connsiteY41" fmla="*/ 457200 h 1752600"/>
                <a:gd name="connsiteX42" fmla="*/ 2005012 w 3128973"/>
                <a:gd name="connsiteY42" fmla="*/ 561975 h 1752600"/>
                <a:gd name="connsiteX43" fmla="*/ 2009775 w 3128973"/>
                <a:gd name="connsiteY43" fmla="*/ 576262 h 1752600"/>
                <a:gd name="connsiteX44" fmla="*/ 2024062 w 3128973"/>
                <a:gd name="connsiteY44" fmla="*/ 581025 h 1752600"/>
                <a:gd name="connsiteX45" fmla="*/ 2038350 w 3128973"/>
                <a:gd name="connsiteY45" fmla="*/ 595312 h 1752600"/>
                <a:gd name="connsiteX46" fmla="*/ 2052637 w 3128973"/>
                <a:gd name="connsiteY46" fmla="*/ 600075 h 1752600"/>
                <a:gd name="connsiteX47" fmla="*/ 2133600 w 3128973"/>
                <a:gd name="connsiteY47" fmla="*/ 590550 h 1752600"/>
                <a:gd name="connsiteX48" fmla="*/ 2147887 w 3128973"/>
                <a:gd name="connsiteY48" fmla="*/ 585787 h 1752600"/>
                <a:gd name="connsiteX49" fmla="*/ 2195512 w 3128973"/>
                <a:gd name="connsiteY49" fmla="*/ 600075 h 1752600"/>
                <a:gd name="connsiteX50" fmla="*/ 2205037 w 3128973"/>
                <a:gd name="connsiteY50" fmla="*/ 614362 h 1752600"/>
                <a:gd name="connsiteX51" fmla="*/ 2219325 w 3128973"/>
                <a:gd name="connsiteY51" fmla="*/ 628650 h 1752600"/>
                <a:gd name="connsiteX52" fmla="*/ 2224087 w 3128973"/>
                <a:gd name="connsiteY52" fmla="*/ 642937 h 1752600"/>
                <a:gd name="connsiteX53" fmla="*/ 2233612 w 3128973"/>
                <a:gd name="connsiteY53" fmla="*/ 657225 h 1752600"/>
                <a:gd name="connsiteX54" fmla="*/ 2247900 w 3128973"/>
                <a:gd name="connsiteY54" fmla="*/ 685800 h 1752600"/>
                <a:gd name="connsiteX55" fmla="*/ 2262187 w 3128973"/>
                <a:gd name="connsiteY55" fmla="*/ 733425 h 1752600"/>
                <a:gd name="connsiteX56" fmla="*/ 2305050 w 3128973"/>
                <a:gd name="connsiteY56" fmla="*/ 771525 h 1752600"/>
                <a:gd name="connsiteX57" fmla="*/ 2319337 w 3128973"/>
                <a:gd name="connsiteY57" fmla="*/ 804862 h 1752600"/>
                <a:gd name="connsiteX58" fmla="*/ 2333625 w 3128973"/>
                <a:gd name="connsiteY58" fmla="*/ 819150 h 1752600"/>
                <a:gd name="connsiteX59" fmla="*/ 2338387 w 3128973"/>
                <a:gd name="connsiteY59" fmla="*/ 833437 h 1752600"/>
                <a:gd name="connsiteX60" fmla="*/ 2352675 w 3128973"/>
                <a:gd name="connsiteY60" fmla="*/ 847725 h 1752600"/>
                <a:gd name="connsiteX61" fmla="*/ 2395537 w 3128973"/>
                <a:gd name="connsiteY61" fmla="*/ 871537 h 1752600"/>
                <a:gd name="connsiteX62" fmla="*/ 2409825 w 3128973"/>
                <a:gd name="connsiteY62" fmla="*/ 890587 h 1752600"/>
                <a:gd name="connsiteX63" fmla="*/ 2424112 w 3128973"/>
                <a:gd name="connsiteY63" fmla="*/ 895350 h 1752600"/>
                <a:gd name="connsiteX64" fmla="*/ 2433637 w 3128973"/>
                <a:gd name="connsiteY64" fmla="*/ 914400 h 1752600"/>
                <a:gd name="connsiteX65" fmla="*/ 2466975 w 3128973"/>
                <a:gd name="connsiteY65" fmla="*/ 942975 h 1752600"/>
                <a:gd name="connsiteX66" fmla="*/ 2474637 w 3128973"/>
                <a:gd name="connsiteY66" fmla="*/ 954728 h 1752600"/>
                <a:gd name="connsiteX67" fmla="*/ 2495550 w 3128973"/>
                <a:gd name="connsiteY67" fmla="*/ 971550 h 1752600"/>
                <a:gd name="connsiteX68" fmla="*/ 2508776 w 3128973"/>
                <a:gd name="connsiteY68" fmla="*/ 983894 h 1752600"/>
                <a:gd name="connsiteX69" fmla="*/ 2533650 w 3128973"/>
                <a:gd name="connsiteY69" fmla="*/ 1000125 h 1752600"/>
                <a:gd name="connsiteX70" fmla="*/ 2547937 w 3128973"/>
                <a:gd name="connsiteY70" fmla="*/ 1028700 h 1752600"/>
                <a:gd name="connsiteX71" fmla="*/ 2552700 w 3128973"/>
                <a:gd name="connsiteY71" fmla="*/ 1042987 h 1752600"/>
                <a:gd name="connsiteX72" fmla="*/ 2576512 w 3128973"/>
                <a:gd name="connsiteY72" fmla="*/ 1071562 h 1752600"/>
                <a:gd name="connsiteX73" fmla="*/ 2584921 w 3128973"/>
                <a:gd name="connsiteY73" fmla="*/ 1082873 h 1752600"/>
                <a:gd name="connsiteX74" fmla="*/ 2600325 w 3128973"/>
                <a:gd name="connsiteY74" fmla="*/ 1095375 h 1752600"/>
                <a:gd name="connsiteX75" fmla="*/ 2609850 w 3128973"/>
                <a:gd name="connsiteY75" fmla="*/ 1109662 h 1752600"/>
                <a:gd name="connsiteX76" fmla="*/ 2652712 w 3128973"/>
                <a:gd name="connsiteY76" fmla="*/ 1143000 h 1752600"/>
                <a:gd name="connsiteX77" fmla="*/ 2681287 w 3128973"/>
                <a:gd name="connsiteY77" fmla="*/ 1152525 h 1752600"/>
                <a:gd name="connsiteX78" fmla="*/ 2700337 w 3128973"/>
                <a:gd name="connsiteY78" fmla="*/ 1162050 h 1752600"/>
                <a:gd name="connsiteX79" fmla="*/ 2714625 w 3128973"/>
                <a:gd name="connsiteY79" fmla="*/ 1171575 h 1752600"/>
                <a:gd name="connsiteX80" fmla="*/ 2752725 w 3128973"/>
                <a:gd name="connsiteY80" fmla="*/ 1181100 h 1752600"/>
                <a:gd name="connsiteX81" fmla="*/ 2767012 w 3128973"/>
                <a:gd name="connsiteY81" fmla="*/ 1195387 h 1752600"/>
                <a:gd name="connsiteX82" fmla="*/ 2781300 w 3128973"/>
                <a:gd name="connsiteY82" fmla="*/ 1200150 h 1752600"/>
                <a:gd name="connsiteX83" fmla="*/ 2795587 w 3128973"/>
                <a:gd name="connsiteY83" fmla="*/ 1209675 h 1752600"/>
                <a:gd name="connsiteX84" fmla="*/ 2805112 w 3128973"/>
                <a:gd name="connsiteY84" fmla="*/ 1223962 h 1752600"/>
                <a:gd name="connsiteX85" fmla="*/ 2809875 w 3128973"/>
                <a:gd name="connsiteY85" fmla="*/ 1238250 h 1752600"/>
                <a:gd name="connsiteX86" fmla="*/ 2833687 w 3128973"/>
                <a:gd name="connsiteY86" fmla="*/ 1276350 h 1752600"/>
                <a:gd name="connsiteX87" fmla="*/ 2895600 w 3128973"/>
                <a:gd name="connsiteY87" fmla="*/ 1333500 h 1752600"/>
                <a:gd name="connsiteX88" fmla="*/ 2900362 w 3128973"/>
                <a:gd name="connsiteY88" fmla="*/ 1352550 h 1752600"/>
                <a:gd name="connsiteX89" fmla="*/ 2928937 w 3128973"/>
                <a:gd name="connsiteY89" fmla="*/ 1395412 h 1752600"/>
                <a:gd name="connsiteX90" fmla="*/ 2943225 w 3128973"/>
                <a:gd name="connsiteY90" fmla="*/ 1404937 h 1752600"/>
                <a:gd name="connsiteX91" fmla="*/ 2957512 w 3128973"/>
                <a:gd name="connsiteY91" fmla="*/ 1419225 h 1752600"/>
                <a:gd name="connsiteX92" fmla="*/ 2986087 w 3128973"/>
                <a:gd name="connsiteY92" fmla="*/ 1443037 h 1752600"/>
                <a:gd name="connsiteX93" fmla="*/ 3000375 w 3128973"/>
                <a:gd name="connsiteY93" fmla="*/ 1462087 h 1752600"/>
                <a:gd name="connsiteX94" fmla="*/ 3016395 w 3128973"/>
                <a:gd name="connsiteY94" fmla="*/ 1476222 h 1752600"/>
                <a:gd name="connsiteX95" fmla="*/ 3028950 w 3128973"/>
                <a:gd name="connsiteY95" fmla="*/ 1495425 h 1752600"/>
                <a:gd name="connsiteX96" fmla="*/ 3043237 w 3128973"/>
                <a:gd name="connsiteY96" fmla="*/ 1552575 h 1752600"/>
                <a:gd name="connsiteX97" fmla="*/ 3052762 w 3128973"/>
                <a:gd name="connsiteY97" fmla="*/ 1566862 h 1752600"/>
                <a:gd name="connsiteX98" fmla="*/ 3057525 w 3128973"/>
                <a:gd name="connsiteY98" fmla="*/ 1581150 h 1752600"/>
                <a:gd name="connsiteX99" fmla="*/ 3067050 w 3128973"/>
                <a:gd name="connsiteY99" fmla="*/ 1662112 h 1752600"/>
                <a:gd name="connsiteX100" fmla="*/ 3071812 w 3128973"/>
                <a:gd name="connsiteY100" fmla="*/ 1676400 h 1752600"/>
                <a:gd name="connsiteX101" fmla="*/ 3100387 w 3128973"/>
                <a:gd name="connsiteY101" fmla="*/ 1690687 h 1752600"/>
                <a:gd name="connsiteX102" fmla="*/ 3114675 w 3128973"/>
                <a:gd name="connsiteY102" fmla="*/ 1685925 h 1752600"/>
                <a:gd name="connsiteX103" fmla="*/ 3124200 w 3128973"/>
                <a:gd name="connsiteY103" fmla="*/ 1671637 h 1752600"/>
                <a:gd name="connsiteX104" fmla="*/ 3128973 w 3128973"/>
                <a:gd name="connsiteY104" fmla="*/ 1651467 h 1752600"/>
                <a:gd name="connsiteX105" fmla="*/ 3128021 w 3128973"/>
                <a:gd name="connsiteY105" fmla="*/ 1710279 h 1752600"/>
                <a:gd name="connsiteX106" fmla="*/ 3043237 w 3128973"/>
                <a:gd name="connsiteY106" fmla="*/ 1714500 h 1752600"/>
                <a:gd name="connsiteX107" fmla="*/ 3028950 w 3128973"/>
                <a:gd name="connsiteY107" fmla="*/ 1728787 h 1752600"/>
                <a:gd name="connsiteX108" fmla="*/ 2986087 w 3128973"/>
                <a:gd name="connsiteY108" fmla="*/ 1738312 h 1752600"/>
                <a:gd name="connsiteX109" fmla="*/ 2971800 w 3128973"/>
                <a:gd name="connsiteY109" fmla="*/ 1743075 h 1752600"/>
                <a:gd name="connsiteX110" fmla="*/ 2943225 w 3128973"/>
                <a:gd name="connsiteY110" fmla="*/ 1738312 h 1752600"/>
                <a:gd name="connsiteX111" fmla="*/ 2928937 w 3128973"/>
                <a:gd name="connsiteY111" fmla="*/ 1747837 h 1752600"/>
                <a:gd name="connsiteX112" fmla="*/ 2914650 w 3128973"/>
                <a:gd name="connsiteY112" fmla="*/ 1752600 h 1752600"/>
                <a:gd name="connsiteX113" fmla="*/ 2895600 w 3128973"/>
                <a:gd name="connsiteY113" fmla="*/ 1724025 h 1752600"/>
                <a:gd name="connsiteX114" fmla="*/ 2883310 w 3128973"/>
                <a:gd name="connsiteY114" fmla="*/ 1701201 h 1752600"/>
                <a:gd name="connsiteX115" fmla="*/ 2883805 w 3128973"/>
                <a:gd name="connsiteY115" fmla="*/ 1696138 h 1752600"/>
                <a:gd name="connsiteX116" fmla="*/ 2871787 w 3128973"/>
                <a:gd name="connsiteY116" fmla="*/ 1685925 h 1752600"/>
                <a:gd name="connsiteX117" fmla="*/ 2847975 w 3128973"/>
                <a:gd name="connsiteY117" fmla="*/ 1657350 h 1752600"/>
                <a:gd name="connsiteX118" fmla="*/ 2834034 w 3128973"/>
                <a:gd name="connsiteY118" fmla="*/ 1637762 h 1752600"/>
                <a:gd name="connsiteX119" fmla="*/ 2814637 w 3128973"/>
                <a:gd name="connsiteY119" fmla="*/ 1619250 h 1752600"/>
                <a:gd name="connsiteX120" fmla="*/ 2809875 w 3128973"/>
                <a:gd name="connsiteY120" fmla="*/ 1604962 h 1752600"/>
                <a:gd name="connsiteX121" fmla="*/ 2795587 w 3128973"/>
                <a:gd name="connsiteY121" fmla="*/ 1600200 h 1752600"/>
                <a:gd name="connsiteX122" fmla="*/ 2781300 w 3128973"/>
                <a:gd name="connsiteY122" fmla="*/ 1590675 h 1752600"/>
                <a:gd name="connsiteX123" fmla="*/ 2752725 w 3128973"/>
                <a:gd name="connsiteY123" fmla="*/ 1581150 h 1752600"/>
                <a:gd name="connsiteX124" fmla="*/ 2733675 w 3128973"/>
                <a:gd name="connsiteY124" fmla="*/ 1625600 h 1752600"/>
                <a:gd name="connsiteX125" fmla="*/ 2709862 w 3128973"/>
                <a:gd name="connsiteY125" fmla="*/ 1619250 h 1752600"/>
                <a:gd name="connsiteX126" fmla="*/ 2723566 w 3128973"/>
                <a:gd name="connsiteY126" fmla="*/ 1590361 h 1752600"/>
                <a:gd name="connsiteX127" fmla="*/ 2674937 w 3128973"/>
                <a:gd name="connsiteY127" fmla="*/ 1560512 h 1752600"/>
                <a:gd name="connsiteX128" fmla="*/ 2643187 w 3128973"/>
                <a:gd name="connsiteY128" fmla="*/ 1495425 h 1752600"/>
                <a:gd name="connsiteX129" fmla="*/ 2628900 w 3128973"/>
                <a:gd name="connsiteY129" fmla="*/ 1490662 h 1752600"/>
                <a:gd name="connsiteX130" fmla="*/ 2595562 w 3128973"/>
                <a:gd name="connsiteY130" fmla="*/ 1481137 h 1752600"/>
                <a:gd name="connsiteX131" fmla="*/ 2581275 w 3128973"/>
                <a:gd name="connsiteY131" fmla="*/ 1466850 h 1752600"/>
                <a:gd name="connsiteX132" fmla="*/ 2552700 w 3128973"/>
                <a:gd name="connsiteY132" fmla="*/ 1457325 h 1752600"/>
                <a:gd name="connsiteX133" fmla="*/ 2538412 w 3128973"/>
                <a:gd name="connsiteY133" fmla="*/ 1447800 h 1752600"/>
                <a:gd name="connsiteX134" fmla="*/ 2519362 w 3128973"/>
                <a:gd name="connsiteY134" fmla="*/ 1443037 h 1752600"/>
                <a:gd name="connsiteX135" fmla="*/ 2490787 w 3128973"/>
                <a:gd name="connsiteY135" fmla="*/ 1433512 h 1752600"/>
                <a:gd name="connsiteX136" fmla="*/ 2476500 w 3128973"/>
                <a:gd name="connsiteY136" fmla="*/ 1428750 h 1752600"/>
                <a:gd name="connsiteX137" fmla="*/ 2466975 w 3128973"/>
                <a:gd name="connsiteY137" fmla="*/ 1414462 h 1752600"/>
                <a:gd name="connsiteX138" fmla="*/ 2447925 w 3128973"/>
                <a:gd name="connsiteY138" fmla="*/ 1409700 h 1752600"/>
                <a:gd name="connsiteX139" fmla="*/ 2309812 w 3128973"/>
                <a:gd name="connsiteY139" fmla="*/ 1395412 h 1752600"/>
                <a:gd name="connsiteX140" fmla="*/ 2295525 w 3128973"/>
                <a:gd name="connsiteY140" fmla="*/ 1390650 h 1752600"/>
                <a:gd name="connsiteX141" fmla="*/ 2257425 w 3128973"/>
                <a:gd name="connsiteY141" fmla="*/ 1381125 h 1752600"/>
                <a:gd name="connsiteX142" fmla="*/ 2238375 w 3128973"/>
                <a:gd name="connsiteY142" fmla="*/ 1366837 h 1752600"/>
                <a:gd name="connsiteX143" fmla="*/ 2224087 w 3128973"/>
                <a:gd name="connsiteY143" fmla="*/ 1362075 h 1752600"/>
                <a:gd name="connsiteX144" fmla="*/ 2176462 w 3128973"/>
                <a:gd name="connsiteY144" fmla="*/ 1338262 h 1752600"/>
                <a:gd name="connsiteX145" fmla="*/ 2162175 w 3128973"/>
                <a:gd name="connsiteY145" fmla="*/ 1328737 h 1752600"/>
                <a:gd name="connsiteX146" fmla="*/ 2114550 w 3128973"/>
                <a:gd name="connsiteY146" fmla="*/ 1314450 h 1752600"/>
                <a:gd name="connsiteX147" fmla="*/ 2100262 w 3128973"/>
                <a:gd name="connsiteY147" fmla="*/ 1300162 h 1752600"/>
                <a:gd name="connsiteX148" fmla="*/ 2085975 w 3128973"/>
                <a:gd name="connsiteY148" fmla="*/ 1295400 h 1752600"/>
                <a:gd name="connsiteX149" fmla="*/ 2055019 w 3128973"/>
                <a:gd name="connsiteY149" fmla="*/ 1290637 h 1752600"/>
                <a:gd name="connsiteX150" fmla="*/ 2028824 w 3128973"/>
                <a:gd name="connsiteY150" fmla="*/ 1283494 h 1752600"/>
                <a:gd name="connsiteX151" fmla="*/ 2005012 w 3128973"/>
                <a:gd name="connsiteY151" fmla="*/ 1271587 h 1752600"/>
                <a:gd name="connsiteX152" fmla="*/ 1985962 w 3128973"/>
                <a:gd name="connsiteY152" fmla="*/ 1262062 h 1752600"/>
                <a:gd name="connsiteX153" fmla="*/ 1971675 w 3128973"/>
                <a:gd name="connsiteY153" fmla="*/ 1257300 h 1752600"/>
                <a:gd name="connsiteX154" fmla="*/ 1943100 w 3128973"/>
                <a:gd name="connsiteY154" fmla="*/ 1238250 h 1752600"/>
                <a:gd name="connsiteX155" fmla="*/ 1914525 w 3128973"/>
                <a:gd name="connsiteY155" fmla="*/ 1219200 h 1752600"/>
                <a:gd name="connsiteX156" fmla="*/ 1885950 w 3128973"/>
                <a:gd name="connsiteY156" fmla="*/ 1209675 h 1752600"/>
                <a:gd name="connsiteX157" fmla="*/ 1843087 w 3128973"/>
                <a:gd name="connsiteY157" fmla="*/ 1195387 h 1752600"/>
                <a:gd name="connsiteX158" fmla="*/ 1757362 w 3128973"/>
                <a:gd name="connsiteY158" fmla="*/ 1185862 h 1752600"/>
                <a:gd name="connsiteX159" fmla="*/ 1700212 w 3128973"/>
                <a:gd name="connsiteY159" fmla="*/ 1166812 h 1752600"/>
                <a:gd name="connsiteX160" fmla="*/ 1671637 w 3128973"/>
                <a:gd name="connsiteY160" fmla="*/ 1147762 h 1752600"/>
                <a:gd name="connsiteX161" fmla="*/ 1652587 w 3128973"/>
                <a:gd name="connsiteY161" fmla="*/ 1138237 h 1752600"/>
                <a:gd name="connsiteX162" fmla="*/ 1638300 w 3128973"/>
                <a:gd name="connsiteY162" fmla="*/ 1128712 h 1752600"/>
                <a:gd name="connsiteX163" fmla="*/ 1590675 w 3128973"/>
                <a:gd name="connsiteY163" fmla="*/ 1138238 h 1752600"/>
                <a:gd name="connsiteX164" fmla="*/ 1559719 w 3128973"/>
                <a:gd name="connsiteY164" fmla="*/ 1109662 h 1752600"/>
                <a:gd name="connsiteX165" fmla="*/ 1528762 w 3128973"/>
                <a:gd name="connsiteY165" fmla="*/ 1085850 h 1752600"/>
                <a:gd name="connsiteX166" fmla="*/ 1514475 w 3128973"/>
                <a:gd name="connsiteY166" fmla="*/ 1081087 h 1752600"/>
                <a:gd name="connsiteX167" fmla="*/ 1470025 w 3128973"/>
                <a:gd name="connsiteY167" fmla="*/ 1130300 h 1752600"/>
                <a:gd name="connsiteX168" fmla="*/ 1433512 w 3128973"/>
                <a:gd name="connsiteY168" fmla="*/ 1108075 h 1752600"/>
                <a:gd name="connsiteX169" fmla="*/ 1423987 w 3128973"/>
                <a:gd name="connsiteY169" fmla="*/ 1087437 h 1752600"/>
                <a:gd name="connsiteX170" fmla="*/ 1381125 w 3128973"/>
                <a:gd name="connsiteY170" fmla="*/ 1095375 h 1752600"/>
                <a:gd name="connsiteX171" fmla="*/ 1383506 w 3128973"/>
                <a:gd name="connsiteY171" fmla="*/ 1028700 h 1752600"/>
                <a:gd name="connsiteX172" fmla="*/ 1366838 w 3128973"/>
                <a:gd name="connsiteY172" fmla="*/ 1019175 h 1752600"/>
                <a:gd name="connsiteX173" fmla="*/ 1335881 w 3128973"/>
                <a:gd name="connsiteY173" fmla="*/ 1007268 h 1752600"/>
                <a:gd name="connsiteX174" fmla="*/ 1319213 w 3128973"/>
                <a:gd name="connsiteY174" fmla="*/ 1007268 h 1752600"/>
                <a:gd name="connsiteX175" fmla="*/ 1295400 w 3128973"/>
                <a:gd name="connsiteY175" fmla="*/ 976312 h 1752600"/>
                <a:gd name="connsiteX176" fmla="*/ 1281112 w 3128973"/>
                <a:gd name="connsiteY176" fmla="*/ 966787 h 1752600"/>
                <a:gd name="connsiteX177" fmla="*/ 1238250 w 3128973"/>
                <a:gd name="connsiteY177" fmla="*/ 947737 h 1752600"/>
                <a:gd name="connsiteX178" fmla="*/ 1212850 w 3128973"/>
                <a:gd name="connsiteY178" fmla="*/ 995362 h 1752600"/>
                <a:gd name="connsiteX179" fmla="*/ 1201737 w 3128973"/>
                <a:gd name="connsiteY179" fmla="*/ 987425 h 1752600"/>
                <a:gd name="connsiteX180" fmla="*/ 1163637 w 3128973"/>
                <a:gd name="connsiteY180" fmla="*/ 952277 h 1752600"/>
                <a:gd name="connsiteX181" fmla="*/ 1133475 w 3128973"/>
                <a:gd name="connsiteY181" fmla="*/ 925512 h 1752600"/>
                <a:gd name="connsiteX182" fmla="*/ 1085850 w 3128973"/>
                <a:gd name="connsiteY182" fmla="*/ 859631 h 1752600"/>
                <a:gd name="connsiteX183" fmla="*/ 1071562 w 3128973"/>
                <a:gd name="connsiteY183" fmla="*/ 842962 h 1752600"/>
                <a:gd name="connsiteX184" fmla="*/ 1047750 w 3128973"/>
                <a:gd name="connsiteY184" fmla="*/ 819150 h 1752600"/>
                <a:gd name="connsiteX185" fmla="*/ 1028700 w 3128973"/>
                <a:gd name="connsiteY185" fmla="*/ 804862 h 1752600"/>
                <a:gd name="connsiteX186" fmla="*/ 1018076 w 3128973"/>
                <a:gd name="connsiteY186" fmla="*/ 794816 h 1752600"/>
                <a:gd name="connsiteX187" fmla="*/ 1000125 w 3128973"/>
                <a:gd name="connsiteY187" fmla="*/ 785812 h 1752600"/>
                <a:gd name="connsiteX188" fmla="*/ 984342 w 3128973"/>
                <a:gd name="connsiteY188" fmla="*/ 773578 h 1752600"/>
                <a:gd name="connsiteX189" fmla="*/ 957262 w 3128973"/>
                <a:gd name="connsiteY189" fmla="*/ 766762 h 1752600"/>
                <a:gd name="connsiteX190" fmla="*/ 938212 w 3128973"/>
                <a:gd name="connsiteY190" fmla="*/ 757237 h 1752600"/>
                <a:gd name="connsiteX191" fmla="*/ 904875 w 3128973"/>
                <a:gd name="connsiteY191" fmla="*/ 747712 h 1752600"/>
                <a:gd name="connsiteX192" fmla="*/ 862012 w 3128973"/>
                <a:gd name="connsiteY192" fmla="*/ 723900 h 1752600"/>
                <a:gd name="connsiteX193" fmla="*/ 795337 w 3128973"/>
                <a:gd name="connsiteY193" fmla="*/ 685800 h 1752600"/>
                <a:gd name="connsiteX194" fmla="*/ 776287 w 3128973"/>
                <a:gd name="connsiteY194" fmla="*/ 666750 h 1752600"/>
                <a:gd name="connsiteX195" fmla="*/ 762000 w 3128973"/>
                <a:gd name="connsiteY195" fmla="*/ 661987 h 1752600"/>
                <a:gd name="connsiteX196" fmla="*/ 742950 w 3128973"/>
                <a:gd name="connsiteY196" fmla="*/ 647700 h 1752600"/>
                <a:gd name="connsiteX197" fmla="*/ 709612 w 3128973"/>
                <a:gd name="connsiteY197" fmla="*/ 638175 h 1752600"/>
                <a:gd name="connsiteX198" fmla="*/ 695325 w 3128973"/>
                <a:gd name="connsiteY198" fmla="*/ 628650 h 1752600"/>
                <a:gd name="connsiteX199" fmla="*/ 681037 w 3128973"/>
                <a:gd name="connsiteY199" fmla="*/ 623887 h 1752600"/>
                <a:gd name="connsiteX200" fmla="*/ 676275 w 3128973"/>
                <a:gd name="connsiteY200" fmla="*/ 604837 h 1752600"/>
                <a:gd name="connsiteX201" fmla="*/ 666750 w 3128973"/>
                <a:gd name="connsiteY201" fmla="*/ 576262 h 1752600"/>
                <a:gd name="connsiteX202" fmla="*/ 661987 w 3128973"/>
                <a:gd name="connsiteY202" fmla="*/ 561975 h 1752600"/>
                <a:gd name="connsiteX203" fmla="*/ 666750 w 3128973"/>
                <a:gd name="connsiteY203" fmla="*/ 538162 h 1752600"/>
                <a:gd name="connsiteX204" fmla="*/ 638175 w 3128973"/>
                <a:gd name="connsiteY204" fmla="*/ 514350 h 1752600"/>
                <a:gd name="connsiteX205" fmla="*/ 619125 w 3128973"/>
                <a:gd name="connsiteY205" fmla="*/ 500062 h 1752600"/>
                <a:gd name="connsiteX206" fmla="*/ 576262 w 3128973"/>
                <a:gd name="connsiteY206" fmla="*/ 490537 h 1752600"/>
                <a:gd name="connsiteX207" fmla="*/ 542925 w 3128973"/>
                <a:gd name="connsiteY207" fmla="*/ 452437 h 1752600"/>
                <a:gd name="connsiteX208" fmla="*/ 525462 w 3128973"/>
                <a:gd name="connsiteY208" fmla="*/ 485775 h 1752600"/>
                <a:gd name="connsiteX209" fmla="*/ 504825 w 3128973"/>
                <a:gd name="connsiteY209" fmla="*/ 466725 h 1752600"/>
                <a:gd name="connsiteX210" fmla="*/ 454025 w 3128973"/>
                <a:gd name="connsiteY210" fmla="*/ 466725 h 1752600"/>
                <a:gd name="connsiteX211" fmla="*/ 407987 w 3128973"/>
                <a:gd name="connsiteY211" fmla="*/ 473075 h 1752600"/>
                <a:gd name="connsiteX212" fmla="*/ 395287 w 3128973"/>
                <a:gd name="connsiteY212" fmla="*/ 409575 h 1752600"/>
                <a:gd name="connsiteX213" fmla="*/ 376237 w 3128973"/>
                <a:gd name="connsiteY213" fmla="*/ 404812 h 1752600"/>
                <a:gd name="connsiteX214" fmla="*/ 342900 w 3128973"/>
                <a:gd name="connsiteY214" fmla="*/ 400050 h 1752600"/>
                <a:gd name="connsiteX215" fmla="*/ 314325 w 3128973"/>
                <a:gd name="connsiteY215" fmla="*/ 390525 h 1752600"/>
                <a:gd name="connsiteX216" fmla="*/ 273844 w 3128973"/>
                <a:gd name="connsiteY216" fmla="*/ 383382 h 1752600"/>
                <a:gd name="connsiteX217" fmla="*/ 257175 w 3128973"/>
                <a:gd name="connsiteY217" fmla="*/ 371475 h 1752600"/>
                <a:gd name="connsiteX218" fmla="*/ 245269 w 3128973"/>
                <a:gd name="connsiteY218" fmla="*/ 364331 h 1752600"/>
                <a:gd name="connsiteX219" fmla="*/ 223837 w 3128973"/>
                <a:gd name="connsiteY219" fmla="*/ 347662 h 1752600"/>
                <a:gd name="connsiteX220" fmla="*/ 190500 w 3128973"/>
                <a:gd name="connsiteY220" fmla="*/ 338137 h 1752600"/>
                <a:gd name="connsiteX221" fmla="*/ 147637 w 3128973"/>
                <a:gd name="connsiteY221" fmla="*/ 333375 h 1752600"/>
                <a:gd name="connsiteX222" fmla="*/ 119062 w 3128973"/>
                <a:gd name="connsiteY222" fmla="*/ 323850 h 1752600"/>
                <a:gd name="connsiteX223" fmla="*/ 104775 w 3128973"/>
                <a:gd name="connsiteY223" fmla="*/ 319087 h 1752600"/>
                <a:gd name="connsiteX224" fmla="*/ 61912 w 3128973"/>
                <a:gd name="connsiteY224" fmla="*/ 300037 h 1752600"/>
                <a:gd name="connsiteX225" fmla="*/ 23812 w 3128973"/>
                <a:gd name="connsiteY225" fmla="*/ 290512 h 1752600"/>
                <a:gd name="connsiteX226" fmla="*/ 9525 w 3128973"/>
                <a:gd name="connsiteY226" fmla="*/ 261937 h 1752600"/>
                <a:gd name="connsiteX227" fmla="*/ 0 w 3128973"/>
                <a:gd name="connsiteY227" fmla="*/ 290512 h 1752600"/>
                <a:gd name="connsiteX228" fmla="*/ 4762 w 3128973"/>
                <a:gd name="connsiteY228" fmla="*/ 247650 h 1752600"/>
                <a:gd name="connsiteX229" fmla="*/ 19050 w 3128973"/>
                <a:gd name="connsiteY229" fmla="*/ 200025 h 1752600"/>
                <a:gd name="connsiteX230" fmla="*/ 23812 w 3128973"/>
                <a:gd name="connsiteY230" fmla="*/ 185737 h 1752600"/>
                <a:gd name="connsiteX231" fmla="*/ 71437 w 3128973"/>
                <a:gd name="connsiteY231" fmla="*/ 171450 h 1752600"/>
                <a:gd name="connsiteX232" fmla="*/ 85725 w 3128973"/>
                <a:gd name="connsiteY232" fmla="*/ 166687 h 1752600"/>
                <a:gd name="connsiteX233" fmla="*/ 100012 w 3128973"/>
                <a:gd name="connsiteY233" fmla="*/ 161925 h 1752600"/>
                <a:gd name="connsiteX234" fmla="*/ 114300 w 3128973"/>
                <a:gd name="connsiteY234" fmla="*/ 152400 h 1752600"/>
                <a:gd name="connsiteX235" fmla="*/ 133350 w 3128973"/>
                <a:gd name="connsiteY235" fmla="*/ 123825 h 1752600"/>
                <a:gd name="connsiteX236" fmla="*/ 138112 w 3128973"/>
                <a:gd name="connsiteY236" fmla="*/ 109537 h 1752600"/>
                <a:gd name="connsiteX237" fmla="*/ 135467 w 3128973"/>
                <a:gd name="connsiteY237" fmla="*/ 97059 h 1752600"/>
                <a:gd name="connsiteX238" fmla="*/ 142875 w 3128973"/>
                <a:gd name="connsiteY238" fmla="*/ 71437 h 1752600"/>
                <a:gd name="connsiteX239" fmla="*/ 157162 w 3128973"/>
                <a:gd name="connsiteY239" fmla="*/ 57150 h 1752600"/>
                <a:gd name="connsiteX240" fmla="*/ 200025 w 3128973"/>
                <a:gd name="connsiteY240" fmla="*/ 33337 h 1752600"/>
                <a:gd name="connsiteX241" fmla="*/ 309562 w 3128973"/>
                <a:gd name="connsiteY241" fmla="*/ 28575 h 1752600"/>
                <a:gd name="connsiteX242" fmla="*/ 400050 w 3128973"/>
                <a:gd name="connsiteY242" fmla="*/ 14287 h 1752600"/>
                <a:gd name="connsiteX243" fmla="*/ 414337 w 3128973"/>
                <a:gd name="connsiteY243" fmla="*/ 9525 h 1752600"/>
                <a:gd name="connsiteX244" fmla="*/ 481012 w 3128973"/>
                <a:gd name="connsiteY244" fmla="*/ 0 h 1752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</a:cxnLst>
              <a:rect l="l" t="t" r="r" b="b"/>
              <a:pathLst>
                <a:path w="3128973" h="1752600">
                  <a:moveTo>
                    <a:pt x="481012" y="0"/>
                  </a:moveTo>
                  <a:cubicBezTo>
                    <a:pt x="490537" y="1587"/>
                    <a:pt x="500950" y="444"/>
                    <a:pt x="509587" y="4762"/>
                  </a:cubicBezTo>
                  <a:cubicBezTo>
                    <a:pt x="514707" y="7322"/>
                    <a:pt x="519112" y="19050"/>
                    <a:pt x="519112" y="19050"/>
                  </a:cubicBezTo>
                  <a:lnTo>
                    <a:pt x="519112" y="80962"/>
                  </a:lnTo>
                  <a:lnTo>
                    <a:pt x="576262" y="95250"/>
                  </a:lnTo>
                  <a:lnTo>
                    <a:pt x="590550" y="128587"/>
                  </a:lnTo>
                  <a:lnTo>
                    <a:pt x="657225" y="161925"/>
                  </a:lnTo>
                  <a:lnTo>
                    <a:pt x="690562" y="247650"/>
                  </a:lnTo>
                  <a:lnTo>
                    <a:pt x="747712" y="280987"/>
                  </a:lnTo>
                  <a:lnTo>
                    <a:pt x="828675" y="300037"/>
                  </a:lnTo>
                  <a:lnTo>
                    <a:pt x="981075" y="276225"/>
                  </a:lnTo>
                  <a:lnTo>
                    <a:pt x="1081087" y="252412"/>
                  </a:lnTo>
                  <a:lnTo>
                    <a:pt x="1171575" y="257175"/>
                  </a:lnTo>
                  <a:lnTo>
                    <a:pt x="1271587" y="257175"/>
                  </a:lnTo>
                  <a:lnTo>
                    <a:pt x="1376362" y="266700"/>
                  </a:lnTo>
                  <a:lnTo>
                    <a:pt x="1404937" y="261937"/>
                  </a:lnTo>
                  <a:lnTo>
                    <a:pt x="1323975" y="176212"/>
                  </a:lnTo>
                  <a:lnTo>
                    <a:pt x="1328737" y="80962"/>
                  </a:lnTo>
                  <a:lnTo>
                    <a:pt x="1852612" y="85725"/>
                  </a:lnTo>
                  <a:lnTo>
                    <a:pt x="1847850" y="261937"/>
                  </a:lnTo>
                  <a:lnTo>
                    <a:pt x="1895475" y="228600"/>
                  </a:lnTo>
                  <a:lnTo>
                    <a:pt x="2046801" y="228600"/>
                  </a:lnTo>
                  <a:lnTo>
                    <a:pt x="2126456" y="225698"/>
                  </a:lnTo>
                  <a:lnTo>
                    <a:pt x="2131219" y="119430"/>
                  </a:lnTo>
                  <a:lnTo>
                    <a:pt x="2266949" y="60392"/>
                  </a:lnTo>
                  <a:lnTo>
                    <a:pt x="2309812" y="48585"/>
                  </a:lnTo>
                  <a:lnTo>
                    <a:pt x="2359818" y="53307"/>
                  </a:lnTo>
                  <a:lnTo>
                    <a:pt x="2416968" y="88731"/>
                  </a:lnTo>
                  <a:lnTo>
                    <a:pt x="2486025" y="112345"/>
                  </a:lnTo>
                  <a:lnTo>
                    <a:pt x="2566987" y="152491"/>
                  </a:lnTo>
                  <a:lnTo>
                    <a:pt x="2650330" y="194998"/>
                  </a:lnTo>
                  <a:lnTo>
                    <a:pt x="2681287" y="218614"/>
                  </a:lnTo>
                  <a:lnTo>
                    <a:pt x="2678905" y="232782"/>
                  </a:lnTo>
                  <a:lnTo>
                    <a:pt x="2077757" y="243403"/>
                  </a:lnTo>
                  <a:cubicBezTo>
                    <a:pt x="2073505" y="245267"/>
                    <a:pt x="2043330" y="260436"/>
                    <a:pt x="2033587" y="266700"/>
                  </a:cubicBezTo>
                  <a:cubicBezTo>
                    <a:pt x="2023844" y="272964"/>
                    <a:pt x="2024616" y="276852"/>
                    <a:pt x="2019300" y="280987"/>
                  </a:cubicBezTo>
                  <a:cubicBezTo>
                    <a:pt x="2010264" y="288015"/>
                    <a:pt x="1990725" y="300037"/>
                    <a:pt x="1990725" y="300037"/>
                  </a:cubicBezTo>
                  <a:cubicBezTo>
                    <a:pt x="1987550" y="304800"/>
                    <a:pt x="1983760" y="309205"/>
                    <a:pt x="1981200" y="314325"/>
                  </a:cubicBezTo>
                  <a:cubicBezTo>
                    <a:pt x="1966298" y="344129"/>
                    <a:pt x="1979704" y="402642"/>
                    <a:pt x="1981200" y="419100"/>
                  </a:cubicBezTo>
                  <a:cubicBezTo>
                    <a:pt x="1981654" y="424099"/>
                    <a:pt x="1982826" y="429467"/>
                    <a:pt x="1985962" y="433387"/>
                  </a:cubicBezTo>
                  <a:cubicBezTo>
                    <a:pt x="1989538" y="437857"/>
                    <a:pt x="1995487" y="439737"/>
                    <a:pt x="2000250" y="442912"/>
                  </a:cubicBezTo>
                  <a:cubicBezTo>
                    <a:pt x="2001837" y="447675"/>
                    <a:pt x="2005012" y="452180"/>
                    <a:pt x="2005012" y="457200"/>
                  </a:cubicBezTo>
                  <a:cubicBezTo>
                    <a:pt x="2005012" y="550958"/>
                    <a:pt x="1990941" y="456440"/>
                    <a:pt x="2005012" y="561975"/>
                  </a:cubicBezTo>
                  <a:cubicBezTo>
                    <a:pt x="2005675" y="566951"/>
                    <a:pt x="2006225" y="572712"/>
                    <a:pt x="2009775" y="576262"/>
                  </a:cubicBezTo>
                  <a:cubicBezTo>
                    <a:pt x="2013325" y="579812"/>
                    <a:pt x="2019300" y="579437"/>
                    <a:pt x="2024062" y="581025"/>
                  </a:cubicBezTo>
                  <a:cubicBezTo>
                    <a:pt x="2028825" y="585787"/>
                    <a:pt x="2032746" y="591576"/>
                    <a:pt x="2038350" y="595312"/>
                  </a:cubicBezTo>
                  <a:cubicBezTo>
                    <a:pt x="2042527" y="598097"/>
                    <a:pt x="2047617" y="600075"/>
                    <a:pt x="2052637" y="600075"/>
                  </a:cubicBezTo>
                  <a:cubicBezTo>
                    <a:pt x="2080814" y="600075"/>
                    <a:pt x="2106358" y="595090"/>
                    <a:pt x="2133600" y="590550"/>
                  </a:cubicBezTo>
                  <a:cubicBezTo>
                    <a:pt x="2138362" y="588962"/>
                    <a:pt x="2142867" y="585787"/>
                    <a:pt x="2147887" y="585787"/>
                  </a:cubicBezTo>
                  <a:cubicBezTo>
                    <a:pt x="2178533" y="585787"/>
                    <a:pt x="2176147" y="587164"/>
                    <a:pt x="2195512" y="600075"/>
                  </a:cubicBezTo>
                  <a:cubicBezTo>
                    <a:pt x="2198687" y="604837"/>
                    <a:pt x="2201373" y="609965"/>
                    <a:pt x="2205037" y="614362"/>
                  </a:cubicBezTo>
                  <a:cubicBezTo>
                    <a:pt x="2209349" y="619536"/>
                    <a:pt x="2215589" y="623046"/>
                    <a:pt x="2219325" y="628650"/>
                  </a:cubicBezTo>
                  <a:cubicBezTo>
                    <a:pt x="2222110" y="632827"/>
                    <a:pt x="2221842" y="638447"/>
                    <a:pt x="2224087" y="642937"/>
                  </a:cubicBezTo>
                  <a:cubicBezTo>
                    <a:pt x="2226647" y="648057"/>
                    <a:pt x="2231052" y="652105"/>
                    <a:pt x="2233612" y="657225"/>
                  </a:cubicBezTo>
                  <a:cubicBezTo>
                    <a:pt x="2253331" y="696661"/>
                    <a:pt x="2220602" y="644851"/>
                    <a:pt x="2247900" y="685800"/>
                  </a:cubicBezTo>
                  <a:cubicBezTo>
                    <a:pt x="2255097" y="714591"/>
                    <a:pt x="2250592" y="698640"/>
                    <a:pt x="2262187" y="733425"/>
                  </a:cubicBezTo>
                  <a:cubicBezTo>
                    <a:pt x="2266848" y="747407"/>
                    <a:pt x="2291436" y="762449"/>
                    <a:pt x="2305050" y="771525"/>
                  </a:cubicBezTo>
                  <a:cubicBezTo>
                    <a:pt x="2308936" y="783185"/>
                    <a:pt x="2311980" y="794563"/>
                    <a:pt x="2319337" y="804862"/>
                  </a:cubicBezTo>
                  <a:cubicBezTo>
                    <a:pt x="2323252" y="810343"/>
                    <a:pt x="2328862" y="814387"/>
                    <a:pt x="2333625" y="819150"/>
                  </a:cubicBezTo>
                  <a:cubicBezTo>
                    <a:pt x="2335212" y="823912"/>
                    <a:pt x="2335602" y="829260"/>
                    <a:pt x="2338387" y="833437"/>
                  </a:cubicBezTo>
                  <a:cubicBezTo>
                    <a:pt x="2342123" y="839041"/>
                    <a:pt x="2347358" y="843590"/>
                    <a:pt x="2352675" y="847725"/>
                  </a:cubicBezTo>
                  <a:cubicBezTo>
                    <a:pt x="2377239" y="866831"/>
                    <a:pt x="2373980" y="864352"/>
                    <a:pt x="2395537" y="871537"/>
                  </a:cubicBezTo>
                  <a:cubicBezTo>
                    <a:pt x="2400300" y="877887"/>
                    <a:pt x="2403727" y="885505"/>
                    <a:pt x="2409825" y="890587"/>
                  </a:cubicBezTo>
                  <a:cubicBezTo>
                    <a:pt x="2413681" y="893801"/>
                    <a:pt x="2420562" y="891800"/>
                    <a:pt x="2424112" y="895350"/>
                  </a:cubicBezTo>
                  <a:cubicBezTo>
                    <a:pt x="2429132" y="900370"/>
                    <a:pt x="2429874" y="908380"/>
                    <a:pt x="2433637" y="914400"/>
                  </a:cubicBezTo>
                  <a:cubicBezTo>
                    <a:pt x="2447688" y="936881"/>
                    <a:pt x="2444847" y="931911"/>
                    <a:pt x="2466975" y="942975"/>
                  </a:cubicBezTo>
                  <a:lnTo>
                    <a:pt x="2474637" y="954728"/>
                  </a:lnTo>
                  <a:cubicBezTo>
                    <a:pt x="2478571" y="960763"/>
                    <a:pt x="2474875" y="953828"/>
                    <a:pt x="2495550" y="971550"/>
                  </a:cubicBezTo>
                  <a:lnTo>
                    <a:pt x="2508776" y="983894"/>
                  </a:lnTo>
                  <a:cubicBezTo>
                    <a:pt x="2511524" y="987217"/>
                    <a:pt x="2516590" y="989889"/>
                    <a:pt x="2533650" y="1000125"/>
                  </a:cubicBezTo>
                  <a:cubicBezTo>
                    <a:pt x="2545617" y="1036028"/>
                    <a:pt x="2529476" y="991779"/>
                    <a:pt x="2547937" y="1028700"/>
                  </a:cubicBezTo>
                  <a:cubicBezTo>
                    <a:pt x="2550182" y="1033190"/>
                    <a:pt x="2550455" y="1038497"/>
                    <a:pt x="2552700" y="1042987"/>
                  </a:cubicBezTo>
                  <a:cubicBezTo>
                    <a:pt x="2561570" y="1060727"/>
                    <a:pt x="2563343" y="1055759"/>
                    <a:pt x="2576512" y="1071562"/>
                  </a:cubicBezTo>
                  <a:lnTo>
                    <a:pt x="2584921" y="1082873"/>
                  </a:lnTo>
                  <a:cubicBezTo>
                    <a:pt x="2587489" y="1087190"/>
                    <a:pt x="2590502" y="1088827"/>
                    <a:pt x="2600325" y="1095375"/>
                  </a:cubicBezTo>
                  <a:cubicBezTo>
                    <a:pt x="2603500" y="1100137"/>
                    <a:pt x="2606186" y="1105265"/>
                    <a:pt x="2609850" y="1109662"/>
                  </a:cubicBezTo>
                  <a:cubicBezTo>
                    <a:pt x="2619334" y="1121043"/>
                    <a:pt x="2640455" y="1138914"/>
                    <a:pt x="2652712" y="1143000"/>
                  </a:cubicBezTo>
                  <a:cubicBezTo>
                    <a:pt x="2662237" y="1146175"/>
                    <a:pt x="2672307" y="1148035"/>
                    <a:pt x="2681287" y="1152525"/>
                  </a:cubicBezTo>
                  <a:cubicBezTo>
                    <a:pt x="2687637" y="1155700"/>
                    <a:pt x="2694173" y="1158528"/>
                    <a:pt x="2700337" y="1162050"/>
                  </a:cubicBezTo>
                  <a:cubicBezTo>
                    <a:pt x="2705307" y="1164890"/>
                    <a:pt x="2709505" y="1169015"/>
                    <a:pt x="2714625" y="1171575"/>
                  </a:cubicBezTo>
                  <a:cubicBezTo>
                    <a:pt x="2724386" y="1176455"/>
                    <a:pt x="2743672" y="1179289"/>
                    <a:pt x="2752725" y="1181100"/>
                  </a:cubicBezTo>
                  <a:cubicBezTo>
                    <a:pt x="2757487" y="1185862"/>
                    <a:pt x="2761408" y="1191651"/>
                    <a:pt x="2767012" y="1195387"/>
                  </a:cubicBezTo>
                  <a:cubicBezTo>
                    <a:pt x="2771189" y="1198172"/>
                    <a:pt x="2776810" y="1197905"/>
                    <a:pt x="2781300" y="1200150"/>
                  </a:cubicBezTo>
                  <a:cubicBezTo>
                    <a:pt x="2786419" y="1202710"/>
                    <a:pt x="2790825" y="1206500"/>
                    <a:pt x="2795587" y="1209675"/>
                  </a:cubicBezTo>
                  <a:cubicBezTo>
                    <a:pt x="2798762" y="1214437"/>
                    <a:pt x="2802552" y="1218843"/>
                    <a:pt x="2805112" y="1223962"/>
                  </a:cubicBezTo>
                  <a:cubicBezTo>
                    <a:pt x="2807357" y="1228452"/>
                    <a:pt x="2807897" y="1233636"/>
                    <a:pt x="2809875" y="1238250"/>
                  </a:cubicBezTo>
                  <a:cubicBezTo>
                    <a:pt x="2815067" y="1250364"/>
                    <a:pt x="2823953" y="1267312"/>
                    <a:pt x="2833687" y="1276350"/>
                  </a:cubicBezTo>
                  <a:cubicBezTo>
                    <a:pt x="2901481" y="1339301"/>
                    <a:pt x="2870775" y="1296262"/>
                    <a:pt x="2895600" y="1333500"/>
                  </a:cubicBezTo>
                  <a:cubicBezTo>
                    <a:pt x="2897187" y="1339850"/>
                    <a:pt x="2897435" y="1346696"/>
                    <a:pt x="2900362" y="1352550"/>
                  </a:cubicBezTo>
                  <a:cubicBezTo>
                    <a:pt x="2900397" y="1352604"/>
                    <a:pt x="2924176" y="1388271"/>
                    <a:pt x="2928937" y="1395412"/>
                  </a:cubicBezTo>
                  <a:cubicBezTo>
                    <a:pt x="2932112" y="1400175"/>
                    <a:pt x="2938828" y="1401273"/>
                    <a:pt x="2943225" y="1404937"/>
                  </a:cubicBezTo>
                  <a:cubicBezTo>
                    <a:pt x="2948399" y="1409249"/>
                    <a:pt x="2953129" y="1414111"/>
                    <a:pt x="2957512" y="1419225"/>
                  </a:cubicBezTo>
                  <a:cubicBezTo>
                    <a:pt x="2978271" y="1443444"/>
                    <a:pt x="2962082" y="1435036"/>
                    <a:pt x="2986087" y="1443037"/>
                  </a:cubicBezTo>
                  <a:cubicBezTo>
                    <a:pt x="2990850" y="1449387"/>
                    <a:pt x="2994762" y="1456474"/>
                    <a:pt x="3000375" y="1462087"/>
                  </a:cubicBezTo>
                  <a:lnTo>
                    <a:pt x="3016395" y="1476222"/>
                  </a:lnTo>
                  <a:cubicBezTo>
                    <a:pt x="3026530" y="1483317"/>
                    <a:pt x="3021940" y="1474395"/>
                    <a:pt x="3028950" y="1495425"/>
                  </a:cubicBezTo>
                  <a:cubicBezTo>
                    <a:pt x="3035362" y="1533904"/>
                    <a:pt x="3030658" y="1514839"/>
                    <a:pt x="3043237" y="1552575"/>
                  </a:cubicBezTo>
                  <a:cubicBezTo>
                    <a:pt x="3045047" y="1558005"/>
                    <a:pt x="3050202" y="1561743"/>
                    <a:pt x="3052762" y="1566862"/>
                  </a:cubicBezTo>
                  <a:cubicBezTo>
                    <a:pt x="3055007" y="1571352"/>
                    <a:pt x="3055937" y="1576387"/>
                    <a:pt x="3057525" y="1581150"/>
                  </a:cubicBezTo>
                  <a:cubicBezTo>
                    <a:pt x="3059959" y="1607929"/>
                    <a:pt x="3061167" y="1635640"/>
                    <a:pt x="3067050" y="1662112"/>
                  </a:cubicBezTo>
                  <a:cubicBezTo>
                    <a:pt x="3068139" y="1667013"/>
                    <a:pt x="3068676" y="1672480"/>
                    <a:pt x="3071812" y="1676400"/>
                  </a:cubicBezTo>
                  <a:cubicBezTo>
                    <a:pt x="3078526" y="1684793"/>
                    <a:pt x="3090975" y="1687550"/>
                    <a:pt x="3100387" y="1690687"/>
                  </a:cubicBezTo>
                  <a:cubicBezTo>
                    <a:pt x="3105150" y="1689100"/>
                    <a:pt x="3110755" y="1689061"/>
                    <a:pt x="3114675" y="1685925"/>
                  </a:cubicBezTo>
                  <a:cubicBezTo>
                    <a:pt x="3119145" y="1682349"/>
                    <a:pt x="3121875" y="1676868"/>
                    <a:pt x="3124200" y="1671637"/>
                  </a:cubicBezTo>
                  <a:cubicBezTo>
                    <a:pt x="3126740" y="1665923"/>
                    <a:pt x="3126116" y="1657473"/>
                    <a:pt x="3128973" y="1651467"/>
                  </a:cubicBezTo>
                  <a:cubicBezTo>
                    <a:pt x="3128656" y="1671071"/>
                    <a:pt x="3128338" y="1690675"/>
                    <a:pt x="3128021" y="1710279"/>
                  </a:cubicBezTo>
                  <a:cubicBezTo>
                    <a:pt x="3099654" y="1710575"/>
                    <a:pt x="3071278" y="1710632"/>
                    <a:pt x="3043237" y="1714500"/>
                  </a:cubicBezTo>
                  <a:cubicBezTo>
                    <a:pt x="3036565" y="1715420"/>
                    <a:pt x="3034554" y="1725051"/>
                    <a:pt x="3028950" y="1728787"/>
                  </a:cubicBezTo>
                  <a:cubicBezTo>
                    <a:pt x="3021132" y="1733999"/>
                    <a:pt x="2989549" y="1737735"/>
                    <a:pt x="2986087" y="1738312"/>
                  </a:cubicBezTo>
                  <a:cubicBezTo>
                    <a:pt x="2981325" y="1739900"/>
                    <a:pt x="2976820" y="1743075"/>
                    <a:pt x="2971800" y="1743075"/>
                  </a:cubicBezTo>
                  <a:cubicBezTo>
                    <a:pt x="2962144" y="1743075"/>
                    <a:pt x="2952822" y="1737246"/>
                    <a:pt x="2943225" y="1738312"/>
                  </a:cubicBezTo>
                  <a:cubicBezTo>
                    <a:pt x="2937536" y="1738944"/>
                    <a:pt x="2934057" y="1745277"/>
                    <a:pt x="2928937" y="1747837"/>
                  </a:cubicBezTo>
                  <a:cubicBezTo>
                    <a:pt x="2924447" y="1750082"/>
                    <a:pt x="2919412" y="1751012"/>
                    <a:pt x="2914650" y="1752600"/>
                  </a:cubicBezTo>
                  <a:lnTo>
                    <a:pt x="2895600" y="1724025"/>
                  </a:lnTo>
                  <a:lnTo>
                    <a:pt x="2883310" y="1701201"/>
                  </a:lnTo>
                  <a:lnTo>
                    <a:pt x="2883805" y="1696138"/>
                  </a:lnTo>
                  <a:cubicBezTo>
                    <a:pt x="2886149" y="1694163"/>
                    <a:pt x="2891066" y="1698777"/>
                    <a:pt x="2871787" y="1685925"/>
                  </a:cubicBezTo>
                  <a:cubicBezTo>
                    <a:pt x="2837754" y="1634874"/>
                    <a:pt x="2890750" y="1712347"/>
                    <a:pt x="2847975" y="1657350"/>
                  </a:cubicBezTo>
                  <a:lnTo>
                    <a:pt x="2834034" y="1637762"/>
                  </a:lnTo>
                  <a:cubicBezTo>
                    <a:pt x="2826933" y="1625959"/>
                    <a:pt x="2835382" y="1633079"/>
                    <a:pt x="2814637" y="1619250"/>
                  </a:cubicBezTo>
                  <a:cubicBezTo>
                    <a:pt x="2813050" y="1614487"/>
                    <a:pt x="2813425" y="1608512"/>
                    <a:pt x="2809875" y="1604962"/>
                  </a:cubicBezTo>
                  <a:cubicBezTo>
                    <a:pt x="2806325" y="1601412"/>
                    <a:pt x="2800077" y="1602445"/>
                    <a:pt x="2795587" y="1600200"/>
                  </a:cubicBezTo>
                  <a:cubicBezTo>
                    <a:pt x="2790468" y="1597640"/>
                    <a:pt x="2786530" y="1593000"/>
                    <a:pt x="2781300" y="1590675"/>
                  </a:cubicBezTo>
                  <a:cubicBezTo>
                    <a:pt x="2772125" y="1586597"/>
                    <a:pt x="2760662" y="1575329"/>
                    <a:pt x="2752725" y="1581150"/>
                  </a:cubicBezTo>
                  <a:cubicBezTo>
                    <a:pt x="2744788" y="1586971"/>
                    <a:pt x="2740819" y="1619250"/>
                    <a:pt x="2733675" y="1625600"/>
                  </a:cubicBezTo>
                  <a:cubicBezTo>
                    <a:pt x="2726531" y="1631950"/>
                    <a:pt x="2714625" y="1622425"/>
                    <a:pt x="2709862" y="1619250"/>
                  </a:cubicBezTo>
                  <a:lnTo>
                    <a:pt x="2723566" y="1590361"/>
                  </a:lnTo>
                  <a:cubicBezTo>
                    <a:pt x="2718581" y="1583489"/>
                    <a:pt x="2688333" y="1576335"/>
                    <a:pt x="2674937" y="1560512"/>
                  </a:cubicBezTo>
                  <a:cubicBezTo>
                    <a:pt x="2661541" y="1544689"/>
                    <a:pt x="2650860" y="1507067"/>
                    <a:pt x="2643187" y="1495425"/>
                  </a:cubicBezTo>
                  <a:cubicBezTo>
                    <a:pt x="2635514" y="1483783"/>
                    <a:pt x="2633727" y="1492041"/>
                    <a:pt x="2628900" y="1490662"/>
                  </a:cubicBezTo>
                  <a:cubicBezTo>
                    <a:pt x="2587031" y="1478699"/>
                    <a:pt x="2629826" y="1492559"/>
                    <a:pt x="2595562" y="1481137"/>
                  </a:cubicBezTo>
                  <a:cubicBezTo>
                    <a:pt x="2590800" y="1476375"/>
                    <a:pt x="2587162" y="1470121"/>
                    <a:pt x="2581275" y="1466850"/>
                  </a:cubicBezTo>
                  <a:cubicBezTo>
                    <a:pt x="2572498" y="1461974"/>
                    <a:pt x="2552700" y="1457325"/>
                    <a:pt x="2552700" y="1457325"/>
                  </a:cubicBezTo>
                  <a:cubicBezTo>
                    <a:pt x="2547937" y="1454150"/>
                    <a:pt x="2543673" y="1450055"/>
                    <a:pt x="2538412" y="1447800"/>
                  </a:cubicBezTo>
                  <a:cubicBezTo>
                    <a:pt x="2532396" y="1445222"/>
                    <a:pt x="2525631" y="1444918"/>
                    <a:pt x="2519362" y="1443037"/>
                  </a:cubicBezTo>
                  <a:cubicBezTo>
                    <a:pt x="2509745" y="1440152"/>
                    <a:pt x="2500312" y="1436687"/>
                    <a:pt x="2490787" y="1433512"/>
                  </a:cubicBezTo>
                  <a:lnTo>
                    <a:pt x="2476500" y="1428750"/>
                  </a:lnTo>
                  <a:cubicBezTo>
                    <a:pt x="2473325" y="1423987"/>
                    <a:pt x="2471738" y="1417637"/>
                    <a:pt x="2466975" y="1414462"/>
                  </a:cubicBezTo>
                  <a:cubicBezTo>
                    <a:pt x="2461529" y="1410831"/>
                    <a:pt x="2454194" y="1411581"/>
                    <a:pt x="2447925" y="1409700"/>
                  </a:cubicBezTo>
                  <a:cubicBezTo>
                    <a:pt x="2376457" y="1388260"/>
                    <a:pt x="2459308" y="1401912"/>
                    <a:pt x="2309812" y="1395412"/>
                  </a:cubicBezTo>
                  <a:cubicBezTo>
                    <a:pt x="2305050" y="1393825"/>
                    <a:pt x="2300368" y="1391971"/>
                    <a:pt x="2295525" y="1390650"/>
                  </a:cubicBezTo>
                  <a:cubicBezTo>
                    <a:pt x="2282895" y="1387206"/>
                    <a:pt x="2257425" y="1381125"/>
                    <a:pt x="2257425" y="1381125"/>
                  </a:cubicBezTo>
                  <a:cubicBezTo>
                    <a:pt x="2251075" y="1376362"/>
                    <a:pt x="2245267" y="1370775"/>
                    <a:pt x="2238375" y="1366837"/>
                  </a:cubicBezTo>
                  <a:cubicBezTo>
                    <a:pt x="2234016" y="1364346"/>
                    <a:pt x="2228446" y="1364566"/>
                    <a:pt x="2224087" y="1362075"/>
                  </a:cubicBezTo>
                  <a:cubicBezTo>
                    <a:pt x="2176689" y="1334991"/>
                    <a:pt x="2238265" y="1358863"/>
                    <a:pt x="2176462" y="1338262"/>
                  </a:cubicBezTo>
                  <a:cubicBezTo>
                    <a:pt x="2171032" y="1336452"/>
                    <a:pt x="2167405" y="1331062"/>
                    <a:pt x="2162175" y="1328737"/>
                  </a:cubicBezTo>
                  <a:cubicBezTo>
                    <a:pt x="2147265" y="1322110"/>
                    <a:pt x="2130384" y="1318408"/>
                    <a:pt x="2114550" y="1314450"/>
                  </a:cubicBezTo>
                  <a:cubicBezTo>
                    <a:pt x="2109787" y="1309687"/>
                    <a:pt x="2105866" y="1303898"/>
                    <a:pt x="2100262" y="1300162"/>
                  </a:cubicBezTo>
                  <a:cubicBezTo>
                    <a:pt x="2096085" y="1297377"/>
                    <a:pt x="2093516" y="1296988"/>
                    <a:pt x="2085975" y="1295400"/>
                  </a:cubicBezTo>
                  <a:cubicBezTo>
                    <a:pt x="2078434" y="1293812"/>
                    <a:pt x="2064544" y="1292621"/>
                    <a:pt x="2055019" y="1290637"/>
                  </a:cubicBezTo>
                  <a:cubicBezTo>
                    <a:pt x="2045494" y="1288653"/>
                    <a:pt x="2037158" y="1286669"/>
                    <a:pt x="2028824" y="1283494"/>
                  </a:cubicBezTo>
                  <a:cubicBezTo>
                    <a:pt x="2020490" y="1280319"/>
                    <a:pt x="2024062" y="1273175"/>
                    <a:pt x="2005012" y="1271587"/>
                  </a:cubicBezTo>
                  <a:cubicBezTo>
                    <a:pt x="1998662" y="1268412"/>
                    <a:pt x="1992488" y="1264859"/>
                    <a:pt x="1985962" y="1262062"/>
                  </a:cubicBezTo>
                  <a:cubicBezTo>
                    <a:pt x="1981348" y="1260085"/>
                    <a:pt x="1976063" y="1259738"/>
                    <a:pt x="1971675" y="1257300"/>
                  </a:cubicBezTo>
                  <a:cubicBezTo>
                    <a:pt x="1961668" y="1251741"/>
                    <a:pt x="1952625" y="1244600"/>
                    <a:pt x="1943100" y="1238250"/>
                  </a:cubicBezTo>
                  <a:lnTo>
                    <a:pt x="1914525" y="1219200"/>
                  </a:lnTo>
                  <a:cubicBezTo>
                    <a:pt x="1906171" y="1213631"/>
                    <a:pt x="1895475" y="1212850"/>
                    <a:pt x="1885950" y="1209675"/>
                  </a:cubicBezTo>
                  <a:lnTo>
                    <a:pt x="1843087" y="1195387"/>
                  </a:lnTo>
                  <a:cubicBezTo>
                    <a:pt x="1837314" y="1193463"/>
                    <a:pt x="1757691" y="1185895"/>
                    <a:pt x="1757362" y="1185862"/>
                  </a:cubicBezTo>
                  <a:lnTo>
                    <a:pt x="1700212" y="1166812"/>
                  </a:lnTo>
                  <a:cubicBezTo>
                    <a:pt x="1689352" y="1163192"/>
                    <a:pt x="1681162" y="1154112"/>
                    <a:pt x="1671637" y="1147762"/>
                  </a:cubicBezTo>
                  <a:cubicBezTo>
                    <a:pt x="1665730" y="1143824"/>
                    <a:pt x="1658751" y="1141759"/>
                    <a:pt x="1652587" y="1138237"/>
                  </a:cubicBezTo>
                  <a:cubicBezTo>
                    <a:pt x="1647617" y="1135397"/>
                    <a:pt x="1648619" y="1128712"/>
                    <a:pt x="1638300" y="1128712"/>
                  </a:cubicBezTo>
                  <a:cubicBezTo>
                    <a:pt x="1627981" y="1128712"/>
                    <a:pt x="1603772" y="1141413"/>
                    <a:pt x="1590675" y="1138238"/>
                  </a:cubicBezTo>
                  <a:cubicBezTo>
                    <a:pt x="1577578" y="1135063"/>
                    <a:pt x="1564482" y="1111250"/>
                    <a:pt x="1559719" y="1109662"/>
                  </a:cubicBezTo>
                  <a:cubicBezTo>
                    <a:pt x="1532636" y="1089350"/>
                    <a:pt x="1564868" y="1097886"/>
                    <a:pt x="1528762" y="1085850"/>
                  </a:cubicBezTo>
                  <a:lnTo>
                    <a:pt x="1514475" y="1081087"/>
                  </a:lnTo>
                  <a:cubicBezTo>
                    <a:pt x="1504686" y="1088495"/>
                    <a:pt x="1483519" y="1125802"/>
                    <a:pt x="1470025" y="1130300"/>
                  </a:cubicBezTo>
                  <a:cubicBezTo>
                    <a:pt x="1456531" y="1134798"/>
                    <a:pt x="1441185" y="1115219"/>
                    <a:pt x="1433512" y="1108075"/>
                  </a:cubicBezTo>
                  <a:cubicBezTo>
                    <a:pt x="1425839" y="1100931"/>
                    <a:pt x="1432718" y="1089554"/>
                    <a:pt x="1423987" y="1087437"/>
                  </a:cubicBezTo>
                  <a:cubicBezTo>
                    <a:pt x="1415256" y="1085320"/>
                    <a:pt x="1385887" y="1096962"/>
                    <a:pt x="1381125" y="1095375"/>
                  </a:cubicBezTo>
                  <a:cubicBezTo>
                    <a:pt x="1376362" y="1092200"/>
                    <a:pt x="1385887" y="1041400"/>
                    <a:pt x="1383506" y="1028700"/>
                  </a:cubicBezTo>
                  <a:cubicBezTo>
                    <a:pt x="1381125" y="1016000"/>
                    <a:pt x="1374775" y="1022747"/>
                    <a:pt x="1366838" y="1019175"/>
                  </a:cubicBezTo>
                  <a:cubicBezTo>
                    <a:pt x="1358901" y="1015603"/>
                    <a:pt x="1343819" y="1009253"/>
                    <a:pt x="1335881" y="1007268"/>
                  </a:cubicBezTo>
                  <a:cubicBezTo>
                    <a:pt x="1327944" y="1005284"/>
                    <a:pt x="1325960" y="1012427"/>
                    <a:pt x="1319213" y="1007268"/>
                  </a:cubicBezTo>
                  <a:cubicBezTo>
                    <a:pt x="1312466" y="1002109"/>
                    <a:pt x="1301750" y="983059"/>
                    <a:pt x="1295400" y="976312"/>
                  </a:cubicBezTo>
                  <a:cubicBezTo>
                    <a:pt x="1289050" y="969565"/>
                    <a:pt x="1286343" y="969112"/>
                    <a:pt x="1281112" y="966787"/>
                  </a:cubicBezTo>
                  <a:cubicBezTo>
                    <a:pt x="1230108" y="944119"/>
                    <a:pt x="1270582" y="969292"/>
                    <a:pt x="1238250" y="947737"/>
                  </a:cubicBezTo>
                  <a:cubicBezTo>
                    <a:pt x="1234485" y="921382"/>
                    <a:pt x="1218935" y="988747"/>
                    <a:pt x="1212850" y="995362"/>
                  </a:cubicBezTo>
                  <a:cubicBezTo>
                    <a:pt x="1206765" y="1001977"/>
                    <a:pt x="1206500" y="989012"/>
                    <a:pt x="1201737" y="987425"/>
                  </a:cubicBezTo>
                  <a:cubicBezTo>
                    <a:pt x="1194593" y="982361"/>
                    <a:pt x="1175014" y="962596"/>
                    <a:pt x="1163637" y="952277"/>
                  </a:cubicBezTo>
                  <a:cubicBezTo>
                    <a:pt x="1152260" y="941958"/>
                    <a:pt x="1146439" y="940953"/>
                    <a:pt x="1133475" y="925512"/>
                  </a:cubicBezTo>
                  <a:cubicBezTo>
                    <a:pt x="1120511" y="910071"/>
                    <a:pt x="1096169" y="873389"/>
                    <a:pt x="1085850" y="859631"/>
                  </a:cubicBezTo>
                  <a:cubicBezTo>
                    <a:pt x="1075531" y="845873"/>
                    <a:pt x="1079500" y="844550"/>
                    <a:pt x="1071562" y="842962"/>
                  </a:cubicBezTo>
                  <a:cubicBezTo>
                    <a:pt x="1033463" y="817562"/>
                    <a:pt x="1079499" y="850899"/>
                    <a:pt x="1047750" y="819150"/>
                  </a:cubicBezTo>
                  <a:cubicBezTo>
                    <a:pt x="1042137" y="813537"/>
                    <a:pt x="1034727" y="810028"/>
                    <a:pt x="1028700" y="804862"/>
                  </a:cubicBezTo>
                  <a:lnTo>
                    <a:pt x="1018076" y="794816"/>
                  </a:lnTo>
                  <a:cubicBezTo>
                    <a:pt x="1012542" y="788621"/>
                    <a:pt x="1018351" y="791889"/>
                    <a:pt x="1000125" y="785812"/>
                  </a:cubicBezTo>
                  <a:lnTo>
                    <a:pt x="984342" y="773578"/>
                  </a:lnTo>
                  <a:cubicBezTo>
                    <a:pt x="977078" y="767741"/>
                    <a:pt x="988542" y="777189"/>
                    <a:pt x="957262" y="766762"/>
                  </a:cubicBezTo>
                  <a:cubicBezTo>
                    <a:pt x="950527" y="764517"/>
                    <a:pt x="944738" y="760034"/>
                    <a:pt x="938212" y="757237"/>
                  </a:cubicBezTo>
                  <a:cubicBezTo>
                    <a:pt x="928651" y="753139"/>
                    <a:pt x="914536" y="750128"/>
                    <a:pt x="904875" y="747712"/>
                  </a:cubicBezTo>
                  <a:cubicBezTo>
                    <a:pt x="872123" y="725877"/>
                    <a:pt x="887160" y="732282"/>
                    <a:pt x="862012" y="723900"/>
                  </a:cubicBezTo>
                  <a:cubicBezTo>
                    <a:pt x="821623" y="696974"/>
                    <a:pt x="843676" y="709970"/>
                    <a:pt x="795337" y="685800"/>
                  </a:cubicBezTo>
                  <a:cubicBezTo>
                    <a:pt x="787305" y="681784"/>
                    <a:pt x="783594" y="671970"/>
                    <a:pt x="776287" y="666750"/>
                  </a:cubicBezTo>
                  <a:cubicBezTo>
                    <a:pt x="772202" y="663832"/>
                    <a:pt x="766762" y="663575"/>
                    <a:pt x="762000" y="661987"/>
                  </a:cubicBezTo>
                  <a:cubicBezTo>
                    <a:pt x="755650" y="657225"/>
                    <a:pt x="749842" y="651638"/>
                    <a:pt x="742950" y="647700"/>
                  </a:cubicBezTo>
                  <a:cubicBezTo>
                    <a:pt x="737633" y="644662"/>
                    <a:pt x="713741" y="639207"/>
                    <a:pt x="709612" y="638175"/>
                  </a:cubicBezTo>
                  <a:cubicBezTo>
                    <a:pt x="704850" y="635000"/>
                    <a:pt x="700444" y="631210"/>
                    <a:pt x="695325" y="628650"/>
                  </a:cubicBezTo>
                  <a:cubicBezTo>
                    <a:pt x="690835" y="626405"/>
                    <a:pt x="684173" y="627807"/>
                    <a:pt x="681037" y="623887"/>
                  </a:cubicBezTo>
                  <a:cubicBezTo>
                    <a:pt x="676948" y="618776"/>
                    <a:pt x="678156" y="611106"/>
                    <a:pt x="676275" y="604837"/>
                  </a:cubicBezTo>
                  <a:cubicBezTo>
                    <a:pt x="673390" y="595220"/>
                    <a:pt x="669925" y="585787"/>
                    <a:pt x="666750" y="576262"/>
                  </a:cubicBezTo>
                  <a:lnTo>
                    <a:pt x="661987" y="561975"/>
                  </a:lnTo>
                  <a:cubicBezTo>
                    <a:pt x="663575" y="554037"/>
                    <a:pt x="668506" y="546064"/>
                    <a:pt x="666750" y="538162"/>
                  </a:cubicBezTo>
                  <a:cubicBezTo>
                    <a:pt x="662598" y="519479"/>
                    <a:pt x="651677" y="518850"/>
                    <a:pt x="638175" y="514350"/>
                  </a:cubicBezTo>
                  <a:cubicBezTo>
                    <a:pt x="631825" y="509587"/>
                    <a:pt x="626017" y="504000"/>
                    <a:pt x="619125" y="500062"/>
                  </a:cubicBezTo>
                  <a:cubicBezTo>
                    <a:pt x="609473" y="494546"/>
                    <a:pt x="583251" y="491702"/>
                    <a:pt x="576262" y="490537"/>
                  </a:cubicBezTo>
                  <a:cubicBezTo>
                    <a:pt x="552450" y="474662"/>
                    <a:pt x="551392" y="453231"/>
                    <a:pt x="542925" y="452437"/>
                  </a:cubicBezTo>
                  <a:cubicBezTo>
                    <a:pt x="534458" y="451643"/>
                    <a:pt x="533400" y="487362"/>
                    <a:pt x="525462" y="485775"/>
                  </a:cubicBezTo>
                  <a:cubicBezTo>
                    <a:pt x="520700" y="482600"/>
                    <a:pt x="516731" y="469900"/>
                    <a:pt x="504825" y="466725"/>
                  </a:cubicBezTo>
                  <a:cubicBezTo>
                    <a:pt x="492919" y="463550"/>
                    <a:pt x="470165" y="465667"/>
                    <a:pt x="454025" y="466725"/>
                  </a:cubicBezTo>
                  <a:cubicBezTo>
                    <a:pt x="437885" y="467783"/>
                    <a:pt x="417777" y="482600"/>
                    <a:pt x="407987" y="473075"/>
                  </a:cubicBezTo>
                  <a:cubicBezTo>
                    <a:pt x="398197" y="463550"/>
                    <a:pt x="399290" y="410075"/>
                    <a:pt x="395287" y="409575"/>
                  </a:cubicBezTo>
                  <a:cubicBezTo>
                    <a:pt x="388937" y="407987"/>
                    <a:pt x="382677" y="405983"/>
                    <a:pt x="376237" y="404812"/>
                  </a:cubicBezTo>
                  <a:cubicBezTo>
                    <a:pt x="365193" y="402804"/>
                    <a:pt x="353838" y="402574"/>
                    <a:pt x="342900" y="400050"/>
                  </a:cubicBezTo>
                  <a:cubicBezTo>
                    <a:pt x="333117" y="397792"/>
                    <a:pt x="325834" y="393303"/>
                    <a:pt x="314325" y="390525"/>
                  </a:cubicBezTo>
                  <a:cubicBezTo>
                    <a:pt x="302816" y="387747"/>
                    <a:pt x="283369" y="386557"/>
                    <a:pt x="273844" y="383382"/>
                  </a:cubicBezTo>
                  <a:cubicBezTo>
                    <a:pt x="264319" y="380207"/>
                    <a:pt x="261938" y="374650"/>
                    <a:pt x="257175" y="371475"/>
                  </a:cubicBezTo>
                  <a:cubicBezTo>
                    <a:pt x="252413" y="368300"/>
                    <a:pt x="250825" y="368300"/>
                    <a:pt x="245269" y="364331"/>
                  </a:cubicBezTo>
                  <a:cubicBezTo>
                    <a:pt x="239713" y="360362"/>
                    <a:pt x="232965" y="352028"/>
                    <a:pt x="223837" y="347662"/>
                  </a:cubicBezTo>
                  <a:cubicBezTo>
                    <a:pt x="214709" y="343296"/>
                    <a:pt x="206619" y="340617"/>
                    <a:pt x="190500" y="338137"/>
                  </a:cubicBezTo>
                  <a:cubicBezTo>
                    <a:pt x="176292" y="335951"/>
                    <a:pt x="161925" y="334962"/>
                    <a:pt x="147637" y="333375"/>
                  </a:cubicBezTo>
                  <a:lnTo>
                    <a:pt x="119062" y="323850"/>
                  </a:lnTo>
                  <a:cubicBezTo>
                    <a:pt x="114300" y="322262"/>
                    <a:pt x="108952" y="321872"/>
                    <a:pt x="104775" y="319087"/>
                  </a:cubicBezTo>
                  <a:cubicBezTo>
                    <a:pt x="82133" y="303993"/>
                    <a:pt x="95917" y="311372"/>
                    <a:pt x="61912" y="300037"/>
                  </a:cubicBezTo>
                  <a:cubicBezTo>
                    <a:pt x="49493" y="295897"/>
                    <a:pt x="23812" y="290512"/>
                    <a:pt x="23812" y="290512"/>
                  </a:cubicBezTo>
                  <a:cubicBezTo>
                    <a:pt x="16497" y="279540"/>
                    <a:pt x="11716" y="275084"/>
                    <a:pt x="9525" y="261937"/>
                  </a:cubicBezTo>
                  <a:cubicBezTo>
                    <a:pt x="5513" y="270010"/>
                    <a:pt x="1190" y="286941"/>
                    <a:pt x="0" y="290512"/>
                  </a:cubicBezTo>
                  <a:cubicBezTo>
                    <a:pt x="1587" y="276225"/>
                    <a:pt x="2576" y="261858"/>
                    <a:pt x="4762" y="247650"/>
                  </a:cubicBezTo>
                  <a:cubicBezTo>
                    <a:pt x="6818" y="234287"/>
                    <a:pt x="15343" y="211146"/>
                    <a:pt x="19050" y="200025"/>
                  </a:cubicBezTo>
                  <a:cubicBezTo>
                    <a:pt x="20637" y="195262"/>
                    <a:pt x="18942" y="186954"/>
                    <a:pt x="23812" y="185737"/>
                  </a:cubicBezTo>
                  <a:cubicBezTo>
                    <a:pt x="52600" y="178541"/>
                    <a:pt x="36656" y="183044"/>
                    <a:pt x="71437" y="171450"/>
                  </a:cubicBezTo>
                  <a:lnTo>
                    <a:pt x="85725" y="166687"/>
                  </a:lnTo>
                  <a:lnTo>
                    <a:pt x="100012" y="161925"/>
                  </a:lnTo>
                  <a:cubicBezTo>
                    <a:pt x="104775" y="158750"/>
                    <a:pt x="110531" y="156708"/>
                    <a:pt x="114300" y="152400"/>
                  </a:cubicBezTo>
                  <a:cubicBezTo>
                    <a:pt x="121838" y="143785"/>
                    <a:pt x="133350" y="123825"/>
                    <a:pt x="133350" y="123825"/>
                  </a:cubicBezTo>
                  <a:cubicBezTo>
                    <a:pt x="134937" y="119062"/>
                    <a:pt x="138112" y="114557"/>
                    <a:pt x="138112" y="109537"/>
                  </a:cubicBezTo>
                  <a:lnTo>
                    <a:pt x="135467" y="97059"/>
                  </a:lnTo>
                  <a:cubicBezTo>
                    <a:pt x="131157" y="91399"/>
                    <a:pt x="124798" y="100362"/>
                    <a:pt x="142875" y="71437"/>
                  </a:cubicBezTo>
                  <a:cubicBezTo>
                    <a:pt x="146444" y="65726"/>
                    <a:pt x="151846" y="61285"/>
                    <a:pt x="157162" y="57150"/>
                  </a:cubicBezTo>
                  <a:cubicBezTo>
                    <a:pt x="163740" y="52034"/>
                    <a:pt x="186355" y="34389"/>
                    <a:pt x="200025" y="33337"/>
                  </a:cubicBezTo>
                  <a:cubicBezTo>
                    <a:pt x="236464" y="30534"/>
                    <a:pt x="273050" y="30162"/>
                    <a:pt x="309562" y="28575"/>
                  </a:cubicBezTo>
                  <a:cubicBezTo>
                    <a:pt x="357773" y="12505"/>
                    <a:pt x="328126" y="19820"/>
                    <a:pt x="400050" y="14287"/>
                  </a:cubicBezTo>
                  <a:cubicBezTo>
                    <a:pt x="404812" y="12700"/>
                    <a:pt x="409393" y="10397"/>
                    <a:pt x="414337" y="9525"/>
                  </a:cubicBezTo>
                  <a:cubicBezTo>
                    <a:pt x="436446" y="5624"/>
                    <a:pt x="481012" y="0"/>
                    <a:pt x="481012" y="0"/>
                  </a:cubicBez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80" name="Freeform 79"/>
            <p:cNvSpPr/>
            <p:nvPr>
              <p:custDataLst>
                <p:tags r:id="rId36"/>
              </p:custDataLst>
            </p:nvPr>
          </p:nvSpPr>
          <p:spPr>
            <a:xfrm>
              <a:off x="3888583" y="4437025"/>
              <a:ext cx="1197776" cy="614468"/>
            </a:xfrm>
            <a:custGeom>
              <a:avLst/>
              <a:gdLst>
                <a:gd name="connsiteX0" fmla="*/ 12700 w 3168764"/>
                <a:gd name="connsiteY0" fmla="*/ 377825 h 1625600"/>
                <a:gd name="connsiteX1" fmla="*/ 12700 w 3168764"/>
                <a:gd name="connsiteY1" fmla="*/ 377825 h 1625600"/>
                <a:gd name="connsiteX2" fmla="*/ 57150 w 3168764"/>
                <a:gd name="connsiteY2" fmla="*/ 393700 h 1625600"/>
                <a:gd name="connsiteX3" fmla="*/ 79375 w 3168764"/>
                <a:gd name="connsiteY3" fmla="*/ 387350 h 1625600"/>
                <a:gd name="connsiteX4" fmla="*/ 82550 w 3168764"/>
                <a:gd name="connsiteY4" fmla="*/ 396875 h 1625600"/>
                <a:gd name="connsiteX5" fmla="*/ 101600 w 3168764"/>
                <a:gd name="connsiteY5" fmla="*/ 396875 h 1625600"/>
                <a:gd name="connsiteX6" fmla="*/ 152400 w 3168764"/>
                <a:gd name="connsiteY6" fmla="*/ 393700 h 1625600"/>
                <a:gd name="connsiteX7" fmla="*/ 158750 w 3168764"/>
                <a:gd name="connsiteY7" fmla="*/ 403225 h 1625600"/>
                <a:gd name="connsiteX8" fmla="*/ 177800 w 3168764"/>
                <a:gd name="connsiteY8" fmla="*/ 409575 h 1625600"/>
                <a:gd name="connsiteX9" fmla="*/ 187325 w 3168764"/>
                <a:gd name="connsiteY9" fmla="*/ 412750 h 1625600"/>
                <a:gd name="connsiteX10" fmla="*/ 206375 w 3168764"/>
                <a:gd name="connsiteY10" fmla="*/ 406400 h 1625600"/>
                <a:gd name="connsiteX11" fmla="*/ 215900 w 3168764"/>
                <a:gd name="connsiteY11" fmla="*/ 403225 h 1625600"/>
                <a:gd name="connsiteX12" fmla="*/ 228600 w 3168764"/>
                <a:gd name="connsiteY12" fmla="*/ 406400 h 1625600"/>
                <a:gd name="connsiteX13" fmla="*/ 238125 w 3168764"/>
                <a:gd name="connsiteY13" fmla="*/ 412750 h 1625600"/>
                <a:gd name="connsiteX14" fmla="*/ 250825 w 3168764"/>
                <a:gd name="connsiteY14" fmla="*/ 409575 h 1625600"/>
                <a:gd name="connsiteX15" fmla="*/ 273050 w 3168764"/>
                <a:gd name="connsiteY15" fmla="*/ 415925 h 1625600"/>
                <a:gd name="connsiteX16" fmla="*/ 282575 w 3168764"/>
                <a:gd name="connsiteY16" fmla="*/ 422275 h 1625600"/>
                <a:gd name="connsiteX17" fmla="*/ 317500 w 3168764"/>
                <a:gd name="connsiteY17" fmla="*/ 422275 h 1625600"/>
                <a:gd name="connsiteX18" fmla="*/ 320675 w 3168764"/>
                <a:gd name="connsiteY18" fmla="*/ 431800 h 1625600"/>
                <a:gd name="connsiteX19" fmla="*/ 330200 w 3168764"/>
                <a:gd name="connsiteY19" fmla="*/ 438150 h 1625600"/>
                <a:gd name="connsiteX20" fmla="*/ 342900 w 3168764"/>
                <a:gd name="connsiteY20" fmla="*/ 454025 h 1625600"/>
                <a:gd name="connsiteX21" fmla="*/ 349250 w 3168764"/>
                <a:gd name="connsiteY21" fmla="*/ 463550 h 1625600"/>
                <a:gd name="connsiteX22" fmla="*/ 358775 w 3168764"/>
                <a:gd name="connsiteY22" fmla="*/ 469900 h 1625600"/>
                <a:gd name="connsiteX23" fmla="*/ 377825 w 3168764"/>
                <a:gd name="connsiteY23" fmla="*/ 482600 h 1625600"/>
                <a:gd name="connsiteX24" fmla="*/ 387350 w 3168764"/>
                <a:gd name="connsiteY24" fmla="*/ 488950 h 1625600"/>
                <a:gd name="connsiteX25" fmla="*/ 393700 w 3168764"/>
                <a:gd name="connsiteY25" fmla="*/ 498475 h 1625600"/>
                <a:gd name="connsiteX26" fmla="*/ 419100 w 3168764"/>
                <a:gd name="connsiteY26" fmla="*/ 504825 h 1625600"/>
                <a:gd name="connsiteX27" fmla="*/ 422275 w 3168764"/>
                <a:gd name="connsiteY27" fmla="*/ 514350 h 1625600"/>
                <a:gd name="connsiteX28" fmla="*/ 431800 w 3168764"/>
                <a:gd name="connsiteY28" fmla="*/ 508000 h 1625600"/>
                <a:gd name="connsiteX29" fmla="*/ 450850 w 3168764"/>
                <a:gd name="connsiteY29" fmla="*/ 504825 h 1625600"/>
                <a:gd name="connsiteX30" fmla="*/ 460375 w 3168764"/>
                <a:gd name="connsiteY30" fmla="*/ 501650 h 1625600"/>
                <a:gd name="connsiteX31" fmla="*/ 463550 w 3168764"/>
                <a:gd name="connsiteY31" fmla="*/ 511175 h 1625600"/>
                <a:gd name="connsiteX32" fmla="*/ 482600 w 3168764"/>
                <a:gd name="connsiteY32" fmla="*/ 523875 h 1625600"/>
                <a:gd name="connsiteX33" fmla="*/ 504825 w 3168764"/>
                <a:gd name="connsiteY33" fmla="*/ 533400 h 1625600"/>
                <a:gd name="connsiteX34" fmla="*/ 501650 w 3168764"/>
                <a:gd name="connsiteY34" fmla="*/ 549275 h 1625600"/>
                <a:gd name="connsiteX35" fmla="*/ 498475 w 3168764"/>
                <a:gd name="connsiteY35" fmla="*/ 558800 h 1625600"/>
                <a:gd name="connsiteX36" fmla="*/ 504825 w 3168764"/>
                <a:gd name="connsiteY36" fmla="*/ 577850 h 1625600"/>
                <a:gd name="connsiteX37" fmla="*/ 508000 w 3168764"/>
                <a:gd name="connsiteY37" fmla="*/ 587375 h 1625600"/>
                <a:gd name="connsiteX38" fmla="*/ 498475 w 3168764"/>
                <a:gd name="connsiteY38" fmla="*/ 593725 h 1625600"/>
                <a:gd name="connsiteX39" fmla="*/ 488950 w 3168764"/>
                <a:gd name="connsiteY39" fmla="*/ 590550 h 1625600"/>
                <a:gd name="connsiteX40" fmla="*/ 485775 w 3168764"/>
                <a:gd name="connsiteY40" fmla="*/ 600075 h 1625600"/>
                <a:gd name="connsiteX41" fmla="*/ 469900 w 3168764"/>
                <a:gd name="connsiteY41" fmla="*/ 603250 h 1625600"/>
                <a:gd name="connsiteX42" fmla="*/ 450850 w 3168764"/>
                <a:gd name="connsiteY42" fmla="*/ 609600 h 1625600"/>
                <a:gd name="connsiteX43" fmla="*/ 457200 w 3168764"/>
                <a:gd name="connsiteY43" fmla="*/ 619125 h 1625600"/>
                <a:gd name="connsiteX44" fmla="*/ 466725 w 3168764"/>
                <a:gd name="connsiteY44" fmla="*/ 638175 h 1625600"/>
                <a:gd name="connsiteX45" fmla="*/ 476250 w 3168764"/>
                <a:gd name="connsiteY45" fmla="*/ 641350 h 1625600"/>
                <a:gd name="connsiteX46" fmla="*/ 495300 w 3168764"/>
                <a:gd name="connsiteY46" fmla="*/ 641350 h 1625600"/>
                <a:gd name="connsiteX47" fmla="*/ 498475 w 3168764"/>
                <a:gd name="connsiteY47" fmla="*/ 650875 h 1625600"/>
                <a:gd name="connsiteX48" fmla="*/ 517525 w 3168764"/>
                <a:gd name="connsiteY48" fmla="*/ 660400 h 1625600"/>
                <a:gd name="connsiteX49" fmla="*/ 520700 w 3168764"/>
                <a:gd name="connsiteY49" fmla="*/ 673100 h 1625600"/>
                <a:gd name="connsiteX50" fmla="*/ 539750 w 3168764"/>
                <a:gd name="connsiteY50" fmla="*/ 682625 h 1625600"/>
                <a:gd name="connsiteX51" fmla="*/ 561975 w 3168764"/>
                <a:gd name="connsiteY51" fmla="*/ 695325 h 1625600"/>
                <a:gd name="connsiteX52" fmla="*/ 571500 w 3168764"/>
                <a:gd name="connsiteY52" fmla="*/ 701675 h 1625600"/>
                <a:gd name="connsiteX53" fmla="*/ 581025 w 3168764"/>
                <a:gd name="connsiteY53" fmla="*/ 704850 h 1625600"/>
                <a:gd name="connsiteX54" fmla="*/ 593725 w 3168764"/>
                <a:gd name="connsiteY54" fmla="*/ 701675 h 1625600"/>
                <a:gd name="connsiteX55" fmla="*/ 615950 w 3168764"/>
                <a:gd name="connsiteY55" fmla="*/ 711200 h 1625600"/>
                <a:gd name="connsiteX56" fmla="*/ 628650 w 3168764"/>
                <a:gd name="connsiteY56" fmla="*/ 717550 h 1625600"/>
                <a:gd name="connsiteX57" fmla="*/ 650875 w 3168764"/>
                <a:gd name="connsiteY57" fmla="*/ 723900 h 1625600"/>
                <a:gd name="connsiteX58" fmla="*/ 660400 w 3168764"/>
                <a:gd name="connsiteY58" fmla="*/ 730250 h 1625600"/>
                <a:gd name="connsiteX59" fmla="*/ 688975 w 3168764"/>
                <a:gd name="connsiteY59" fmla="*/ 733425 h 1625600"/>
                <a:gd name="connsiteX60" fmla="*/ 698500 w 3168764"/>
                <a:gd name="connsiteY60" fmla="*/ 736600 h 1625600"/>
                <a:gd name="connsiteX61" fmla="*/ 711200 w 3168764"/>
                <a:gd name="connsiteY61" fmla="*/ 739775 h 1625600"/>
                <a:gd name="connsiteX62" fmla="*/ 730250 w 3168764"/>
                <a:gd name="connsiteY62" fmla="*/ 746125 h 1625600"/>
                <a:gd name="connsiteX63" fmla="*/ 733425 w 3168764"/>
                <a:gd name="connsiteY63" fmla="*/ 755650 h 1625600"/>
                <a:gd name="connsiteX64" fmla="*/ 746125 w 3168764"/>
                <a:gd name="connsiteY64" fmla="*/ 758825 h 1625600"/>
                <a:gd name="connsiteX65" fmla="*/ 762000 w 3168764"/>
                <a:gd name="connsiteY65" fmla="*/ 762000 h 1625600"/>
                <a:gd name="connsiteX66" fmla="*/ 771525 w 3168764"/>
                <a:gd name="connsiteY66" fmla="*/ 765175 h 1625600"/>
                <a:gd name="connsiteX67" fmla="*/ 777875 w 3168764"/>
                <a:gd name="connsiteY67" fmla="*/ 784225 h 1625600"/>
                <a:gd name="connsiteX68" fmla="*/ 796925 w 3168764"/>
                <a:gd name="connsiteY68" fmla="*/ 777875 h 1625600"/>
                <a:gd name="connsiteX69" fmla="*/ 803275 w 3168764"/>
                <a:gd name="connsiteY69" fmla="*/ 787400 h 1625600"/>
                <a:gd name="connsiteX70" fmla="*/ 806450 w 3168764"/>
                <a:gd name="connsiteY70" fmla="*/ 796925 h 1625600"/>
                <a:gd name="connsiteX71" fmla="*/ 838200 w 3168764"/>
                <a:gd name="connsiteY71" fmla="*/ 800100 h 1625600"/>
                <a:gd name="connsiteX72" fmla="*/ 850900 w 3168764"/>
                <a:gd name="connsiteY72" fmla="*/ 815975 h 1625600"/>
                <a:gd name="connsiteX73" fmla="*/ 854075 w 3168764"/>
                <a:gd name="connsiteY73" fmla="*/ 825500 h 1625600"/>
                <a:gd name="connsiteX74" fmla="*/ 857250 w 3168764"/>
                <a:gd name="connsiteY74" fmla="*/ 847725 h 1625600"/>
                <a:gd name="connsiteX75" fmla="*/ 889000 w 3168764"/>
                <a:gd name="connsiteY75" fmla="*/ 857250 h 1625600"/>
                <a:gd name="connsiteX76" fmla="*/ 904875 w 3168764"/>
                <a:gd name="connsiteY76" fmla="*/ 860425 h 1625600"/>
                <a:gd name="connsiteX77" fmla="*/ 920750 w 3168764"/>
                <a:gd name="connsiteY77" fmla="*/ 876300 h 1625600"/>
                <a:gd name="connsiteX78" fmla="*/ 939800 w 3168764"/>
                <a:gd name="connsiteY78" fmla="*/ 882650 h 1625600"/>
                <a:gd name="connsiteX79" fmla="*/ 949325 w 3168764"/>
                <a:gd name="connsiteY79" fmla="*/ 889000 h 1625600"/>
                <a:gd name="connsiteX80" fmla="*/ 977900 w 3168764"/>
                <a:gd name="connsiteY80" fmla="*/ 895350 h 1625600"/>
                <a:gd name="connsiteX81" fmla="*/ 993775 w 3168764"/>
                <a:gd name="connsiteY81" fmla="*/ 908050 h 1625600"/>
                <a:gd name="connsiteX82" fmla="*/ 1000125 w 3168764"/>
                <a:gd name="connsiteY82" fmla="*/ 917575 h 1625600"/>
                <a:gd name="connsiteX83" fmla="*/ 968375 w 3168764"/>
                <a:gd name="connsiteY83" fmla="*/ 949325 h 1625600"/>
                <a:gd name="connsiteX84" fmla="*/ 949325 w 3168764"/>
                <a:gd name="connsiteY84" fmla="*/ 955675 h 1625600"/>
                <a:gd name="connsiteX85" fmla="*/ 955675 w 3168764"/>
                <a:gd name="connsiteY85" fmla="*/ 971550 h 1625600"/>
                <a:gd name="connsiteX86" fmla="*/ 977900 w 3168764"/>
                <a:gd name="connsiteY86" fmla="*/ 996950 h 1625600"/>
                <a:gd name="connsiteX87" fmla="*/ 987425 w 3168764"/>
                <a:gd name="connsiteY87" fmla="*/ 1016000 h 1625600"/>
                <a:gd name="connsiteX88" fmla="*/ 1009650 w 3168764"/>
                <a:gd name="connsiteY88" fmla="*/ 1012825 h 1625600"/>
                <a:gd name="connsiteX89" fmla="*/ 1019175 w 3168764"/>
                <a:gd name="connsiteY89" fmla="*/ 1019175 h 1625600"/>
                <a:gd name="connsiteX90" fmla="*/ 1031875 w 3168764"/>
                <a:gd name="connsiteY90" fmla="*/ 1022350 h 1625600"/>
                <a:gd name="connsiteX91" fmla="*/ 1028700 w 3168764"/>
                <a:gd name="connsiteY91" fmla="*/ 1031875 h 1625600"/>
                <a:gd name="connsiteX92" fmla="*/ 1035050 w 3168764"/>
                <a:gd name="connsiteY92" fmla="*/ 1041400 h 1625600"/>
                <a:gd name="connsiteX93" fmla="*/ 1044575 w 3168764"/>
                <a:gd name="connsiteY93" fmla="*/ 1038225 h 1625600"/>
                <a:gd name="connsiteX94" fmla="*/ 1050925 w 3168764"/>
                <a:gd name="connsiteY94" fmla="*/ 1047750 h 1625600"/>
                <a:gd name="connsiteX95" fmla="*/ 1044575 w 3168764"/>
                <a:gd name="connsiteY95" fmla="*/ 1057275 h 1625600"/>
                <a:gd name="connsiteX96" fmla="*/ 1028700 w 3168764"/>
                <a:gd name="connsiteY96" fmla="*/ 1073150 h 1625600"/>
                <a:gd name="connsiteX97" fmla="*/ 1025525 w 3168764"/>
                <a:gd name="connsiteY97" fmla="*/ 1082675 h 1625600"/>
                <a:gd name="connsiteX98" fmla="*/ 1047750 w 3168764"/>
                <a:gd name="connsiteY98" fmla="*/ 1076325 h 1625600"/>
                <a:gd name="connsiteX99" fmla="*/ 1060450 w 3168764"/>
                <a:gd name="connsiteY99" fmla="*/ 1095375 h 1625600"/>
                <a:gd name="connsiteX100" fmla="*/ 1069975 w 3168764"/>
                <a:gd name="connsiteY100" fmla="*/ 1098550 h 1625600"/>
                <a:gd name="connsiteX101" fmla="*/ 1085850 w 3168764"/>
                <a:gd name="connsiteY101" fmla="*/ 1101725 h 1625600"/>
                <a:gd name="connsiteX102" fmla="*/ 1098550 w 3168764"/>
                <a:gd name="connsiteY102" fmla="*/ 1104900 h 1625600"/>
                <a:gd name="connsiteX103" fmla="*/ 1117600 w 3168764"/>
                <a:gd name="connsiteY103" fmla="*/ 1095375 h 1625600"/>
                <a:gd name="connsiteX104" fmla="*/ 1130300 w 3168764"/>
                <a:gd name="connsiteY104" fmla="*/ 1098550 h 1625600"/>
                <a:gd name="connsiteX105" fmla="*/ 1149350 w 3168764"/>
                <a:gd name="connsiteY105" fmla="*/ 1101725 h 1625600"/>
                <a:gd name="connsiteX106" fmla="*/ 1152525 w 3168764"/>
                <a:gd name="connsiteY106" fmla="*/ 1092200 h 1625600"/>
                <a:gd name="connsiteX107" fmla="*/ 1171575 w 3168764"/>
                <a:gd name="connsiteY107" fmla="*/ 1079500 h 1625600"/>
                <a:gd name="connsiteX108" fmla="*/ 1190625 w 3168764"/>
                <a:gd name="connsiteY108" fmla="*/ 1073150 h 1625600"/>
                <a:gd name="connsiteX109" fmla="*/ 1238250 w 3168764"/>
                <a:gd name="connsiteY109" fmla="*/ 1076325 h 1625600"/>
                <a:gd name="connsiteX110" fmla="*/ 1247775 w 3168764"/>
                <a:gd name="connsiteY110" fmla="*/ 1079500 h 1625600"/>
                <a:gd name="connsiteX111" fmla="*/ 1260475 w 3168764"/>
                <a:gd name="connsiteY111" fmla="*/ 1082675 h 1625600"/>
                <a:gd name="connsiteX112" fmla="*/ 1270000 w 3168764"/>
                <a:gd name="connsiteY112" fmla="*/ 1085850 h 1625600"/>
                <a:gd name="connsiteX113" fmla="*/ 1308100 w 3168764"/>
                <a:gd name="connsiteY113" fmla="*/ 1089025 h 1625600"/>
                <a:gd name="connsiteX114" fmla="*/ 1352550 w 3168764"/>
                <a:gd name="connsiteY114" fmla="*/ 1095375 h 1625600"/>
                <a:gd name="connsiteX115" fmla="*/ 1368425 w 3168764"/>
                <a:gd name="connsiteY115" fmla="*/ 1098550 h 1625600"/>
                <a:gd name="connsiteX116" fmla="*/ 1400175 w 3168764"/>
                <a:gd name="connsiteY116" fmla="*/ 1101725 h 1625600"/>
                <a:gd name="connsiteX117" fmla="*/ 1416050 w 3168764"/>
                <a:gd name="connsiteY117" fmla="*/ 1104900 h 1625600"/>
                <a:gd name="connsiteX118" fmla="*/ 1425575 w 3168764"/>
                <a:gd name="connsiteY118" fmla="*/ 1108075 h 1625600"/>
                <a:gd name="connsiteX119" fmla="*/ 1454150 w 3168764"/>
                <a:gd name="connsiteY119" fmla="*/ 1111250 h 1625600"/>
                <a:gd name="connsiteX120" fmla="*/ 1485900 w 3168764"/>
                <a:gd name="connsiteY120" fmla="*/ 1117600 h 1625600"/>
                <a:gd name="connsiteX121" fmla="*/ 1508125 w 3168764"/>
                <a:gd name="connsiteY121" fmla="*/ 1127125 h 1625600"/>
                <a:gd name="connsiteX122" fmla="*/ 1520825 w 3168764"/>
                <a:gd name="connsiteY122" fmla="*/ 1130300 h 1625600"/>
                <a:gd name="connsiteX123" fmla="*/ 1530350 w 3168764"/>
                <a:gd name="connsiteY123" fmla="*/ 1133475 h 1625600"/>
                <a:gd name="connsiteX124" fmla="*/ 1543050 w 3168764"/>
                <a:gd name="connsiteY124" fmla="*/ 1146175 h 1625600"/>
                <a:gd name="connsiteX125" fmla="*/ 1562100 w 3168764"/>
                <a:gd name="connsiteY125" fmla="*/ 1158875 h 1625600"/>
                <a:gd name="connsiteX126" fmla="*/ 1581150 w 3168764"/>
                <a:gd name="connsiteY126" fmla="*/ 1171575 h 1625600"/>
                <a:gd name="connsiteX127" fmla="*/ 1600200 w 3168764"/>
                <a:gd name="connsiteY127" fmla="*/ 1177925 h 1625600"/>
                <a:gd name="connsiteX128" fmla="*/ 1606550 w 3168764"/>
                <a:gd name="connsiteY128" fmla="*/ 1187450 h 1625600"/>
                <a:gd name="connsiteX129" fmla="*/ 1616075 w 3168764"/>
                <a:gd name="connsiteY129" fmla="*/ 1190625 h 1625600"/>
                <a:gd name="connsiteX130" fmla="*/ 1619250 w 3168764"/>
                <a:gd name="connsiteY130" fmla="*/ 1200150 h 1625600"/>
                <a:gd name="connsiteX131" fmla="*/ 1638300 w 3168764"/>
                <a:gd name="connsiteY131" fmla="*/ 1212850 h 1625600"/>
                <a:gd name="connsiteX132" fmla="*/ 1647825 w 3168764"/>
                <a:gd name="connsiteY132" fmla="*/ 1222375 h 1625600"/>
                <a:gd name="connsiteX133" fmla="*/ 1663700 w 3168764"/>
                <a:gd name="connsiteY133" fmla="*/ 1231900 h 1625600"/>
                <a:gd name="connsiteX134" fmla="*/ 1673225 w 3168764"/>
                <a:gd name="connsiteY134" fmla="*/ 1238250 h 1625600"/>
                <a:gd name="connsiteX135" fmla="*/ 1698625 w 3168764"/>
                <a:gd name="connsiteY135" fmla="*/ 1254125 h 1625600"/>
                <a:gd name="connsiteX136" fmla="*/ 1727200 w 3168764"/>
                <a:gd name="connsiteY136" fmla="*/ 1266825 h 1625600"/>
                <a:gd name="connsiteX137" fmla="*/ 1736725 w 3168764"/>
                <a:gd name="connsiteY137" fmla="*/ 1270000 h 1625600"/>
                <a:gd name="connsiteX138" fmla="*/ 1746250 w 3168764"/>
                <a:gd name="connsiteY138" fmla="*/ 1273175 h 1625600"/>
                <a:gd name="connsiteX139" fmla="*/ 1755775 w 3168764"/>
                <a:gd name="connsiteY139" fmla="*/ 1279525 h 1625600"/>
                <a:gd name="connsiteX140" fmla="*/ 1774825 w 3168764"/>
                <a:gd name="connsiteY140" fmla="*/ 1289050 h 1625600"/>
                <a:gd name="connsiteX141" fmla="*/ 1797050 w 3168764"/>
                <a:gd name="connsiteY141" fmla="*/ 1304925 h 1625600"/>
                <a:gd name="connsiteX142" fmla="*/ 1819275 w 3168764"/>
                <a:gd name="connsiteY142" fmla="*/ 1311275 h 1625600"/>
                <a:gd name="connsiteX143" fmla="*/ 1866900 w 3168764"/>
                <a:gd name="connsiteY143" fmla="*/ 1320800 h 1625600"/>
                <a:gd name="connsiteX144" fmla="*/ 1876425 w 3168764"/>
                <a:gd name="connsiteY144" fmla="*/ 1323975 h 1625600"/>
                <a:gd name="connsiteX145" fmla="*/ 1952625 w 3168764"/>
                <a:gd name="connsiteY145" fmla="*/ 1330325 h 1625600"/>
                <a:gd name="connsiteX146" fmla="*/ 1990725 w 3168764"/>
                <a:gd name="connsiteY146" fmla="*/ 1336675 h 1625600"/>
                <a:gd name="connsiteX147" fmla="*/ 2000250 w 3168764"/>
                <a:gd name="connsiteY147" fmla="*/ 1343025 h 1625600"/>
                <a:gd name="connsiteX148" fmla="*/ 2009775 w 3168764"/>
                <a:gd name="connsiteY148" fmla="*/ 1346200 h 1625600"/>
                <a:gd name="connsiteX149" fmla="*/ 2016125 w 3168764"/>
                <a:gd name="connsiteY149" fmla="*/ 1355725 h 1625600"/>
                <a:gd name="connsiteX150" fmla="*/ 2044700 w 3168764"/>
                <a:gd name="connsiteY150" fmla="*/ 1368425 h 1625600"/>
                <a:gd name="connsiteX151" fmla="*/ 2054225 w 3168764"/>
                <a:gd name="connsiteY151" fmla="*/ 1371600 h 1625600"/>
                <a:gd name="connsiteX152" fmla="*/ 2085975 w 3168764"/>
                <a:gd name="connsiteY152" fmla="*/ 1381125 h 1625600"/>
                <a:gd name="connsiteX153" fmla="*/ 2108200 w 3168764"/>
                <a:gd name="connsiteY153" fmla="*/ 1387475 h 1625600"/>
                <a:gd name="connsiteX154" fmla="*/ 2120900 w 3168764"/>
                <a:gd name="connsiteY154" fmla="*/ 1393825 h 1625600"/>
                <a:gd name="connsiteX155" fmla="*/ 2130425 w 3168764"/>
                <a:gd name="connsiteY155" fmla="*/ 1397000 h 1625600"/>
                <a:gd name="connsiteX156" fmla="*/ 2155825 w 3168764"/>
                <a:gd name="connsiteY156" fmla="*/ 1403350 h 1625600"/>
                <a:gd name="connsiteX157" fmla="*/ 2324100 w 3168764"/>
                <a:gd name="connsiteY157" fmla="*/ 1397000 h 1625600"/>
                <a:gd name="connsiteX158" fmla="*/ 2406650 w 3168764"/>
                <a:gd name="connsiteY158" fmla="*/ 1400175 h 1625600"/>
                <a:gd name="connsiteX159" fmla="*/ 2416175 w 3168764"/>
                <a:gd name="connsiteY159" fmla="*/ 1403350 h 1625600"/>
                <a:gd name="connsiteX160" fmla="*/ 2435225 w 3168764"/>
                <a:gd name="connsiteY160" fmla="*/ 1406525 h 1625600"/>
                <a:gd name="connsiteX161" fmla="*/ 2447925 w 3168764"/>
                <a:gd name="connsiteY161" fmla="*/ 1412875 h 1625600"/>
                <a:gd name="connsiteX162" fmla="*/ 2466975 w 3168764"/>
                <a:gd name="connsiteY162" fmla="*/ 1419225 h 1625600"/>
                <a:gd name="connsiteX163" fmla="*/ 2489200 w 3168764"/>
                <a:gd name="connsiteY163" fmla="*/ 1422400 h 1625600"/>
                <a:gd name="connsiteX164" fmla="*/ 2501900 w 3168764"/>
                <a:gd name="connsiteY164" fmla="*/ 1425575 h 1625600"/>
                <a:gd name="connsiteX165" fmla="*/ 2520950 w 3168764"/>
                <a:gd name="connsiteY165" fmla="*/ 1428750 h 1625600"/>
                <a:gd name="connsiteX166" fmla="*/ 2552700 w 3168764"/>
                <a:gd name="connsiteY166" fmla="*/ 1438275 h 1625600"/>
                <a:gd name="connsiteX167" fmla="*/ 2562225 w 3168764"/>
                <a:gd name="connsiteY167" fmla="*/ 1441450 h 1625600"/>
                <a:gd name="connsiteX168" fmla="*/ 2574925 w 3168764"/>
                <a:gd name="connsiteY168" fmla="*/ 1444625 h 1625600"/>
                <a:gd name="connsiteX169" fmla="*/ 2593975 w 3168764"/>
                <a:gd name="connsiteY169" fmla="*/ 1454150 h 1625600"/>
                <a:gd name="connsiteX170" fmla="*/ 2603500 w 3168764"/>
                <a:gd name="connsiteY170" fmla="*/ 1460500 h 1625600"/>
                <a:gd name="connsiteX171" fmla="*/ 2632075 w 3168764"/>
                <a:gd name="connsiteY171" fmla="*/ 1466850 h 1625600"/>
                <a:gd name="connsiteX172" fmla="*/ 2641600 w 3168764"/>
                <a:gd name="connsiteY172" fmla="*/ 1470025 h 1625600"/>
                <a:gd name="connsiteX173" fmla="*/ 2660650 w 3168764"/>
                <a:gd name="connsiteY173" fmla="*/ 1482725 h 1625600"/>
                <a:gd name="connsiteX174" fmla="*/ 2689225 w 3168764"/>
                <a:gd name="connsiteY174" fmla="*/ 1504950 h 1625600"/>
                <a:gd name="connsiteX175" fmla="*/ 2708275 w 3168764"/>
                <a:gd name="connsiteY175" fmla="*/ 1514475 h 1625600"/>
                <a:gd name="connsiteX176" fmla="*/ 2727325 w 3168764"/>
                <a:gd name="connsiteY176" fmla="*/ 1530350 h 1625600"/>
                <a:gd name="connsiteX177" fmla="*/ 2752725 w 3168764"/>
                <a:gd name="connsiteY177" fmla="*/ 1536700 h 1625600"/>
                <a:gd name="connsiteX178" fmla="*/ 2771775 w 3168764"/>
                <a:gd name="connsiteY178" fmla="*/ 1543050 h 1625600"/>
                <a:gd name="connsiteX179" fmla="*/ 2800350 w 3168764"/>
                <a:gd name="connsiteY179" fmla="*/ 1558925 h 1625600"/>
                <a:gd name="connsiteX180" fmla="*/ 2813050 w 3168764"/>
                <a:gd name="connsiteY180" fmla="*/ 1574800 h 1625600"/>
                <a:gd name="connsiteX181" fmla="*/ 2822575 w 3168764"/>
                <a:gd name="connsiteY181" fmla="*/ 1581150 h 1625600"/>
                <a:gd name="connsiteX182" fmla="*/ 2828925 w 3168764"/>
                <a:gd name="connsiteY182" fmla="*/ 1590675 h 1625600"/>
                <a:gd name="connsiteX183" fmla="*/ 2838450 w 3168764"/>
                <a:gd name="connsiteY183" fmla="*/ 1593850 h 1625600"/>
                <a:gd name="connsiteX184" fmla="*/ 2857500 w 3168764"/>
                <a:gd name="connsiteY184" fmla="*/ 1603375 h 1625600"/>
                <a:gd name="connsiteX185" fmla="*/ 2867025 w 3168764"/>
                <a:gd name="connsiteY185" fmla="*/ 1609725 h 1625600"/>
                <a:gd name="connsiteX186" fmla="*/ 2876550 w 3168764"/>
                <a:gd name="connsiteY186" fmla="*/ 1619250 h 1625600"/>
                <a:gd name="connsiteX187" fmla="*/ 2898775 w 3168764"/>
                <a:gd name="connsiteY187" fmla="*/ 1625600 h 1625600"/>
                <a:gd name="connsiteX188" fmla="*/ 2943225 w 3168764"/>
                <a:gd name="connsiteY188" fmla="*/ 1612900 h 1625600"/>
                <a:gd name="connsiteX189" fmla="*/ 2952750 w 3168764"/>
                <a:gd name="connsiteY189" fmla="*/ 1609725 h 1625600"/>
                <a:gd name="connsiteX190" fmla="*/ 2962275 w 3168764"/>
                <a:gd name="connsiteY190" fmla="*/ 1600200 h 1625600"/>
                <a:gd name="connsiteX191" fmla="*/ 2968625 w 3168764"/>
                <a:gd name="connsiteY191" fmla="*/ 1590675 h 1625600"/>
                <a:gd name="connsiteX192" fmla="*/ 2987675 w 3168764"/>
                <a:gd name="connsiteY192" fmla="*/ 1581150 h 1625600"/>
                <a:gd name="connsiteX193" fmla="*/ 3000375 w 3168764"/>
                <a:gd name="connsiteY193" fmla="*/ 1562100 h 1625600"/>
                <a:gd name="connsiteX194" fmla="*/ 3009900 w 3168764"/>
                <a:gd name="connsiteY194" fmla="*/ 1552575 h 1625600"/>
                <a:gd name="connsiteX195" fmla="*/ 3016250 w 3168764"/>
                <a:gd name="connsiteY195" fmla="*/ 1543050 h 1625600"/>
                <a:gd name="connsiteX196" fmla="*/ 3025775 w 3168764"/>
                <a:gd name="connsiteY196" fmla="*/ 1539875 h 1625600"/>
                <a:gd name="connsiteX197" fmla="*/ 3054350 w 3168764"/>
                <a:gd name="connsiteY197" fmla="*/ 1524000 h 1625600"/>
                <a:gd name="connsiteX198" fmla="*/ 3063875 w 3168764"/>
                <a:gd name="connsiteY198" fmla="*/ 1517650 h 1625600"/>
                <a:gd name="connsiteX199" fmla="*/ 3073400 w 3168764"/>
                <a:gd name="connsiteY199" fmla="*/ 1514475 h 1625600"/>
                <a:gd name="connsiteX200" fmla="*/ 3082925 w 3168764"/>
                <a:gd name="connsiteY200" fmla="*/ 1504950 h 1625600"/>
                <a:gd name="connsiteX201" fmla="*/ 3114675 w 3168764"/>
                <a:gd name="connsiteY201" fmla="*/ 1495425 h 1625600"/>
                <a:gd name="connsiteX202" fmla="*/ 3136900 w 3168764"/>
                <a:gd name="connsiteY202" fmla="*/ 1489075 h 1625600"/>
                <a:gd name="connsiteX203" fmla="*/ 3146425 w 3168764"/>
                <a:gd name="connsiteY203" fmla="*/ 1482725 h 1625600"/>
                <a:gd name="connsiteX204" fmla="*/ 3152775 w 3168764"/>
                <a:gd name="connsiteY204" fmla="*/ 1473200 h 1625600"/>
                <a:gd name="connsiteX205" fmla="*/ 3162300 w 3168764"/>
                <a:gd name="connsiteY205" fmla="*/ 1463675 h 1625600"/>
                <a:gd name="connsiteX206" fmla="*/ 3168650 w 3168764"/>
                <a:gd name="connsiteY206" fmla="*/ 1444625 h 1625600"/>
                <a:gd name="connsiteX207" fmla="*/ 3162300 w 3168764"/>
                <a:gd name="connsiteY207" fmla="*/ 1412875 h 1625600"/>
                <a:gd name="connsiteX208" fmla="*/ 3155950 w 3168764"/>
                <a:gd name="connsiteY208" fmla="*/ 1403350 h 1625600"/>
                <a:gd name="connsiteX209" fmla="*/ 3152775 w 3168764"/>
                <a:gd name="connsiteY209" fmla="*/ 1393825 h 1625600"/>
                <a:gd name="connsiteX210" fmla="*/ 3133725 w 3168764"/>
                <a:gd name="connsiteY210" fmla="*/ 1381125 h 1625600"/>
                <a:gd name="connsiteX211" fmla="*/ 3124200 w 3168764"/>
                <a:gd name="connsiteY211" fmla="*/ 1371600 h 1625600"/>
                <a:gd name="connsiteX212" fmla="*/ 3114675 w 3168764"/>
                <a:gd name="connsiteY212" fmla="*/ 1368425 h 1625600"/>
                <a:gd name="connsiteX213" fmla="*/ 3101975 w 3168764"/>
                <a:gd name="connsiteY213" fmla="*/ 1349375 h 1625600"/>
                <a:gd name="connsiteX214" fmla="*/ 3095625 w 3168764"/>
                <a:gd name="connsiteY214" fmla="*/ 1339850 h 1625600"/>
                <a:gd name="connsiteX215" fmla="*/ 3086100 w 3168764"/>
                <a:gd name="connsiteY215" fmla="*/ 1330325 h 1625600"/>
                <a:gd name="connsiteX216" fmla="*/ 3063875 w 3168764"/>
                <a:gd name="connsiteY216" fmla="*/ 1298575 h 1625600"/>
                <a:gd name="connsiteX217" fmla="*/ 3054350 w 3168764"/>
                <a:gd name="connsiteY217" fmla="*/ 1295400 h 1625600"/>
                <a:gd name="connsiteX218" fmla="*/ 3044825 w 3168764"/>
                <a:gd name="connsiteY218" fmla="*/ 1285875 h 1625600"/>
                <a:gd name="connsiteX219" fmla="*/ 3035300 w 3168764"/>
                <a:gd name="connsiteY219" fmla="*/ 1282700 h 1625600"/>
                <a:gd name="connsiteX220" fmla="*/ 2987675 w 3168764"/>
                <a:gd name="connsiteY220" fmla="*/ 1273175 h 1625600"/>
                <a:gd name="connsiteX221" fmla="*/ 2965450 w 3168764"/>
                <a:gd name="connsiteY221" fmla="*/ 1266825 h 1625600"/>
                <a:gd name="connsiteX222" fmla="*/ 2952750 w 3168764"/>
                <a:gd name="connsiteY222" fmla="*/ 1247775 h 1625600"/>
                <a:gd name="connsiteX223" fmla="*/ 2930525 w 3168764"/>
                <a:gd name="connsiteY223" fmla="*/ 1219200 h 1625600"/>
                <a:gd name="connsiteX224" fmla="*/ 2911475 w 3168764"/>
                <a:gd name="connsiteY224" fmla="*/ 1209675 h 1625600"/>
                <a:gd name="connsiteX225" fmla="*/ 2895600 w 3168764"/>
                <a:gd name="connsiteY225" fmla="*/ 1196975 h 1625600"/>
                <a:gd name="connsiteX226" fmla="*/ 2876550 w 3168764"/>
                <a:gd name="connsiteY226" fmla="*/ 1181100 h 1625600"/>
                <a:gd name="connsiteX227" fmla="*/ 2863850 w 3168764"/>
                <a:gd name="connsiteY227" fmla="*/ 1177925 h 1625600"/>
                <a:gd name="connsiteX228" fmla="*/ 2854325 w 3168764"/>
                <a:gd name="connsiteY228" fmla="*/ 1174750 h 1625600"/>
                <a:gd name="connsiteX229" fmla="*/ 2844800 w 3168764"/>
                <a:gd name="connsiteY229" fmla="*/ 1165225 h 1625600"/>
                <a:gd name="connsiteX230" fmla="*/ 2835275 w 3168764"/>
                <a:gd name="connsiteY230" fmla="*/ 1162050 h 1625600"/>
                <a:gd name="connsiteX231" fmla="*/ 2806700 w 3168764"/>
                <a:gd name="connsiteY231" fmla="*/ 1149350 h 1625600"/>
                <a:gd name="connsiteX232" fmla="*/ 2784475 w 3168764"/>
                <a:gd name="connsiteY232" fmla="*/ 1139825 h 1625600"/>
                <a:gd name="connsiteX233" fmla="*/ 2755900 w 3168764"/>
                <a:gd name="connsiteY233" fmla="*/ 1133475 h 1625600"/>
                <a:gd name="connsiteX234" fmla="*/ 2746375 w 3168764"/>
                <a:gd name="connsiteY234" fmla="*/ 1130300 h 1625600"/>
                <a:gd name="connsiteX235" fmla="*/ 2724150 w 3168764"/>
                <a:gd name="connsiteY235" fmla="*/ 1127125 h 1625600"/>
                <a:gd name="connsiteX236" fmla="*/ 2705100 w 3168764"/>
                <a:gd name="connsiteY236" fmla="*/ 1114425 h 1625600"/>
                <a:gd name="connsiteX237" fmla="*/ 2695575 w 3168764"/>
                <a:gd name="connsiteY237" fmla="*/ 1108075 h 1625600"/>
                <a:gd name="connsiteX238" fmla="*/ 2682875 w 3168764"/>
                <a:gd name="connsiteY238" fmla="*/ 1104900 h 1625600"/>
                <a:gd name="connsiteX239" fmla="*/ 2673350 w 3168764"/>
                <a:gd name="connsiteY239" fmla="*/ 1101725 h 1625600"/>
                <a:gd name="connsiteX240" fmla="*/ 2644775 w 3168764"/>
                <a:gd name="connsiteY240" fmla="*/ 1095375 h 1625600"/>
                <a:gd name="connsiteX241" fmla="*/ 2587625 w 3168764"/>
                <a:gd name="connsiteY241" fmla="*/ 1092200 h 1625600"/>
                <a:gd name="connsiteX242" fmla="*/ 2520950 w 3168764"/>
                <a:gd name="connsiteY242" fmla="*/ 1089025 h 1625600"/>
                <a:gd name="connsiteX243" fmla="*/ 2492375 w 3168764"/>
                <a:gd name="connsiteY243" fmla="*/ 1069975 h 1625600"/>
                <a:gd name="connsiteX244" fmla="*/ 2482850 w 3168764"/>
                <a:gd name="connsiteY244" fmla="*/ 1063625 h 1625600"/>
                <a:gd name="connsiteX245" fmla="*/ 2470150 w 3168764"/>
                <a:gd name="connsiteY245" fmla="*/ 1060450 h 1625600"/>
                <a:gd name="connsiteX246" fmla="*/ 2460625 w 3168764"/>
                <a:gd name="connsiteY246" fmla="*/ 1054100 h 1625600"/>
                <a:gd name="connsiteX247" fmla="*/ 2447925 w 3168764"/>
                <a:gd name="connsiteY247" fmla="*/ 1050925 h 1625600"/>
                <a:gd name="connsiteX248" fmla="*/ 2432050 w 3168764"/>
                <a:gd name="connsiteY248" fmla="*/ 1038225 h 1625600"/>
                <a:gd name="connsiteX249" fmla="*/ 2409825 w 3168764"/>
                <a:gd name="connsiteY249" fmla="*/ 1028700 h 1625600"/>
                <a:gd name="connsiteX250" fmla="*/ 2378075 w 3168764"/>
                <a:gd name="connsiteY250" fmla="*/ 1019175 h 1625600"/>
                <a:gd name="connsiteX251" fmla="*/ 2359025 w 3168764"/>
                <a:gd name="connsiteY251" fmla="*/ 1012825 h 1625600"/>
                <a:gd name="connsiteX252" fmla="*/ 2349500 w 3168764"/>
                <a:gd name="connsiteY252" fmla="*/ 1009650 h 1625600"/>
                <a:gd name="connsiteX253" fmla="*/ 2333625 w 3168764"/>
                <a:gd name="connsiteY253" fmla="*/ 1003300 h 1625600"/>
                <a:gd name="connsiteX254" fmla="*/ 2314575 w 3168764"/>
                <a:gd name="connsiteY254" fmla="*/ 996950 h 1625600"/>
                <a:gd name="connsiteX255" fmla="*/ 2305050 w 3168764"/>
                <a:gd name="connsiteY255" fmla="*/ 993775 h 1625600"/>
                <a:gd name="connsiteX256" fmla="*/ 2295525 w 3168764"/>
                <a:gd name="connsiteY256" fmla="*/ 987425 h 1625600"/>
                <a:gd name="connsiteX257" fmla="*/ 2286000 w 3168764"/>
                <a:gd name="connsiteY257" fmla="*/ 984250 h 1625600"/>
                <a:gd name="connsiteX258" fmla="*/ 2266950 w 3168764"/>
                <a:gd name="connsiteY258" fmla="*/ 971550 h 1625600"/>
                <a:gd name="connsiteX259" fmla="*/ 2244725 w 3168764"/>
                <a:gd name="connsiteY259" fmla="*/ 965200 h 1625600"/>
                <a:gd name="connsiteX260" fmla="*/ 2225675 w 3168764"/>
                <a:gd name="connsiteY260" fmla="*/ 962025 h 1625600"/>
                <a:gd name="connsiteX261" fmla="*/ 2216150 w 3168764"/>
                <a:gd name="connsiteY261" fmla="*/ 958850 h 1625600"/>
                <a:gd name="connsiteX262" fmla="*/ 2209800 w 3168764"/>
                <a:gd name="connsiteY262" fmla="*/ 949325 h 1625600"/>
                <a:gd name="connsiteX263" fmla="*/ 2190750 w 3168764"/>
                <a:gd name="connsiteY263" fmla="*/ 942975 h 1625600"/>
                <a:gd name="connsiteX264" fmla="*/ 2181225 w 3168764"/>
                <a:gd name="connsiteY264" fmla="*/ 936625 h 1625600"/>
                <a:gd name="connsiteX265" fmla="*/ 2149475 w 3168764"/>
                <a:gd name="connsiteY265" fmla="*/ 927100 h 1625600"/>
                <a:gd name="connsiteX266" fmla="*/ 2139950 w 3168764"/>
                <a:gd name="connsiteY266" fmla="*/ 923925 h 1625600"/>
                <a:gd name="connsiteX267" fmla="*/ 2111375 w 3168764"/>
                <a:gd name="connsiteY267" fmla="*/ 911225 h 1625600"/>
                <a:gd name="connsiteX268" fmla="*/ 2092325 w 3168764"/>
                <a:gd name="connsiteY268" fmla="*/ 904875 h 1625600"/>
                <a:gd name="connsiteX269" fmla="*/ 2082800 w 3168764"/>
                <a:gd name="connsiteY269" fmla="*/ 901700 h 1625600"/>
                <a:gd name="connsiteX270" fmla="*/ 2060575 w 3168764"/>
                <a:gd name="connsiteY270" fmla="*/ 898525 h 1625600"/>
                <a:gd name="connsiteX271" fmla="*/ 2032000 w 3168764"/>
                <a:gd name="connsiteY271" fmla="*/ 885825 h 1625600"/>
                <a:gd name="connsiteX272" fmla="*/ 2022475 w 3168764"/>
                <a:gd name="connsiteY272" fmla="*/ 879475 h 1625600"/>
                <a:gd name="connsiteX273" fmla="*/ 2009775 w 3168764"/>
                <a:gd name="connsiteY273" fmla="*/ 876300 h 1625600"/>
                <a:gd name="connsiteX274" fmla="*/ 1987550 w 3168764"/>
                <a:gd name="connsiteY274" fmla="*/ 863600 h 1625600"/>
                <a:gd name="connsiteX275" fmla="*/ 1955800 w 3168764"/>
                <a:gd name="connsiteY275" fmla="*/ 854075 h 1625600"/>
                <a:gd name="connsiteX276" fmla="*/ 1943100 w 3168764"/>
                <a:gd name="connsiteY276" fmla="*/ 847725 h 1625600"/>
                <a:gd name="connsiteX277" fmla="*/ 1933575 w 3168764"/>
                <a:gd name="connsiteY277" fmla="*/ 844550 h 1625600"/>
                <a:gd name="connsiteX278" fmla="*/ 1917700 w 3168764"/>
                <a:gd name="connsiteY278" fmla="*/ 838200 h 1625600"/>
                <a:gd name="connsiteX279" fmla="*/ 1892300 w 3168764"/>
                <a:gd name="connsiteY279" fmla="*/ 835025 h 1625600"/>
                <a:gd name="connsiteX280" fmla="*/ 1882775 w 3168764"/>
                <a:gd name="connsiteY280" fmla="*/ 831850 h 1625600"/>
                <a:gd name="connsiteX281" fmla="*/ 1863725 w 3168764"/>
                <a:gd name="connsiteY281" fmla="*/ 838200 h 1625600"/>
                <a:gd name="connsiteX282" fmla="*/ 1838325 w 3168764"/>
                <a:gd name="connsiteY282" fmla="*/ 828675 h 1625600"/>
                <a:gd name="connsiteX283" fmla="*/ 1816100 w 3168764"/>
                <a:gd name="connsiteY283" fmla="*/ 815975 h 1625600"/>
                <a:gd name="connsiteX284" fmla="*/ 1793875 w 3168764"/>
                <a:gd name="connsiteY284" fmla="*/ 803275 h 1625600"/>
                <a:gd name="connsiteX285" fmla="*/ 1774825 w 3168764"/>
                <a:gd name="connsiteY285" fmla="*/ 796925 h 1625600"/>
                <a:gd name="connsiteX286" fmla="*/ 1762125 w 3168764"/>
                <a:gd name="connsiteY286" fmla="*/ 790575 h 1625600"/>
                <a:gd name="connsiteX287" fmla="*/ 1746250 w 3168764"/>
                <a:gd name="connsiteY287" fmla="*/ 787400 h 1625600"/>
                <a:gd name="connsiteX288" fmla="*/ 1727200 w 3168764"/>
                <a:gd name="connsiteY288" fmla="*/ 781050 h 1625600"/>
                <a:gd name="connsiteX289" fmla="*/ 1698625 w 3168764"/>
                <a:gd name="connsiteY289" fmla="*/ 771525 h 1625600"/>
                <a:gd name="connsiteX290" fmla="*/ 1689100 w 3168764"/>
                <a:gd name="connsiteY290" fmla="*/ 768350 h 1625600"/>
                <a:gd name="connsiteX291" fmla="*/ 1679575 w 3168764"/>
                <a:gd name="connsiteY291" fmla="*/ 762000 h 1625600"/>
                <a:gd name="connsiteX292" fmla="*/ 1660525 w 3168764"/>
                <a:gd name="connsiteY292" fmla="*/ 755650 h 1625600"/>
                <a:gd name="connsiteX293" fmla="*/ 1651000 w 3168764"/>
                <a:gd name="connsiteY293" fmla="*/ 746125 h 1625600"/>
                <a:gd name="connsiteX294" fmla="*/ 1644650 w 3168764"/>
                <a:gd name="connsiteY294" fmla="*/ 736600 h 1625600"/>
                <a:gd name="connsiteX295" fmla="*/ 1625600 w 3168764"/>
                <a:gd name="connsiteY295" fmla="*/ 723900 h 1625600"/>
                <a:gd name="connsiteX296" fmla="*/ 1606550 w 3168764"/>
                <a:gd name="connsiteY296" fmla="*/ 711200 h 1625600"/>
                <a:gd name="connsiteX297" fmla="*/ 1597025 w 3168764"/>
                <a:gd name="connsiteY297" fmla="*/ 708025 h 1625600"/>
                <a:gd name="connsiteX298" fmla="*/ 1584325 w 3168764"/>
                <a:gd name="connsiteY298" fmla="*/ 698500 h 1625600"/>
                <a:gd name="connsiteX299" fmla="*/ 1558925 w 3168764"/>
                <a:gd name="connsiteY299" fmla="*/ 692150 h 1625600"/>
                <a:gd name="connsiteX300" fmla="*/ 1549400 w 3168764"/>
                <a:gd name="connsiteY300" fmla="*/ 685800 h 1625600"/>
                <a:gd name="connsiteX301" fmla="*/ 1546225 w 3168764"/>
                <a:gd name="connsiteY301" fmla="*/ 676275 h 1625600"/>
                <a:gd name="connsiteX302" fmla="*/ 1536700 w 3168764"/>
                <a:gd name="connsiteY302" fmla="*/ 673100 h 1625600"/>
                <a:gd name="connsiteX303" fmla="*/ 1524000 w 3168764"/>
                <a:gd name="connsiteY303" fmla="*/ 666750 h 1625600"/>
                <a:gd name="connsiteX304" fmla="*/ 1504950 w 3168764"/>
                <a:gd name="connsiteY304" fmla="*/ 654050 h 1625600"/>
                <a:gd name="connsiteX305" fmla="*/ 1495425 w 3168764"/>
                <a:gd name="connsiteY305" fmla="*/ 647700 h 1625600"/>
                <a:gd name="connsiteX306" fmla="*/ 1460500 w 3168764"/>
                <a:gd name="connsiteY306" fmla="*/ 631825 h 1625600"/>
                <a:gd name="connsiteX307" fmla="*/ 1447800 w 3168764"/>
                <a:gd name="connsiteY307" fmla="*/ 628650 h 1625600"/>
                <a:gd name="connsiteX308" fmla="*/ 1419225 w 3168764"/>
                <a:gd name="connsiteY308" fmla="*/ 606425 h 1625600"/>
                <a:gd name="connsiteX309" fmla="*/ 1409700 w 3168764"/>
                <a:gd name="connsiteY309" fmla="*/ 600075 h 1625600"/>
                <a:gd name="connsiteX310" fmla="*/ 1403350 w 3168764"/>
                <a:gd name="connsiteY310" fmla="*/ 590550 h 1625600"/>
                <a:gd name="connsiteX311" fmla="*/ 1393825 w 3168764"/>
                <a:gd name="connsiteY311" fmla="*/ 587375 h 1625600"/>
                <a:gd name="connsiteX312" fmla="*/ 1374775 w 3168764"/>
                <a:gd name="connsiteY312" fmla="*/ 577850 h 1625600"/>
                <a:gd name="connsiteX313" fmla="*/ 1349375 w 3168764"/>
                <a:gd name="connsiteY313" fmla="*/ 568325 h 1625600"/>
                <a:gd name="connsiteX314" fmla="*/ 1330325 w 3168764"/>
                <a:gd name="connsiteY314" fmla="*/ 549275 h 1625600"/>
                <a:gd name="connsiteX315" fmla="*/ 1327150 w 3168764"/>
                <a:gd name="connsiteY315" fmla="*/ 539750 h 1625600"/>
                <a:gd name="connsiteX316" fmla="*/ 1304925 w 3168764"/>
                <a:gd name="connsiteY316" fmla="*/ 530225 h 1625600"/>
                <a:gd name="connsiteX317" fmla="*/ 1285875 w 3168764"/>
                <a:gd name="connsiteY317" fmla="*/ 520700 h 1625600"/>
                <a:gd name="connsiteX318" fmla="*/ 1263650 w 3168764"/>
                <a:gd name="connsiteY318" fmla="*/ 511175 h 1625600"/>
                <a:gd name="connsiteX319" fmla="*/ 1260475 w 3168764"/>
                <a:gd name="connsiteY319" fmla="*/ 501650 h 1625600"/>
                <a:gd name="connsiteX320" fmla="*/ 1241425 w 3168764"/>
                <a:gd name="connsiteY320" fmla="*/ 488950 h 1625600"/>
                <a:gd name="connsiteX321" fmla="*/ 1228725 w 3168764"/>
                <a:gd name="connsiteY321" fmla="*/ 479425 h 1625600"/>
                <a:gd name="connsiteX322" fmla="*/ 1206500 w 3168764"/>
                <a:gd name="connsiteY322" fmla="*/ 466725 h 1625600"/>
                <a:gd name="connsiteX323" fmla="*/ 1190625 w 3168764"/>
                <a:gd name="connsiteY323" fmla="*/ 457200 h 1625600"/>
                <a:gd name="connsiteX324" fmla="*/ 1152525 w 3168764"/>
                <a:gd name="connsiteY324" fmla="*/ 438150 h 1625600"/>
                <a:gd name="connsiteX325" fmla="*/ 1133475 w 3168764"/>
                <a:gd name="connsiteY325" fmla="*/ 425450 h 1625600"/>
                <a:gd name="connsiteX326" fmla="*/ 1111250 w 3168764"/>
                <a:gd name="connsiteY326" fmla="*/ 415925 h 1625600"/>
                <a:gd name="connsiteX327" fmla="*/ 1098550 w 3168764"/>
                <a:gd name="connsiteY327" fmla="*/ 409575 h 1625600"/>
                <a:gd name="connsiteX328" fmla="*/ 1079500 w 3168764"/>
                <a:gd name="connsiteY328" fmla="*/ 403225 h 1625600"/>
                <a:gd name="connsiteX329" fmla="*/ 1069975 w 3168764"/>
                <a:gd name="connsiteY329" fmla="*/ 400050 h 1625600"/>
                <a:gd name="connsiteX330" fmla="*/ 1060450 w 3168764"/>
                <a:gd name="connsiteY330" fmla="*/ 393700 h 1625600"/>
                <a:gd name="connsiteX331" fmla="*/ 1047750 w 3168764"/>
                <a:gd name="connsiteY331" fmla="*/ 387350 h 1625600"/>
                <a:gd name="connsiteX332" fmla="*/ 1028700 w 3168764"/>
                <a:gd name="connsiteY332" fmla="*/ 374650 h 1625600"/>
                <a:gd name="connsiteX333" fmla="*/ 1022350 w 3168764"/>
                <a:gd name="connsiteY333" fmla="*/ 365125 h 1625600"/>
                <a:gd name="connsiteX334" fmla="*/ 1003300 w 3168764"/>
                <a:gd name="connsiteY334" fmla="*/ 355600 h 1625600"/>
                <a:gd name="connsiteX335" fmla="*/ 993775 w 3168764"/>
                <a:gd name="connsiteY335" fmla="*/ 349250 h 1625600"/>
                <a:gd name="connsiteX336" fmla="*/ 984250 w 3168764"/>
                <a:gd name="connsiteY336" fmla="*/ 346075 h 1625600"/>
                <a:gd name="connsiteX337" fmla="*/ 952500 w 3168764"/>
                <a:gd name="connsiteY337" fmla="*/ 307975 h 1625600"/>
                <a:gd name="connsiteX338" fmla="*/ 942975 w 3168764"/>
                <a:gd name="connsiteY338" fmla="*/ 301625 h 1625600"/>
                <a:gd name="connsiteX339" fmla="*/ 936625 w 3168764"/>
                <a:gd name="connsiteY339" fmla="*/ 282575 h 1625600"/>
                <a:gd name="connsiteX340" fmla="*/ 930275 w 3168764"/>
                <a:gd name="connsiteY340" fmla="*/ 273050 h 1625600"/>
                <a:gd name="connsiteX341" fmla="*/ 927100 w 3168764"/>
                <a:gd name="connsiteY341" fmla="*/ 263525 h 1625600"/>
                <a:gd name="connsiteX342" fmla="*/ 939800 w 3168764"/>
                <a:gd name="connsiteY342" fmla="*/ 260350 h 1625600"/>
                <a:gd name="connsiteX343" fmla="*/ 933450 w 3168764"/>
                <a:gd name="connsiteY343" fmla="*/ 250825 h 1625600"/>
                <a:gd name="connsiteX344" fmla="*/ 920750 w 3168764"/>
                <a:gd name="connsiteY344" fmla="*/ 244475 h 1625600"/>
                <a:gd name="connsiteX345" fmla="*/ 911225 w 3168764"/>
                <a:gd name="connsiteY345" fmla="*/ 238125 h 1625600"/>
                <a:gd name="connsiteX346" fmla="*/ 892175 w 3168764"/>
                <a:gd name="connsiteY346" fmla="*/ 222250 h 1625600"/>
                <a:gd name="connsiteX347" fmla="*/ 889000 w 3168764"/>
                <a:gd name="connsiteY347" fmla="*/ 212725 h 1625600"/>
                <a:gd name="connsiteX348" fmla="*/ 869950 w 3168764"/>
                <a:gd name="connsiteY348" fmla="*/ 200025 h 1625600"/>
                <a:gd name="connsiteX349" fmla="*/ 863600 w 3168764"/>
                <a:gd name="connsiteY349" fmla="*/ 190500 h 1625600"/>
                <a:gd name="connsiteX350" fmla="*/ 850900 w 3168764"/>
                <a:gd name="connsiteY350" fmla="*/ 184150 h 1625600"/>
                <a:gd name="connsiteX351" fmla="*/ 831850 w 3168764"/>
                <a:gd name="connsiteY351" fmla="*/ 174625 h 1625600"/>
                <a:gd name="connsiteX352" fmla="*/ 815975 w 3168764"/>
                <a:gd name="connsiteY352" fmla="*/ 168275 h 1625600"/>
                <a:gd name="connsiteX353" fmla="*/ 742950 w 3168764"/>
                <a:gd name="connsiteY353" fmla="*/ 158750 h 1625600"/>
                <a:gd name="connsiteX354" fmla="*/ 714375 w 3168764"/>
                <a:gd name="connsiteY354" fmla="*/ 152400 h 1625600"/>
                <a:gd name="connsiteX355" fmla="*/ 704850 w 3168764"/>
                <a:gd name="connsiteY355" fmla="*/ 149225 h 1625600"/>
                <a:gd name="connsiteX356" fmla="*/ 692150 w 3168764"/>
                <a:gd name="connsiteY356" fmla="*/ 146050 h 1625600"/>
                <a:gd name="connsiteX357" fmla="*/ 669925 w 3168764"/>
                <a:gd name="connsiteY357" fmla="*/ 133350 h 1625600"/>
                <a:gd name="connsiteX358" fmla="*/ 660400 w 3168764"/>
                <a:gd name="connsiteY358" fmla="*/ 127000 h 1625600"/>
                <a:gd name="connsiteX359" fmla="*/ 641350 w 3168764"/>
                <a:gd name="connsiteY359" fmla="*/ 120650 h 1625600"/>
                <a:gd name="connsiteX360" fmla="*/ 631825 w 3168764"/>
                <a:gd name="connsiteY360" fmla="*/ 114300 h 1625600"/>
                <a:gd name="connsiteX361" fmla="*/ 625475 w 3168764"/>
                <a:gd name="connsiteY361" fmla="*/ 104775 h 1625600"/>
                <a:gd name="connsiteX362" fmla="*/ 615950 w 3168764"/>
                <a:gd name="connsiteY362" fmla="*/ 101600 h 1625600"/>
                <a:gd name="connsiteX363" fmla="*/ 568325 w 3168764"/>
                <a:gd name="connsiteY363" fmla="*/ 98425 h 1625600"/>
                <a:gd name="connsiteX364" fmla="*/ 549275 w 3168764"/>
                <a:gd name="connsiteY364" fmla="*/ 92075 h 1625600"/>
                <a:gd name="connsiteX365" fmla="*/ 530225 w 3168764"/>
                <a:gd name="connsiteY365" fmla="*/ 82550 h 1625600"/>
                <a:gd name="connsiteX366" fmla="*/ 508000 w 3168764"/>
                <a:gd name="connsiteY366" fmla="*/ 69850 h 1625600"/>
                <a:gd name="connsiteX367" fmla="*/ 488950 w 3168764"/>
                <a:gd name="connsiteY367" fmla="*/ 63500 h 1625600"/>
                <a:gd name="connsiteX368" fmla="*/ 469900 w 3168764"/>
                <a:gd name="connsiteY368" fmla="*/ 53975 h 1625600"/>
                <a:gd name="connsiteX369" fmla="*/ 450850 w 3168764"/>
                <a:gd name="connsiteY369" fmla="*/ 44450 h 1625600"/>
                <a:gd name="connsiteX370" fmla="*/ 441325 w 3168764"/>
                <a:gd name="connsiteY370" fmla="*/ 38100 h 1625600"/>
                <a:gd name="connsiteX371" fmla="*/ 425450 w 3168764"/>
                <a:gd name="connsiteY371" fmla="*/ 34925 h 1625600"/>
                <a:gd name="connsiteX372" fmla="*/ 412750 w 3168764"/>
                <a:gd name="connsiteY372" fmla="*/ 31750 h 1625600"/>
                <a:gd name="connsiteX373" fmla="*/ 371475 w 3168764"/>
                <a:gd name="connsiteY373" fmla="*/ 19050 h 1625600"/>
                <a:gd name="connsiteX374" fmla="*/ 336550 w 3168764"/>
                <a:gd name="connsiteY374" fmla="*/ 12700 h 1625600"/>
                <a:gd name="connsiteX375" fmla="*/ 307975 w 3168764"/>
                <a:gd name="connsiteY375" fmla="*/ 3175 h 1625600"/>
                <a:gd name="connsiteX376" fmla="*/ 285750 w 3168764"/>
                <a:gd name="connsiteY376" fmla="*/ 0 h 1625600"/>
                <a:gd name="connsiteX377" fmla="*/ 257175 w 3168764"/>
                <a:gd name="connsiteY377" fmla="*/ 9525 h 1625600"/>
                <a:gd name="connsiteX378" fmla="*/ 238125 w 3168764"/>
                <a:gd name="connsiteY378" fmla="*/ 15875 h 1625600"/>
                <a:gd name="connsiteX379" fmla="*/ 228600 w 3168764"/>
                <a:gd name="connsiteY379" fmla="*/ 22225 h 1625600"/>
                <a:gd name="connsiteX380" fmla="*/ 209550 w 3168764"/>
                <a:gd name="connsiteY380" fmla="*/ 28575 h 1625600"/>
                <a:gd name="connsiteX381" fmla="*/ 203200 w 3168764"/>
                <a:gd name="connsiteY381" fmla="*/ 63500 h 1625600"/>
                <a:gd name="connsiteX382" fmla="*/ 196850 w 3168764"/>
                <a:gd name="connsiteY382" fmla="*/ 73025 h 1625600"/>
                <a:gd name="connsiteX383" fmla="*/ 190500 w 3168764"/>
                <a:gd name="connsiteY383" fmla="*/ 101600 h 1625600"/>
                <a:gd name="connsiteX384" fmla="*/ 184150 w 3168764"/>
                <a:gd name="connsiteY384" fmla="*/ 111125 h 1625600"/>
                <a:gd name="connsiteX385" fmla="*/ 180975 w 3168764"/>
                <a:gd name="connsiteY385" fmla="*/ 120650 h 1625600"/>
                <a:gd name="connsiteX386" fmla="*/ 184150 w 3168764"/>
                <a:gd name="connsiteY386" fmla="*/ 155575 h 1625600"/>
                <a:gd name="connsiteX387" fmla="*/ 190500 w 3168764"/>
                <a:gd name="connsiteY387" fmla="*/ 165100 h 1625600"/>
                <a:gd name="connsiteX388" fmla="*/ 193675 w 3168764"/>
                <a:gd name="connsiteY388" fmla="*/ 174625 h 1625600"/>
                <a:gd name="connsiteX389" fmla="*/ 184150 w 3168764"/>
                <a:gd name="connsiteY389" fmla="*/ 180975 h 1625600"/>
                <a:gd name="connsiteX390" fmla="*/ 174625 w 3168764"/>
                <a:gd name="connsiteY390" fmla="*/ 184150 h 1625600"/>
                <a:gd name="connsiteX391" fmla="*/ 171450 w 3168764"/>
                <a:gd name="connsiteY391" fmla="*/ 193675 h 1625600"/>
                <a:gd name="connsiteX392" fmla="*/ 152400 w 3168764"/>
                <a:gd name="connsiteY392" fmla="*/ 203200 h 1625600"/>
                <a:gd name="connsiteX393" fmla="*/ 123825 w 3168764"/>
                <a:gd name="connsiteY393" fmla="*/ 215900 h 1625600"/>
                <a:gd name="connsiteX394" fmla="*/ 114300 w 3168764"/>
                <a:gd name="connsiteY394" fmla="*/ 219075 h 1625600"/>
                <a:gd name="connsiteX395" fmla="*/ 104775 w 3168764"/>
                <a:gd name="connsiteY395" fmla="*/ 222250 h 1625600"/>
                <a:gd name="connsiteX396" fmla="*/ 76200 w 3168764"/>
                <a:gd name="connsiteY396" fmla="*/ 234950 h 1625600"/>
                <a:gd name="connsiteX397" fmla="*/ 66675 w 3168764"/>
                <a:gd name="connsiteY397" fmla="*/ 238125 h 1625600"/>
                <a:gd name="connsiteX398" fmla="*/ 47625 w 3168764"/>
                <a:gd name="connsiteY398" fmla="*/ 254000 h 1625600"/>
                <a:gd name="connsiteX399" fmla="*/ 38100 w 3168764"/>
                <a:gd name="connsiteY399" fmla="*/ 257175 h 1625600"/>
                <a:gd name="connsiteX400" fmla="*/ 41275 w 3168764"/>
                <a:gd name="connsiteY400" fmla="*/ 282575 h 1625600"/>
                <a:gd name="connsiteX401" fmla="*/ 38100 w 3168764"/>
                <a:gd name="connsiteY401" fmla="*/ 298450 h 1625600"/>
                <a:gd name="connsiteX402" fmla="*/ 28575 w 3168764"/>
                <a:gd name="connsiteY402" fmla="*/ 301625 h 1625600"/>
                <a:gd name="connsiteX403" fmla="*/ 15875 w 3168764"/>
                <a:gd name="connsiteY403" fmla="*/ 304800 h 1625600"/>
                <a:gd name="connsiteX404" fmla="*/ 6350 w 3168764"/>
                <a:gd name="connsiteY404" fmla="*/ 311150 h 1625600"/>
                <a:gd name="connsiteX405" fmla="*/ 0 w 3168764"/>
                <a:gd name="connsiteY405" fmla="*/ 330200 h 1625600"/>
                <a:gd name="connsiteX406" fmla="*/ 3175 w 3168764"/>
                <a:gd name="connsiteY406" fmla="*/ 342900 h 1625600"/>
                <a:gd name="connsiteX407" fmla="*/ 15875 w 3168764"/>
                <a:gd name="connsiteY407" fmla="*/ 361950 h 1625600"/>
                <a:gd name="connsiteX408" fmla="*/ 19050 w 3168764"/>
                <a:gd name="connsiteY408" fmla="*/ 371475 h 1625600"/>
                <a:gd name="connsiteX409" fmla="*/ 34925 w 3168764"/>
                <a:gd name="connsiteY409" fmla="*/ 387350 h 1625600"/>
                <a:gd name="connsiteX410" fmla="*/ 82550 w 3168764"/>
                <a:gd name="connsiteY410" fmla="*/ 393700 h 1625600"/>
                <a:gd name="connsiteX411" fmla="*/ 92075 w 3168764"/>
                <a:gd name="connsiteY411" fmla="*/ 396875 h 1625600"/>
                <a:gd name="connsiteX412" fmla="*/ 120650 w 3168764"/>
                <a:gd name="connsiteY412" fmla="*/ 390525 h 1625600"/>
                <a:gd name="connsiteX413" fmla="*/ 149225 w 3168764"/>
                <a:gd name="connsiteY413" fmla="*/ 393700 h 1625600"/>
                <a:gd name="connsiteX414" fmla="*/ 155575 w 3168764"/>
                <a:gd name="connsiteY414" fmla="*/ 403225 h 1625600"/>
                <a:gd name="connsiteX415" fmla="*/ 177800 w 3168764"/>
                <a:gd name="connsiteY415" fmla="*/ 412750 h 1625600"/>
                <a:gd name="connsiteX416" fmla="*/ 187325 w 3168764"/>
                <a:gd name="connsiteY416" fmla="*/ 412750 h 1625600"/>
                <a:gd name="connsiteX417" fmla="*/ 184150 w 3168764"/>
                <a:gd name="connsiteY417" fmla="*/ 412750 h 1625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  <a:cxn ang="0">
                  <a:pos x="connsiteX215" y="connsiteY215"/>
                </a:cxn>
                <a:cxn ang="0">
                  <a:pos x="connsiteX216" y="connsiteY216"/>
                </a:cxn>
                <a:cxn ang="0">
                  <a:pos x="connsiteX217" y="connsiteY217"/>
                </a:cxn>
                <a:cxn ang="0">
                  <a:pos x="connsiteX218" y="connsiteY218"/>
                </a:cxn>
                <a:cxn ang="0">
                  <a:pos x="connsiteX219" y="connsiteY219"/>
                </a:cxn>
                <a:cxn ang="0">
                  <a:pos x="connsiteX220" y="connsiteY220"/>
                </a:cxn>
                <a:cxn ang="0">
                  <a:pos x="connsiteX221" y="connsiteY221"/>
                </a:cxn>
                <a:cxn ang="0">
                  <a:pos x="connsiteX222" y="connsiteY222"/>
                </a:cxn>
                <a:cxn ang="0">
                  <a:pos x="connsiteX223" y="connsiteY223"/>
                </a:cxn>
                <a:cxn ang="0">
                  <a:pos x="connsiteX224" y="connsiteY224"/>
                </a:cxn>
                <a:cxn ang="0">
                  <a:pos x="connsiteX225" y="connsiteY225"/>
                </a:cxn>
                <a:cxn ang="0">
                  <a:pos x="connsiteX226" y="connsiteY226"/>
                </a:cxn>
                <a:cxn ang="0">
                  <a:pos x="connsiteX227" y="connsiteY227"/>
                </a:cxn>
                <a:cxn ang="0">
                  <a:pos x="connsiteX228" y="connsiteY228"/>
                </a:cxn>
                <a:cxn ang="0">
                  <a:pos x="connsiteX229" y="connsiteY229"/>
                </a:cxn>
                <a:cxn ang="0">
                  <a:pos x="connsiteX230" y="connsiteY230"/>
                </a:cxn>
                <a:cxn ang="0">
                  <a:pos x="connsiteX231" y="connsiteY231"/>
                </a:cxn>
                <a:cxn ang="0">
                  <a:pos x="connsiteX232" y="connsiteY232"/>
                </a:cxn>
                <a:cxn ang="0">
                  <a:pos x="connsiteX233" y="connsiteY233"/>
                </a:cxn>
                <a:cxn ang="0">
                  <a:pos x="connsiteX234" y="connsiteY234"/>
                </a:cxn>
                <a:cxn ang="0">
                  <a:pos x="connsiteX235" y="connsiteY235"/>
                </a:cxn>
                <a:cxn ang="0">
                  <a:pos x="connsiteX236" y="connsiteY236"/>
                </a:cxn>
                <a:cxn ang="0">
                  <a:pos x="connsiteX237" y="connsiteY237"/>
                </a:cxn>
                <a:cxn ang="0">
                  <a:pos x="connsiteX238" y="connsiteY238"/>
                </a:cxn>
                <a:cxn ang="0">
                  <a:pos x="connsiteX239" y="connsiteY239"/>
                </a:cxn>
                <a:cxn ang="0">
                  <a:pos x="connsiteX240" y="connsiteY240"/>
                </a:cxn>
                <a:cxn ang="0">
                  <a:pos x="connsiteX241" y="connsiteY241"/>
                </a:cxn>
                <a:cxn ang="0">
                  <a:pos x="connsiteX242" y="connsiteY242"/>
                </a:cxn>
                <a:cxn ang="0">
                  <a:pos x="connsiteX243" y="connsiteY243"/>
                </a:cxn>
                <a:cxn ang="0">
                  <a:pos x="connsiteX244" y="connsiteY244"/>
                </a:cxn>
                <a:cxn ang="0">
                  <a:pos x="connsiteX245" y="connsiteY245"/>
                </a:cxn>
                <a:cxn ang="0">
                  <a:pos x="connsiteX246" y="connsiteY246"/>
                </a:cxn>
                <a:cxn ang="0">
                  <a:pos x="connsiteX247" y="connsiteY247"/>
                </a:cxn>
                <a:cxn ang="0">
                  <a:pos x="connsiteX248" y="connsiteY248"/>
                </a:cxn>
                <a:cxn ang="0">
                  <a:pos x="connsiteX249" y="connsiteY249"/>
                </a:cxn>
                <a:cxn ang="0">
                  <a:pos x="connsiteX250" y="connsiteY250"/>
                </a:cxn>
                <a:cxn ang="0">
                  <a:pos x="connsiteX251" y="connsiteY251"/>
                </a:cxn>
                <a:cxn ang="0">
                  <a:pos x="connsiteX252" y="connsiteY252"/>
                </a:cxn>
                <a:cxn ang="0">
                  <a:pos x="connsiteX253" y="connsiteY253"/>
                </a:cxn>
                <a:cxn ang="0">
                  <a:pos x="connsiteX254" y="connsiteY254"/>
                </a:cxn>
                <a:cxn ang="0">
                  <a:pos x="connsiteX255" y="connsiteY255"/>
                </a:cxn>
                <a:cxn ang="0">
                  <a:pos x="connsiteX256" y="connsiteY256"/>
                </a:cxn>
                <a:cxn ang="0">
                  <a:pos x="connsiteX257" y="connsiteY257"/>
                </a:cxn>
                <a:cxn ang="0">
                  <a:pos x="connsiteX258" y="connsiteY258"/>
                </a:cxn>
                <a:cxn ang="0">
                  <a:pos x="connsiteX259" y="connsiteY259"/>
                </a:cxn>
                <a:cxn ang="0">
                  <a:pos x="connsiteX260" y="connsiteY260"/>
                </a:cxn>
                <a:cxn ang="0">
                  <a:pos x="connsiteX261" y="connsiteY261"/>
                </a:cxn>
                <a:cxn ang="0">
                  <a:pos x="connsiteX262" y="connsiteY262"/>
                </a:cxn>
                <a:cxn ang="0">
                  <a:pos x="connsiteX263" y="connsiteY263"/>
                </a:cxn>
                <a:cxn ang="0">
                  <a:pos x="connsiteX264" y="connsiteY264"/>
                </a:cxn>
                <a:cxn ang="0">
                  <a:pos x="connsiteX265" y="connsiteY265"/>
                </a:cxn>
                <a:cxn ang="0">
                  <a:pos x="connsiteX266" y="connsiteY266"/>
                </a:cxn>
                <a:cxn ang="0">
                  <a:pos x="connsiteX267" y="connsiteY267"/>
                </a:cxn>
                <a:cxn ang="0">
                  <a:pos x="connsiteX268" y="connsiteY268"/>
                </a:cxn>
                <a:cxn ang="0">
                  <a:pos x="connsiteX269" y="connsiteY269"/>
                </a:cxn>
                <a:cxn ang="0">
                  <a:pos x="connsiteX270" y="connsiteY270"/>
                </a:cxn>
                <a:cxn ang="0">
                  <a:pos x="connsiteX271" y="connsiteY271"/>
                </a:cxn>
                <a:cxn ang="0">
                  <a:pos x="connsiteX272" y="connsiteY272"/>
                </a:cxn>
                <a:cxn ang="0">
                  <a:pos x="connsiteX273" y="connsiteY273"/>
                </a:cxn>
                <a:cxn ang="0">
                  <a:pos x="connsiteX274" y="connsiteY274"/>
                </a:cxn>
                <a:cxn ang="0">
                  <a:pos x="connsiteX275" y="connsiteY275"/>
                </a:cxn>
                <a:cxn ang="0">
                  <a:pos x="connsiteX276" y="connsiteY276"/>
                </a:cxn>
                <a:cxn ang="0">
                  <a:pos x="connsiteX277" y="connsiteY277"/>
                </a:cxn>
                <a:cxn ang="0">
                  <a:pos x="connsiteX278" y="connsiteY278"/>
                </a:cxn>
                <a:cxn ang="0">
                  <a:pos x="connsiteX279" y="connsiteY279"/>
                </a:cxn>
                <a:cxn ang="0">
                  <a:pos x="connsiteX280" y="connsiteY280"/>
                </a:cxn>
                <a:cxn ang="0">
                  <a:pos x="connsiteX281" y="connsiteY281"/>
                </a:cxn>
                <a:cxn ang="0">
                  <a:pos x="connsiteX282" y="connsiteY282"/>
                </a:cxn>
                <a:cxn ang="0">
                  <a:pos x="connsiteX283" y="connsiteY283"/>
                </a:cxn>
                <a:cxn ang="0">
                  <a:pos x="connsiteX284" y="connsiteY284"/>
                </a:cxn>
                <a:cxn ang="0">
                  <a:pos x="connsiteX285" y="connsiteY285"/>
                </a:cxn>
                <a:cxn ang="0">
                  <a:pos x="connsiteX286" y="connsiteY286"/>
                </a:cxn>
                <a:cxn ang="0">
                  <a:pos x="connsiteX287" y="connsiteY287"/>
                </a:cxn>
                <a:cxn ang="0">
                  <a:pos x="connsiteX288" y="connsiteY288"/>
                </a:cxn>
                <a:cxn ang="0">
                  <a:pos x="connsiteX289" y="connsiteY289"/>
                </a:cxn>
                <a:cxn ang="0">
                  <a:pos x="connsiteX290" y="connsiteY290"/>
                </a:cxn>
                <a:cxn ang="0">
                  <a:pos x="connsiteX291" y="connsiteY291"/>
                </a:cxn>
                <a:cxn ang="0">
                  <a:pos x="connsiteX292" y="connsiteY292"/>
                </a:cxn>
                <a:cxn ang="0">
                  <a:pos x="connsiteX293" y="connsiteY293"/>
                </a:cxn>
                <a:cxn ang="0">
                  <a:pos x="connsiteX294" y="connsiteY294"/>
                </a:cxn>
                <a:cxn ang="0">
                  <a:pos x="connsiteX295" y="connsiteY295"/>
                </a:cxn>
                <a:cxn ang="0">
                  <a:pos x="connsiteX296" y="connsiteY296"/>
                </a:cxn>
                <a:cxn ang="0">
                  <a:pos x="connsiteX297" y="connsiteY297"/>
                </a:cxn>
                <a:cxn ang="0">
                  <a:pos x="connsiteX298" y="connsiteY298"/>
                </a:cxn>
                <a:cxn ang="0">
                  <a:pos x="connsiteX299" y="connsiteY299"/>
                </a:cxn>
                <a:cxn ang="0">
                  <a:pos x="connsiteX300" y="connsiteY300"/>
                </a:cxn>
                <a:cxn ang="0">
                  <a:pos x="connsiteX301" y="connsiteY301"/>
                </a:cxn>
                <a:cxn ang="0">
                  <a:pos x="connsiteX302" y="connsiteY302"/>
                </a:cxn>
                <a:cxn ang="0">
                  <a:pos x="connsiteX303" y="connsiteY303"/>
                </a:cxn>
                <a:cxn ang="0">
                  <a:pos x="connsiteX304" y="connsiteY304"/>
                </a:cxn>
                <a:cxn ang="0">
                  <a:pos x="connsiteX305" y="connsiteY305"/>
                </a:cxn>
                <a:cxn ang="0">
                  <a:pos x="connsiteX306" y="connsiteY306"/>
                </a:cxn>
                <a:cxn ang="0">
                  <a:pos x="connsiteX307" y="connsiteY307"/>
                </a:cxn>
                <a:cxn ang="0">
                  <a:pos x="connsiteX308" y="connsiteY308"/>
                </a:cxn>
                <a:cxn ang="0">
                  <a:pos x="connsiteX309" y="connsiteY309"/>
                </a:cxn>
                <a:cxn ang="0">
                  <a:pos x="connsiteX310" y="connsiteY310"/>
                </a:cxn>
                <a:cxn ang="0">
                  <a:pos x="connsiteX311" y="connsiteY311"/>
                </a:cxn>
                <a:cxn ang="0">
                  <a:pos x="connsiteX312" y="connsiteY312"/>
                </a:cxn>
                <a:cxn ang="0">
                  <a:pos x="connsiteX313" y="connsiteY313"/>
                </a:cxn>
                <a:cxn ang="0">
                  <a:pos x="connsiteX314" y="connsiteY314"/>
                </a:cxn>
                <a:cxn ang="0">
                  <a:pos x="connsiteX315" y="connsiteY315"/>
                </a:cxn>
                <a:cxn ang="0">
                  <a:pos x="connsiteX316" y="connsiteY316"/>
                </a:cxn>
                <a:cxn ang="0">
                  <a:pos x="connsiteX317" y="connsiteY317"/>
                </a:cxn>
                <a:cxn ang="0">
                  <a:pos x="connsiteX318" y="connsiteY318"/>
                </a:cxn>
                <a:cxn ang="0">
                  <a:pos x="connsiteX319" y="connsiteY319"/>
                </a:cxn>
                <a:cxn ang="0">
                  <a:pos x="connsiteX320" y="connsiteY320"/>
                </a:cxn>
                <a:cxn ang="0">
                  <a:pos x="connsiteX321" y="connsiteY321"/>
                </a:cxn>
                <a:cxn ang="0">
                  <a:pos x="connsiteX322" y="connsiteY322"/>
                </a:cxn>
                <a:cxn ang="0">
                  <a:pos x="connsiteX323" y="connsiteY323"/>
                </a:cxn>
                <a:cxn ang="0">
                  <a:pos x="connsiteX324" y="connsiteY324"/>
                </a:cxn>
                <a:cxn ang="0">
                  <a:pos x="connsiteX325" y="connsiteY325"/>
                </a:cxn>
                <a:cxn ang="0">
                  <a:pos x="connsiteX326" y="connsiteY326"/>
                </a:cxn>
                <a:cxn ang="0">
                  <a:pos x="connsiteX327" y="connsiteY327"/>
                </a:cxn>
                <a:cxn ang="0">
                  <a:pos x="connsiteX328" y="connsiteY328"/>
                </a:cxn>
                <a:cxn ang="0">
                  <a:pos x="connsiteX329" y="connsiteY329"/>
                </a:cxn>
                <a:cxn ang="0">
                  <a:pos x="connsiteX330" y="connsiteY330"/>
                </a:cxn>
                <a:cxn ang="0">
                  <a:pos x="connsiteX331" y="connsiteY331"/>
                </a:cxn>
                <a:cxn ang="0">
                  <a:pos x="connsiteX332" y="connsiteY332"/>
                </a:cxn>
                <a:cxn ang="0">
                  <a:pos x="connsiteX333" y="connsiteY333"/>
                </a:cxn>
                <a:cxn ang="0">
                  <a:pos x="connsiteX334" y="connsiteY334"/>
                </a:cxn>
                <a:cxn ang="0">
                  <a:pos x="connsiteX335" y="connsiteY335"/>
                </a:cxn>
                <a:cxn ang="0">
                  <a:pos x="connsiteX336" y="connsiteY336"/>
                </a:cxn>
                <a:cxn ang="0">
                  <a:pos x="connsiteX337" y="connsiteY337"/>
                </a:cxn>
                <a:cxn ang="0">
                  <a:pos x="connsiteX338" y="connsiteY338"/>
                </a:cxn>
                <a:cxn ang="0">
                  <a:pos x="connsiteX339" y="connsiteY339"/>
                </a:cxn>
                <a:cxn ang="0">
                  <a:pos x="connsiteX340" y="connsiteY340"/>
                </a:cxn>
                <a:cxn ang="0">
                  <a:pos x="connsiteX341" y="connsiteY341"/>
                </a:cxn>
                <a:cxn ang="0">
                  <a:pos x="connsiteX342" y="connsiteY342"/>
                </a:cxn>
                <a:cxn ang="0">
                  <a:pos x="connsiteX343" y="connsiteY343"/>
                </a:cxn>
                <a:cxn ang="0">
                  <a:pos x="connsiteX344" y="connsiteY344"/>
                </a:cxn>
                <a:cxn ang="0">
                  <a:pos x="connsiteX345" y="connsiteY345"/>
                </a:cxn>
                <a:cxn ang="0">
                  <a:pos x="connsiteX346" y="connsiteY346"/>
                </a:cxn>
                <a:cxn ang="0">
                  <a:pos x="connsiteX347" y="connsiteY347"/>
                </a:cxn>
                <a:cxn ang="0">
                  <a:pos x="connsiteX348" y="connsiteY348"/>
                </a:cxn>
                <a:cxn ang="0">
                  <a:pos x="connsiteX349" y="connsiteY349"/>
                </a:cxn>
                <a:cxn ang="0">
                  <a:pos x="connsiteX350" y="connsiteY350"/>
                </a:cxn>
                <a:cxn ang="0">
                  <a:pos x="connsiteX351" y="connsiteY351"/>
                </a:cxn>
                <a:cxn ang="0">
                  <a:pos x="connsiteX352" y="connsiteY352"/>
                </a:cxn>
                <a:cxn ang="0">
                  <a:pos x="connsiteX353" y="connsiteY353"/>
                </a:cxn>
                <a:cxn ang="0">
                  <a:pos x="connsiteX354" y="connsiteY354"/>
                </a:cxn>
                <a:cxn ang="0">
                  <a:pos x="connsiteX355" y="connsiteY355"/>
                </a:cxn>
                <a:cxn ang="0">
                  <a:pos x="connsiteX356" y="connsiteY356"/>
                </a:cxn>
                <a:cxn ang="0">
                  <a:pos x="connsiteX357" y="connsiteY357"/>
                </a:cxn>
                <a:cxn ang="0">
                  <a:pos x="connsiteX358" y="connsiteY358"/>
                </a:cxn>
                <a:cxn ang="0">
                  <a:pos x="connsiteX359" y="connsiteY359"/>
                </a:cxn>
                <a:cxn ang="0">
                  <a:pos x="connsiteX360" y="connsiteY360"/>
                </a:cxn>
                <a:cxn ang="0">
                  <a:pos x="connsiteX361" y="connsiteY361"/>
                </a:cxn>
                <a:cxn ang="0">
                  <a:pos x="connsiteX362" y="connsiteY362"/>
                </a:cxn>
                <a:cxn ang="0">
                  <a:pos x="connsiteX363" y="connsiteY363"/>
                </a:cxn>
                <a:cxn ang="0">
                  <a:pos x="connsiteX364" y="connsiteY364"/>
                </a:cxn>
                <a:cxn ang="0">
                  <a:pos x="connsiteX365" y="connsiteY365"/>
                </a:cxn>
                <a:cxn ang="0">
                  <a:pos x="connsiteX366" y="connsiteY366"/>
                </a:cxn>
                <a:cxn ang="0">
                  <a:pos x="connsiteX367" y="connsiteY367"/>
                </a:cxn>
                <a:cxn ang="0">
                  <a:pos x="connsiteX368" y="connsiteY368"/>
                </a:cxn>
                <a:cxn ang="0">
                  <a:pos x="connsiteX369" y="connsiteY369"/>
                </a:cxn>
                <a:cxn ang="0">
                  <a:pos x="connsiteX370" y="connsiteY370"/>
                </a:cxn>
                <a:cxn ang="0">
                  <a:pos x="connsiteX371" y="connsiteY371"/>
                </a:cxn>
                <a:cxn ang="0">
                  <a:pos x="connsiteX372" y="connsiteY372"/>
                </a:cxn>
                <a:cxn ang="0">
                  <a:pos x="connsiteX373" y="connsiteY373"/>
                </a:cxn>
                <a:cxn ang="0">
                  <a:pos x="connsiteX374" y="connsiteY374"/>
                </a:cxn>
                <a:cxn ang="0">
                  <a:pos x="connsiteX375" y="connsiteY375"/>
                </a:cxn>
                <a:cxn ang="0">
                  <a:pos x="connsiteX376" y="connsiteY376"/>
                </a:cxn>
                <a:cxn ang="0">
                  <a:pos x="connsiteX377" y="connsiteY377"/>
                </a:cxn>
                <a:cxn ang="0">
                  <a:pos x="connsiteX378" y="connsiteY378"/>
                </a:cxn>
                <a:cxn ang="0">
                  <a:pos x="connsiteX379" y="connsiteY379"/>
                </a:cxn>
                <a:cxn ang="0">
                  <a:pos x="connsiteX380" y="connsiteY380"/>
                </a:cxn>
                <a:cxn ang="0">
                  <a:pos x="connsiteX381" y="connsiteY381"/>
                </a:cxn>
                <a:cxn ang="0">
                  <a:pos x="connsiteX382" y="connsiteY382"/>
                </a:cxn>
                <a:cxn ang="0">
                  <a:pos x="connsiteX383" y="connsiteY383"/>
                </a:cxn>
                <a:cxn ang="0">
                  <a:pos x="connsiteX384" y="connsiteY384"/>
                </a:cxn>
                <a:cxn ang="0">
                  <a:pos x="connsiteX385" y="connsiteY385"/>
                </a:cxn>
                <a:cxn ang="0">
                  <a:pos x="connsiteX386" y="connsiteY386"/>
                </a:cxn>
                <a:cxn ang="0">
                  <a:pos x="connsiteX387" y="connsiteY387"/>
                </a:cxn>
                <a:cxn ang="0">
                  <a:pos x="connsiteX388" y="connsiteY388"/>
                </a:cxn>
                <a:cxn ang="0">
                  <a:pos x="connsiteX389" y="connsiteY389"/>
                </a:cxn>
                <a:cxn ang="0">
                  <a:pos x="connsiteX390" y="connsiteY390"/>
                </a:cxn>
                <a:cxn ang="0">
                  <a:pos x="connsiteX391" y="connsiteY391"/>
                </a:cxn>
                <a:cxn ang="0">
                  <a:pos x="connsiteX392" y="connsiteY392"/>
                </a:cxn>
                <a:cxn ang="0">
                  <a:pos x="connsiteX393" y="connsiteY393"/>
                </a:cxn>
                <a:cxn ang="0">
                  <a:pos x="connsiteX394" y="connsiteY394"/>
                </a:cxn>
                <a:cxn ang="0">
                  <a:pos x="connsiteX395" y="connsiteY395"/>
                </a:cxn>
                <a:cxn ang="0">
                  <a:pos x="connsiteX396" y="connsiteY396"/>
                </a:cxn>
                <a:cxn ang="0">
                  <a:pos x="connsiteX397" y="connsiteY397"/>
                </a:cxn>
                <a:cxn ang="0">
                  <a:pos x="connsiteX398" y="connsiteY398"/>
                </a:cxn>
                <a:cxn ang="0">
                  <a:pos x="connsiteX399" y="connsiteY399"/>
                </a:cxn>
                <a:cxn ang="0">
                  <a:pos x="connsiteX400" y="connsiteY400"/>
                </a:cxn>
                <a:cxn ang="0">
                  <a:pos x="connsiteX401" y="connsiteY401"/>
                </a:cxn>
                <a:cxn ang="0">
                  <a:pos x="connsiteX402" y="connsiteY402"/>
                </a:cxn>
                <a:cxn ang="0">
                  <a:pos x="connsiteX403" y="connsiteY403"/>
                </a:cxn>
                <a:cxn ang="0">
                  <a:pos x="connsiteX404" y="connsiteY404"/>
                </a:cxn>
                <a:cxn ang="0">
                  <a:pos x="connsiteX405" y="connsiteY405"/>
                </a:cxn>
                <a:cxn ang="0">
                  <a:pos x="connsiteX406" y="connsiteY406"/>
                </a:cxn>
                <a:cxn ang="0">
                  <a:pos x="connsiteX407" y="connsiteY407"/>
                </a:cxn>
                <a:cxn ang="0">
                  <a:pos x="connsiteX408" y="connsiteY408"/>
                </a:cxn>
                <a:cxn ang="0">
                  <a:pos x="connsiteX409" y="connsiteY409"/>
                </a:cxn>
                <a:cxn ang="0">
                  <a:pos x="connsiteX410" y="connsiteY410"/>
                </a:cxn>
                <a:cxn ang="0">
                  <a:pos x="connsiteX411" y="connsiteY411"/>
                </a:cxn>
                <a:cxn ang="0">
                  <a:pos x="connsiteX412" y="connsiteY412"/>
                </a:cxn>
                <a:cxn ang="0">
                  <a:pos x="connsiteX413" y="connsiteY413"/>
                </a:cxn>
                <a:cxn ang="0">
                  <a:pos x="connsiteX414" y="connsiteY414"/>
                </a:cxn>
                <a:cxn ang="0">
                  <a:pos x="connsiteX415" y="connsiteY415"/>
                </a:cxn>
                <a:cxn ang="0">
                  <a:pos x="connsiteX416" y="connsiteY416"/>
                </a:cxn>
                <a:cxn ang="0">
                  <a:pos x="connsiteX417" y="connsiteY417"/>
                </a:cxn>
              </a:cxnLst>
              <a:rect l="l" t="t" r="r" b="b"/>
              <a:pathLst>
                <a:path w="3168764" h="1625600">
                  <a:moveTo>
                    <a:pt x="12700" y="377825"/>
                  </a:moveTo>
                  <a:lnTo>
                    <a:pt x="12700" y="377825"/>
                  </a:lnTo>
                  <a:cubicBezTo>
                    <a:pt x="29944" y="386447"/>
                    <a:pt x="38225" y="393700"/>
                    <a:pt x="57150" y="393700"/>
                  </a:cubicBezTo>
                  <a:cubicBezTo>
                    <a:pt x="61137" y="393700"/>
                    <a:pt x="74883" y="388847"/>
                    <a:pt x="79375" y="387350"/>
                  </a:cubicBezTo>
                  <a:cubicBezTo>
                    <a:pt x="80433" y="390525"/>
                    <a:pt x="80183" y="394508"/>
                    <a:pt x="82550" y="396875"/>
                  </a:cubicBezTo>
                  <a:cubicBezTo>
                    <a:pt x="88900" y="403225"/>
                    <a:pt x="95250" y="398992"/>
                    <a:pt x="101600" y="396875"/>
                  </a:cubicBezTo>
                  <a:cubicBezTo>
                    <a:pt x="120072" y="384560"/>
                    <a:pt x="116485" y="384123"/>
                    <a:pt x="152400" y="393700"/>
                  </a:cubicBezTo>
                  <a:cubicBezTo>
                    <a:pt x="156087" y="394683"/>
                    <a:pt x="155514" y="401203"/>
                    <a:pt x="158750" y="403225"/>
                  </a:cubicBezTo>
                  <a:cubicBezTo>
                    <a:pt x="164426" y="406773"/>
                    <a:pt x="171450" y="407458"/>
                    <a:pt x="177800" y="409575"/>
                  </a:cubicBezTo>
                  <a:lnTo>
                    <a:pt x="187325" y="412750"/>
                  </a:lnTo>
                  <a:lnTo>
                    <a:pt x="206375" y="406400"/>
                  </a:lnTo>
                  <a:lnTo>
                    <a:pt x="215900" y="403225"/>
                  </a:lnTo>
                  <a:cubicBezTo>
                    <a:pt x="220133" y="404283"/>
                    <a:pt x="224589" y="404681"/>
                    <a:pt x="228600" y="406400"/>
                  </a:cubicBezTo>
                  <a:cubicBezTo>
                    <a:pt x="232107" y="407903"/>
                    <a:pt x="234347" y="412210"/>
                    <a:pt x="238125" y="412750"/>
                  </a:cubicBezTo>
                  <a:cubicBezTo>
                    <a:pt x="242445" y="413367"/>
                    <a:pt x="246592" y="410633"/>
                    <a:pt x="250825" y="409575"/>
                  </a:cubicBezTo>
                  <a:cubicBezTo>
                    <a:pt x="254894" y="410592"/>
                    <a:pt x="268495" y="413648"/>
                    <a:pt x="273050" y="415925"/>
                  </a:cubicBezTo>
                  <a:cubicBezTo>
                    <a:pt x="276463" y="417632"/>
                    <a:pt x="279400" y="420158"/>
                    <a:pt x="282575" y="422275"/>
                  </a:cubicBezTo>
                  <a:cubicBezTo>
                    <a:pt x="292126" y="420683"/>
                    <a:pt x="307737" y="415767"/>
                    <a:pt x="317500" y="422275"/>
                  </a:cubicBezTo>
                  <a:cubicBezTo>
                    <a:pt x="320285" y="424131"/>
                    <a:pt x="318584" y="429187"/>
                    <a:pt x="320675" y="431800"/>
                  </a:cubicBezTo>
                  <a:cubicBezTo>
                    <a:pt x="323059" y="434780"/>
                    <a:pt x="327025" y="436033"/>
                    <a:pt x="330200" y="438150"/>
                  </a:cubicBezTo>
                  <a:cubicBezTo>
                    <a:pt x="336381" y="456693"/>
                    <a:pt x="328539" y="439664"/>
                    <a:pt x="342900" y="454025"/>
                  </a:cubicBezTo>
                  <a:cubicBezTo>
                    <a:pt x="345598" y="456723"/>
                    <a:pt x="346552" y="460852"/>
                    <a:pt x="349250" y="463550"/>
                  </a:cubicBezTo>
                  <a:cubicBezTo>
                    <a:pt x="351948" y="466248"/>
                    <a:pt x="355844" y="467457"/>
                    <a:pt x="358775" y="469900"/>
                  </a:cubicBezTo>
                  <a:cubicBezTo>
                    <a:pt x="374630" y="483113"/>
                    <a:pt x="361086" y="477020"/>
                    <a:pt x="377825" y="482600"/>
                  </a:cubicBezTo>
                  <a:cubicBezTo>
                    <a:pt x="381000" y="484717"/>
                    <a:pt x="384652" y="486252"/>
                    <a:pt x="387350" y="488950"/>
                  </a:cubicBezTo>
                  <a:cubicBezTo>
                    <a:pt x="390048" y="491648"/>
                    <a:pt x="390720" y="496091"/>
                    <a:pt x="393700" y="498475"/>
                  </a:cubicBezTo>
                  <a:cubicBezTo>
                    <a:pt x="396954" y="501078"/>
                    <a:pt x="418309" y="504667"/>
                    <a:pt x="419100" y="504825"/>
                  </a:cubicBezTo>
                  <a:cubicBezTo>
                    <a:pt x="420158" y="508000"/>
                    <a:pt x="419028" y="513538"/>
                    <a:pt x="422275" y="514350"/>
                  </a:cubicBezTo>
                  <a:cubicBezTo>
                    <a:pt x="425977" y="515275"/>
                    <a:pt x="428180" y="509207"/>
                    <a:pt x="431800" y="508000"/>
                  </a:cubicBezTo>
                  <a:cubicBezTo>
                    <a:pt x="437907" y="505964"/>
                    <a:pt x="444500" y="505883"/>
                    <a:pt x="450850" y="504825"/>
                  </a:cubicBezTo>
                  <a:cubicBezTo>
                    <a:pt x="454025" y="503767"/>
                    <a:pt x="457382" y="500153"/>
                    <a:pt x="460375" y="501650"/>
                  </a:cubicBezTo>
                  <a:cubicBezTo>
                    <a:pt x="463368" y="503147"/>
                    <a:pt x="461183" y="508808"/>
                    <a:pt x="463550" y="511175"/>
                  </a:cubicBezTo>
                  <a:cubicBezTo>
                    <a:pt x="468946" y="516571"/>
                    <a:pt x="476250" y="519642"/>
                    <a:pt x="482600" y="523875"/>
                  </a:cubicBezTo>
                  <a:cubicBezTo>
                    <a:pt x="495756" y="532646"/>
                    <a:pt x="488423" y="529300"/>
                    <a:pt x="504825" y="533400"/>
                  </a:cubicBezTo>
                  <a:cubicBezTo>
                    <a:pt x="503767" y="538692"/>
                    <a:pt x="502959" y="544040"/>
                    <a:pt x="501650" y="549275"/>
                  </a:cubicBezTo>
                  <a:cubicBezTo>
                    <a:pt x="500838" y="552522"/>
                    <a:pt x="498105" y="555474"/>
                    <a:pt x="498475" y="558800"/>
                  </a:cubicBezTo>
                  <a:cubicBezTo>
                    <a:pt x="499214" y="565453"/>
                    <a:pt x="502708" y="571500"/>
                    <a:pt x="504825" y="577850"/>
                  </a:cubicBezTo>
                  <a:lnTo>
                    <a:pt x="508000" y="587375"/>
                  </a:lnTo>
                  <a:cubicBezTo>
                    <a:pt x="504825" y="589492"/>
                    <a:pt x="502239" y="593098"/>
                    <a:pt x="498475" y="593725"/>
                  </a:cubicBezTo>
                  <a:cubicBezTo>
                    <a:pt x="495174" y="594275"/>
                    <a:pt x="491943" y="589053"/>
                    <a:pt x="488950" y="590550"/>
                  </a:cubicBezTo>
                  <a:cubicBezTo>
                    <a:pt x="485957" y="592047"/>
                    <a:pt x="488560" y="598219"/>
                    <a:pt x="485775" y="600075"/>
                  </a:cubicBezTo>
                  <a:cubicBezTo>
                    <a:pt x="481285" y="603068"/>
                    <a:pt x="475106" y="601830"/>
                    <a:pt x="469900" y="603250"/>
                  </a:cubicBezTo>
                  <a:cubicBezTo>
                    <a:pt x="463442" y="605011"/>
                    <a:pt x="450850" y="609600"/>
                    <a:pt x="450850" y="609600"/>
                  </a:cubicBezTo>
                  <a:cubicBezTo>
                    <a:pt x="452967" y="612775"/>
                    <a:pt x="455493" y="615712"/>
                    <a:pt x="457200" y="619125"/>
                  </a:cubicBezTo>
                  <a:cubicBezTo>
                    <a:pt x="461035" y="626794"/>
                    <a:pt x="459142" y="632109"/>
                    <a:pt x="466725" y="638175"/>
                  </a:cubicBezTo>
                  <a:cubicBezTo>
                    <a:pt x="469338" y="640266"/>
                    <a:pt x="473075" y="640292"/>
                    <a:pt x="476250" y="641350"/>
                  </a:cubicBezTo>
                  <a:cubicBezTo>
                    <a:pt x="482600" y="639233"/>
                    <a:pt x="488950" y="635000"/>
                    <a:pt x="495300" y="641350"/>
                  </a:cubicBezTo>
                  <a:cubicBezTo>
                    <a:pt x="497667" y="643717"/>
                    <a:pt x="496384" y="648262"/>
                    <a:pt x="498475" y="650875"/>
                  </a:cubicBezTo>
                  <a:cubicBezTo>
                    <a:pt x="502951" y="656470"/>
                    <a:pt x="511250" y="658308"/>
                    <a:pt x="517525" y="660400"/>
                  </a:cubicBezTo>
                  <a:cubicBezTo>
                    <a:pt x="518583" y="664633"/>
                    <a:pt x="518279" y="669469"/>
                    <a:pt x="520700" y="673100"/>
                  </a:cubicBezTo>
                  <a:cubicBezTo>
                    <a:pt x="524217" y="678376"/>
                    <a:pt x="534317" y="680814"/>
                    <a:pt x="539750" y="682625"/>
                  </a:cubicBezTo>
                  <a:cubicBezTo>
                    <a:pt x="551251" y="699877"/>
                    <a:pt x="539307" y="686824"/>
                    <a:pt x="561975" y="695325"/>
                  </a:cubicBezTo>
                  <a:cubicBezTo>
                    <a:pt x="565548" y="696665"/>
                    <a:pt x="568087" y="699968"/>
                    <a:pt x="571500" y="701675"/>
                  </a:cubicBezTo>
                  <a:cubicBezTo>
                    <a:pt x="574493" y="703172"/>
                    <a:pt x="577850" y="703792"/>
                    <a:pt x="581025" y="704850"/>
                  </a:cubicBezTo>
                  <a:cubicBezTo>
                    <a:pt x="585258" y="703792"/>
                    <a:pt x="589361" y="701675"/>
                    <a:pt x="593725" y="701675"/>
                  </a:cubicBezTo>
                  <a:cubicBezTo>
                    <a:pt x="605458" y="701675"/>
                    <a:pt x="606877" y="706015"/>
                    <a:pt x="615950" y="711200"/>
                  </a:cubicBezTo>
                  <a:cubicBezTo>
                    <a:pt x="620059" y="713548"/>
                    <a:pt x="624300" y="715686"/>
                    <a:pt x="628650" y="717550"/>
                  </a:cubicBezTo>
                  <a:cubicBezTo>
                    <a:pt x="635027" y="720283"/>
                    <a:pt x="644430" y="722289"/>
                    <a:pt x="650875" y="723900"/>
                  </a:cubicBezTo>
                  <a:cubicBezTo>
                    <a:pt x="654050" y="726017"/>
                    <a:pt x="656698" y="729325"/>
                    <a:pt x="660400" y="730250"/>
                  </a:cubicBezTo>
                  <a:cubicBezTo>
                    <a:pt x="669697" y="732574"/>
                    <a:pt x="679522" y="731849"/>
                    <a:pt x="688975" y="733425"/>
                  </a:cubicBezTo>
                  <a:cubicBezTo>
                    <a:pt x="692276" y="733975"/>
                    <a:pt x="695282" y="735681"/>
                    <a:pt x="698500" y="736600"/>
                  </a:cubicBezTo>
                  <a:cubicBezTo>
                    <a:pt x="702696" y="737799"/>
                    <a:pt x="707020" y="738521"/>
                    <a:pt x="711200" y="739775"/>
                  </a:cubicBezTo>
                  <a:cubicBezTo>
                    <a:pt x="717611" y="741698"/>
                    <a:pt x="730250" y="746125"/>
                    <a:pt x="730250" y="746125"/>
                  </a:cubicBezTo>
                  <a:cubicBezTo>
                    <a:pt x="731308" y="749300"/>
                    <a:pt x="730812" y="753559"/>
                    <a:pt x="733425" y="755650"/>
                  </a:cubicBezTo>
                  <a:cubicBezTo>
                    <a:pt x="736832" y="758376"/>
                    <a:pt x="746125" y="758825"/>
                    <a:pt x="746125" y="758825"/>
                  </a:cubicBezTo>
                  <a:cubicBezTo>
                    <a:pt x="762866" y="747664"/>
                    <a:pt x="749492" y="751994"/>
                    <a:pt x="762000" y="762000"/>
                  </a:cubicBezTo>
                  <a:cubicBezTo>
                    <a:pt x="764613" y="764091"/>
                    <a:pt x="768350" y="764117"/>
                    <a:pt x="771525" y="765175"/>
                  </a:cubicBezTo>
                  <a:cubicBezTo>
                    <a:pt x="773642" y="771525"/>
                    <a:pt x="771525" y="786342"/>
                    <a:pt x="777875" y="784225"/>
                  </a:cubicBezTo>
                  <a:lnTo>
                    <a:pt x="796925" y="777875"/>
                  </a:lnTo>
                  <a:cubicBezTo>
                    <a:pt x="799042" y="781050"/>
                    <a:pt x="801568" y="783987"/>
                    <a:pt x="803275" y="787400"/>
                  </a:cubicBezTo>
                  <a:cubicBezTo>
                    <a:pt x="804772" y="790393"/>
                    <a:pt x="803305" y="795781"/>
                    <a:pt x="806450" y="796925"/>
                  </a:cubicBezTo>
                  <a:cubicBezTo>
                    <a:pt x="816446" y="800560"/>
                    <a:pt x="827617" y="799042"/>
                    <a:pt x="838200" y="800100"/>
                  </a:cubicBezTo>
                  <a:cubicBezTo>
                    <a:pt x="846180" y="824041"/>
                    <a:pt x="834487" y="795459"/>
                    <a:pt x="850900" y="815975"/>
                  </a:cubicBezTo>
                  <a:cubicBezTo>
                    <a:pt x="852991" y="818588"/>
                    <a:pt x="853017" y="822325"/>
                    <a:pt x="854075" y="825500"/>
                  </a:cubicBezTo>
                  <a:cubicBezTo>
                    <a:pt x="855133" y="832908"/>
                    <a:pt x="852656" y="841818"/>
                    <a:pt x="857250" y="847725"/>
                  </a:cubicBezTo>
                  <a:cubicBezTo>
                    <a:pt x="858904" y="849851"/>
                    <a:pt x="883846" y="856105"/>
                    <a:pt x="889000" y="857250"/>
                  </a:cubicBezTo>
                  <a:cubicBezTo>
                    <a:pt x="894268" y="858421"/>
                    <a:pt x="899583" y="859367"/>
                    <a:pt x="904875" y="860425"/>
                  </a:cubicBezTo>
                  <a:cubicBezTo>
                    <a:pt x="909337" y="878274"/>
                    <a:pt x="903588" y="871151"/>
                    <a:pt x="920750" y="876300"/>
                  </a:cubicBezTo>
                  <a:cubicBezTo>
                    <a:pt x="927161" y="878223"/>
                    <a:pt x="939800" y="882650"/>
                    <a:pt x="939800" y="882650"/>
                  </a:cubicBezTo>
                  <a:cubicBezTo>
                    <a:pt x="942975" y="884767"/>
                    <a:pt x="945912" y="887293"/>
                    <a:pt x="949325" y="889000"/>
                  </a:cubicBezTo>
                  <a:cubicBezTo>
                    <a:pt x="957141" y="892908"/>
                    <a:pt x="970583" y="894131"/>
                    <a:pt x="977900" y="895350"/>
                  </a:cubicBezTo>
                  <a:cubicBezTo>
                    <a:pt x="996098" y="922647"/>
                    <a:pt x="971867" y="890523"/>
                    <a:pt x="993775" y="908050"/>
                  </a:cubicBezTo>
                  <a:cubicBezTo>
                    <a:pt x="996755" y="910434"/>
                    <a:pt x="998008" y="914400"/>
                    <a:pt x="1000125" y="917575"/>
                  </a:cubicBezTo>
                  <a:cubicBezTo>
                    <a:pt x="974725" y="934508"/>
                    <a:pt x="985308" y="923925"/>
                    <a:pt x="968375" y="949325"/>
                  </a:cubicBezTo>
                  <a:cubicBezTo>
                    <a:pt x="964662" y="954894"/>
                    <a:pt x="949325" y="955675"/>
                    <a:pt x="949325" y="955675"/>
                  </a:cubicBezTo>
                  <a:cubicBezTo>
                    <a:pt x="974481" y="972446"/>
                    <a:pt x="948789" y="950893"/>
                    <a:pt x="955675" y="971550"/>
                  </a:cubicBezTo>
                  <a:cubicBezTo>
                    <a:pt x="960967" y="987425"/>
                    <a:pt x="966788" y="989542"/>
                    <a:pt x="977900" y="996950"/>
                  </a:cubicBezTo>
                  <a:cubicBezTo>
                    <a:pt x="978971" y="1000162"/>
                    <a:pt x="982994" y="1015015"/>
                    <a:pt x="987425" y="1016000"/>
                  </a:cubicBezTo>
                  <a:cubicBezTo>
                    <a:pt x="994730" y="1017623"/>
                    <a:pt x="1002242" y="1013883"/>
                    <a:pt x="1009650" y="1012825"/>
                  </a:cubicBezTo>
                  <a:cubicBezTo>
                    <a:pt x="1012825" y="1014942"/>
                    <a:pt x="1015668" y="1017672"/>
                    <a:pt x="1019175" y="1019175"/>
                  </a:cubicBezTo>
                  <a:cubicBezTo>
                    <a:pt x="1023186" y="1020894"/>
                    <a:pt x="1029257" y="1018859"/>
                    <a:pt x="1031875" y="1022350"/>
                  </a:cubicBezTo>
                  <a:cubicBezTo>
                    <a:pt x="1033883" y="1025027"/>
                    <a:pt x="1029758" y="1028700"/>
                    <a:pt x="1028700" y="1031875"/>
                  </a:cubicBezTo>
                  <a:cubicBezTo>
                    <a:pt x="1030817" y="1035050"/>
                    <a:pt x="1031507" y="1039983"/>
                    <a:pt x="1035050" y="1041400"/>
                  </a:cubicBezTo>
                  <a:cubicBezTo>
                    <a:pt x="1038157" y="1042643"/>
                    <a:pt x="1041468" y="1036982"/>
                    <a:pt x="1044575" y="1038225"/>
                  </a:cubicBezTo>
                  <a:cubicBezTo>
                    <a:pt x="1048118" y="1039642"/>
                    <a:pt x="1048808" y="1044575"/>
                    <a:pt x="1050925" y="1047750"/>
                  </a:cubicBezTo>
                  <a:cubicBezTo>
                    <a:pt x="1048808" y="1050925"/>
                    <a:pt x="1047273" y="1054577"/>
                    <a:pt x="1044575" y="1057275"/>
                  </a:cubicBezTo>
                  <a:cubicBezTo>
                    <a:pt x="1031875" y="1069975"/>
                    <a:pt x="1037167" y="1056217"/>
                    <a:pt x="1028700" y="1073150"/>
                  </a:cubicBezTo>
                  <a:cubicBezTo>
                    <a:pt x="1027203" y="1076143"/>
                    <a:pt x="1022740" y="1080819"/>
                    <a:pt x="1025525" y="1082675"/>
                  </a:cubicBezTo>
                  <a:cubicBezTo>
                    <a:pt x="1026854" y="1083561"/>
                    <a:pt x="1045297" y="1077143"/>
                    <a:pt x="1047750" y="1076325"/>
                  </a:cubicBezTo>
                  <a:cubicBezTo>
                    <a:pt x="1051983" y="1082675"/>
                    <a:pt x="1053210" y="1092962"/>
                    <a:pt x="1060450" y="1095375"/>
                  </a:cubicBezTo>
                  <a:cubicBezTo>
                    <a:pt x="1063625" y="1096433"/>
                    <a:pt x="1066728" y="1097738"/>
                    <a:pt x="1069975" y="1098550"/>
                  </a:cubicBezTo>
                  <a:cubicBezTo>
                    <a:pt x="1075210" y="1099859"/>
                    <a:pt x="1080582" y="1100554"/>
                    <a:pt x="1085850" y="1101725"/>
                  </a:cubicBezTo>
                  <a:cubicBezTo>
                    <a:pt x="1090110" y="1102672"/>
                    <a:pt x="1094317" y="1103842"/>
                    <a:pt x="1098550" y="1104900"/>
                  </a:cubicBezTo>
                  <a:cubicBezTo>
                    <a:pt x="1103366" y="1101689"/>
                    <a:pt x="1111027" y="1095375"/>
                    <a:pt x="1117600" y="1095375"/>
                  </a:cubicBezTo>
                  <a:cubicBezTo>
                    <a:pt x="1121964" y="1095375"/>
                    <a:pt x="1126067" y="1097492"/>
                    <a:pt x="1130300" y="1098550"/>
                  </a:cubicBezTo>
                  <a:cubicBezTo>
                    <a:pt x="1136615" y="1102760"/>
                    <a:pt x="1141463" y="1109612"/>
                    <a:pt x="1149350" y="1101725"/>
                  </a:cubicBezTo>
                  <a:cubicBezTo>
                    <a:pt x="1151717" y="1099358"/>
                    <a:pt x="1150158" y="1094567"/>
                    <a:pt x="1152525" y="1092200"/>
                  </a:cubicBezTo>
                  <a:cubicBezTo>
                    <a:pt x="1157921" y="1086804"/>
                    <a:pt x="1165225" y="1083733"/>
                    <a:pt x="1171575" y="1079500"/>
                  </a:cubicBezTo>
                  <a:cubicBezTo>
                    <a:pt x="1177144" y="1075787"/>
                    <a:pt x="1190625" y="1073150"/>
                    <a:pt x="1190625" y="1073150"/>
                  </a:cubicBezTo>
                  <a:cubicBezTo>
                    <a:pt x="1206500" y="1074208"/>
                    <a:pt x="1222437" y="1074568"/>
                    <a:pt x="1238250" y="1076325"/>
                  </a:cubicBezTo>
                  <a:cubicBezTo>
                    <a:pt x="1241576" y="1076695"/>
                    <a:pt x="1244557" y="1078581"/>
                    <a:pt x="1247775" y="1079500"/>
                  </a:cubicBezTo>
                  <a:cubicBezTo>
                    <a:pt x="1251971" y="1080699"/>
                    <a:pt x="1256279" y="1081476"/>
                    <a:pt x="1260475" y="1082675"/>
                  </a:cubicBezTo>
                  <a:cubicBezTo>
                    <a:pt x="1263693" y="1083594"/>
                    <a:pt x="1266683" y="1085408"/>
                    <a:pt x="1270000" y="1085850"/>
                  </a:cubicBezTo>
                  <a:cubicBezTo>
                    <a:pt x="1282632" y="1087534"/>
                    <a:pt x="1295419" y="1087757"/>
                    <a:pt x="1308100" y="1089025"/>
                  </a:cubicBezTo>
                  <a:cubicBezTo>
                    <a:pt x="1323433" y="1090558"/>
                    <a:pt x="1337498" y="1092638"/>
                    <a:pt x="1352550" y="1095375"/>
                  </a:cubicBezTo>
                  <a:cubicBezTo>
                    <a:pt x="1357859" y="1096340"/>
                    <a:pt x="1363076" y="1097837"/>
                    <a:pt x="1368425" y="1098550"/>
                  </a:cubicBezTo>
                  <a:cubicBezTo>
                    <a:pt x="1378968" y="1099956"/>
                    <a:pt x="1389632" y="1100319"/>
                    <a:pt x="1400175" y="1101725"/>
                  </a:cubicBezTo>
                  <a:cubicBezTo>
                    <a:pt x="1405524" y="1102438"/>
                    <a:pt x="1410815" y="1103591"/>
                    <a:pt x="1416050" y="1104900"/>
                  </a:cubicBezTo>
                  <a:cubicBezTo>
                    <a:pt x="1419297" y="1105712"/>
                    <a:pt x="1422274" y="1107525"/>
                    <a:pt x="1425575" y="1108075"/>
                  </a:cubicBezTo>
                  <a:cubicBezTo>
                    <a:pt x="1435028" y="1109651"/>
                    <a:pt x="1444625" y="1110192"/>
                    <a:pt x="1454150" y="1111250"/>
                  </a:cubicBezTo>
                  <a:cubicBezTo>
                    <a:pt x="1475669" y="1118423"/>
                    <a:pt x="1449417" y="1110303"/>
                    <a:pt x="1485900" y="1117600"/>
                  </a:cubicBezTo>
                  <a:cubicBezTo>
                    <a:pt x="1497163" y="1119853"/>
                    <a:pt x="1496323" y="1122699"/>
                    <a:pt x="1508125" y="1127125"/>
                  </a:cubicBezTo>
                  <a:cubicBezTo>
                    <a:pt x="1512211" y="1128657"/>
                    <a:pt x="1516629" y="1129101"/>
                    <a:pt x="1520825" y="1130300"/>
                  </a:cubicBezTo>
                  <a:cubicBezTo>
                    <a:pt x="1524043" y="1131219"/>
                    <a:pt x="1527175" y="1132417"/>
                    <a:pt x="1530350" y="1133475"/>
                  </a:cubicBezTo>
                  <a:cubicBezTo>
                    <a:pt x="1536398" y="1151618"/>
                    <a:pt x="1528536" y="1136499"/>
                    <a:pt x="1543050" y="1146175"/>
                  </a:cubicBezTo>
                  <a:cubicBezTo>
                    <a:pt x="1566833" y="1162030"/>
                    <a:pt x="1539452" y="1151326"/>
                    <a:pt x="1562100" y="1158875"/>
                  </a:cubicBezTo>
                  <a:lnTo>
                    <a:pt x="1581150" y="1171575"/>
                  </a:lnTo>
                  <a:cubicBezTo>
                    <a:pt x="1586719" y="1175288"/>
                    <a:pt x="1600200" y="1177925"/>
                    <a:pt x="1600200" y="1177925"/>
                  </a:cubicBezTo>
                  <a:cubicBezTo>
                    <a:pt x="1602317" y="1181100"/>
                    <a:pt x="1603570" y="1185066"/>
                    <a:pt x="1606550" y="1187450"/>
                  </a:cubicBezTo>
                  <a:cubicBezTo>
                    <a:pt x="1609163" y="1189541"/>
                    <a:pt x="1613708" y="1188258"/>
                    <a:pt x="1616075" y="1190625"/>
                  </a:cubicBezTo>
                  <a:cubicBezTo>
                    <a:pt x="1618442" y="1192992"/>
                    <a:pt x="1616883" y="1197783"/>
                    <a:pt x="1619250" y="1200150"/>
                  </a:cubicBezTo>
                  <a:cubicBezTo>
                    <a:pt x="1624646" y="1205546"/>
                    <a:pt x="1631950" y="1208617"/>
                    <a:pt x="1638300" y="1212850"/>
                  </a:cubicBezTo>
                  <a:cubicBezTo>
                    <a:pt x="1642036" y="1215341"/>
                    <a:pt x="1644233" y="1219681"/>
                    <a:pt x="1647825" y="1222375"/>
                  </a:cubicBezTo>
                  <a:cubicBezTo>
                    <a:pt x="1652762" y="1226078"/>
                    <a:pt x="1658467" y="1228629"/>
                    <a:pt x="1663700" y="1231900"/>
                  </a:cubicBezTo>
                  <a:cubicBezTo>
                    <a:pt x="1666936" y="1233922"/>
                    <a:pt x="1670172" y="1235960"/>
                    <a:pt x="1673225" y="1238250"/>
                  </a:cubicBezTo>
                  <a:cubicBezTo>
                    <a:pt x="1693932" y="1253780"/>
                    <a:pt x="1681575" y="1248442"/>
                    <a:pt x="1698625" y="1254125"/>
                  </a:cubicBezTo>
                  <a:cubicBezTo>
                    <a:pt x="1713719" y="1264188"/>
                    <a:pt x="1704530" y="1259268"/>
                    <a:pt x="1727200" y="1266825"/>
                  </a:cubicBezTo>
                  <a:lnTo>
                    <a:pt x="1736725" y="1270000"/>
                  </a:lnTo>
                  <a:lnTo>
                    <a:pt x="1746250" y="1273175"/>
                  </a:lnTo>
                  <a:cubicBezTo>
                    <a:pt x="1749425" y="1275292"/>
                    <a:pt x="1752362" y="1277818"/>
                    <a:pt x="1755775" y="1279525"/>
                  </a:cubicBezTo>
                  <a:cubicBezTo>
                    <a:pt x="1776745" y="1290010"/>
                    <a:pt x="1753594" y="1273885"/>
                    <a:pt x="1774825" y="1289050"/>
                  </a:cubicBezTo>
                  <a:cubicBezTo>
                    <a:pt x="1775980" y="1289875"/>
                    <a:pt x="1793649" y="1303565"/>
                    <a:pt x="1797050" y="1304925"/>
                  </a:cubicBezTo>
                  <a:cubicBezTo>
                    <a:pt x="1804204" y="1307786"/>
                    <a:pt x="1811911" y="1309009"/>
                    <a:pt x="1819275" y="1311275"/>
                  </a:cubicBezTo>
                  <a:cubicBezTo>
                    <a:pt x="1851087" y="1321063"/>
                    <a:pt x="1826417" y="1316302"/>
                    <a:pt x="1866900" y="1320800"/>
                  </a:cubicBezTo>
                  <a:cubicBezTo>
                    <a:pt x="1870075" y="1321858"/>
                    <a:pt x="1873132" y="1323376"/>
                    <a:pt x="1876425" y="1323975"/>
                  </a:cubicBezTo>
                  <a:cubicBezTo>
                    <a:pt x="1898548" y="1327997"/>
                    <a:pt x="1933300" y="1329117"/>
                    <a:pt x="1952625" y="1330325"/>
                  </a:cubicBezTo>
                  <a:cubicBezTo>
                    <a:pt x="1955925" y="1330796"/>
                    <a:pt x="1985011" y="1334532"/>
                    <a:pt x="1990725" y="1336675"/>
                  </a:cubicBezTo>
                  <a:cubicBezTo>
                    <a:pt x="1994298" y="1338015"/>
                    <a:pt x="1996837" y="1341318"/>
                    <a:pt x="2000250" y="1343025"/>
                  </a:cubicBezTo>
                  <a:cubicBezTo>
                    <a:pt x="2003243" y="1344522"/>
                    <a:pt x="2006600" y="1345142"/>
                    <a:pt x="2009775" y="1346200"/>
                  </a:cubicBezTo>
                  <a:cubicBezTo>
                    <a:pt x="2011892" y="1349375"/>
                    <a:pt x="2013427" y="1353027"/>
                    <a:pt x="2016125" y="1355725"/>
                  </a:cubicBezTo>
                  <a:cubicBezTo>
                    <a:pt x="2023672" y="1363272"/>
                    <a:pt x="2035269" y="1365281"/>
                    <a:pt x="2044700" y="1368425"/>
                  </a:cubicBezTo>
                  <a:lnTo>
                    <a:pt x="2054225" y="1371600"/>
                  </a:lnTo>
                  <a:cubicBezTo>
                    <a:pt x="2071042" y="1382811"/>
                    <a:pt x="2057883" y="1376017"/>
                    <a:pt x="2085975" y="1381125"/>
                  </a:cubicBezTo>
                  <a:cubicBezTo>
                    <a:pt x="2090639" y="1381973"/>
                    <a:pt x="2103189" y="1385327"/>
                    <a:pt x="2108200" y="1387475"/>
                  </a:cubicBezTo>
                  <a:cubicBezTo>
                    <a:pt x="2112550" y="1389339"/>
                    <a:pt x="2116550" y="1391961"/>
                    <a:pt x="2120900" y="1393825"/>
                  </a:cubicBezTo>
                  <a:cubicBezTo>
                    <a:pt x="2123976" y="1395143"/>
                    <a:pt x="2127196" y="1396119"/>
                    <a:pt x="2130425" y="1397000"/>
                  </a:cubicBezTo>
                  <a:cubicBezTo>
                    <a:pt x="2138845" y="1399296"/>
                    <a:pt x="2155825" y="1403350"/>
                    <a:pt x="2155825" y="1403350"/>
                  </a:cubicBezTo>
                  <a:cubicBezTo>
                    <a:pt x="2224411" y="1398074"/>
                    <a:pt x="2229064" y="1397000"/>
                    <a:pt x="2324100" y="1397000"/>
                  </a:cubicBezTo>
                  <a:cubicBezTo>
                    <a:pt x="2351637" y="1397000"/>
                    <a:pt x="2379133" y="1399117"/>
                    <a:pt x="2406650" y="1400175"/>
                  </a:cubicBezTo>
                  <a:cubicBezTo>
                    <a:pt x="2409825" y="1401233"/>
                    <a:pt x="2412908" y="1402624"/>
                    <a:pt x="2416175" y="1403350"/>
                  </a:cubicBezTo>
                  <a:cubicBezTo>
                    <a:pt x="2422459" y="1404747"/>
                    <a:pt x="2429059" y="1404675"/>
                    <a:pt x="2435225" y="1406525"/>
                  </a:cubicBezTo>
                  <a:cubicBezTo>
                    <a:pt x="2439758" y="1407885"/>
                    <a:pt x="2443531" y="1411117"/>
                    <a:pt x="2447925" y="1412875"/>
                  </a:cubicBezTo>
                  <a:cubicBezTo>
                    <a:pt x="2454140" y="1415361"/>
                    <a:pt x="2460625" y="1417108"/>
                    <a:pt x="2466975" y="1419225"/>
                  </a:cubicBezTo>
                  <a:cubicBezTo>
                    <a:pt x="2474075" y="1421592"/>
                    <a:pt x="2481837" y="1421061"/>
                    <a:pt x="2489200" y="1422400"/>
                  </a:cubicBezTo>
                  <a:cubicBezTo>
                    <a:pt x="2493493" y="1423181"/>
                    <a:pt x="2497621" y="1424719"/>
                    <a:pt x="2501900" y="1425575"/>
                  </a:cubicBezTo>
                  <a:cubicBezTo>
                    <a:pt x="2508213" y="1426838"/>
                    <a:pt x="2514637" y="1427487"/>
                    <a:pt x="2520950" y="1428750"/>
                  </a:cubicBezTo>
                  <a:cubicBezTo>
                    <a:pt x="2532946" y="1431149"/>
                    <a:pt x="2540551" y="1434225"/>
                    <a:pt x="2552700" y="1438275"/>
                  </a:cubicBezTo>
                  <a:cubicBezTo>
                    <a:pt x="2555875" y="1439333"/>
                    <a:pt x="2558978" y="1440638"/>
                    <a:pt x="2562225" y="1441450"/>
                  </a:cubicBezTo>
                  <a:lnTo>
                    <a:pt x="2574925" y="1444625"/>
                  </a:lnTo>
                  <a:cubicBezTo>
                    <a:pt x="2602222" y="1462823"/>
                    <a:pt x="2567685" y="1441005"/>
                    <a:pt x="2593975" y="1454150"/>
                  </a:cubicBezTo>
                  <a:cubicBezTo>
                    <a:pt x="2597388" y="1455857"/>
                    <a:pt x="2600087" y="1458793"/>
                    <a:pt x="2603500" y="1460500"/>
                  </a:cubicBezTo>
                  <a:cubicBezTo>
                    <a:pt x="2611316" y="1464408"/>
                    <a:pt x="2624758" y="1465631"/>
                    <a:pt x="2632075" y="1466850"/>
                  </a:cubicBezTo>
                  <a:cubicBezTo>
                    <a:pt x="2635250" y="1467908"/>
                    <a:pt x="2638815" y="1468169"/>
                    <a:pt x="2641600" y="1470025"/>
                  </a:cubicBezTo>
                  <a:cubicBezTo>
                    <a:pt x="2665383" y="1485880"/>
                    <a:pt x="2638002" y="1475176"/>
                    <a:pt x="2660650" y="1482725"/>
                  </a:cubicBezTo>
                  <a:cubicBezTo>
                    <a:pt x="2675571" y="1497646"/>
                    <a:pt x="2666439" y="1489759"/>
                    <a:pt x="2689225" y="1504950"/>
                  </a:cubicBezTo>
                  <a:cubicBezTo>
                    <a:pt x="2701535" y="1513156"/>
                    <a:pt x="2695130" y="1510093"/>
                    <a:pt x="2708275" y="1514475"/>
                  </a:cubicBezTo>
                  <a:cubicBezTo>
                    <a:pt x="2715297" y="1521497"/>
                    <a:pt x="2718484" y="1525930"/>
                    <a:pt x="2727325" y="1530350"/>
                  </a:cubicBezTo>
                  <a:cubicBezTo>
                    <a:pt x="2735032" y="1534203"/>
                    <a:pt x="2744755" y="1534526"/>
                    <a:pt x="2752725" y="1536700"/>
                  </a:cubicBezTo>
                  <a:cubicBezTo>
                    <a:pt x="2759183" y="1538461"/>
                    <a:pt x="2771775" y="1543050"/>
                    <a:pt x="2771775" y="1543050"/>
                  </a:cubicBezTo>
                  <a:cubicBezTo>
                    <a:pt x="2793610" y="1557606"/>
                    <a:pt x="2783585" y="1553337"/>
                    <a:pt x="2800350" y="1558925"/>
                  </a:cubicBezTo>
                  <a:cubicBezTo>
                    <a:pt x="2827647" y="1577123"/>
                    <a:pt x="2795523" y="1552892"/>
                    <a:pt x="2813050" y="1574800"/>
                  </a:cubicBezTo>
                  <a:cubicBezTo>
                    <a:pt x="2815434" y="1577780"/>
                    <a:pt x="2819400" y="1579033"/>
                    <a:pt x="2822575" y="1581150"/>
                  </a:cubicBezTo>
                  <a:cubicBezTo>
                    <a:pt x="2824692" y="1584325"/>
                    <a:pt x="2825945" y="1588291"/>
                    <a:pt x="2828925" y="1590675"/>
                  </a:cubicBezTo>
                  <a:cubicBezTo>
                    <a:pt x="2831538" y="1592766"/>
                    <a:pt x="2835457" y="1592353"/>
                    <a:pt x="2838450" y="1593850"/>
                  </a:cubicBezTo>
                  <a:cubicBezTo>
                    <a:pt x="2863069" y="1606160"/>
                    <a:pt x="2833559" y="1595395"/>
                    <a:pt x="2857500" y="1603375"/>
                  </a:cubicBezTo>
                  <a:cubicBezTo>
                    <a:pt x="2860675" y="1605492"/>
                    <a:pt x="2864094" y="1607282"/>
                    <a:pt x="2867025" y="1609725"/>
                  </a:cubicBezTo>
                  <a:cubicBezTo>
                    <a:pt x="2870474" y="1612600"/>
                    <a:pt x="2872814" y="1616759"/>
                    <a:pt x="2876550" y="1619250"/>
                  </a:cubicBezTo>
                  <a:cubicBezTo>
                    <a:pt x="2879283" y="1621072"/>
                    <a:pt x="2897081" y="1625177"/>
                    <a:pt x="2898775" y="1625600"/>
                  </a:cubicBezTo>
                  <a:cubicBezTo>
                    <a:pt x="2930669" y="1617627"/>
                    <a:pt x="2915896" y="1622010"/>
                    <a:pt x="2943225" y="1612900"/>
                  </a:cubicBezTo>
                  <a:lnTo>
                    <a:pt x="2952750" y="1609725"/>
                  </a:lnTo>
                  <a:cubicBezTo>
                    <a:pt x="2955925" y="1606550"/>
                    <a:pt x="2959400" y="1603649"/>
                    <a:pt x="2962275" y="1600200"/>
                  </a:cubicBezTo>
                  <a:cubicBezTo>
                    <a:pt x="2964718" y="1597269"/>
                    <a:pt x="2965927" y="1593373"/>
                    <a:pt x="2968625" y="1590675"/>
                  </a:cubicBezTo>
                  <a:cubicBezTo>
                    <a:pt x="2974780" y="1584520"/>
                    <a:pt x="2979928" y="1583732"/>
                    <a:pt x="2987675" y="1581150"/>
                  </a:cubicBezTo>
                  <a:cubicBezTo>
                    <a:pt x="2991908" y="1574800"/>
                    <a:pt x="2994979" y="1567496"/>
                    <a:pt x="3000375" y="1562100"/>
                  </a:cubicBezTo>
                  <a:cubicBezTo>
                    <a:pt x="3003550" y="1558925"/>
                    <a:pt x="3007025" y="1556024"/>
                    <a:pt x="3009900" y="1552575"/>
                  </a:cubicBezTo>
                  <a:cubicBezTo>
                    <a:pt x="3012343" y="1549644"/>
                    <a:pt x="3013270" y="1545434"/>
                    <a:pt x="3016250" y="1543050"/>
                  </a:cubicBezTo>
                  <a:cubicBezTo>
                    <a:pt x="3018863" y="1540959"/>
                    <a:pt x="3022600" y="1540933"/>
                    <a:pt x="3025775" y="1539875"/>
                  </a:cubicBezTo>
                  <a:cubicBezTo>
                    <a:pt x="3047610" y="1525319"/>
                    <a:pt x="3037585" y="1529588"/>
                    <a:pt x="3054350" y="1524000"/>
                  </a:cubicBezTo>
                  <a:cubicBezTo>
                    <a:pt x="3057525" y="1521883"/>
                    <a:pt x="3060462" y="1519357"/>
                    <a:pt x="3063875" y="1517650"/>
                  </a:cubicBezTo>
                  <a:cubicBezTo>
                    <a:pt x="3066868" y="1516153"/>
                    <a:pt x="3070615" y="1516331"/>
                    <a:pt x="3073400" y="1514475"/>
                  </a:cubicBezTo>
                  <a:cubicBezTo>
                    <a:pt x="3077136" y="1511984"/>
                    <a:pt x="3079000" y="1507131"/>
                    <a:pt x="3082925" y="1504950"/>
                  </a:cubicBezTo>
                  <a:cubicBezTo>
                    <a:pt x="3090914" y="1500512"/>
                    <a:pt x="3105391" y="1498078"/>
                    <a:pt x="3114675" y="1495425"/>
                  </a:cubicBezTo>
                  <a:cubicBezTo>
                    <a:pt x="3146559" y="1486315"/>
                    <a:pt x="3097198" y="1499001"/>
                    <a:pt x="3136900" y="1489075"/>
                  </a:cubicBezTo>
                  <a:cubicBezTo>
                    <a:pt x="3140075" y="1486958"/>
                    <a:pt x="3143727" y="1485423"/>
                    <a:pt x="3146425" y="1482725"/>
                  </a:cubicBezTo>
                  <a:cubicBezTo>
                    <a:pt x="3149123" y="1480027"/>
                    <a:pt x="3150332" y="1476131"/>
                    <a:pt x="3152775" y="1473200"/>
                  </a:cubicBezTo>
                  <a:cubicBezTo>
                    <a:pt x="3155650" y="1469751"/>
                    <a:pt x="3159125" y="1466850"/>
                    <a:pt x="3162300" y="1463675"/>
                  </a:cubicBezTo>
                  <a:cubicBezTo>
                    <a:pt x="3164417" y="1457325"/>
                    <a:pt x="3169597" y="1451251"/>
                    <a:pt x="3168650" y="1444625"/>
                  </a:cubicBezTo>
                  <a:cubicBezTo>
                    <a:pt x="3167480" y="1436435"/>
                    <a:pt x="3166733" y="1421741"/>
                    <a:pt x="3162300" y="1412875"/>
                  </a:cubicBezTo>
                  <a:cubicBezTo>
                    <a:pt x="3160593" y="1409462"/>
                    <a:pt x="3157657" y="1406763"/>
                    <a:pt x="3155950" y="1403350"/>
                  </a:cubicBezTo>
                  <a:cubicBezTo>
                    <a:pt x="3154453" y="1400357"/>
                    <a:pt x="3154631" y="1396610"/>
                    <a:pt x="3152775" y="1393825"/>
                  </a:cubicBezTo>
                  <a:cubicBezTo>
                    <a:pt x="3145980" y="1383632"/>
                    <a:pt x="3143711" y="1384454"/>
                    <a:pt x="3133725" y="1381125"/>
                  </a:cubicBezTo>
                  <a:cubicBezTo>
                    <a:pt x="3130550" y="1377950"/>
                    <a:pt x="3127936" y="1374091"/>
                    <a:pt x="3124200" y="1371600"/>
                  </a:cubicBezTo>
                  <a:cubicBezTo>
                    <a:pt x="3121415" y="1369744"/>
                    <a:pt x="3117042" y="1370792"/>
                    <a:pt x="3114675" y="1368425"/>
                  </a:cubicBezTo>
                  <a:cubicBezTo>
                    <a:pt x="3109279" y="1363029"/>
                    <a:pt x="3106208" y="1355725"/>
                    <a:pt x="3101975" y="1349375"/>
                  </a:cubicBezTo>
                  <a:cubicBezTo>
                    <a:pt x="3099858" y="1346200"/>
                    <a:pt x="3098323" y="1342548"/>
                    <a:pt x="3095625" y="1339850"/>
                  </a:cubicBezTo>
                  <a:cubicBezTo>
                    <a:pt x="3092450" y="1336675"/>
                    <a:pt x="3088857" y="1333869"/>
                    <a:pt x="3086100" y="1330325"/>
                  </a:cubicBezTo>
                  <a:cubicBezTo>
                    <a:pt x="3085541" y="1329606"/>
                    <a:pt x="3067526" y="1301617"/>
                    <a:pt x="3063875" y="1298575"/>
                  </a:cubicBezTo>
                  <a:cubicBezTo>
                    <a:pt x="3061304" y="1296432"/>
                    <a:pt x="3057525" y="1296458"/>
                    <a:pt x="3054350" y="1295400"/>
                  </a:cubicBezTo>
                  <a:cubicBezTo>
                    <a:pt x="3051175" y="1292225"/>
                    <a:pt x="3048561" y="1288366"/>
                    <a:pt x="3044825" y="1285875"/>
                  </a:cubicBezTo>
                  <a:cubicBezTo>
                    <a:pt x="3042040" y="1284019"/>
                    <a:pt x="3038376" y="1284018"/>
                    <a:pt x="3035300" y="1282700"/>
                  </a:cubicBezTo>
                  <a:cubicBezTo>
                    <a:pt x="3007246" y="1270677"/>
                    <a:pt x="3039411" y="1277878"/>
                    <a:pt x="2987675" y="1273175"/>
                  </a:cubicBezTo>
                  <a:cubicBezTo>
                    <a:pt x="2987565" y="1273148"/>
                    <a:pt x="2966968" y="1268343"/>
                    <a:pt x="2965450" y="1266825"/>
                  </a:cubicBezTo>
                  <a:cubicBezTo>
                    <a:pt x="2960054" y="1261429"/>
                    <a:pt x="2958146" y="1253171"/>
                    <a:pt x="2952750" y="1247775"/>
                  </a:cubicBezTo>
                  <a:cubicBezTo>
                    <a:pt x="2937829" y="1232854"/>
                    <a:pt x="2945716" y="1241986"/>
                    <a:pt x="2930525" y="1219200"/>
                  </a:cubicBezTo>
                  <a:cubicBezTo>
                    <a:pt x="2927008" y="1213924"/>
                    <a:pt x="2916908" y="1211486"/>
                    <a:pt x="2911475" y="1209675"/>
                  </a:cubicBezTo>
                  <a:cubicBezTo>
                    <a:pt x="2897273" y="1188373"/>
                    <a:pt x="2914003" y="1209244"/>
                    <a:pt x="2895600" y="1196975"/>
                  </a:cubicBezTo>
                  <a:cubicBezTo>
                    <a:pt x="2881868" y="1187821"/>
                    <a:pt x="2891093" y="1187333"/>
                    <a:pt x="2876550" y="1181100"/>
                  </a:cubicBezTo>
                  <a:cubicBezTo>
                    <a:pt x="2872539" y="1179381"/>
                    <a:pt x="2868046" y="1179124"/>
                    <a:pt x="2863850" y="1177925"/>
                  </a:cubicBezTo>
                  <a:cubicBezTo>
                    <a:pt x="2860632" y="1177006"/>
                    <a:pt x="2857500" y="1175808"/>
                    <a:pt x="2854325" y="1174750"/>
                  </a:cubicBezTo>
                  <a:cubicBezTo>
                    <a:pt x="2851150" y="1171575"/>
                    <a:pt x="2848536" y="1167716"/>
                    <a:pt x="2844800" y="1165225"/>
                  </a:cubicBezTo>
                  <a:cubicBezTo>
                    <a:pt x="2842015" y="1163369"/>
                    <a:pt x="2838268" y="1163547"/>
                    <a:pt x="2835275" y="1162050"/>
                  </a:cubicBezTo>
                  <a:cubicBezTo>
                    <a:pt x="2805086" y="1146956"/>
                    <a:pt x="2855847" y="1165732"/>
                    <a:pt x="2806700" y="1149350"/>
                  </a:cubicBezTo>
                  <a:cubicBezTo>
                    <a:pt x="2779440" y="1140263"/>
                    <a:pt x="2806669" y="1145373"/>
                    <a:pt x="2784475" y="1139825"/>
                  </a:cubicBezTo>
                  <a:cubicBezTo>
                    <a:pt x="2775009" y="1137458"/>
                    <a:pt x="2765366" y="1135842"/>
                    <a:pt x="2755900" y="1133475"/>
                  </a:cubicBezTo>
                  <a:cubicBezTo>
                    <a:pt x="2752653" y="1132663"/>
                    <a:pt x="2749657" y="1130956"/>
                    <a:pt x="2746375" y="1130300"/>
                  </a:cubicBezTo>
                  <a:cubicBezTo>
                    <a:pt x="2739037" y="1128832"/>
                    <a:pt x="2731558" y="1128183"/>
                    <a:pt x="2724150" y="1127125"/>
                  </a:cubicBezTo>
                  <a:cubicBezTo>
                    <a:pt x="2706094" y="1109069"/>
                    <a:pt x="2723480" y="1123615"/>
                    <a:pt x="2705100" y="1114425"/>
                  </a:cubicBezTo>
                  <a:cubicBezTo>
                    <a:pt x="2701687" y="1112718"/>
                    <a:pt x="2699082" y="1109578"/>
                    <a:pt x="2695575" y="1108075"/>
                  </a:cubicBezTo>
                  <a:cubicBezTo>
                    <a:pt x="2691564" y="1106356"/>
                    <a:pt x="2687071" y="1106099"/>
                    <a:pt x="2682875" y="1104900"/>
                  </a:cubicBezTo>
                  <a:cubicBezTo>
                    <a:pt x="2679657" y="1103981"/>
                    <a:pt x="2676568" y="1102644"/>
                    <a:pt x="2673350" y="1101725"/>
                  </a:cubicBezTo>
                  <a:cubicBezTo>
                    <a:pt x="2667906" y="1100170"/>
                    <a:pt x="2649481" y="1095784"/>
                    <a:pt x="2644775" y="1095375"/>
                  </a:cubicBezTo>
                  <a:cubicBezTo>
                    <a:pt x="2625767" y="1093722"/>
                    <a:pt x="2606679" y="1093177"/>
                    <a:pt x="2587625" y="1092200"/>
                  </a:cubicBezTo>
                  <a:lnTo>
                    <a:pt x="2520950" y="1089025"/>
                  </a:lnTo>
                  <a:lnTo>
                    <a:pt x="2492375" y="1069975"/>
                  </a:lnTo>
                  <a:cubicBezTo>
                    <a:pt x="2489200" y="1067858"/>
                    <a:pt x="2486552" y="1064550"/>
                    <a:pt x="2482850" y="1063625"/>
                  </a:cubicBezTo>
                  <a:lnTo>
                    <a:pt x="2470150" y="1060450"/>
                  </a:lnTo>
                  <a:cubicBezTo>
                    <a:pt x="2466975" y="1058333"/>
                    <a:pt x="2464132" y="1055603"/>
                    <a:pt x="2460625" y="1054100"/>
                  </a:cubicBezTo>
                  <a:cubicBezTo>
                    <a:pt x="2456614" y="1052381"/>
                    <a:pt x="2451556" y="1053346"/>
                    <a:pt x="2447925" y="1050925"/>
                  </a:cubicBezTo>
                  <a:cubicBezTo>
                    <a:pt x="2419202" y="1031777"/>
                    <a:pt x="2463189" y="1048605"/>
                    <a:pt x="2432050" y="1038225"/>
                  </a:cubicBezTo>
                  <a:cubicBezTo>
                    <a:pt x="2408137" y="1022283"/>
                    <a:pt x="2438528" y="1041001"/>
                    <a:pt x="2409825" y="1028700"/>
                  </a:cubicBezTo>
                  <a:cubicBezTo>
                    <a:pt x="2380947" y="1016324"/>
                    <a:pt x="2429821" y="1026567"/>
                    <a:pt x="2378075" y="1019175"/>
                  </a:cubicBezTo>
                  <a:lnTo>
                    <a:pt x="2359025" y="1012825"/>
                  </a:lnTo>
                  <a:cubicBezTo>
                    <a:pt x="2355850" y="1011767"/>
                    <a:pt x="2352607" y="1010893"/>
                    <a:pt x="2349500" y="1009650"/>
                  </a:cubicBezTo>
                  <a:cubicBezTo>
                    <a:pt x="2344208" y="1007533"/>
                    <a:pt x="2338981" y="1005248"/>
                    <a:pt x="2333625" y="1003300"/>
                  </a:cubicBezTo>
                  <a:cubicBezTo>
                    <a:pt x="2327335" y="1001013"/>
                    <a:pt x="2320925" y="999067"/>
                    <a:pt x="2314575" y="996950"/>
                  </a:cubicBezTo>
                  <a:lnTo>
                    <a:pt x="2305050" y="993775"/>
                  </a:lnTo>
                  <a:cubicBezTo>
                    <a:pt x="2301875" y="991658"/>
                    <a:pt x="2298938" y="989132"/>
                    <a:pt x="2295525" y="987425"/>
                  </a:cubicBezTo>
                  <a:cubicBezTo>
                    <a:pt x="2292532" y="985928"/>
                    <a:pt x="2288926" y="985875"/>
                    <a:pt x="2286000" y="984250"/>
                  </a:cubicBezTo>
                  <a:cubicBezTo>
                    <a:pt x="2279329" y="980544"/>
                    <a:pt x="2274190" y="973963"/>
                    <a:pt x="2266950" y="971550"/>
                  </a:cubicBezTo>
                  <a:cubicBezTo>
                    <a:pt x="2257872" y="968524"/>
                    <a:pt x="2254692" y="967193"/>
                    <a:pt x="2244725" y="965200"/>
                  </a:cubicBezTo>
                  <a:cubicBezTo>
                    <a:pt x="2238412" y="963937"/>
                    <a:pt x="2232025" y="963083"/>
                    <a:pt x="2225675" y="962025"/>
                  </a:cubicBezTo>
                  <a:cubicBezTo>
                    <a:pt x="2222500" y="960967"/>
                    <a:pt x="2218763" y="960941"/>
                    <a:pt x="2216150" y="958850"/>
                  </a:cubicBezTo>
                  <a:cubicBezTo>
                    <a:pt x="2213170" y="956466"/>
                    <a:pt x="2213036" y="951347"/>
                    <a:pt x="2209800" y="949325"/>
                  </a:cubicBezTo>
                  <a:cubicBezTo>
                    <a:pt x="2204124" y="945777"/>
                    <a:pt x="2190750" y="942975"/>
                    <a:pt x="2190750" y="942975"/>
                  </a:cubicBezTo>
                  <a:cubicBezTo>
                    <a:pt x="2187575" y="940858"/>
                    <a:pt x="2184712" y="938175"/>
                    <a:pt x="2181225" y="936625"/>
                  </a:cubicBezTo>
                  <a:cubicBezTo>
                    <a:pt x="2167644" y="930589"/>
                    <a:pt x="2162405" y="930794"/>
                    <a:pt x="2149475" y="927100"/>
                  </a:cubicBezTo>
                  <a:cubicBezTo>
                    <a:pt x="2146257" y="926181"/>
                    <a:pt x="2143125" y="924983"/>
                    <a:pt x="2139950" y="923925"/>
                  </a:cubicBezTo>
                  <a:cubicBezTo>
                    <a:pt x="2124856" y="913862"/>
                    <a:pt x="2134045" y="918782"/>
                    <a:pt x="2111375" y="911225"/>
                  </a:cubicBezTo>
                  <a:lnTo>
                    <a:pt x="2092325" y="904875"/>
                  </a:lnTo>
                  <a:cubicBezTo>
                    <a:pt x="2089150" y="903817"/>
                    <a:pt x="2086113" y="902173"/>
                    <a:pt x="2082800" y="901700"/>
                  </a:cubicBezTo>
                  <a:lnTo>
                    <a:pt x="2060575" y="898525"/>
                  </a:lnTo>
                  <a:cubicBezTo>
                    <a:pt x="2042404" y="880354"/>
                    <a:pt x="2061349" y="895608"/>
                    <a:pt x="2032000" y="885825"/>
                  </a:cubicBezTo>
                  <a:cubicBezTo>
                    <a:pt x="2028380" y="884618"/>
                    <a:pt x="2025982" y="880978"/>
                    <a:pt x="2022475" y="879475"/>
                  </a:cubicBezTo>
                  <a:cubicBezTo>
                    <a:pt x="2018464" y="877756"/>
                    <a:pt x="2014008" y="877358"/>
                    <a:pt x="2009775" y="876300"/>
                  </a:cubicBezTo>
                  <a:cubicBezTo>
                    <a:pt x="2000209" y="869923"/>
                    <a:pt x="1998829" y="868434"/>
                    <a:pt x="1987550" y="863600"/>
                  </a:cubicBezTo>
                  <a:cubicBezTo>
                    <a:pt x="1977324" y="859217"/>
                    <a:pt x="1966026" y="858458"/>
                    <a:pt x="1955800" y="854075"/>
                  </a:cubicBezTo>
                  <a:cubicBezTo>
                    <a:pt x="1951450" y="852211"/>
                    <a:pt x="1947450" y="849589"/>
                    <a:pt x="1943100" y="847725"/>
                  </a:cubicBezTo>
                  <a:cubicBezTo>
                    <a:pt x="1940024" y="846407"/>
                    <a:pt x="1936709" y="845725"/>
                    <a:pt x="1933575" y="844550"/>
                  </a:cubicBezTo>
                  <a:cubicBezTo>
                    <a:pt x="1928239" y="842549"/>
                    <a:pt x="1923253" y="839482"/>
                    <a:pt x="1917700" y="838200"/>
                  </a:cubicBezTo>
                  <a:cubicBezTo>
                    <a:pt x="1909386" y="836281"/>
                    <a:pt x="1900767" y="836083"/>
                    <a:pt x="1892300" y="835025"/>
                  </a:cubicBezTo>
                  <a:cubicBezTo>
                    <a:pt x="1889125" y="833967"/>
                    <a:pt x="1886101" y="831480"/>
                    <a:pt x="1882775" y="831850"/>
                  </a:cubicBezTo>
                  <a:cubicBezTo>
                    <a:pt x="1876122" y="832589"/>
                    <a:pt x="1863725" y="838200"/>
                    <a:pt x="1863725" y="838200"/>
                  </a:cubicBezTo>
                  <a:cubicBezTo>
                    <a:pt x="1851536" y="835153"/>
                    <a:pt x="1849394" y="835593"/>
                    <a:pt x="1838325" y="828675"/>
                  </a:cubicBezTo>
                  <a:cubicBezTo>
                    <a:pt x="1816357" y="814945"/>
                    <a:pt x="1834813" y="822213"/>
                    <a:pt x="1816100" y="815975"/>
                  </a:cubicBezTo>
                  <a:cubicBezTo>
                    <a:pt x="1807508" y="810247"/>
                    <a:pt x="1803946" y="807303"/>
                    <a:pt x="1793875" y="803275"/>
                  </a:cubicBezTo>
                  <a:cubicBezTo>
                    <a:pt x="1787660" y="800789"/>
                    <a:pt x="1780812" y="799918"/>
                    <a:pt x="1774825" y="796925"/>
                  </a:cubicBezTo>
                  <a:cubicBezTo>
                    <a:pt x="1770592" y="794808"/>
                    <a:pt x="1766615" y="792072"/>
                    <a:pt x="1762125" y="790575"/>
                  </a:cubicBezTo>
                  <a:cubicBezTo>
                    <a:pt x="1757005" y="788868"/>
                    <a:pt x="1751456" y="788820"/>
                    <a:pt x="1746250" y="787400"/>
                  </a:cubicBezTo>
                  <a:cubicBezTo>
                    <a:pt x="1739792" y="785639"/>
                    <a:pt x="1733550" y="783167"/>
                    <a:pt x="1727200" y="781050"/>
                  </a:cubicBezTo>
                  <a:lnTo>
                    <a:pt x="1698625" y="771525"/>
                  </a:lnTo>
                  <a:lnTo>
                    <a:pt x="1689100" y="768350"/>
                  </a:lnTo>
                  <a:cubicBezTo>
                    <a:pt x="1685925" y="766233"/>
                    <a:pt x="1683062" y="763550"/>
                    <a:pt x="1679575" y="762000"/>
                  </a:cubicBezTo>
                  <a:cubicBezTo>
                    <a:pt x="1673458" y="759282"/>
                    <a:pt x="1660525" y="755650"/>
                    <a:pt x="1660525" y="755650"/>
                  </a:cubicBezTo>
                  <a:cubicBezTo>
                    <a:pt x="1657350" y="752475"/>
                    <a:pt x="1653875" y="749574"/>
                    <a:pt x="1651000" y="746125"/>
                  </a:cubicBezTo>
                  <a:cubicBezTo>
                    <a:pt x="1648557" y="743194"/>
                    <a:pt x="1647522" y="739113"/>
                    <a:pt x="1644650" y="736600"/>
                  </a:cubicBezTo>
                  <a:cubicBezTo>
                    <a:pt x="1638907" y="731574"/>
                    <a:pt x="1631950" y="728133"/>
                    <a:pt x="1625600" y="723900"/>
                  </a:cubicBezTo>
                  <a:lnTo>
                    <a:pt x="1606550" y="711200"/>
                  </a:lnTo>
                  <a:cubicBezTo>
                    <a:pt x="1603765" y="709344"/>
                    <a:pt x="1600200" y="709083"/>
                    <a:pt x="1597025" y="708025"/>
                  </a:cubicBezTo>
                  <a:cubicBezTo>
                    <a:pt x="1592792" y="704850"/>
                    <a:pt x="1588919" y="701125"/>
                    <a:pt x="1584325" y="698500"/>
                  </a:cubicBezTo>
                  <a:cubicBezTo>
                    <a:pt x="1579068" y="695496"/>
                    <a:pt x="1562945" y="692954"/>
                    <a:pt x="1558925" y="692150"/>
                  </a:cubicBezTo>
                  <a:cubicBezTo>
                    <a:pt x="1555750" y="690033"/>
                    <a:pt x="1551784" y="688780"/>
                    <a:pt x="1549400" y="685800"/>
                  </a:cubicBezTo>
                  <a:cubicBezTo>
                    <a:pt x="1547309" y="683187"/>
                    <a:pt x="1548592" y="678642"/>
                    <a:pt x="1546225" y="676275"/>
                  </a:cubicBezTo>
                  <a:cubicBezTo>
                    <a:pt x="1543858" y="673908"/>
                    <a:pt x="1539776" y="674418"/>
                    <a:pt x="1536700" y="673100"/>
                  </a:cubicBezTo>
                  <a:cubicBezTo>
                    <a:pt x="1532350" y="671236"/>
                    <a:pt x="1528059" y="669185"/>
                    <a:pt x="1524000" y="666750"/>
                  </a:cubicBezTo>
                  <a:cubicBezTo>
                    <a:pt x="1517456" y="662823"/>
                    <a:pt x="1511300" y="658283"/>
                    <a:pt x="1504950" y="654050"/>
                  </a:cubicBezTo>
                  <a:cubicBezTo>
                    <a:pt x="1501775" y="651933"/>
                    <a:pt x="1498838" y="649407"/>
                    <a:pt x="1495425" y="647700"/>
                  </a:cubicBezTo>
                  <a:cubicBezTo>
                    <a:pt x="1478663" y="639319"/>
                    <a:pt x="1474893" y="635937"/>
                    <a:pt x="1460500" y="631825"/>
                  </a:cubicBezTo>
                  <a:cubicBezTo>
                    <a:pt x="1456304" y="630626"/>
                    <a:pt x="1452033" y="629708"/>
                    <a:pt x="1447800" y="628650"/>
                  </a:cubicBezTo>
                  <a:cubicBezTo>
                    <a:pt x="1432879" y="613729"/>
                    <a:pt x="1442011" y="621616"/>
                    <a:pt x="1419225" y="606425"/>
                  </a:cubicBezTo>
                  <a:lnTo>
                    <a:pt x="1409700" y="600075"/>
                  </a:lnTo>
                  <a:cubicBezTo>
                    <a:pt x="1407583" y="596900"/>
                    <a:pt x="1406330" y="592934"/>
                    <a:pt x="1403350" y="590550"/>
                  </a:cubicBezTo>
                  <a:cubicBezTo>
                    <a:pt x="1400737" y="588459"/>
                    <a:pt x="1396818" y="588872"/>
                    <a:pt x="1393825" y="587375"/>
                  </a:cubicBezTo>
                  <a:cubicBezTo>
                    <a:pt x="1375272" y="578098"/>
                    <a:pt x="1393396" y="583170"/>
                    <a:pt x="1374775" y="577850"/>
                  </a:cubicBezTo>
                  <a:cubicBezTo>
                    <a:pt x="1365212" y="575118"/>
                    <a:pt x="1357595" y="574901"/>
                    <a:pt x="1349375" y="568325"/>
                  </a:cubicBezTo>
                  <a:cubicBezTo>
                    <a:pt x="1342363" y="562715"/>
                    <a:pt x="1330325" y="549275"/>
                    <a:pt x="1330325" y="549275"/>
                  </a:cubicBezTo>
                  <a:cubicBezTo>
                    <a:pt x="1329267" y="546100"/>
                    <a:pt x="1329517" y="542117"/>
                    <a:pt x="1327150" y="539750"/>
                  </a:cubicBezTo>
                  <a:cubicBezTo>
                    <a:pt x="1323227" y="535827"/>
                    <a:pt x="1310617" y="532122"/>
                    <a:pt x="1304925" y="530225"/>
                  </a:cubicBezTo>
                  <a:cubicBezTo>
                    <a:pt x="1277628" y="512027"/>
                    <a:pt x="1312165" y="533845"/>
                    <a:pt x="1285875" y="520700"/>
                  </a:cubicBezTo>
                  <a:cubicBezTo>
                    <a:pt x="1263949" y="509737"/>
                    <a:pt x="1290081" y="517783"/>
                    <a:pt x="1263650" y="511175"/>
                  </a:cubicBezTo>
                  <a:cubicBezTo>
                    <a:pt x="1262592" y="508000"/>
                    <a:pt x="1262842" y="504017"/>
                    <a:pt x="1260475" y="501650"/>
                  </a:cubicBezTo>
                  <a:cubicBezTo>
                    <a:pt x="1255079" y="496254"/>
                    <a:pt x="1247775" y="493183"/>
                    <a:pt x="1241425" y="488950"/>
                  </a:cubicBezTo>
                  <a:cubicBezTo>
                    <a:pt x="1237022" y="486015"/>
                    <a:pt x="1233031" y="482501"/>
                    <a:pt x="1228725" y="479425"/>
                  </a:cubicBezTo>
                  <a:cubicBezTo>
                    <a:pt x="1214754" y="469446"/>
                    <a:pt x="1223243" y="476027"/>
                    <a:pt x="1206500" y="466725"/>
                  </a:cubicBezTo>
                  <a:cubicBezTo>
                    <a:pt x="1201105" y="463728"/>
                    <a:pt x="1196058" y="460126"/>
                    <a:pt x="1190625" y="457200"/>
                  </a:cubicBezTo>
                  <a:lnTo>
                    <a:pt x="1152525" y="438150"/>
                  </a:lnTo>
                  <a:cubicBezTo>
                    <a:pt x="1145699" y="434737"/>
                    <a:pt x="1139825" y="429683"/>
                    <a:pt x="1133475" y="425450"/>
                  </a:cubicBezTo>
                  <a:cubicBezTo>
                    <a:pt x="1114172" y="412581"/>
                    <a:pt x="1134681" y="424712"/>
                    <a:pt x="1111250" y="415925"/>
                  </a:cubicBezTo>
                  <a:cubicBezTo>
                    <a:pt x="1106818" y="414263"/>
                    <a:pt x="1102944" y="411333"/>
                    <a:pt x="1098550" y="409575"/>
                  </a:cubicBezTo>
                  <a:cubicBezTo>
                    <a:pt x="1092335" y="407089"/>
                    <a:pt x="1085850" y="405342"/>
                    <a:pt x="1079500" y="403225"/>
                  </a:cubicBezTo>
                  <a:lnTo>
                    <a:pt x="1069975" y="400050"/>
                  </a:lnTo>
                  <a:cubicBezTo>
                    <a:pt x="1066800" y="397933"/>
                    <a:pt x="1063763" y="395593"/>
                    <a:pt x="1060450" y="393700"/>
                  </a:cubicBezTo>
                  <a:cubicBezTo>
                    <a:pt x="1056341" y="391352"/>
                    <a:pt x="1051601" y="390101"/>
                    <a:pt x="1047750" y="387350"/>
                  </a:cubicBezTo>
                  <a:cubicBezTo>
                    <a:pt x="1026940" y="372486"/>
                    <a:pt x="1049132" y="381461"/>
                    <a:pt x="1028700" y="374650"/>
                  </a:cubicBezTo>
                  <a:cubicBezTo>
                    <a:pt x="1026583" y="371475"/>
                    <a:pt x="1025048" y="367823"/>
                    <a:pt x="1022350" y="365125"/>
                  </a:cubicBezTo>
                  <a:cubicBezTo>
                    <a:pt x="1016195" y="358970"/>
                    <a:pt x="1011047" y="358182"/>
                    <a:pt x="1003300" y="355600"/>
                  </a:cubicBezTo>
                  <a:cubicBezTo>
                    <a:pt x="1000125" y="353483"/>
                    <a:pt x="997188" y="350957"/>
                    <a:pt x="993775" y="349250"/>
                  </a:cubicBezTo>
                  <a:cubicBezTo>
                    <a:pt x="990782" y="347753"/>
                    <a:pt x="986892" y="348130"/>
                    <a:pt x="984250" y="346075"/>
                  </a:cubicBezTo>
                  <a:cubicBezTo>
                    <a:pt x="967326" y="332912"/>
                    <a:pt x="963789" y="324908"/>
                    <a:pt x="952500" y="307975"/>
                  </a:cubicBezTo>
                  <a:cubicBezTo>
                    <a:pt x="950383" y="304800"/>
                    <a:pt x="946150" y="303742"/>
                    <a:pt x="942975" y="301625"/>
                  </a:cubicBezTo>
                  <a:lnTo>
                    <a:pt x="936625" y="282575"/>
                  </a:lnTo>
                  <a:cubicBezTo>
                    <a:pt x="935418" y="278955"/>
                    <a:pt x="931982" y="276463"/>
                    <a:pt x="930275" y="273050"/>
                  </a:cubicBezTo>
                  <a:cubicBezTo>
                    <a:pt x="928778" y="270057"/>
                    <a:pt x="928158" y="266700"/>
                    <a:pt x="927100" y="263525"/>
                  </a:cubicBezTo>
                  <a:cubicBezTo>
                    <a:pt x="931333" y="262467"/>
                    <a:pt x="937849" y="264253"/>
                    <a:pt x="939800" y="260350"/>
                  </a:cubicBezTo>
                  <a:cubicBezTo>
                    <a:pt x="941507" y="256937"/>
                    <a:pt x="936381" y="253268"/>
                    <a:pt x="933450" y="250825"/>
                  </a:cubicBezTo>
                  <a:cubicBezTo>
                    <a:pt x="929814" y="247795"/>
                    <a:pt x="924859" y="246823"/>
                    <a:pt x="920750" y="244475"/>
                  </a:cubicBezTo>
                  <a:cubicBezTo>
                    <a:pt x="917437" y="242582"/>
                    <a:pt x="914156" y="240568"/>
                    <a:pt x="911225" y="238125"/>
                  </a:cubicBezTo>
                  <a:cubicBezTo>
                    <a:pt x="886779" y="217753"/>
                    <a:pt x="915824" y="238016"/>
                    <a:pt x="892175" y="222250"/>
                  </a:cubicBezTo>
                  <a:cubicBezTo>
                    <a:pt x="891117" y="219075"/>
                    <a:pt x="891367" y="215092"/>
                    <a:pt x="889000" y="212725"/>
                  </a:cubicBezTo>
                  <a:cubicBezTo>
                    <a:pt x="883604" y="207329"/>
                    <a:pt x="869950" y="200025"/>
                    <a:pt x="869950" y="200025"/>
                  </a:cubicBezTo>
                  <a:cubicBezTo>
                    <a:pt x="867833" y="196850"/>
                    <a:pt x="866531" y="192943"/>
                    <a:pt x="863600" y="190500"/>
                  </a:cubicBezTo>
                  <a:cubicBezTo>
                    <a:pt x="859964" y="187470"/>
                    <a:pt x="855009" y="186498"/>
                    <a:pt x="850900" y="184150"/>
                  </a:cubicBezTo>
                  <a:cubicBezTo>
                    <a:pt x="829443" y="171889"/>
                    <a:pt x="853018" y="182563"/>
                    <a:pt x="831850" y="174625"/>
                  </a:cubicBezTo>
                  <a:cubicBezTo>
                    <a:pt x="826514" y="172624"/>
                    <a:pt x="821523" y="169580"/>
                    <a:pt x="815975" y="168275"/>
                  </a:cubicBezTo>
                  <a:cubicBezTo>
                    <a:pt x="789934" y="162148"/>
                    <a:pt x="769280" y="161144"/>
                    <a:pt x="742950" y="158750"/>
                  </a:cubicBezTo>
                  <a:cubicBezTo>
                    <a:pt x="721508" y="151603"/>
                    <a:pt x="747902" y="159850"/>
                    <a:pt x="714375" y="152400"/>
                  </a:cubicBezTo>
                  <a:cubicBezTo>
                    <a:pt x="711108" y="151674"/>
                    <a:pt x="708068" y="150144"/>
                    <a:pt x="704850" y="149225"/>
                  </a:cubicBezTo>
                  <a:cubicBezTo>
                    <a:pt x="700654" y="148026"/>
                    <a:pt x="696383" y="147108"/>
                    <a:pt x="692150" y="146050"/>
                  </a:cubicBezTo>
                  <a:cubicBezTo>
                    <a:pt x="668944" y="130579"/>
                    <a:pt x="698123" y="149463"/>
                    <a:pt x="669925" y="133350"/>
                  </a:cubicBezTo>
                  <a:cubicBezTo>
                    <a:pt x="666612" y="131457"/>
                    <a:pt x="663887" y="128550"/>
                    <a:pt x="660400" y="127000"/>
                  </a:cubicBezTo>
                  <a:cubicBezTo>
                    <a:pt x="654283" y="124282"/>
                    <a:pt x="641350" y="120650"/>
                    <a:pt x="641350" y="120650"/>
                  </a:cubicBezTo>
                  <a:cubicBezTo>
                    <a:pt x="638175" y="118533"/>
                    <a:pt x="634523" y="116998"/>
                    <a:pt x="631825" y="114300"/>
                  </a:cubicBezTo>
                  <a:cubicBezTo>
                    <a:pt x="629127" y="111602"/>
                    <a:pt x="628455" y="107159"/>
                    <a:pt x="625475" y="104775"/>
                  </a:cubicBezTo>
                  <a:cubicBezTo>
                    <a:pt x="622862" y="102684"/>
                    <a:pt x="619276" y="101970"/>
                    <a:pt x="615950" y="101600"/>
                  </a:cubicBezTo>
                  <a:cubicBezTo>
                    <a:pt x="600137" y="99843"/>
                    <a:pt x="584200" y="99483"/>
                    <a:pt x="568325" y="98425"/>
                  </a:cubicBezTo>
                  <a:cubicBezTo>
                    <a:pt x="561975" y="96308"/>
                    <a:pt x="554844" y="95788"/>
                    <a:pt x="549275" y="92075"/>
                  </a:cubicBezTo>
                  <a:cubicBezTo>
                    <a:pt x="536965" y="83869"/>
                    <a:pt x="543370" y="86932"/>
                    <a:pt x="530225" y="82550"/>
                  </a:cubicBezTo>
                  <a:cubicBezTo>
                    <a:pt x="521633" y="76822"/>
                    <a:pt x="518071" y="73878"/>
                    <a:pt x="508000" y="69850"/>
                  </a:cubicBezTo>
                  <a:cubicBezTo>
                    <a:pt x="501785" y="67364"/>
                    <a:pt x="488950" y="63500"/>
                    <a:pt x="488950" y="63500"/>
                  </a:cubicBezTo>
                  <a:cubicBezTo>
                    <a:pt x="461653" y="45302"/>
                    <a:pt x="496190" y="67120"/>
                    <a:pt x="469900" y="53975"/>
                  </a:cubicBezTo>
                  <a:cubicBezTo>
                    <a:pt x="445281" y="41665"/>
                    <a:pt x="474791" y="52430"/>
                    <a:pt x="450850" y="44450"/>
                  </a:cubicBezTo>
                  <a:cubicBezTo>
                    <a:pt x="447675" y="42333"/>
                    <a:pt x="444898" y="39440"/>
                    <a:pt x="441325" y="38100"/>
                  </a:cubicBezTo>
                  <a:cubicBezTo>
                    <a:pt x="436272" y="36205"/>
                    <a:pt x="430718" y="36096"/>
                    <a:pt x="425450" y="34925"/>
                  </a:cubicBezTo>
                  <a:cubicBezTo>
                    <a:pt x="421190" y="33978"/>
                    <a:pt x="416930" y="33004"/>
                    <a:pt x="412750" y="31750"/>
                  </a:cubicBezTo>
                  <a:cubicBezTo>
                    <a:pt x="399046" y="27639"/>
                    <a:pt x="385649" y="21627"/>
                    <a:pt x="371475" y="19050"/>
                  </a:cubicBezTo>
                  <a:cubicBezTo>
                    <a:pt x="350662" y="15266"/>
                    <a:pt x="353168" y="17685"/>
                    <a:pt x="336550" y="12700"/>
                  </a:cubicBezTo>
                  <a:cubicBezTo>
                    <a:pt x="326933" y="9815"/>
                    <a:pt x="317500" y="6350"/>
                    <a:pt x="307975" y="3175"/>
                  </a:cubicBezTo>
                  <a:cubicBezTo>
                    <a:pt x="300875" y="808"/>
                    <a:pt x="293158" y="1058"/>
                    <a:pt x="285750" y="0"/>
                  </a:cubicBezTo>
                  <a:lnTo>
                    <a:pt x="257175" y="9525"/>
                  </a:lnTo>
                  <a:lnTo>
                    <a:pt x="238125" y="15875"/>
                  </a:lnTo>
                  <a:cubicBezTo>
                    <a:pt x="234950" y="17992"/>
                    <a:pt x="232087" y="20675"/>
                    <a:pt x="228600" y="22225"/>
                  </a:cubicBezTo>
                  <a:cubicBezTo>
                    <a:pt x="222483" y="24943"/>
                    <a:pt x="209550" y="28575"/>
                    <a:pt x="209550" y="28575"/>
                  </a:cubicBezTo>
                  <a:cubicBezTo>
                    <a:pt x="189398" y="42010"/>
                    <a:pt x="206268" y="26690"/>
                    <a:pt x="203200" y="63500"/>
                  </a:cubicBezTo>
                  <a:cubicBezTo>
                    <a:pt x="202883" y="67303"/>
                    <a:pt x="198557" y="69612"/>
                    <a:pt x="196850" y="73025"/>
                  </a:cubicBezTo>
                  <a:cubicBezTo>
                    <a:pt x="191040" y="84645"/>
                    <a:pt x="195378" y="86967"/>
                    <a:pt x="190500" y="101600"/>
                  </a:cubicBezTo>
                  <a:cubicBezTo>
                    <a:pt x="189293" y="105220"/>
                    <a:pt x="185857" y="107712"/>
                    <a:pt x="184150" y="111125"/>
                  </a:cubicBezTo>
                  <a:cubicBezTo>
                    <a:pt x="182653" y="114118"/>
                    <a:pt x="182033" y="117475"/>
                    <a:pt x="180975" y="120650"/>
                  </a:cubicBezTo>
                  <a:cubicBezTo>
                    <a:pt x="182033" y="132292"/>
                    <a:pt x="181701" y="144145"/>
                    <a:pt x="184150" y="155575"/>
                  </a:cubicBezTo>
                  <a:cubicBezTo>
                    <a:pt x="184950" y="159306"/>
                    <a:pt x="188793" y="161687"/>
                    <a:pt x="190500" y="165100"/>
                  </a:cubicBezTo>
                  <a:cubicBezTo>
                    <a:pt x="191997" y="168093"/>
                    <a:pt x="192617" y="171450"/>
                    <a:pt x="193675" y="174625"/>
                  </a:cubicBezTo>
                  <a:cubicBezTo>
                    <a:pt x="190500" y="176742"/>
                    <a:pt x="187563" y="179268"/>
                    <a:pt x="184150" y="180975"/>
                  </a:cubicBezTo>
                  <a:cubicBezTo>
                    <a:pt x="181157" y="182472"/>
                    <a:pt x="176992" y="181783"/>
                    <a:pt x="174625" y="184150"/>
                  </a:cubicBezTo>
                  <a:cubicBezTo>
                    <a:pt x="172258" y="186517"/>
                    <a:pt x="173541" y="191062"/>
                    <a:pt x="171450" y="193675"/>
                  </a:cubicBezTo>
                  <a:cubicBezTo>
                    <a:pt x="166974" y="199270"/>
                    <a:pt x="158675" y="201108"/>
                    <a:pt x="152400" y="203200"/>
                  </a:cubicBezTo>
                  <a:cubicBezTo>
                    <a:pt x="137306" y="213263"/>
                    <a:pt x="146495" y="208343"/>
                    <a:pt x="123825" y="215900"/>
                  </a:cubicBezTo>
                  <a:lnTo>
                    <a:pt x="114300" y="219075"/>
                  </a:lnTo>
                  <a:lnTo>
                    <a:pt x="104775" y="222250"/>
                  </a:lnTo>
                  <a:cubicBezTo>
                    <a:pt x="89681" y="232313"/>
                    <a:pt x="98870" y="227393"/>
                    <a:pt x="76200" y="234950"/>
                  </a:cubicBezTo>
                  <a:lnTo>
                    <a:pt x="66675" y="238125"/>
                  </a:lnTo>
                  <a:cubicBezTo>
                    <a:pt x="59653" y="245147"/>
                    <a:pt x="56466" y="249580"/>
                    <a:pt x="47625" y="254000"/>
                  </a:cubicBezTo>
                  <a:cubicBezTo>
                    <a:pt x="44632" y="255497"/>
                    <a:pt x="41275" y="256117"/>
                    <a:pt x="38100" y="257175"/>
                  </a:cubicBezTo>
                  <a:cubicBezTo>
                    <a:pt x="30543" y="279845"/>
                    <a:pt x="26181" y="272512"/>
                    <a:pt x="41275" y="282575"/>
                  </a:cubicBezTo>
                  <a:cubicBezTo>
                    <a:pt x="40217" y="287867"/>
                    <a:pt x="41093" y="293960"/>
                    <a:pt x="38100" y="298450"/>
                  </a:cubicBezTo>
                  <a:cubicBezTo>
                    <a:pt x="36244" y="301235"/>
                    <a:pt x="31793" y="300706"/>
                    <a:pt x="28575" y="301625"/>
                  </a:cubicBezTo>
                  <a:cubicBezTo>
                    <a:pt x="24379" y="302824"/>
                    <a:pt x="20108" y="303742"/>
                    <a:pt x="15875" y="304800"/>
                  </a:cubicBezTo>
                  <a:cubicBezTo>
                    <a:pt x="12700" y="306917"/>
                    <a:pt x="8372" y="307914"/>
                    <a:pt x="6350" y="311150"/>
                  </a:cubicBezTo>
                  <a:cubicBezTo>
                    <a:pt x="2802" y="316826"/>
                    <a:pt x="0" y="330200"/>
                    <a:pt x="0" y="330200"/>
                  </a:cubicBezTo>
                  <a:cubicBezTo>
                    <a:pt x="1058" y="334433"/>
                    <a:pt x="1224" y="338997"/>
                    <a:pt x="3175" y="342900"/>
                  </a:cubicBezTo>
                  <a:cubicBezTo>
                    <a:pt x="6588" y="349726"/>
                    <a:pt x="11642" y="355600"/>
                    <a:pt x="15875" y="361950"/>
                  </a:cubicBezTo>
                  <a:cubicBezTo>
                    <a:pt x="17731" y="364735"/>
                    <a:pt x="17553" y="368482"/>
                    <a:pt x="19050" y="371475"/>
                  </a:cubicBezTo>
                  <a:cubicBezTo>
                    <a:pt x="22632" y="378639"/>
                    <a:pt x="27110" y="384419"/>
                    <a:pt x="34925" y="387350"/>
                  </a:cubicBezTo>
                  <a:cubicBezTo>
                    <a:pt x="44490" y="390937"/>
                    <a:pt x="78422" y="393287"/>
                    <a:pt x="82550" y="393700"/>
                  </a:cubicBezTo>
                  <a:cubicBezTo>
                    <a:pt x="85725" y="394758"/>
                    <a:pt x="88728" y="396875"/>
                    <a:pt x="92075" y="396875"/>
                  </a:cubicBezTo>
                  <a:cubicBezTo>
                    <a:pt x="103251" y="396875"/>
                    <a:pt x="110828" y="393799"/>
                    <a:pt x="120650" y="390525"/>
                  </a:cubicBezTo>
                  <a:cubicBezTo>
                    <a:pt x="130175" y="391583"/>
                    <a:pt x="140218" y="390425"/>
                    <a:pt x="149225" y="393700"/>
                  </a:cubicBezTo>
                  <a:cubicBezTo>
                    <a:pt x="152811" y="395004"/>
                    <a:pt x="152644" y="400782"/>
                    <a:pt x="155575" y="403225"/>
                  </a:cubicBezTo>
                  <a:cubicBezTo>
                    <a:pt x="158467" y="405635"/>
                    <a:pt x="172837" y="411923"/>
                    <a:pt x="177800" y="412750"/>
                  </a:cubicBezTo>
                  <a:cubicBezTo>
                    <a:pt x="180932" y="413272"/>
                    <a:pt x="184150" y="412750"/>
                    <a:pt x="187325" y="412750"/>
                  </a:cubicBezTo>
                  <a:lnTo>
                    <a:pt x="184150" y="412750"/>
                  </a:lnTo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90" name="Freeform 9"/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3890553" y="4325170"/>
              <a:ext cx="726436" cy="453150"/>
            </a:xfrm>
            <a:custGeom>
              <a:avLst/>
              <a:gdLst>
                <a:gd name="T0" fmla="*/ 660 w 1488"/>
                <a:gd name="T1" fmla="*/ 138 h 1296"/>
                <a:gd name="T2" fmla="*/ 696 w 1488"/>
                <a:gd name="T3" fmla="*/ 564 h 1296"/>
                <a:gd name="T4" fmla="*/ 708 w 1488"/>
                <a:gd name="T5" fmla="*/ 690 h 1296"/>
                <a:gd name="T6" fmla="*/ 1164 w 1488"/>
                <a:gd name="T7" fmla="*/ 732 h 1296"/>
                <a:gd name="T8" fmla="*/ 1248 w 1488"/>
                <a:gd name="T9" fmla="*/ 900 h 1296"/>
                <a:gd name="T10" fmla="*/ 1308 w 1488"/>
                <a:gd name="T11" fmla="*/ 930 h 1296"/>
                <a:gd name="T12" fmla="*/ 1344 w 1488"/>
                <a:gd name="T13" fmla="*/ 948 h 1296"/>
                <a:gd name="T14" fmla="*/ 1362 w 1488"/>
                <a:gd name="T15" fmla="*/ 978 h 1296"/>
                <a:gd name="T16" fmla="*/ 1356 w 1488"/>
                <a:gd name="T17" fmla="*/ 1020 h 1296"/>
                <a:gd name="T18" fmla="*/ 1350 w 1488"/>
                <a:gd name="T19" fmla="*/ 1062 h 1296"/>
                <a:gd name="T20" fmla="*/ 1350 w 1488"/>
                <a:gd name="T21" fmla="*/ 1110 h 1296"/>
                <a:gd name="T22" fmla="*/ 774 w 1488"/>
                <a:gd name="T23" fmla="*/ 1296 h 1296"/>
                <a:gd name="T24" fmla="*/ 738 w 1488"/>
                <a:gd name="T25" fmla="*/ 1278 h 1296"/>
                <a:gd name="T26" fmla="*/ 702 w 1488"/>
                <a:gd name="T27" fmla="*/ 1266 h 1296"/>
                <a:gd name="T28" fmla="*/ 684 w 1488"/>
                <a:gd name="T29" fmla="*/ 1242 h 1296"/>
                <a:gd name="T30" fmla="*/ 660 w 1488"/>
                <a:gd name="T31" fmla="*/ 1212 h 1296"/>
                <a:gd name="T32" fmla="*/ 654 w 1488"/>
                <a:gd name="T33" fmla="*/ 1194 h 1296"/>
                <a:gd name="T34" fmla="*/ 630 w 1488"/>
                <a:gd name="T35" fmla="*/ 1176 h 1296"/>
                <a:gd name="T36" fmla="*/ 600 w 1488"/>
                <a:gd name="T37" fmla="*/ 1152 h 1296"/>
                <a:gd name="T38" fmla="*/ 570 w 1488"/>
                <a:gd name="T39" fmla="*/ 1134 h 1296"/>
                <a:gd name="T40" fmla="*/ 534 w 1488"/>
                <a:gd name="T41" fmla="*/ 1110 h 1296"/>
                <a:gd name="T42" fmla="*/ 492 w 1488"/>
                <a:gd name="T43" fmla="*/ 1098 h 1296"/>
                <a:gd name="T44" fmla="*/ 474 w 1488"/>
                <a:gd name="T45" fmla="*/ 1080 h 1296"/>
                <a:gd name="T46" fmla="*/ 444 w 1488"/>
                <a:gd name="T47" fmla="*/ 1080 h 1296"/>
                <a:gd name="T48" fmla="*/ 414 w 1488"/>
                <a:gd name="T49" fmla="*/ 1062 h 1296"/>
                <a:gd name="T50" fmla="*/ 402 w 1488"/>
                <a:gd name="T51" fmla="*/ 1032 h 1296"/>
                <a:gd name="T52" fmla="*/ 378 w 1488"/>
                <a:gd name="T53" fmla="*/ 1014 h 1296"/>
                <a:gd name="T54" fmla="*/ 360 w 1488"/>
                <a:gd name="T55" fmla="*/ 990 h 1296"/>
                <a:gd name="T56" fmla="*/ 366 w 1488"/>
                <a:gd name="T57" fmla="*/ 966 h 1296"/>
                <a:gd name="T58" fmla="*/ 390 w 1488"/>
                <a:gd name="T59" fmla="*/ 948 h 1296"/>
                <a:gd name="T60" fmla="*/ 390 w 1488"/>
                <a:gd name="T61" fmla="*/ 912 h 1296"/>
                <a:gd name="T62" fmla="*/ 378 w 1488"/>
                <a:gd name="T63" fmla="*/ 888 h 1296"/>
                <a:gd name="T64" fmla="*/ 348 w 1488"/>
                <a:gd name="T65" fmla="*/ 870 h 1296"/>
                <a:gd name="T66" fmla="*/ 300 w 1488"/>
                <a:gd name="T67" fmla="*/ 852 h 1296"/>
                <a:gd name="T68" fmla="*/ 264 w 1488"/>
                <a:gd name="T69" fmla="*/ 816 h 1296"/>
                <a:gd name="T70" fmla="*/ 240 w 1488"/>
                <a:gd name="T71" fmla="*/ 774 h 1296"/>
                <a:gd name="T72" fmla="*/ 204 w 1488"/>
                <a:gd name="T73" fmla="*/ 768 h 1296"/>
                <a:gd name="T74" fmla="*/ 168 w 1488"/>
                <a:gd name="T75" fmla="*/ 756 h 1296"/>
                <a:gd name="T76" fmla="*/ 114 w 1488"/>
                <a:gd name="T77" fmla="*/ 750 h 1296"/>
                <a:gd name="T78" fmla="*/ 72 w 1488"/>
                <a:gd name="T79" fmla="*/ 744 h 1296"/>
                <a:gd name="T80" fmla="*/ 30 w 1488"/>
                <a:gd name="T81" fmla="*/ 738 h 1296"/>
                <a:gd name="T82" fmla="*/ 0 w 1488"/>
                <a:gd name="T83" fmla="*/ 708 h 1296"/>
                <a:gd name="T84" fmla="*/ 6 w 1488"/>
                <a:gd name="T85" fmla="*/ 666 h 1296"/>
                <a:gd name="T86" fmla="*/ 42 w 1488"/>
                <a:gd name="T87" fmla="*/ 630 h 1296"/>
                <a:gd name="T88" fmla="*/ 36 w 1488"/>
                <a:gd name="T89" fmla="*/ 600 h 1296"/>
                <a:gd name="T90" fmla="*/ 150 w 1488"/>
                <a:gd name="T91" fmla="*/ 504 h 1296"/>
                <a:gd name="T92" fmla="*/ 168 w 1488"/>
                <a:gd name="T93" fmla="*/ 348 h 1296"/>
                <a:gd name="T94" fmla="*/ 204 w 1488"/>
                <a:gd name="T95" fmla="*/ 240 h 1296"/>
                <a:gd name="T96" fmla="*/ 222 w 1488"/>
                <a:gd name="T97" fmla="*/ 204 h 1296"/>
                <a:gd name="T98" fmla="*/ 264 w 1488"/>
                <a:gd name="T99" fmla="*/ 180 h 1296"/>
                <a:gd name="T100" fmla="*/ 282 w 1488"/>
                <a:gd name="T101" fmla="*/ 150 h 1296"/>
                <a:gd name="T102" fmla="*/ 300 w 1488"/>
                <a:gd name="T103" fmla="*/ 108 h 1296"/>
                <a:gd name="T104" fmla="*/ 306 w 1488"/>
                <a:gd name="T105" fmla="*/ 66 h 1296"/>
                <a:gd name="T106" fmla="*/ 336 w 1488"/>
                <a:gd name="T107" fmla="*/ 42 h 1296"/>
                <a:gd name="T108" fmla="*/ 372 w 1488"/>
                <a:gd name="T109" fmla="*/ 36 h 1296"/>
                <a:gd name="T110" fmla="*/ 408 w 1488"/>
                <a:gd name="T111" fmla="*/ 36 h 1296"/>
                <a:gd name="T112" fmla="*/ 450 w 1488"/>
                <a:gd name="T113" fmla="*/ 30 h 1296"/>
                <a:gd name="T114" fmla="*/ 498 w 1488"/>
                <a:gd name="T115" fmla="*/ 18 h 1296"/>
                <a:gd name="T116" fmla="*/ 534 w 1488"/>
                <a:gd name="T117" fmla="*/ 12 h 1296"/>
                <a:gd name="T118" fmla="*/ 582 w 1488"/>
                <a:gd name="T119" fmla="*/ 0 h 1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88" h="1296">
                  <a:moveTo>
                    <a:pt x="600" y="12"/>
                  </a:moveTo>
                  <a:lnTo>
                    <a:pt x="606" y="12"/>
                  </a:lnTo>
                  <a:lnTo>
                    <a:pt x="606" y="18"/>
                  </a:lnTo>
                  <a:lnTo>
                    <a:pt x="606" y="90"/>
                  </a:lnTo>
                  <a:lnTo>
                    <a:pt x="624" y="96"/>
                  </a:lnTo>
                  <a:lnTo>
                    <a:pt x="648" y="108"/>
                  </a:lnTo>
                  <a:lnTo>
                    <a:pt x="654" y="120"/>
                  </a:lnTo>
                  <a:lnTo>
                    <a:pt x="660" y="138"/>
                  </a:lnTo>
                  <a:lnTo>
                    <a:pt x="708" y="180"/>
                  </a:lnTo>
                  <a:lnTo>
                    <a:pt x="678" y="468"/>
                  </a:lnTo>
                  <a:lnTo>
                    <a:pt x="684" y="528"/>
                  </a:lnTo>
                  <a:lnTo>
                    <a:pt x="696" y="540"/>
                  </a:lnTo>
                  <a:lnTo>
                    <a:pt x="696" y="546"/>
                  </a:lnTo>
                  <a:lnTo>
                    <a:pt x="696" y="552"/>
                  </a:lnTo>
                  <a:lnTo>
                    <a:pt x="696" y="558"/>
                  </a:lnTo>
                  <a:lnTo>
                    <a:pt x="696" y="564"/>
                  </a:lnTo>
                  <a:lnTo>
                    <a:pt x="702" y="564"/>
                  </a:lnTo>
                  <a:lnTo>
                    <a:pt x="702" y="570"/>
                  </a:lnTo>
                  <a:lnTo>
                    <a:pt x="702" y="576"/>
                  </a:lnTo>
                  <a:lnTo>
                    <a:pt x="702" y="582"/>
                  </a:lnTo>
                  <a:lnTo>
                    <a:pt x="696" y="582"/>
                  </a:lnTo>
                  <a:lnTo>
                    <a:pt x="702" y="618"/>
                  </a:lnTo>
                  <a:lnTo>
                    <a:pt x="702" y="636"/>
                  </a:lnTo>
                  <a:lnTo>
                    <a:pt x="708" y="690"/>
                  </a:lnTo>
                  <a:lnTo>
                    <a:pt x="732" y="762"/>
                  </a:lnTo>
                  <a:lnTo>
                    <a:pt x="738" y="762"/>
                  </a:lnTo>
                  <a:lnTo>
                    <a:pt x="852" y="840"/>
                  </a:lnTo>
                  <a:lnTo>
                    <a:pt x="906" y="870"/>
                  </a:lnTo>
                  <a:lnTo>
                    <a:pt x="954" y="840"/>
                  </a:lnTo>
                  <a:lnTo>
                    <a:pt x="1152" y="738"/>
                  </a:lnTo>
                  <a:lnTo>
                    <a:pt x="1152" y="732"/>
                  </a:lnTo>
                  <a:lnTo>
                    <a:pt x="1164" y="732"/>
                  </a:lnTo>
                  <a:lnTo>
                    <a:pt x="1170" y="732"/>
                  </a:lnTo>
                  <a:lnTo>
                    <a:pt x="1182" y="732"/>
                  </a:lnTo>
                  <a:lnTo>
                    <a:pt x="1200" y="840"/>
                  </a:lnTo>
                  <a:lnTo>
                    <a:pt x="1200" y="846"/>
                  </a:lnTo>
                  <a:lnTo>
                    <a:pt x="1200" y="858"/>
                  </a:lnTo>
                  <a:lnTo>
                    <a:pt x="1200" y="864"/>
                  </a:lnTo>
                  <a:lnTo>
                    <a:pt x="1224" y="882"/>
                  </a:lnTo>
                  <a:lnTo>
                    <a:pt x="1248" y="900"/>
                  </a:lnTo>
                  <a:lnTo>
                    <a:pt x="1260" y="906"/>
                  </a:lnTo>
                  <a:lnTo>
                    <a:pt x="1266" y="912"/>
                  </a:lnTo>
                  <a:lnTo>
                    <a:pt x="1278" y="918"/>
                  </a:lnTo>
                  <a:lnTo>
                    <a:pt x="1284" y="918"/>
                  </a:lnTo>
                  <a:lnTo>
                    <a:pt x="1290" y="924"/>
                  </a:lnTo>
                  <a:lnTo>
                    <a:pt x="1302" y="924"/>
                  </a:lnTo>
                  <a:lnTo>
                    <a:pt x="1302" y="930"/>
                  </a:lnTo>
                  <a:lnTo>
                    <a:pt x="1308" y="930"/>
                  </a:lnTo>
                  <a:lnTo>
                    <a:pt x="1314" y="936"/>
                  </a:lnTo>
                  <a:lnTo>
                    <a:pt x="1320" y="936"/>
                  </a:lnTo>
                  <a:lnTo>
                    <a:pt x="1326" y="936"/>
                  </a:lnTo>
                  <a:lnTo>
                    <a:pt x="1326" y="942"/>
                  </a:lnTo>
                  <a:lnTo>
                    <a:pt x="1332" y="942"/>
                  </a:lnTo>
                  <a:lnTo>
                    <a:pt x="1338" y="942"/>
                  </a:lnTo>
                  <a:lnTo>
                    <a:pt x="1338" y="948"/>
                  </a:lnTo>
                  <a:lnTo>
                    <a:pt x="1344" y="948"/>
                  </a:lnTo>
                  <a:lnTo>
                    <a:pt x="1344" y="954"/>
                  </a:lnTo>
                  <a:lnTo>
                    <a:pt x="1350" y="954"/>
                  </a:lnTo>
                  <a:lnTo>
                    <a:pt x="1350" y="960"/>
                  </a:lnTo>
                  <a:lnTo>
                    <a:pt x="1356" y="960"/>
                  </a:lnTo>
                  <a:lnTo>
                    <a:pt x="1356" y="966"/>
                  </a:lnTo>
                  <a:lnTo>
                    <a:pt x="1362" y="966"/>
                  </a:lnTo>
                  <a:lnTo>
                    <a:pt x="1362" y="972"/>
                  </a:lnTo>
                  <a:lnTo>
                    <a:pt x="1362" y="978"/>
                  </a:lnTo>
                  <a:lnTo>
                    <a:pt x="1362" y="984"/>
                  </a:lnTo>
                  <a:lnTo>
                    <a:pt x="1362" y="990"/>
                  </a:lnTo>
                  <a:lnTo>
                    <a:pt x="1356" y="990"/>
                  </a:lnTo>
                  <a:lnTo>
                    <a:pt x="1356" y="996"/>
                  </a:lnTo>
                  <a:lnTo>
                    <a:pt x="1356" y="1002"/>
                  </a:lnTo>
                  <a:lnTo>
                    <a:pt x="1356" y="1008"/>
                  </a:lnTo>
                  <a:lnTo>
                    <a:pt x="1356" y="1014"/>
                  </a:lnTo>
                  <a:lnTo>
                    <a:pt x="1356" y="1020"/>
                  </a:lnTo>
                  <a:lnTo>
                    <a:pt x="1356" y="1026"/>
                  </a:lnTo>
                  <a:lnTo>
                    <a:pt x="1356" y="1032"/>
                  </a:lnTo>
                  <a:lnTo>
                    <a:pt x="1356" y="1038"/>
                  </a:lnTo>
                  <a:lnTo>
                    <a:pt x="1356" y="1044"/>
                  </a:lnTo>
                  <a:lnTo>
                    <a:pt x="1356" y="1050"/>
                  </a:lnTo>
                  <a:lnTo>
                    <a:pt x="1356" y="1056"/>
                  </a:lnTo>
                  <a:lnTo>
                    <a:pt x="1350" y="1056"/>
                  </a:lnTo>
                  <a:lnTo>
                    <a:pt x="1350" y="1062"/>
                  </a:lnTo>
                  <a:lnTo>
                    <a:pt x="1350" y="1068"/>
                  </a:lnTo>
                  <a:lnTo>
                    <a:pt x="1350" y="1074"/>
                  </a:lnTo>
                  <a:lnTo>
                    <a:pt x="1344" y="1080"/>
                  </a:lnTo>
                  <a:lnTo>
                    <a:pt x="1344" y="1086"/>
                  </a:lnTo>
                  <a:lnTo>
                    <a:pt x="1344" y="1092"/>
                  </a:lnTo>
                  <a:lnTo>
                    <a:pt x="1344" y="1098"/>
                  </a:lnTo>
                  <a:lnTo>
                    <a:pt x="1350" y="1104"/>
                  </a:lnTo>
                  <a:lnTo>
                    <a:pt x="1350" y="1110"/>
                  </a:lnTo>
                  <a:lnTo>
                    <a:pt x="1350" y="1116"/>
                  </a:lnTo>
                  <a:lnTo>
                    <a:pt x="1488" y="1122"/>
                  </a:lnTo>
                  <a:lnTo>
                    <a:pt x="1488" y="1260"/>
                  </a:lnTo>
                  <a:lnTo>
                    <a:pt x="1332" y="1266"/>
                  </a:lnTo>
                  <a:lnTo>
                    <a:pt x="1320" y="1260"/>
                  </a:lnTo>
                  <a:lnTo>
                    <a:pt x="1296" y="1248"/>
                  </a:lnTo>
                  <a:lnTo>
                    <a:pt x="822" y="1290"/>
                  </a:lnTo>
                  <a:lnTo>
                    <a:pt x="774" y="1296"/>
                  </a:lnTo>
                  <a:lnTo>
                    <a:pt x="768" y="1296"/>
                  </a:lnTo>
                  <a:lnTo>
                    <a:pt x="762" y="1290"/>
                  </a:lnTo>
                  <a:lnTo>
                    <a:pt x="762" y="1284"/>
                  </a:lnTo>
                  <a:lnTo>
                    <a:pt x="756" y="1284"/>
                  </a:lnTo>
                  <a:lnTo>
                    <a:pt x="750" y="1284"/>
                  </a:lnTo>
                  <a:lnTo>
                    <a:pt x="744" y="1284"/>
                  </a:lnTo>
                  <a:lnTo>
                    <a:pt x="744" y="1278"/>
                  </a:lnTo>
                  <a:lnTo>
                    <a:pt x="738" y="1278"/>
                  </a:lnTo>
                  <a:lnTo>
                    <a:pt x="732" y="1278"/>
                  </a:lnTo>
                  <a:lnTo>
                    <a:pt x="726" y="1278"/>
                  </a:lnTo>
                  <a:lnTo>
                    <a:pt x="720" y="1278"/>
                  </a:lnTo>
                  <a:lnTo>
                    <a:pt x="720" y="1272"/>
                  </a:lnTo>
                  <a:lnTo>
                    <a:pt x="720" y="1266"/>
                  </a:lnTo>
                  <a:lnTo>
                    <a:pt x="714" y="1266"/>
                  </a:lnTo>
                  <a:lnTo>
                    <a:pt x="708" y="1266"/>
                  </a:lnTo>
                  <a:lnTo>
                    <a:pt x="702" y="1266"/>
                  </a:lnTo>
                  <a:lnTo>
                    <a:pt x="702" y="1260"/>
                  </a:lnTo>
                  <a:lnTo>
                    <a:pt x="702" y="1254"/>
                  </a:lnTo>
                  <a:lnTo>
                    <a:pt x="696" y="1248"/>
                  </a:lnTo>
                  <a:lnTo>
                    <a:pt x="690" y="1248"/>
                  </a:lnTo>
                  <a:lnTo>
                    <a:pt x="696" y="1248"/>
                  </a:lnTo>
                  <a:lnTo>
                    <a:pt x="696" y="1242"/>
                  </a:lnTo>
                  <a:lnTo>
                    <a:pt x="690" y="1242"/>
                  </a:lnTo>
                  <a:lnTo>
                    <a:pt x="684" y="1242"/>
                  </a:lnTo>
                  <a:lnTo>
                    <a:pt x="672" y="1242"/>
                  </a:lnTo>
                  <a:lnTo>
                    <a:pt x="666" y="1236"/>
                  </a:lnTo>
                  <a:lnTo>
                    <a:pt x="666" y="1230"/>
                  </a:lnTo>
                  <a:lnTo>
                    <a:pt x="660" y="1224"/>
                  </a:lnTo>
                  <a:lnTo>
                    <a:pt x="660" y="1218"/>
                  </a:lnTo>
                  <a:lnTo>
                    <a:pt x="666" y="1212"/>
                  </a:lnTo>
                  <a:lnTo>
                    <a:pt x="660" y="1206"/>
                  </a:lnTo>
                  <a:lnTo>
                    <a:pt x="660" y="1212"/>
                  </a:lnTo>
                  <a:lnTo>
                    <a:pt x="654" y="1212"/>
                  </a:lnTo>
                  <a:lnTo>
                    <a:pt x="654" y="1206"/>
                  </a:lnTo>
                  <a:lnTo>
                    <a:pt x="654" y="1200"/>
                  </a:lnTo>
                  <a:lnTo>
                    <a:pt x="654" y="1206"/>
                  </a:lnTo>
                  <a:lnTo>
                    <a:pt x="648" y="1206"/>
                  </a:lnTo>
                  <a:lnTo>
                    <a:pt x="648" y="1200"/>
                  </a:lnTo>
                  <a:lnTo>
                    <a:pt x="648" y="1194"/>
                  </a:lnTo>
                  <a:lnTo>
                    <a:pt x="654" y="1194"/>
                  </a:lnTo>
                  <a:lnTo>
                    <a:pt x="648" y="1194"/>
                  </a:lnTo>
                  <a:lnTo>
                    <a:pt x="648" y="1188"/>
                  </a:lnTo>
                  <a:lnTo>
                    <a:pt x="654" y="1182"/>
                  </a:lnTo>
                  <a:lnTo>
                    <a:pt x="654" y="1176"/>
                  </a:lnTo>
                  <a:lnTo>
                    <a:pt x="648" y="1176"/>
                  </a:lnTo>
                  <a:lnTo>
                    <a:pt x="642" y="1176"/>
                  </a:lnTo>
                  <a:lnTo>
                    <a:pt x="636" y="1176"/>
                  </a:lnTo>
                  <a:lnTo>
                    <a:pt x="630" y="1176"/>
                  </a:lnTo>
                  <a:lnTo>
                    <a:pt x="624" y="1170"/>
                  </a:lnTo>
                  <a:lnTo>
                    <a:pt x="624" y="1164"/>
                  </a:lnTo>
                  <a:lnTo>
                    <a:pt x="618" y="1164"/>
                  </a:lnTo>
                  <a:lnTo>
                    <a:pt x="612" y="1164"/>
                  </a:lnTo>
                  <a:lnTo>
                    <a:pt x="606" y="1164"/>
                  </a:lnTo>
                  <a:lnTo>
                    <a:pt x="606" y="1158"/>
                  </a:lnTo>
                  <a:lnTo>
                    <a:pt x="600" y="1158"/>
                  </a:lnTo>
                  <a:lnTo>
                    <a:pt x="600" y="1152"/>
                  </a:lnTo>
                  <a:lnTo>
                    <a:pt x="594" y="1152"/>
                  </a:lnTo>
                  <a:lnTo>
                    <a:pt x="600" y="1146"/>
                  </a:lnTo>
                  <a:lnTo>
                    <a:pt x="594" y="1146"/>
                  </a:lnTo>
                  <a:lnTo>
                    <a:pt x="588" y="1146"/>
                  </a:lnTo>
                  <a:lnTo>
                    <a:pt x="588" y="1140"/>
                  </a:lnTo>
                  <a:lnTo>
                    <a:pt x="576" y="1140"/>
                  </a:lnTo>
                  <a:lnTo>
                    <a:pt x="570" y="1140"/>
                  </a:lnTo>
                  <a:lnTo>
                    <a:pt x="570" y="1134"/>
                  </a:lnTo>
                  <a:lnTo>
                    <a:pt x="570" y="1128"/>
                  </a:lnTo>
                  <a:lnTo>
                    <a:pt x="564" y="1122"/>
                  </a:lnTo>
                  <a:lnTo>
                    <a:pt x="552" y="1122"/>
                  </a:lnTo>
                  <a:lnTo>
                    <a:pt x="546" y="1122"/>
                  </a:lnTo>
                  <a:lnTo>
                    <a:pt x="546" y="1116"/>
                  </a:lnTo>
                  <a:lnTo>
                    <a:pt x="540" y="1116"/>
                  </a:lnTo>
                  <a:lnTo>
                    <a:pt x="534" y="1116"/>
                  </a:lnTo>
                  <a:lnTo>
                    <a:pt x="534" y="1110"/>
                  </a:lnTo>
                  <a:lnTo>
                    <a:pt x="528" y="1110"/>
                  </a:lnTo>
                  <a:lnTo>
                    <a:pt x="522" y="1110"/>
                  </a:lnTo>
                  <a:lnTo>
                    <a:pt x="516" y="1110"/>
                  </a:lnTo>
                  <a:lnTo>
                    <a:pt x="510" y="1104"/>
                  </a:lnTo>
                  <a:lnTo>
                    <a:pt x="504" y="1104"/>
                  </a:lnTo>
                  <a:lnTo>
                    <a:pt x="498" y="1104"/>
                  </a:lnTo>
                  <a:lnTo>
                    <a:pt x="492" y="1104"/>
                  </a:lnTo>
                  <a:lnTo>
                    <a:pt x="492" y="1098"/>
                  </a:lnTo>
                  <a:lnTo>
                    <a:pt x="492" y="1092"/>
                  </a:lnTo>
                  <a:lnTo>
                    <a:pt x="486" y="1098"/>
                  </a:lnTo>
                  <a:lnTo>
                    <a:pt x="486" y="1092"/>
                  </a:lnTo>
                  <a:lnTo>
                    <a:pt x="486" y="1086"/>
                  </a:lnTo>
                  <a:lnTo>
                    <a:pt x="480" y="1086"/>
                  </a:lnTo>
                  <a:lnTo>
                    <a:pt x="480" y="1092"/>
                  </a:lnTo>
                  <a:lnTo>
                    <a:pt x="474" y="1086"/>
                  </a:lnTo>
                  <a:lnTo>
                    <a:pt x="474" y="1080"/>
                  </a:lnTo>
                  <a:lnTo>
                    <a:pt x="468" y="1080"/>
                  </a:lnTo>
                  <a:lnTo>
                    <a:pt x="462" y="1080"/>
                  </a:lnTo>
                  <a:lnTo>
                    <a:pt x="462" y="1086"/>
                  </a:lnTo>
                  <a:lnTo>
                    <a:pt x="462" y="1080"/>
                  </a:lnTo>
                  <a:lnTo>
                    <a:pt x="456" y="1080"/>
                  </a:lnTo>
                  <a:lnTo>
                    <a:pt x="456" y="1086"/>
                  </a:lnTo>
                  <a:lnTo>
                    <a:pt x="450" y="1080"/>
                  </a:lnTo>
                  <a:lnTo>
                    <a:pt x="444" y="1080"/>
                  </a:lnTo>
                  <a:lnTo>
                    <a:pt x="444" y="1074"/>
                  </a:lnTo>
                  <a:lnTo>
                    <a:pt x="438" y="1074"/>
                  </a:lnTo>
                  <a:lnTo>
                    <a:pt x="438" y="1068"/>
                  </a:lnTo>
                  <a:lnTo>
                    <a:pt x="426" y="1062"/>
                  </a:lnTo>
                  <a:lnTo>
                    <a:pt x="426" y="1068"/>
                  </a:lnTo>
                  <a:lnTo>
                    <a:pt x="420" y="1068"/>
                  </a:lnTo>
                  <a:lnTo>
                    <a:pt x="420" y="1062"/>
                  </a:lnTo>
                  <a:lnTo>
                    <a:pt x="414" y="1062"/>
                  </a:lnTo>
                  <a:lnTo>
                    <a:pt x="414" y="1056"/>
                  </a:lnTo>
                  <a:lnTo>
                    <a:pt x="408" y="1056"/>
                  </a:lnTo>
                  <a:lnTo>
                    <a:pt x="408" y="1050"/>
                  </a:lnTo>
                  <a:lnTo>
                    <a:pt x="408" y="1044"/>
                  </a:lnTo>
                  <a:lnTo>
                    <a:pt x="408" y="1038"/>
                  </a:lnTo>
                  <a:lnTo>
                    <a:pt x="402" y="1038"/>
                  </a:lnTo>
                  <a:lnTo>
                    <a:pt x="408" y="1032"/>
                  </a:lnTo>
                  <a:lnTo>
                    <a:pt x="402" y="1032"/>
                  </a:lnTo>
                  <a:lnTo>
                    <a:pt x="396" y="1032"/>
                  </a:lnTo>
                  <a:lnTo>
                    <a:pt x="396" y="1026"/>
                  </a:lnTo>
                  <a:lnTo>
                    <a:pt x="390" y="1026"/>
                  </a:lnTo>
                  <a:lnTo>
                    <a:pt x="390" y="1020"/>
                  </a:lnTo>
                  <a:lnTo>
                    <a:pt x="384" y="1020"/>
                  </a:lnTo>
                  <a:lnTo>
                    <a:pt x="390" y="1020"/>
                  </a:lnTo>
                  <a:lnTo>
                    <a:pt x="384" y="1014"/>
                  </a:lnTo>
                  <a:lnTo>
                    <a:pt x="378" y="1014"/>
                  </a:lnTo>
                  <a:lnTo>
                    <a:pt x="372" y="1014"/>
                  </a:lnTo>
                  <a:lnTo>
                    <a:pt x="366" y="1014"/>
                  </a:lnTo>
                  <a:lnTo>
                    <a:pt x="366" y="1008"/>
                  </a:lnTo>
                  <a:lnTo>
                    <a:pt x="360" y="1008"/>
                  </a:lnTo>
                  <a:lnTo>
                    <a:pt x="354" y="1008"/>
                  </a:lnTo>
                  <a:lnTo>
                    <a:pt x="360" y="1002"/>
                  </a:lnTo>
                  <a:lnTo>
                    <a:pt x="360" y="996"/>
                  </a:lnTo>
                  <a:lnTo>
                    <a:pt x="360" y="990"/>
                  </a:lnTo>
                  <a:lnTo>
                    <a:pt x="354" y="984"/>
                  </a:lnTo>
                  <a:lnTo>
                    <a:pt x="348" y="984"/>
                  </a:lnTo>
                  <a:lnTo>
                    <a:pt x="348" y="978"/>
                  </a:lnTo>
                  <a:lnTo>
                    <a:pt x="354" y="978"/>
                  </a:lnTo>
                  <a:lnTo>
                    <a:pt x="354" y="972"/>
                  </a:lnTo>
                  <a:lnTo>
                    <a:pt x="360" y="972"/>
                  </a:lnTo>
                  <a:lnTo>
                    <a:pt x="360" y="966"/>
                  </a:lnTo>
                  <a:lnTo>
                    <a:pt x="366" y="966"/>
                  </a:lnTo>
                  <a:lnTo>
                    <a:pt x="372" y="966"/>
                  </a:lnTo>
                  <a:lnTo>
                    <a:pt x="372" y="960"/>
                  </a:lnTo>
                  <a:lnTo>
                    <a:pt x="378" y="966"/>
                  </a:lnTo>
                  <a:lnTo>
                    <a:pt x="378" y="960"/>
                  </a:lnTo>
                  <a:lnTo>
                    <a:pt x="384" y="960"/>
                  </a:lnTo>
                  <a:lnTo>
                    <a:pt x="390" y="960"/>
                  </a:lnTo>
                  <a:lnTo>
                    <a:pt x="390" y="954"/>
                  </a:lnTo>
                  <a:lnTo>
                    <a:pt x="390" y="948"/>
                  </a:lnTo>
                  <a:lnTo>
                    <a:pt x="396" y="948"/>
                  </a:lnTo>
                  <a:lnTo>
                    <a:pt x="390" y="942"/>
                  </a:lnTo>
                  <a:lnTo>
                    <a:pt x="384" y="936"/>
                  </a:lnTo>
                  <a:lnTo>
                    <a:pt x="390" y="930"/>
                  </a:lnTo>
                  <a:lnTo>
                    <a:pt x="384" y="930"/>
                  </a:lnTo>
                  <a:lnTo>
                    <a:pt x="390" y="924"/>
                  </a:lnTo>
                  <a:lnTo>
                    <a:pt x="390" y="918"/>
                  </a:lnTo>
                  <a:lnTo>
                    <a:pt x="390" y="912"/>
                  </a:lnTo>
                  <a:lnTo>
                    <a:pt x="390" y="906"/>
                  </a:lnTo>
                  <a:lnTo>
                    <a:pt x="390" y="900"/>
                  </a:lnTo>
                  <a:lnTo>
                    <a:pt x="384" y="900"/>
                  </a:lnTo>
                  <a:lnTo>
                    <a:pt x="384" y="906"/>
                  </a:lnTo>
                  <a:lnTo>
                    <a:pt x="384" y="900"/>
                  </a:lnTo>
                  <a:lnTo>
                    <a:pt x="378" y="900"/>
                  </a:lnTo>
                  <a:lnTo>
                    <a:pt x="378" y="894"/>
                  </a:lnTo>
                  <a:lnTo>
                    <a:pt x="378" y="888"/>
                  </a:lnTo>
                  <a:lnTo>
                    <a:pt x="372" y="888"/>
                  </a:lnTo>
                  <a:lnTo>
                    <a:pt x="366" y="882"/>
                  </a:lnTo>
                  <a:lnTo>
                    <a:pt x="366" y="876"/>
                  </a:lnTo>
                  <a:lnTo>
                    <a:pt x="360" y="882"/>
                  </a:lnTo>
                  <a:lnTo>
                    <a:pt x="360" y="876"/>
                  </a:lnTo>
                  <a:lnTo>
                    <a:pt x="354" y="870"/>
                  </a:lnTo>
                  <a:lnTo>
                    <a:pt x="354" y="864"/>
                  </a:lnTo>
                  <a:lnTo>
                    <a:pt x="348" y="870"/>
                  </a:lnTo>
                  <a:lnTo>
                    <a:pt x="342" y="870"/>
                  </a:lnTo>
                  <a:lnTo>
                    <a:pt x="336" y="870"/>
                  </a:lnTo>
                  <a:lnTo>
                    <a:pt x="330" y="870"/>
                  </a:lnTo>
                  <a:lnTo>
                    <a:pt x="324" y="876"/>
                  </a:lnTo>
                  <a:lnTo>
                    <a:pt x="318" y="870"/>
                  </a:lnTo>
                  <a:lnTo>
                    <a:pt x="318" y="864"/>
                  </a:lnTo>
                  <a:lnTo>
                    <a:pt x="312" y="858"/>
                  </a:lnTo>
                  <a:lnTo>
                    <a:pt x="300" y="852"/>
                  </a:lnTo>
                  <a:lnTo>
                    <a:pt x="294" y="846"/>
                  </a:lnTo>
                  <a:lnTo>
                    <a:pt x="288" y="846"/>
                  </a:lnTo>
                  <a:lnTo>
                    <a:pt x="282" y="840"/>
                  </a:lnTo>
                  <a:lnTo>
                    <a:pt x="276" y="834"/>
                  </a:lnTo>
                  <a:lnTo>
                    <a:pt x="276" y="828"/>
                  </a:lnTo>
                  <a:lnTo>
                    <a:pt x="270" y="822"/>
                  </a:lnTo>
                  <a:lnTo>
                    <a:pt x="264" y="822"/>
                  </a:lnTo>
                  <a:lnTo>
                    <a:pt x="264" y="816"/>
                  </a:lnTo>
                  <a:lnTo>
                    <a:pt x="258" y="816"/>
                  </a:lnTo>
                  <a:lnTo>
                    <a:pt x="258" y="810"/>
                  </a:lnTo>
                  <a:lnTo>
                    <a:pt x="252" y="798"/>
                  </a:lnTo>
                  <a:lnTo>
                    <a:pt x="252" y="792"/>
                  </a:lnTo>
                  <a:lnTo>
                    <a:pt x="252" y="786"/>
                  </a:lnTo>
                  <a:lnTo>
                    <a:pt x="246" y="780"/>
                  </a:lnTo>
                  <a:lnTo>
                    <a:pt x="246" y="774"/>
                  </a:lnTo>
                  <a:lnTo>
                    <a:pt x="240" y="774"/>
                  </a:lnTo>
                  <a:lnTo>
                    <a:pt x="240" y="768"/>
                  </a:lnTo>
                  <a:lnTo>
                    <a:pt x="240" y="774"/>
                  </a:lnTo>
                  <a:lnTo>
                    <a:pt x="234" y="774"/>
                  </a:lnTo>
                  <a:lnTo>
                    <a:pt x="234" y="768"/>
                  </a:lnTo>
                  <a:lnTo>
                    <a:pt x="222" y="768"/>
                  </a:lnTo>
                  <a:lnTo>
                    <a:pt x="216" y="774"/>
                  </a:lnTo>
                  <a:lnTo>
                    <a:pt x="210" y="768"/>
                  </a:lnTo>
                  <a:lnTo>
                    <a:pt x="204" y="768"/>
                  </a:lnTo>
                  <a:lnTo>
                    <a:pt x="204" y="762"/>
                  </a:lnTo>
                  <a:lnTo>
                    <a:pt x="198" y="762"/>
                  </a:lnTo>
                  <a:lnTo>
                    <a:pt x="192" y="762"/>
                  </a:lnTo>
                  <a:lnTo>
                    <a:pt x="186" y="762"/>
                  </a:lnTo>
                  <a:lnTo>
                    <a:pt x="180" y="762"/>
                  </a:lnTo>
                  <a:lnTo>
                    <a:pt x="180" y="756"/>
                  </a:lnTo>
                  <a:lnTo>
                    <a:pt x="174" y="756"/>
                  </a:lnTo>
                  <a:lnTo>
                    <a:pt x="168" y="756"/>
                  </a:lnTo>
                  <a:lnTo>
                    <a:pt x="162" y="756"/>
                  </a:lnTo>
                  <a:lnTo>
                    <a:pt x="156" y="756"/>
                  </a:lnTo>
                  <a:lnTo>
                    <a:pt x="144" y="762"/>
                  </a:lnTo>
                  <a:lnTo>
                    <a:pt x="138" y="762"/>
                  </a:lnTo>
                  <a:lnTo>
                    <a:pt x="126" y="756"/>
                  </a:lnTo>
                  <a:lnTo>
                    <a:pt x="120" y="756"/>
                  </a:lnTo>
                  <a:lnTo>
                    <a:pt x="120" y="750"/>
                  </a:lnTo>
                  <a:lnTo>
                    <a:pt x="114" y="750"/>
                  </a:lnTo>
                  <a:lnTo>
                    <a:pt x="114" y="744"/>
                  </a:lnTo>
                  <a:lnTo>
                    <a:pt x="108" y="738"/>
                  </a:lnTo>
                  <a:lnTo>
                    <a:pt x="102" y="738"/>
                  </a:lnTo>
                  <a:lnTo>
                    <a:pt x="96" y="738"/>
                  </a:lnTo>
                  <a:lnTo>
                    <a:pt x="90" y="738"/>
                  </a:lnTo>
                  <a:lnTo>
                    <a:pt x="84" y="738"/>
                  </a:lnTo>
                  <a:lnTo>
                    <a:pt x="78" y="744"/>
                  </a:lnTo>
                  <a:lnTo>
                    <a:pt x="72" y="744"/>
                  </a:lnTo>
                  <a:lnTo>
                    <a:pt x="72" y="750"/>
                  </a:lnTo>
                  <a:lnTo>
                    <a:pt x="72" y="744"/>
                  </a:lnTo>
                  <a:lnTo>
                    <a:pt x="66" y="744"/>
                  </a:lnTo>
                  <a:lnTo>
                    <a:pt x="60" y="738"/>
                  </a:lnTo>
                  <a:lnTo>
                    <a:pt x="48" y="744"/>
                  </a:lnTo>
                  <a:lnTo>
                    <a:pt x="42" y="738"/>
                  </a:lnTo>
                  <a:lnTo>
                    <a:pt x="36" y="738"/>
                  </a:lnTo>
                  <a:lnTo>
                    <a:pt x="30" y="738"/>
                  </a:lnTo>
                  <a:lnTo>
                    <a:pt x="24" y="732"/>
                  </a:lnTo>
                  <a:lnTo>
                    <a:pt x="18" y="732"/>
                  </a:lnTo>
                  <a:lnTo>
                    <a:pt x="18" y="726"/>
                  </a:lnTo>
                  <a:lnTo>
                    <a:pt x="12" y="726"/>
                  </a:lnTo>
                  <a:lnTo>
                    <a:pt x="6" y="720"/>
                  </a:lnTo>
                  <a:lnTo>
                    <a:pt x="6" y="714"/>
                  </a:lnTo>
                  <a:lnTo>
                    <a:pt x="0" y="714"/>
                  </a:lnTo>
                  <a:lnTo>
                    <a:pt x="0" y="708"/>
                  </a:lnTo>
                  <a:lnTo>
                    <a:pt x="0" y="702"/>
                  </a:lnTo>
                  <a:lnTo>
                    <a:pt x="0" y="696"/>
                  </a:lnTo>
                  <a:lnTo>
                    <a:pt x="0" y="690"/>
                  </a:lnTo>
                  <a:lnTo>
                    <a:pt x="0" y="684"/>
                  </a:lnTo>
                  <a:lnTo>
                    <a:pt x="6" y="678"/>
                  </a:lnTo>
                  <a:lnTo>
                    <a:pt x="0" y="672"/>
                  </a:lnTo>
                  <a:lnTo>
                    <a:pt x="6" y="672"/>
                  </a:lnTo>
                  <a:lnTo>
                    <a:pt x="6" y="666"/>
                  </a:lnTo>
                  <a:lnTo>
                    <a:pt x="12" y="666"/>
                  </a:lnTo>
                  <a:lnTo>
                    <a:pt x="12" y="660"/>
                  </a:lnTo>
                  <a:lnTo>
                    <a:pt x="18" y="654"/>
                  </a:lnTo>
                  <a:lnTo>
                    <a:pt x="24" y="642"/>
                  </a:lnTo>
                  <a:lnTo>
                    <a:pt x="30" y="636"/>
                  </a:lnTo>
                  <a:lnTo>
                    <a:pt x="36" y="636"/>
                  </a:lnTo>
                  <a:lnTo>
                    <a:pt x="36" y="630"/>
                  </a:lnTo>
                  <a:lnTo>
                    <a:pt x="42" y="630"/>
                  </a:lnTo>
                  <a:lnTo>
                    <a:pt x="36" y="630"/>
                  </a:lnTo>
                  <a:lnTo>
                    <a:pt x="36" y="624"/>
                  </a:lnTo>
                  <a:lnTo>
                    <a:pt x="30" y="624"/>
                  </a:lnTo>
                  <a:lnTo>
                    <a:pt x="24" y="618"/>
                  </a:lnTo>
                  <a:lnTo>
                    <a:pt x="30" y="612"/>
                  </a:lnTo>
                  <a:lnTo>
                    <a:pt x="30" y="606"/>
                  </a:lnTo>
                  <a:lnTo>
                    <a:pt x="36" y="606"/>
                  </a:lnTo>
                  <a:lnTo>
                    <a:pt x="36" y="600"/>
                  </a:lnTo>
                  <a:lnTo>
                    <a:pt x="72" y="570"/>
                  </a:lnTo>
                  <a:lnTo>
                    <a:pt x="84" y="564"/>
                  </a:lnTo>
                  <a:lnTo>
                    <a:pt x="120" y="546"/>
                  </a:lnTo>
                  <a:lnTo>
                    <a:pt x="126" y="540"/>
                  </a:lnTo>
                  <a:lnTo>
                    <a:pt x="132" y="522"/>
                  </a:lnTo>
                  <a:lnTo>
                    <a:pt x="138" y="522"/>
                  </a:lnTo>
                  <a:lnTo>
                    <a:pt x="144" y="510"/>
                  </a:lnTo>
                  <a:lnTo>
                    <a:pt x="150" y="504"/>
                  </a:lnTo>
                  <a:lnTo>
                    <a:pt x="138" y="480"/>
                  </a:lnTo>
                  <a:lnTo>
                    <a:pt x="138" y="468"/>
                  </a:lnTo>
                  <a:lnTo>
                    <a:pt x="144" y="426"/>
                  </a:lnTo>
                  <a:lnTo>
                    <a:pt x="156" y="402"/>
                  </a:lnTo>
                  <a:lnTo>
                    <a:pt x="162" y="384"/>
                  </a:lnTo>
                  <a:lnTo>
                    <a:pt x="156" y="366"/>
                  </a:lnTo>
                  <a:lnTo>
                    <a:pt x="156" y="360"/>
                  </a:lnTo>
                  <a:lnTo>
                    <a:pt x="168" y="348"/>
                  </a:lnTo>
                  <a:lnTo>
                    <a:pt x="186" y="336"/>
                  </a:lnTo>
                  <a:lnTo>
                    <a:pt x="204" y="324"/>
                  </a:lnTo>
                  <a:lnTo>
                    <a:pt x="210" y="312"/>
                  </a:lnTo>
                  <a:lnTo>
                    <a:pt x="210" y="294"/>
                  </a:lnTo>
                  <a:lnTo>
                    <a:pt x="204" y="282"/>
                  </a:lnTo>
                  <a:lnTo>
                    <a:pt x="204" y="270"/>
                  </a:lnTo>
                  <a:lnTo>
                    <a:pt x="204" y="252"/>
                  </a:lnTo>
                  <a:lnTo>
                    <a:pt x="204" y="240"/>
                  </a:lnTo>
                  <a:lnTo>
                    <a:pt x="204" y="234"/>
                  </a:lnTo>
                  <a:lnTo>
                    <a:pt x="210" y="234"/>
                  </a:lnTo>
                  <a:lnTo>
                    <a:pt x="210" y="228"/>
                  </a:lnTo>
                  <a:lnTo>
                    <a:pt x="216" y="222"/>
                  </a:lnTo>
                  <a:lnTo>
                    <a:pt x="216" y="216"/>
                  </a:lnTo>
                  <a:lnTo>
                    <a:pt x="216" y="210"/>
                  </a:lnTo>
                  <a:lnTo>
                    <a:pt x="222" y="210"/>
                  </a:lnTo>
                  <a:lnTo>
                    <a:pt x="222" y="204"/>
                  </a:lnTo>
                  <a:lnTo>
                    <a:pt x="228" y="204"/>
                  </a:lnTo>
                  <a:lnTo>
                    <a:pt x="234" y="204"/>
                  </a:lnTo>
                  <a:lnTo>
                    <a:pt x="240" y="198"/>
                  </a:lnTo>
                  <a:lnTo>
                    <a:pt x="246" y="198"/>
                  </a:lnTo>
                  <a:lnTo>
                    <a:pt x="246" y="192"/>
                  </a:lnTo>
                  <a:lnTo>
                    <a:pt x="252" y="192"/>
                  </a:lnTo>
                  <a:lnTo>
                    <a:pt x="258" y="186"/>
                  </a:lnTo>
                  <a:lnTo>
                    <a:pt x="264" y="180"/>
                  </a:lnTo>
                  <a:lnTo>
                    <a:pt x="270" y="180"/>
                  </a:lnTo>
                  <a:lnTo>
                    <a:pt x="270" y="174"/>
                  </a:lnTo>
                  <a:lnTo>
                    <a:pt x="270" y="168"/>
                  </a:lnTo>
                  <a:lnTo>
                    <a:pt x="276" y="168"/>
                  </a:lnTo>
                  <a:lnTo>
                    <a:pt x="276" y="162"/>
                  </a:lnTo>
                  <a:lnTo>
                    <a:pt x="282" y="162"/>
                  </a:lnTo>
                  <a:lnTo>
                    <a:pt x="282" y="156"/>
                  </a:lnTo>
                  <a:lnTo>
                    <a:pt x="282" y="150"/>
                  </a:lnTo>
                  <a:lnTo>
                    <a:pt x="288" y="144"/>
                  </a:lnTo>
                  <a:lnTo>
                    <a:pt x="288" y="138"/>
                  </a:lnTo>
                  <a:lnTo>
                    <a:pt x="288" y="132"/>
                  </a:lnTo>
                  <a:lnTo>
                    <a:pt x="294" y="132"/>
                  </a:lnTo>
                  <a:lnTo>
                    <a:pt x="294" y="126"/>
                  </a:lnTo>
                  <a:lnTo>
                    <a:pt x="300" y="120"/>
                  </a:lnTo>
                  <a:lnTo>
                    <a:pt x="300" y="114"/>
                  </a:lnTo>
                  <a:lnTo>
                    <a:pt x="300" y="108"/>
                  </a:lnTo>
                  <a:lnTo>
                    <a:pt x="294" y="102"/>
                  </a:lnTo>
                  <a:lnTo>
                    <a:pt x="294" y="96"/>
                  </a:lnTo>
                  <a:lnTo>
                    <a:pt x="294" y="90"/>
                  </a:lnTo>
                  <a:lnTo>
                    <a:pt x="294" y="84"/>
                  </a:lnTo>
                  <a:lnTo>
                    <a:pt x="300" y="84"/>
                  </a:lnTo>
                  <a:lnTo>
                    <a:pt x="300" y="78"/>
                  </a:lnTo>
                  <a:lnTo>
                    <a:pt x="300" y="72"/>
                  </a:lnTo>
                  <a:lnTo>
                    <a:pt x="306" y="66"/>
                  </a:lnTo>
                  <a:lnTo>
                    <a:pt x="306" y="60"/>
                  </a:lnTo>
                  <a:lnTo>
                    <a:pt x="312" y="60"/>
                  </a:lnTo>
                  <a:lnTo>
                    <a:pt x="312" y="54"/>
                  </a:lnTo>
                  <a:lnTo>
                    <a:pt x="312" y="48"/>
                  </a:lnTo>
                  <a:lnTo>
                    <a:pt x="318" y="48"/>
                  </a:lnTo>
                  <a:lnTo>
                    <a:pt x="324" y="48"/>
                  </a:lnTo>
                  <a:lnTo>
                    <a:pt x="330" y="42"/>
                  </a:lnTo>
                  <a:lnTo>
                    <a:pt x="336" y="42"/>
                  </a:lnTo>
                  <a:lnTo>
                    <a:pt x="342" y="42"/>
                  </a:lnTo>
                  <a:lnTo>
                    <a:pt x="348" y="42"/>
                  </a:lnTo>
                  <a:lnTo>
                    <a:pt x="354" y="42"/>
                  </a:lnTo>
                  <a:lnTo>
                    <a:pt x="360" y="36"/>
                  </a:lnTo>
                  <a:lnTo>
                    <a:pt x="360" y="42"/>
                  </a:lnTo>
                  <a:lnTo>
                    <a:pt x="366" y="42"/>
                  </a:lnTo>
                  <a:lnTo>
                    <a:pt x="366" y="36"/>
                  </a:lnTo>
                  <a:lnTo>
                    <a:pt x="372" y="36"/>
                  </a:lnTo>
                  <a:lnTo>
                    <a:pt x="378" y="36"/>
                  </a:lnTo>
                  <a:lnTo>
                    <a:pt x="384" y="42"/>
                  </a:lnTo>
                  <a:lnTo>
                    <a:pt x="390" y="42"/>
                  </a:lnTo>
                  <a:lnTo>
                    <a:pt x="396" y="36"/>
                  </a:lnTo>
                  <a:lnTo>
                    <a:pt x="396" y="42"/>
                  </a:lnTo>
                  <a:lnTo>
                    <a:pt x="402" y="42"/>
                  </a:lnTo>
                  <a:lnTo>
                    <a:pt x="402" y="36"/>
                  </a:lnTo>
                  <a:lnTo>
                    <a:pt x="408" y="36"/>
                  </a:lnTo>
                  <a:lnTo>
                    <a:pt x="414" y="36"/>
                  </a:lnTo>
                  <a:lnTo>
                    <a:pt x="420" y="36"/>
                  </a:lnTo>
                  <a:lnTo>
                    <a:pt x="426" y="36"/>
                  </a:lnTo>
                  <a:lnTo>
                    <a:pt x="426" y="30"/>
                  </a:lnTo>
                  <a:lnTo>
                    <a:pt x="432" y="30"/>
                  </a:lnTo>
                  <a:lnTo>
                    <a:pt x="438" y="30"/>
                  </a:lnTo>
                  <a:lnTo>
                    <a:pt x="444" y="30"/>
                  </a:lnTo>
                  <a:lnTo>
                    <a:pt x="450" y="30"/>
                  </a:lnTo>
                  <a:lnTo>
                    <a:pt x="456" y="30"/>
                  </a:lnTo>
                  <a:lnTo>
                    <a:pt x="462" y="30"/>
                  </a:lnTo>
                  <a:lnTo>
                    <a:pt x="468" y="24"/>
                  </a:lnTo>
                  <a:lnTo>
                    <a:pt x="474" y="24"/>
                  </a:lnTo>
                  <a:lnTo>
                    <a:pt x="480" y="24"/>
                  </a:lnTo>
                  <a:lnTo>
                    <a:pt x="486" y="18"/>
                  </a:lnTo>
                  <a:lnTo>
                    <a:pt x="492" y="18"/>
                  </a:lnTo>
                  <a:lnTo>
                    <a:pt x="498" y="18"/>
                  </a:lnTo>
                  <a:lnTo>
                    <a:pt x="504" y="18"/>
                  </a:lnTo>
                  <a:lnTo>
                    <a:pt x="504" y="12"/>
                  </a:lnTo>
                  <a:lnTo>
                    <a:pt x="510" y="12"/>
                  </a:lnTo>
                  <a:lnTo>
                    <a:pt x="510" y="18"/>
                  </a:lnTo>
                  <a:lnTo>
                    <a:pt x="516" y="12"/>
                  </a:lnTo>
                  <a:lnTo>
                    <a:pt x="522" y="12"/>
                  </a:lnTo>
                  <a:lnTo>
                    <a:pt x="528" y="12"/>
                  </a:lnTo>
                  <a:lnTo>
                    <a:pt x="534" y="12"/>
                  </a:lnTo>
                  <a:lnTo>
                    <a:pt x="540" y="12"/>
                  </a:lnTo>
                  <a:lnTo>
                    <a:pt x="546" y="12"/>
                  </a:lnTo>
                  <a:lnTo>
                    <a:pt x="552" y="12"/>
                  </a:lnTo>
                  <a:lnTo>
                    <a:pt x="558" y="6"/>
                  </a:lnTo>
                  <a:lnTo>
                    <a:pt x="564" y="6"/>
                  </a:lnTo>
                  <a:lnTo>
                    <a:pt x="570" y="6"/>
                  </a:lnTo>
                  <a:lnTo>
                    <a:pt x="576" y="6"/>
                  </a:lnTo>
                  <a:lnTo>
                    <a:pt x="582" y="0"/>
                  </a:lnTo>
                  <a:lnTo>
                    <a:pt x="588" y="6"/>
                  </a:lnTo>
                  <a:lnTo>
                    <a:pt x="594" y="6"/>
                  </a:lnTo>
                  <a:lnTo>
                    <a:pt x="600" y="12"/>
                  </a:lnTo>
                  <a:close/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solidFill>
                  <a:schemeClr val="lt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7" name="Freeform 16"/>
            <p:cNvSpPr/>
            <p:nvPr>
              <p:custDataLst>
                <p:tags r:id="rId38"/>
              </p:custDataLst>
            </p:nvPr>
          </p:nvSpPr>
          <p:spPr>
            <a:xfrm>
              <a:off x="4253771" y="4762261"/>
              <a:ext cx="837693" cy="135544"/>
            </a:xfrm>
            <a:custGeom>
              <a:avLst/>
              <a:gdLst>
                <a:gd name="connsiteX0" fmla="*/ 0 w 2216150"/>
                <a:gd name="connsiteY0" fmla="*/ 38100 h 358587"/>
                <a:gd name="connsiteX1" fmla="*/ 666750 w 2216150"/>
                <a:gd name="connsiteY1" fmla="*/ 0 h 358587"/>
                <a:gd name="connsiteX2" fmla="*/ 717550 w 2216150"/>
                <a:gd name="connsiteY2" fmla="*/ 25400 h 358587"/>
                <a:gd name="connsiteX3" fmla="*/ 895350 w 2216150"/>
                <a:gd name="connsiteY3" fmla="*/ 12700 h 358587"/>
                <a:gd name="connsiteX4" fmla="*/ 920750 w 2216150"/>
                <a:gd name="connsiteY4" fmla="*/ 95250 h 358587"/>
                <a:gd name="connsiteX5" fmla="*/ 901700 w 2216150"/>
                <a:gd name="connsiteY5" fmla="*/ 120650 h 358587"/>
                <a:gd name="connsiteX6" fmla="*/ 920750 w 2216150"/>
                <a:gd name="connsiteY6" fmla="*/ 133350 h 358587"/>
                <a:gd name="connsiteX7" fmla="*/ 914400 w 2216150"/>
                <a:gd name="connsiteY7" fmla="*/ 146050 h 358587"/>
                <a:gd name="connsiteX8" fmla="*/ 952500 w 2216150"/>
                <a:gd name="connsiteY8" fmla="*/ 190500 h 358587"/>
                <a:gd name="connsiteX9" fmla="*/ 958850 w 2216150"/>
                <a:gd name="connsiteY9" fmla="*/ 209550 h 358587"/>
                <a:gd name="connsiteX10" fmla="*/ 965200 w 2216150"/>
                <a:gd name="connsiteY10" fmla="*/ 241300 h 358587"/>
                <a:gd name="connsiteX11" fmla="*/ 1003300 w 2216150"/>
                <a:gd name="connsiteY11" fmla="*/ 254000 h 358587"/>
                <a:gd name="connsiteX12" fmla="*/ 1022350 w 2216150"/>
                <a:gd name="connsiteY12" fmla="*/ 266700 h 358587"/>
                <a:gd name="connsiteX13" fmla="*/ 1028700 w 2216150"/>
                <a:gd name="connsiteY13" fmla="*/ 285750 h 358587"/>
                <a:gd name="connsiteX14" fmla="*/ 1066800 w 2216150"/>
                <a:gd name="connsiteY14" fmla="*/ 298450 h 358587"/>
                <a:gd name="connsiteX15" fmla="*/ 1073150 w 2216150"/>
                <a:gd name="connsiteY15" fmla="*/ 317500 h 358587"/>
                <a:gd name="connsiteX16" fmla="*/ 1092200 w 2216150"/>
                <a:gd name="connsiteY16" fmla="*/ 323850 h 358587"/>
                <a:gd name="connsiteX17" fmla="*/ 1111250 w 2216150"/>
                <a:gd name="connsiteY17" fmla="*/ 336550 h 358587"/>
                <a:gd name="connsiteX18" fmla="*/ 1130300 w 2216150"/>
                <a:gd name="connsiteY18" fmla="*/ 342900 h 358587"/>
                <a:gd name="connsiteX19" fmla="*/ 1308100 w 2216150"/>
                <a:gd name="connsiteY19" fmla="*/ 349250 h 358587"/>
                <a:gd name="connsiteX20" fmla="*/ 1390650 w 2216150"/>
                <a:gd name="connsiteY20" fmla="*/ 355600 h 358587"/>
                <a:gd name="connsiteX21" fmla="*/ 1403350 w 2216150"/>
                <a:gd name="connsiteY21" fmla="*/ 317500 h 358587"/>
                <a:gd name="connsiteX22" fmla="*/ 1416050 w 2216150"/>
                <a:gd name="connsiteY22" fmla="*/ 298450 h 358587"/>
                <a:gd name="connsiteX23" fmla="*/ 1422400 w 2216150"/>
                <a:gd name="connsiteY23" fmla="*/ 273050 h 358587"/>
                <a:gd name="connsiteX24" fmla="*/ 1428750 w 2216150"/>
                <a:gd name="connsiteY24" fmla="*/ 254000 h 358587"/>
                <a:gd name="connsiteX25" fmla="*/ 1466850 w 2216150"/>
                <a:gd name="connsiteY25" fmla="*/ 241300 h 358587"/>
                <a:gd name="connsiteX26" fmla="*/ 1485900 w 2216150"/>
                <a:gd name="connsiteY26" fmla="*/ 228600 h 358587"/>
                <a:gd name="connsiteX27" fmla="*/ 1492250 w 2216150"/>
                <a:gd name="connsiteY27" fmla="*/ 209550 h 358587"/>
                <a:gd name="connsiteX28" fmla="*/ 1479550 w 2216150"/>
                <a:gd name="connsiteY28" fmla="*/ 146050 h 358587"/>
                <a:gd name="connsiteX29" fmla="*/ 1555750 w 2216150"/>
                <a:gd name="connsiteY29" fmla="*/ 127000 h 358587"/>
                <a:gd name="connsiteX30" fmla="*/ 1644650 w 2216150"/>
                <a:gd name="connsiteY30" fmla="*/ 133350 h 358587"/>
                <a:gd name="connsiteX31" fmla="*/ 1657350 w 2216150"/>
                <a:gd name="connsiteY31" fmla="*/ 171450 h 358587"/>
                <a:gd name="connsiteX32" fmla="*/ 1670050 w 2216150"/>
                <a:gd name="connsiteY32" fmla="*/ 209550 h 358587"/>
                <a:gd name="connsiteX33" fmla="*/ 1733550 w 2216150"/>
                <a:gd name="connsiteY33" fmla="*/ 228600 h 358587"/>
                <a:gd name="connsiteX34" fmla="*/ 1822450 w 2216150"/>
                <a:gd name="connsiteY34" fmla="*/ 222250 h 358587"/>
                <a:gd name="connsiteX35" fmla="*/ 1828800 w 2216150"/>
                <a:gd name="connsiteY35" fmla="*/ 203200 h 358587"/>
                <a:gd name="connsiteX36" fmla="*/ 1860550 w 2216150"/>
                <a:gd name="connsiteY36" fmla="*/ 177800 h 358587"/>
                <a:gd name="connsiteX37" fmla="*/ 1879600 w 2216150"/>
                <a:gd name="connsiteY37" fmla="*/ 190500 h 358587"/>
                <a:gd name="connsiteX38" fmla="*/ 1898650 w 2216150"/>
                <a:gd name="connsiteY38" fmla="*/ 196850 h 358587"/>
                <a:gd name="connsiteX39" fmla="*/ 1936750 w 2216150"/>
                <a:gd name="connsiteY39" fmla="*/ 222250 h 358587"/>
                <a:gd name="connsiteX40" fmla="*/ 1962150 w 2216150"/>
                <a:gd name="connsiteY40" fmla="*/ 247650 h 358587"/>
                <a:gd name="connsiteX41" fmla="*/ 2000250 w 2216150"/>
                <a:gd name="connsiteY41" fmla="*/ 273050 h 358587"/>
                <a:gd name="connsiteX42" fmla="*/ 2019300 w 2216150"/>
                <a:gd name="connsiteY42" fmla="*/ 285750 h 358587"/>
                <a:gd name="connsiteX43" fmla="*/ 2038350 w 2216150"/>
                <a:gd name="connsiteY43" fmla="*/ 292100 h 358587"/>
                <a:gd name="connsiteX44" fmla="*/ 2216150 w 2216150"/>
                <a:gd name="connsiteY44" fmla="*/ 285750 h 358587"/>
                <a:gd name="connsiteX45" fmla="*/ 2216150 w 2216150"/>
                <a:gd name="connsiteY45" fmla="*/ 285750 h 358587"/>
                <a:gd name="connsiteX0" fmla="*/ 0 w 2216150"/>
                <a:gd name="connsiteY0" fmla="*/ 38100 h 358587"/>
                <a:gd name="connsiteX1" fmla="*/ 666750 w 2216150"/>
                <a:gd name="connsiteY1" fmla="*/ 0 h 358587"/>
                <a:gd name="connsiteX2" fmla="*/ 717550 w 2216150"/>
                <a:gd name="connsiteY2" fmla="*/ 3175 h 358587"/>
                <a:gd name="connsiteX3" fmla="*/ 895350 w 2216150"/>
                <a:gd name="connsiteY3" fmla="*/ 12700 h 358587"/>
                <a:gd name="connsiteX4" fmla="*/ 920750 w 2216150"/>
                <a:gd name="connsiteY4" fmla="*/ 95250 h 358587"/>
                <a:gd name="connsiteX5" fmla="*/ 901700 w 2216150"/>
                <a:gd name="connsiteY5" fmla="*/ 120650 h 358587"/>
                <a:gd name="connsiteX6" fmla="*/ 920750 w 2216150"/>
                <a:gd name="connsiteY6" fmla="*/ 133350 h 358587"/>
                <a:gd name="connsiteX7" fmla="*/ 914400 w 2216150"/>
                <a:gd name="connsiteY7" fmla="*/ 146050 h 358587"/>
                <a:gd name="connsiteX8" fmla="*/ 952500 w 2216150"/>
                <a:gd name="connsiteY8" fmla="*/ 190500 h 358587"/>
                <a:gd name="connsiteX9" fmla="*/ 958850 w 2216150"/>
                <a:gd name="connsiteY9" fmla="*/ 209550 h 358587"/>
                <a:gd name="connsiteX10" fmla="*/ 965200 w 2216150"/>
                <a:gd name="connsiteY10" fmla="*/ 241300 h 358587"/>
                <a:gd name="connsiteX11" fmla="*/ 1003300 w 2216150"/>
                <a:gd name="connsiteY11" fmla="*/ 254000 h 358587"/>
                <a:gd name="connsiteX12" fmla="*/ 1022350 w 2216150"/>
                <a:gd name="connsiteY12" fmla="*/ 266700 h 358587"/>
                <a:gd name="connsiteX13" fmla="*/ 1028700 w 2216150"/>
                <a:gd name="connsiteY13" fmla="*/ 285750 h 358587"/>
                <a:gd name="connsiteX14" fmla="*/ 1066800 w 2216150"/>
                <a:gd name="connsiteY14" fmla="*/ 298450 h 358587"/>
                <a:gd name="connsiteX15" fmla="*/ 1073150 w 2216150"/>
                <a:gd name="connsiteY15" fmla="*/ 317500 h 358587"/>
                <a:gd name="connsiteX16" fmla="*/ 1092200 w 2216150"/>
                <a:gd name="connsiteY16" fmla="*/ 323850 h 358587"/>
                <a:gd name="connsiteX17" fmla="*/ 1111250 w 2216150"/>
                <a:gd name="connsiteY17" fmla="*/ 336550 h 358587"/>
                <a:gd name="connsiteX18" fmla="*/ 1130300 w 2216150"/>
                <a:gd name="connsiteY18" fmla="*/ 342900 h 358587"/>
                <a:gd name="connsiteX19" fmla="*/ 1308100 w 2216150"/>
                <a:gd name="connsiteY19" fmla="*/ 349250 h 358587"/>
                <a:gd name="connsiteX20" fmla="*/ 1390650 w 2216150"/>
                <a:gd name="connsiteY20" fmla="*/ 355600 h 358587"/>
                <a:gd name="connsiteX21" fmla="*/ 1403350 w 2216150"/>
                <a:gd name="connsiteY21" fmla="*/ 317500 h 358587"/>
                <a:gd name="connsiteX22" fmla="*/ 1416050 w 2216150"/>
                <a:gd name="connsiteY22" fmla="*/ 298450 h 358587"/>
                <a:gd name="connsiteX23" fmla="*/ 1422400 w 2216150"/>
                <a:gd name="connsiteY23" fmla="*/ 273050 h 358587"/>
                <a:gd name="connsiteX24" fmla="*/ 1428750 w 2216150"/>
                <a:gd name="connsiteY24" fmla="*/ 254000 h 358587"/>
                <a:gd name="connsiteX25" fmla="*/ 1466850 w 2216150"/>
                <a:gd name="connsiteY25" fmla="*/ 241300 h 358587"/>
                <a:gd name="connsiteX26" fmla="*/ 1485900 w 2216150"/>
                <a:gd name="connsiteY26" fmla="*/ 228600 h 358587"/>
                <a:gd name="connsiteX27" fmla="*/ 1492250 w 2216150"/>
                <a:gd name="connsiteY27" fmla="*/ 209550 h 358587"/>
                <a:gd name="connsiteX28" fmla="*/ 1479550 w 2216150"/>
                <a:gd name="connsiteY28" fmla="*/ 146050 h 358587"/>
                <a:gd name="connsiteX29" fmla="*/ 1555750 w 2216150"/>
                <a:gd name="connsiteY29" fmla="*/ 127000 h 358587"/>
                <a:gd name="connsiteX30" fmla="*/ 1644650 w 2216150"/>
                <a:gd name="connsiteY30" fmla="*/ 133350 h 358587"/>
                <a:gd name="connsiteX31" fmla="*/ 1657350 w 2216150"/>
                <a:gd name="connsiteY31" fmla="*/ 171450 h 358587"/>
                <a:gd name="connsiteX32" fmla="*/ 1670050 w 2216150"/>
                <a:gd name="connsiteY32" fmla="*/ 209550 h 358587"/>
                <a:gd name="connsiteX33" fmla="*/ 1733550 w 2216150"/>
                <a:gd name="connsiteY33" fmla="*/ 228600 h 358587"/>
                <a:gd name="connsiteX34" fmla="*/ 1822450 w 2216150"/>
                <a:gd name="connsiteY34" fmla="*/ 222250 h 358587"/>
                <a:gd name="connsiteX35" fmla="*/ 1828800 w 2216150"/>
                <a:gd name="connsiteY35" fmla="*/ 203200 h 358587"/>
                <a:gd name="connsiteX36" fmla="*/ 1860550 w 2216150"/>
                <a:gd name="connsiteY36" fmla="*/ 177800 h 358587"/>
                <a:gd name="connsiteX37" fmla="*/ 1879600 w 2216150"/>
                <a:gd name="connsiteY37" fmla="*/ 190500 h 358587"/>
                <a:gd name="connsiteX38" fmla="*/ 1898650 w 2216150"/>
                <a:gd name="connsiteY38" fmla="*/ 196850 h 358587"/>
                <a:gd name="connsiteX39" fmla="*/ 1936750 w 2216150"/>
                <a:gd name="connsiteY39" fmla="*/ 222250 h 358587"/>
                <a:gd name="connsiteX40" fmla="*/ 1962150 w 2216150"/>
                <a:gd name="connsiteY40" fmla="*/ 247650 h 358587"/>
                <a:gd name="connsiteX41" fmla="*/ 2000250 w 2216150"/>
                <a:gd name="connsiteY41" fmla="*/ 273050 h 358587"/>
                <a:gd name="connsiteX42" fmla="*/ 2019300 w 2216150"/>
                <a:gd name="connsiteY42" fmla="*/ 285750 h 358587"/>
                <a:gd name="connsiteX43" fmla="*/ 2038350 w 2216150"/>
                <a:gd name="connsiteY43" fmla="*/ 292100 h 358587"/>
                <a:gd name="connsiteX44" fmla="*/ 2216150 w 2216150"/>
                <a:gd name="connsiteY44" fmla="*/ 285750 h 358587"/>
                <a:gd name="connsiteX45" fmla="*/ 2216150 w 2216150"/>
                <a:gd name="connsiteY45" fmla="*/ 285750 h 358587"/>
                <a:gd name="connsiteX0" fmla="*/ 0 w 2216150"/>
                <a:gd name="connsiteY0" fmla="*/ 38100 h 358587"/>
                <a:gd name="connsiteX1" fmla="*/ 666750 w 2216150"/>
                <a:gd name="connsiteY1" fmla="*/ 0 h 358587"/>
                <a:gd name="connsiteX2" fmla="*/ 717550 w 2216150"/>
                <a:gd name="connsiteY2" fmla="*/ 3175 h 358587"/>
                <a:gd name="connsiteX3" fmla="*/ 895350 w 2216150"/>
                <a:gd name="connsiteY3" fmla="*/ 12700 h 358587"/>
                <a:gd name="connsiteX4" fmla="*/ 920750 w 2216150"/>
                <a:gd name="connsiteY4" fmla="*/ 95250 h 358587"/>
                <a:gd name="connsiteX5" fmla="*/ 901700 w 2216150"/>
                <a:gd name="connsiteY5" fmla="*/ 120650 h 358587"/>
                <a:gd name="connsiteX6" fmla="*/ 920750 w 2216150"/>
                <a:gd name="connsiteY6" fmla="*/ 133350 h 358587"/>
                <a:gd name="connsiteX7" fmla="*/ 914400 w 2216150"/>
                <a:gd name="connsiteY7" fmla="*/ 146050 h 358587"/>
                <a:gd name="connsiteX8" fmla="*/ 952500 w 2216150"/>
                <a:gd name="connsiteY8" fmla="*/ 190500 h 358587"/>
                <a:gd name="connsiteX9" fmla="*/ 958850 w 2216150"/>
                <a:gd name="connsiteY9" fmla="*/ 209550 h 358587"/>
                <a:gd name="connsiteX10" fmla="*/ 965200 w 2216150"/>
                <a:gd name="connsiteY10" fmla="*/ 241300 h 358587"/>
                <a:gd name="connsiteX11" fmla="*/ 1003300 w 2216150"/>
                <a:gd name="connsiteY11" fmla="*/ 254000 h 358587"/>
                <a:gd name="connsiteX12" fmla="*/ 1022350 w 2216150"/>
                <a:gd name="connsiteY12" fmla="*/ 266700 h 358587"/>
                <a:gd name="connsiteX13" fmla="*/ 1028700 w 2216150"/>
                <a:gd name="connsiteY13" fmla="*/ 285750 h 358587"/>
                <a:gd name="connsiteX14" fmla="*/ 1066800 w 2216150"/>
                <a:gd name="connsiteY14" fmla="*/ 298450 h 358587"/>
                <a:gd name="connsiteX15" fmla="*/ 1073150 w 2216150"/>
                <a:gd name="connsiteY15" fmla="*/ 317500 h 358587"/>
                <a:gd name="connsiteX16" fmla="*/ 1092200 w 2216150"/>
                <a:gd name="connsiteY16" fmla="*/ 323850 h 358587"/>
                <a:gd name="connsiteX17" fmla="*/ 1111250 w 2216150"/>
                <a:gd name="connsiteY17" fmla="*/ 336550 h 358587"/>
                <a:gd name="connsiteX18" fmla="*/ 1130300 w 2216150"/>
                <a:gd name="connsiteY18" fmla="*/ 342900 h 358587"/>
                <a:gd name="connsiteX19" fmla="*/ 1308100 w 2216150"/>
                <a:gd name="connsiteY19" fmla="*/ 349250 h 358587"/>
                <a:gd name="connsiteX20" fmla="*/ 1390650 w 2216150"/>
                <a:gd name="connsiteY20" fmla="*/ 355600 h 358587"/>
                <a:gd name="connsiteX21" fmla="*/ 1403350 w 2216150"/>
                <a:gd name="connsiteY21" fmla="*/ 317500 h 358587"/>
                <a:gd name="connsiteX22" fmla="*/ 1416050 w 2216150"/>
                <a:gd name="connsiteY22" fmla="*/ 298450 h 358587"/>
                <a:gd name="connsiteX23" fmla="*/ 1422400 w 2216150"/>
                <a:gd name="connsiteY23" fmla="*/ 273050 h 358587"/>
                <a:gd name="connsiteX24" fmla="*/ 1428750 w 2216150"/>
                <a:gd name="connsiteY24" fmla="*/ 254000 h 358587"/>
                <a:gd name="connsiteX25" fmla="*/ 1466850 w 2216150"/>
                <a:gd name="connsiteY25" fmla="*/ 241300 h 358587"/>
                <a:gd name="connsiteX26" fmla="*/ 1485900 w 2216150"/>
                <a:gd name="connsiteY26" fmla="*/ 228600 h 358587"/>
                <a:gd name="connsiteX27" fmla="*/ 1492250 w 2216150"/>
                <a:gd name="connsiteY27" fmla="*/ 209550 h 358587"/>
                <a:gd name="connsiteX28" fmla="*/ 1479550 w 2216150"/>
                <a:gd name="connsiteY28" fmla="*/ 146050 h 358587"/>
                <a:gd name="connsiteX29" fmla="*/ 1555750 w 2216150"/>
                <a:gd name="connsiteY29" fmla="*/ 127000 h 358587"/>
                <a:gd name="connsiteX30" fmla="*/ 1644650 w 2216150"/>
                <a:gd name="connsiteY30" fmla="*/ 133350 h 358587"/>
                <a:gd name="connsiteX31" fmla="*/ 1657350 w 2216150"/>
                <a:gd name="connsiteY31" fmla="*/ 171450 h 358587"/>
                <a:gd name="connsiteX32" fmla="*/ 1670050 w 2216150"/>
                <a:gd name="connsiteY32" fmla="*/ 209550 h 358587"/>
                <a:gd name="connsiteX33" fmla="*/ 1733550 w 2216150"/>
                <a:gd name="connsiteY33" fmla="*/ 228600 h 358587"/>
                <a:gd name="connsiteX34" fmla="*/ 1822450 w 2216150"/>
                <a:gd name="connsiteY34" fmla="*/ 222250 h 358587"/>
                <a:gd name="connsiteX35" fmla="*/ 1828800 w 2216150"/>
                <a:gd name="connsiteY35" fmla="*/ 203200 h 358587"/>
                <a:gd name="connsiteX36" fmla="*/ 1860550 w 2216150"/>
                <a:gd name="connsiteY36" fmla="*/ 177800 h 358587"/>
                <a:gd name="connsiteX37" fmla="*/ 1879600 w 2216150"/>
                <a:gd name="connsiteY37" fmla="*/ 190500 h 358587"/>
                <a:gd name="connsiteX38" fmla="*/ 1898650 w 2216150"/>
                <a:gd name="connsiteY38" fmla="*/ 196850 h 358587"/>
                <a:gd name="connsiteX39" fmla="*/ 1936750 w 2216150"/>
                <a:gd name="connsiteY39" fmla="*/ 222250 h 358587"/>
                <a:gd name="connsiteX40" fmla="*/ 1962150 w 2216150"/>
                <a:gd name="connsiteY40" fmla="*/ 247650 h 358587"/>
                <a:gd name="connsiteX41" fmla="*/ 2000250 w 2216150"/>
                <a:gd name="connsiteY41" fmla="*/ 273050 h 358587"/>
                <a:gd name="connsiteX42" fmla="*/ 2019300 w 2216150"/>
                <a:gd name="connsiteY42" fmla="*/ 285750 h 358587"/>
                <a:gd name="connsiteX43" fmla="*/ 2038350 w 2216150"/>
                <a:gd name="connsiteY43" fmla="*/ 292100 h 358587"/>
                <a:gd name="connsiteX44" fmla="*/ 2216150 w 2216150"/>
                <a:gd name="connsiteY44" fmla="*/ 285750 h 358587"/>
                <a:gd name="connsiteX45" fmla="*/ 2216150 w 2216150"/>
                <a:gd name="connsiteY45" fmla="*/ 285750 h 35858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</a:cxnLst>
              <a:rect l="l" t="t" r="r" b="b"/>
              <a:pathLst>
                <a:path w="2216150" h="358587">
                  <a:moveTo>
                    <a:pt x="0" y="38100"/>
                  </a:moveTo>
                  <a:lnTo>
                    <a:pt x="666750" y="0"/>
                  </a:lnTo>
                  <a:lnTo>
                    <a:pt x="717550" y="3175"/>
                  </a:lnTo>
                  <a:cubicBezTo>
                    <a:pt x="767292" y="15875"/>
                    <a:pt x="836083" y="9525"/>
                    <a:pt x="895350" y="12700"/>
                  </a:cubicBezTo>
                  <a:lnTo>
                    <a:pt x="920750" y="95250"/>
                  </a:lnTo>
                  <a:lnTo>
                    <a:pt x="901700" y="120650"/>
                  </a:lnTo>
                  <a:lnTo>
                    <a:pt x="920750" y="133350"/>
                  </a:lnTo>
                  <a:lnTo>
                    <a:pt x="914400" y="146050"/>
                  </a:lnTo>
                  <a:cubicBezTo>
                    <a:pt x="927100" y="160867"/>
                    <a:pt x="941309" y="174513"/>
                    <a:pt x="952500" y="190500"/>
                  </a:cubicBezTo>
                  <a:cubicBezTo>
                    <a:pt x="956338" y="195984"/>
                    <a:pt x="957227" y="203056"/>
                    <a:pt x="958850" y="209550"/>
                  </a:cubicBezTo>
                  <a:cubicBezTo>
                    <a:pt x="961468" y="220021"/>
                    <a:pt x="957568" y="233668"/>
                    <a:pt x="965200" y="241300"/>
                  </a:cubicBezTo>
                  <a:cubicBezTo>
                    <a:pt x="974666" y="250766"/>
                    <a:pt x="1003300" y="254000"/>
                    <a:pt x="1003300" y="254000"/>
                  </a:cubicBezTo>
                  <a:cubicBezTo>
                    <a:pt x="1009650" y="258233"/>
                    <a:pt x="1017582" y="260741"/>
                    <a:pt x="1022350" y="266700"/>
                  </a:cubicBezTo>
                  <a:cubicBezTo>
                    <a:pt x="1026531" y="271927"/>
                    <a:pt x="1023253" y="281859"/>
                    <a:pt x="1028700" y="285750"/>
                  </a:cubicBezTo>
                  <a:cubicBezTo>
                    <a:pt x="1039593" y="293531"/>
                    <a:pt x="1066800" y="298450"/>
                    <a:pt x="1066800" y="298450"/>
                  </a:cubicBezTo>
                  <a:cubicBezTo>
                    <a:pt x="1068917" y="304800"/>
                    <a:pt x="1068417" y="312767"/>
                    <a:pt x="1073150" y="317500"/>
                  </a:cubicBezTo>
                  <a:cubicBezTo>
                    <a:pt x="1077883" y="322233"/>
                    <a:pt x="1086213" y="320857"/>
                    <a:pt x="1092200" y="323850"/>
                  </a:cubicBezTo>
                  <a:cubicBezTo>
                    <a:pt x="1099026" y="327263"/>
                    <a:pt x="1104424" y="333137"/>
                    <a:pt x="1111250" y="336550"/>
                  </a:cubicBezTo>
                  <a:cubicBezTo>
                    <a:pt x="1117237" y="339543"/>
                    <a:pt x="1123620" y="342469"/>
                    <a:pt x="1130300" y="342900"/>
                  </a:cubicBezTo>
                  <a:cubicBezTo>
                    <a:pt x="1189481" y="346718"/>
                    <a:pt x="1248833" y="347133"/>
                    <a:pt x="1308100" y="349250"/>
                  </a:cubicBezTo>
                  <a:cubicBezTo>
                    <a:pt x="1335617" y="351367"/>
                    <a:pt x="1364468" y="364327"/>
                    <a:pt x="1390650" y="355600"/>
                  </a:cubicBezTo>
                  <a:cubicBezTo>
                    <a:pt x="1403350" y="351367"/>
                    <a:pt x="1399117" y="330200"/>
                    <a:pt x="1403350" y="317500"/>
                  </a:cubicBezTo>
                  <a:cubicBezTo>
                    <a:pt x="1405763" y="310260"/>
                    <a:pt x="1411817" y="304800"/>
                    <a:pt x="1416050" y="298450"/>
                  </a:cubicBezTo>
                  <a:cubicBezTo>
                    <a:pt x="1418167" y="289983"/>
                    <a:pt x="1420002" y="281441"/>
                    <a:pt x="1422400" y="273050"/>
                  </a:cubicBezTo>
                  <a:cubicBezTo>
                    <a:pt x="1424239" y="266614"/>
                    <a:pt x="1423303" y="257891"/>
                    <a:pt x="1428750" y="254000"/>
                  </a:cubicBezTo>
                  <a:cubicBezTo>
                    <a:pt x="1439643" y="246219"/>
                    <a:pt x="1466850" y="241300"/>
                    <a:pt x="1466850" y="241300"/>
                  </a:cubicBezTo>
                  <a:cubicBezTo>
                    <a:pt x="1473200" y="237067"/>
                    <a:pt x="1481132" y="234559"/>
                    <a:pt x="1485900" y="228600"/>
                  </a:cubicBezTo>
                  <a:cubicBezTo>
                    <a:pt x="1490081" y="223373"/>
                    <a:pt x="1492250" y="216243"/>
                    <a:pt x="1492250" y="209550"/>
                  </a:cubicBezTo>
                  <a:cubicBezTo>
                    <a:pt x="1492250" y="180364"/>
                    <a:pt x="1487370" y="169510"/>
                    <a:pt x="1479550" y="146050"/>
                  </a:cubicBezTo>
                  <a:cubicBezTo>
                    <a:pt x="1529864" y="129279"/>
                    <a:pt x="1504445" y="135551"/>
                    <a:pt x="1555750" y="127000"/>
                  </a:cubicBezTo>
                  <a:cubicBezTo>
                    <a:pt x="1585383" y="129117"/>
                    <a:pt x="1617432" y="121442"/>
                    <a:pt x="1644650" y="133350"/>
                  </a:cubicBezTo>
                  <a:cubicBezTo>
                    <a:pt x="1656915" y="138716"/>
                    <a:pt x="1653117" y="158750"/>
                    <a:pt x="1657350" y="171450"/>
                  </a:cubicBezTo>
                  <a:lnTo>
                    <a:pt x="1670050" y="209550"/>
                  </a:lnTo>
                  <a:cubicBezTo>
                    <a:pt x="1675826" y="226877"/>
                    <a:pt x="1732001" y="228379"/>
                    <a:pt x="1733550" y="228600"/>
                  </a:cubicBezTo>
                  <a:cubicBezTo>
                    <a:pt x="1763183" y="226483"/>
                    <a:pt x="1793744" y="229905"/>
                    <a:pt x="1822450" y="222250"/>
                  </a:cubicBezTo>
                  <a:cubicBezTo>
                    <a:pt x="1828917" y="220525"/>
                    <a:pt x="1825807" y="209187"/>
                    <a:pt x="1828800" y="203200"/>
                  </a:cubicBezTo>
                  <a:cubicBezTo>
                    <a:pt x="1840289" y="180222"/>
                    <a:pt x="1838578" y="185124"/>
                    <a:pt x="1860550" y="177800"/>
                  </a:cubicBezTo>
                  <a:cubicBezTo>
                    <a:pt x="1866900" y="182033"/>
                    <a:pt x="1872774" y="187087"/>
                    <a:pt x="1879600" y="190500"/>
                  </a:cubicBezTo>
                  <a:cubicBezTo>
                    <a:pt x="1885587" y="193493"/>
                    <a:pt x="1892799" y="193599"/>
                    <a:pt x="1898650" y="196850"/>
                  </a:cubicBezTo>
                  <a:cubicBezTo>
                    <a:pt x="1911993" y="204263"/>
                    <a:pt x="1936750" y="222250"/>
                    <a:pt x="1936750" y="222250"/>
                  </a:cubicBezTo>
                  <a:cubicBezTo>
                    <a:pt x="1947526" y="254577"/>
                    <a:pt x="1934441" y="232256"/>
                    <a:pt x="1962150" y="247650"/>
                  </a:cubicBezTo>
                  <a:cubicBezTo>
                    <a:pt x="1975493" y="255063"/>
                    <a:pt x="1987550" y="264583"/>
                    <a:pt x="2000250" y="273050"/>
                  </a:cubicBezTo>
                  <a:cubicBezTo>
                    <a:pt x="2006600" y="277283"/>
                    <a:pt x="2012060" y="283337"/>
                    <a:pt x="2019300" y="285750"/>
                  </a:cubicBezTo>
                  <a:lnTo>
                    <a:pt x="2038350" y="292100"/>
                  </a:lnTo>
                  <a:cubicBezTo>
                    <a:pt x="2173784" y="284576"/>
                    <a:pt x="2114491" y="285750"/>
                    <a:pt x="2216150" y="285750"/>
                  </a:cubicBezTo>
                  <a:lnTo>
                    <a:pt x="2216150" y="285750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18" name="Freeform 17"/>
            <p:cNvSpPr/>
            <p:nvPr>
              <p:custDataLst>
                <p:tags r:id="rId39"/>
              </p:custDataLst>
            </p:nvPr>
          </p:nvSpPr>
          <p:spPr>
            <a:xfrm>
              <a:off x="4906507" y="4851071"/>
              <a:ext cx="108012" cy="168019"/>
            </a:xfrm>
            <a:custGeom>
              <a:avLst/>
              <a:gdLst>
                <a:gd name="connsiteX0" fmla="*/ 0 w 285750"/>
                <a:gd name="connsiteY0" fmla="*/ 0 h 444500"/>
                <a:gd name="connsiteX1" fmla="*/ 0 w 285750"/>
                <a:gd name="connsiteY1" fmla="*/ 0 h 444500"/>
                <a:gd name="connsiteX2" fmla="*/ 44450 w 285750"/>
                <a:gd name="connsiteY2" fmla="*/ 44450 h 444500"/>
                <a:gd name="connsiteX3" fmla="*/ 82550 w 285750"/>
                <a:gd name="connsiteY3" fmla="*/ 69850 h 444500"/>
                <a:gd name="connsiteX4" fmla="*/ 158750 w 285750"/>
                <a:gd name="connsiteY4" fmla="*/ 120650 h 444500"/>
                <a:gd name="connsiteX5" fmla="*/ 196850 w 285750"/>
                <a:gd name="connsiteY5" fmla="*/ 133350 h 444500"/>
                <a:gd name="connsiteX6" fmla="*/ 247650 w 285750"/>
                <a:gd name="connsiteY6" fmla="*/ 146050 h 444500"/>
                <a:gd name="connsiteX7" fmla="*/ 285750 w 285750"/>
                <a:gd name="connsiteY7" fmla="*/ 158750 h 444500"/>
                <a:gd name="connsiteX8" fmla="*/ 254000 w 285750"/>
                <a:gd name="connsiteY8" fmla="*/ 234950 h 444500"/>
                <a:gd name="connsiteX9" fmla="*/ 254000 w 285750"/>
                <a:gd name="connsiteY9" fmla="*/ 234950 h 444500"/>
                <a:gd name="connsiteX10" fmla="*/ 241300 w 285750"/>
                <a:gd name="connsiteY10" fmla="*/ 273050 h 444500"/>
                <a:gd name="connsiteX11" fmla="*/ 234950 w 285750"/>
                <a:gd name="connsiteY11" fmla="*/ 349250 h 444500"/>
                <a:gd name="connsiteX12" fmla="*/ 215900 w 285750"/>
                <a:gd name="connsiteY12" fmla="*/ 361950 h 444500"/>
                <a:gd name="connsiteX13" fmla="*/ 120650 w 285750"/>
                <a:gd name="connsiteY13" fmla="*/ 387350 h 444500"/>
                <a:gd name="connsiteX14" fmla="*/ 63500 w 285750"/>
                <a:gd name="connsiteY14" fmla="*/ 425450 h 444500"/>
                <a:gd name="connsiteX15" fmla="*/ 44450 w 285750"/>
                <a:gd name="connsiteY15" fmla="*/ 444500 h 444500"/>
                <a:gd name="connsiteX16" fmla="*/ 44450 w 285750"/>
                <a:gd name="connsiteY16" fmla="*/ 444500 h 444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285750" h="444500">
                  <a:moveTo>
                    <a:pt x="0" y="0"/>
                  </a:moveTo>
                  <a:lnTo>
                    <a:pt x="0" y="0"/>
                  </a:lnTo>
                  <a:cubicBezTo>
                    <a:pt x="14817" y="14817"/>
                    <a:pt x="28454" y="30915"/>
                    <a:pt x="44450" y="44450"/>
                  </a:cubicBezTo>
                  <a:cubicBezTo>
                    <a:pt x="56102" y="54309"/>
                    <a:pt x="69850" y="61383"/>
                    <a:pt x="82550" y="69850"/>
                  </a:cubicBezTo>
                  <a:lnTo>
                    <a:pt x="158750" y="120650"/>
                  </a:lnTo>
                  <a:cubicBezTo>
                    <a:pt x="169889" y="128076"/>
                    <a:pt x="184150" y="129117"/>
                    <a:pt x="196850" y="133350"/>
                  </a:cubicBezTo>
                  <a:cubicBezTo>
                    <a:pt x="254652" y="152617"/>
                    <a:pt x="163360" y="123062"/>
                    <a:pt x="247650" y="146050"/>
                  </a:cubicBezTo>
                  <a:cubicBezTo>
                    <a:pt x="260565" y="149572"/>
                    <a:pt x="285750" y="158750"/>
                    <a:pt x="285750" y="158750"/>
                  </a:cubicBezTo>
                  <a:cubicBezTo>
                    <a:pt x="276891" y="211906"/>
                    <a:pt x="286542" y="186137"/>
                    <a:pt x="254000" y="234950"/>
                  </a:cubicBezTo>
                  <a:lnTo>
                    <a:pt x="254000" y="234950"/>
                  </a:lnTo>
                  <a:lnTo>
                    <a:pt x="241300" y="273050"/>
                  </a:lnTo>
                  <a:cubicBezTo>
                    <a:pt x="239183" y="298450"/>
                    <a:pt x="241952" y="324743"/>
                    <a:pt x="234950" y="349250"/>
                  </a:cubicBezTo>
                  <a:cubicBezTo>
                    <a:pt x="232853" y="356588"/>
                    <a:pt x="221296" y="356554"/>
                    <a:pt x="215900" y="361950"/>
                  </a:cubicBezTo>
                  <a:cubicBezTo>
                    <a:pt x="172720" y="405130"/>
                    <a:pt x="265672" y="376194"/>
                    <a:pt x="120650" y="387350"/>
                  </a:cubicBezTo>
                  <a:lnTo>
                    <a:pt x="63500" y="425450"/>
                  </a:lnTo>
                  <a:cubicBezTo>
                    <a:pt x="42689" y="439324"/>
                    <a:pt x="44450" y="430518"/>
                    <a:pt x="44450" y="444500"/>
                  </a:cubicBezTo>
                  <a:lnTo>
                    <a:pt x="44450" y="444500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153" name="Freeform 16"/>
            <p:cNvSpPr>
              <a:spLocks/>
            </p:cNvSpPr>
            <p:nvPr/>
          </p:nvSpPr>
          <p:spPr bwMode="gray">
            <a:xfrm>
              <a:off x="5166347" y="4897805"/>
              <a:ext cx="297761" cy="165508"/>
            </a:xfrm>
            <a:custGeom>
              <a:avLst/>
              <a:gdLst/>
              <a:ahLst/>
              <a:cxnLst/>
              <a:rect l="l" t="t" r="r" b="b"/>
              <a:pathLst>
                <a:path w="894550" h="497229">
                  <a:moveTo>
                    <a:pt x="476090" y="0"/>
                  </a:moveTo>
                  <a:lnTo>
                    <a:pt x="476090" y="5550"/>
                  </a:lnTo>
                  <a:lnTo>
                    <a:pt x="476090" y="11100"/>
                  </a:lnTo>
                  <a:lnTo>
                    <a:pt x="468340" y="16650"/>
                  </a:lnTo>
                  <a:lnTo>
                    <a:pt x="476090" y="22201"/>
                  </a:lnTo>
                  <a:lnTo>
                    <a:pt x="476090" y="27751"/>
                  </a:lnTo>
                  <a:lnTo>
                    <a:pt x="476090" y="33301"/>
                  </a:lnTo>
                  <a:lnTo>
                    <a:pt x="476090" y="38851"/>
                  </a:lnTo>
                  <a:lnTo>
                    <a:pt x="491588" y="55501"/>
                  </a:lnTo>
                  <a:lnTo>
                    <a:pt x="499338" y="61051"/>
                  </a:lnTo>
                  <a:lnTo>
                    <a:pt x="522585" y="88802"/>
                  </a:lnTo>
                  <a:lnTo>
                    <a:pt x="530334" y="99902"/>
                  </a:lnTo>
                  <a:lnTo>
                    <a:pt x="530334" y="116553"/>
                  </a:lnTo>
                  <a:lnTo>
                    <a:pt x="530334" y="122103"/>
                  </a:lnTo>
                  <a:lnTo>
                    <a:pt x="538084" y="122103"/>
                  </a:lnTo>
                  <a:lnTo>
                    <a:pt x="545833" y="127653"/>
                  </a:lnTo>
                  <a:lnTo>
                    <a:pt x="553582" y="133203"/>
                  </a:lnTo>
                  <a:lnTo>
                    <a:pt x="561332" y="133203"/>
                  </a:lnTo>
                  <a:lnTo>
                    <a:pt x="561332" y="138753"/>
                  </a:lnTo>
                  <a:lnTo>
                    <a:pt x="569081" y="138753"/>
                  </a:lnTo>
                  <a:lnTo>
                    <a:pt x="576830" y="144303"/>
                  </a:lnTo>
                  <a:lnTo>
                    <a:pt x="584579" y="144303"/>
                  </a:lnTo>
                  <a:lnTo>
                    <a:pt x="584579" y="149853"/>
                  </a:lnTo>
                  <a:lnTo>
                    <a:pt x="592329" y="149853"/>
                  </a:lnTo>
                  <a:lnTo>
                    <a:pt x="600078" y="155403"/>
                  </a:lnTo>
                  <a:lnTo>
                    <a:pt x="607827" y="155403"/>
                  </a:lnTo>
                  <a:lnTo>
                    <a:pt x="607827" y="160954"/>
                  </a:lnTo>
                  <a:lnTo>
                    <a:pt x="615576" y="160954"/>
                  </a:lnTo>
                  <a:lnTo>
                    <a:pt x="615576" y="166504"/>
                  </a:lnTo>
                  <a:lnTo>
                    <a:pt x="615576" y="172054"/>
                  </a:lnTo>
                  <a:lnTo>
                    <a:pt x="615576" y="177604"/>
                  </a:lnTo>
                  <a:lnTo>
                    <a:pt x="607827" y="183154"/>
                  </a:lnTo>
                  <a:lnTo>
                    <a:pt x="607827" y="188704"/>
                  </a:lnTo>
                  <a:lnTo>
                    <a:pt x="607827" y="199804"/>
                  </a:lnTo>
                  <a:lnTo>
                    <a:pt x="607827" y="205355"/>
                  </a:lnTo>
                  <a:lnTo>
                    <a:pt x="607827" y="210905"/>
                  </a:lnTo>
                  <a:lnTo>
                    <a:pt x="615576" y="210905"/>
                  </a:lnTo>
                  <a:lnTo>
                    <a:pt x="623326" y="216455"/>
                  </a:lnTo>
                  <a:lnTo>
                    <a:pt x="623326" y="210905"/>
                  </a:lnTo>
                  <a:lnTo>
                    <a:pt x="631075" y="210905"/>
                  </a:lnTo>
                  <a:lnTo>
                    <a:pt x="638824" y="205355"/>
                  </a:lnTo>
                  <a:lnTo>
                    <a:pt x="646574" y="205355"/>
                  </a:lnTo>
                  <a:lnTo>
                    <a:pt x="654323" y="205355"/>
                  </a:lnTo>
                  <a:lnTo>
                    <a:pt x="662072" y="205355"/>
                  </a:lnTo>
                  <a:lnTo>
                    <a:pt x="662072" y="199804"/>
                  </a:lnTo>
                  <a:lnTo>
                    <a:pt x="669821" y="199804"/>
                  </a:lnTo>
                  <a:lnTo>
                    <a:pt x="677571" y="194254"/>
                  </a:lnTo>
                  <a:lnTo>
                    <a:pt x="685320" y="194254"/>
                  </a:lnTo>
                  <a:lnTo>
                    <a:pt x="685320" y="188704"/>
                  </a:lnTo>
                  <a:lnTo>
                    <a:pt x="693069" y="188704"/>
                  </a:lnTo>
                  <a:lnTo>
                    <a:pt x="700818" y="188704"/>
                  </a:lnTo>
                  <a:lnTo>
                    <a:pt x="708568" y="188704"/>
                  </a:lnTo>
                  <a:lnTo>
                    <a:pt x="708568" y="183154"/>
                  </a:lnTo>
                  <a:lnTo>
                    <a:pt x="716317" y="183154"/>
                  </a:lnTo>
                  <a:lnTo>
                    <a:pt x="716317" y="188704"/>
                  </a:lnTo>
                  <a:lnTo>
                    <a:pt x="724066" y="188704"/>
                  </a:lnTo>
                  <a:lnTo>
                    <a:pt x="731815" y="188704"/>
                  </a:lnTo>
                  <a:lnTo>
                    <a:pt x="739565" y="188704"/>
                  </a:lnTo>
                  <a:lnTo>
                    <a:pt x="739565" y="194254"/>
                  </a:lnTo>
                  <a:lnTo>
                    <a:pt x="747314" y="194254"/>
                  </a:lnTo>
                  <a:lnTo>
                    <a:pt x="747314" y="199804"/>
                  </a:lnTo>
                  <a:lnTo>
                    <a:pt x="755063" y="199804"/>
                  </a:lnTo>
                  <a:lnTo>
                    <a:pt x="762812" y="194254"/>
                  </a:lnTo>
                  <a:lnTo>
                    <a:pt x="770562" y="194254"/>
                  </a:lnTo>
                  <a:lnTo>
                    <a:pt x="778311" y="199804"/>
                  </a:lnTo>
                  <a:lnTo>
                    <a:pt x="778311" y="194254"/>
                  </a:lnTo>
                  <a:lnTo>
                    <a:pt x="786060" y="194254"/>
                  </a:lnTo>
                  <a:lnTo>
                    <a:pt x="793810" y="194254"/>
                  </a:lnTo>
                  <a:lnTo>
                    <a:pt x="793810" y="199804"/>
                  </a:lnTo>
                  <a:lnTo>
                    <a:pt x="801559" y="199804"/>
                  </a:lnTo>
                  <a:lnTo>
                    <a:pt x="809308" y="199804"/>
                  </a:lnTo>
                  <a:lnTo>
                    <a:pt x="809308" y="205355"/>
                  </a:lnTo>
                  <a:lnTo>
                    <a:pt x="817057" y="205355"/>
                  </a:lnTo>
                  <a:lnTo>
                    <a:pt x="824807" y="205355"/>
                  </a:lnTo>
                  <a:lnTo>
                    <a:pt x="824807" y="210905"/>
                  </a:lnTo>
                  <a:lnTo>
                    <a:pt x="832556" y="210905"/>
                  </a:lnTo>
                  <a:lnTo>
                    <a:pt x="840305" y="210905"/>
                  </a:lnTo>
                  <a:lnTo>
                    <a:pt x="848054" y="216455"/>
                  </a:lnTo>
                  <a:lnTo>
                    <a:pt x="855804" y="216455"/>
                  </a:lnTo>
                  <a:lnTo>
                    <a:pt x="855804" y="222005"/>
                  </a:lnTo>
                  <a:lnTo>
                    <a:pt x="855804" y="227555"/>
                  </a:lnTo>
                  <a:lnTo>
                    <a:pt x="848054" y="227555"/>
                  </a:lnTo>
                  <a:lnTo>
                    <a:pt x="848054" y="233105"/>
                  </a:lnTo>
                  <a:lnTo>
                    <a:pt x="840305" y="238655"/>
                  </a:lnTo>
                  <a:lnTo>
                    <a:pt x="840305" y="244205"/>
                  </a:lnTo>
                  <a:lnTo>
                    <a:pt x="848054" y="249755"/>
                  </a:lnTo>
                  <a:lnTo>
                    <a:pt x="848054" y="255306"/>
                  </a:lnTo>
                  <a:lnTo>
                    <a:pt x="855804" y="255306"/>
                  </a:lnTo>
                  <a:lnTo>
                    <a:pt x="855804" y="260856"/>
                  </a:lnTo>
                  <a:lnTo>
                    <a:pt x="855804" y="266406"/>
                  </a:lnTo>
                  <a:lnTo>
                    <a:pt x="855804" y="271956"/>
                  </a:lnTo>
                  <a:lnTo>
                    <a:pt x="848054" y="277506"/>
                  </a:lnTo>
                  <a:lnTo>
                    <a:pt x="840305" y="277506"/>
                  </a:lnTo>
                  <a:lnTo>
                    <a:pt x="840305" y="283056"/>
                  </a:lnTo>
                  <a:lnTo>
                    <a:pt x="832556" y="294156"/>
                  </a:lnTo>
                  <a:lnTo>
                    <a:pt x="840305" y="310807"/>
                  </a:lnTo>
                  <a:lnTo>
                    <a:pt x="840305" y="316357"/>
                  </a:lnTo>
                  <a:lnTo>
                    <a:pt x="840305" y="327457"/>
                  </a:lnTo>
                  <a:lnTo>
                    <a:pt x="840305" y="333007"/>
                  </a:lnTo>
                  <a:lnTo>
                    <a:pt x="840305" y="338557"/>
                  </a:lnTo>
                  <a:lnTo>
                    <a:pt x="832556" y="344108"/>
                  </a:lnTo>
                  <a:lnTo>
                    <a:pt x="832556" y="349658"/>
                  </a:lnTo>
                  <a:lnTo>
                    <a:pt x="840305" y="355208"/>
                  </a:lnTo>
                  <a:lnTo>
                    <a:pt x="840305" y="360758"/>
                  </a:lnTo>
                  <a:lnTo>
                    <a:pt x="832556" y="371858"/>
                  </a:lnTo>
                  <a:lnTo>
                    <a:pt x="840305" y="388508"/>
                  </a:lnTo>
                  <a:lnTo>
                    <a:pt x="855804" y="405159"/>
                  </a:lnTo>
                  <a:lnTo>
                    <a:pt x="894550" y="432909"/>
                  </a:lnTo>
                  <a:lnTo>
                    <a:pt x="894550" y="438460"/>
                  </a:lnTo>
                  <a:lnTo>
                    <a:pt x="879052" y="438460"/>
                  </a:lnTo>
                  <a:lnTo>
                    <a:pt x="871302" y="438460"/>
                  </a:lnTo>
                  <a:lnTo>
                    <a:pt x="855804" y="438460"/>
                  </a:lnTo>
                  <a:lnTo>
                    <a:pt x="848054" y="438460"/>
                  </a:lnTo>
                  <a:lnTo>
                    <a:pt x="817057" y="438460"/>
                  </a:lnTo>
                  <a:lnTo>
                    <a:pt x="801559" y="438460"/>
                  </a:lnTo>
                  <a:lnTo>
                    <a:pt x="793810" y="438460"/>
                  </a:lnTo>
                  <a:lnTo>
                    <a:pt x="786060" y="438460"/>
                  </a:lnTo>
                  <a:lnTo>
                    <a:pt x="778311" y="438460"/>
                  </a:lnTo>
                  <a:lnTo>
                    <a:pt x="755063" y="438460"/>
                  </a:lnTo>
                  <a:lnTo>
                    <a:pt x="739565" y="438460"/>
                  </a:lnTo>
                  <a:lnTo>
                    <a:pt x="724066" y="438460"/>
                  </a:lnTo>
                  <a:lnTo>
                    <a:pt x="708568" y="438460"/>
                  </a:lnTo>
                  <a:lnTo>
                    <a:pt x="700818" y="438460"/>
                  </a:lnTo>
                  <a:lnTo>
                    <a:pt x="677571" y="438460"/>
                  </a:lnTo>
                  <a:lnTo>
                    <a:pt x="669821" y="438460"/>
                  </a:lnTo>
                  <a:lnTo>
                    <a:pt x="662072" y="438460"/>
                  </a:lnTo>
                  <a:lnTo>
                    <a:pt x="654323" y="438460"/>
                  </a:lnTo>
                  <a:lnTo>
                    <a:pt x="646574" y="438460"/>
                  </a:lnTo>
                  <a:lnTo>
                    <a:pt x="631075" y="438460"/>
                  </a:lnTo>
                  <a:lnTo>
                    <a:pt x="623326" y="438460"/>
                  </a:lnTo>
                  <a:lnTo>
                    <a:pt x="592329" y="438460"/>
                  </a:lnTo>
                  <a:lnTo>
                    <a:pt x="569081" y="438460"/>
                  </a:lnTo>
                  <a:lnTo>
                    <a:pt x="514836" y="438460"/>
                  </a:lnTo>
                  <a:lnTo>
                    <a:pt x="476090" y="438460"/>
                  </a:lnTo>
                  <a:lnTo>
                    <a:pt x="468340" y="438460"/>
                  </a:lnTo>
                  <a:lnTo>
                    <a:pt x="460591" y="438460"/>
                  </a:lnTo>
                  <a:lnTo>
                    <a:pt x="460591" y="444010"/>
                  </a:lnTo>
                  <a:lnTo>
                    <a:pt x="452842" y="438460"/>
                  </a:lnTo>
                  <a:lnTo>
                    <a:pt x="445093" y="438460"/>
                  </a:lnTo>
                  <a:lnTo>
                    <a:pt x="429594" y="438460"/>
                  </a:lnTo>
                  <a:lnTo>
                    <a:pt x="398597" y="438460"/>
                  </a:lnTo>
                  <a:lnTo>
                    <a:pt x="383098" y="438460"/>
                  </a:lnTo>
                  <a:lnTo>
                    <a:pt x="359851" y="438460"/>
                  </a:lnTo>
                  <a:lnTo>
                    <a:pt x="344352" y="438460"/>
                  </a:lnTo>
                  <a:lnTo>
                    <a:pt x="290108" y="444010"/>
                  </a:lnTo>
                  <a:lnTo>
                    <a:pt x="282358" y="444010"/>
                  </a:lnTo>
                  <a:lnTo>
                    <a:pt x="274609" y="444010"/>
                  </a:lnTo>
                  <a:lnTo>
                    <a:pt x="259110" y="444010"/>
                  </a:lnTo>
                  <a:lnTo>
                    <a:pt x="251361" y="444010"/>
                  </a:lnTo>
                  <a:lnTo>
                    <a:pt x="235863" y="444010"/>
                  </a:lnTo>
                  <a:lnTo>
                    <a:pt x="220364" y="444010"/>
                  </a:lnTo>
                  <a:lnTo>
                    <a:pt x="212615" y="444010"/>
                  </a:lnTo>
                  <a:lnTo>
                    <a:pt x="204866" y="444010"/>
                  </a:lnTo>
                  <a:lnTo>
                    <a:pt x="197116" y="444010"/>
                  </a:lnTo>
                  <a:lnTo>
                    <a:pt x="189367" y="455110"/>
                  </a:lnTo>
                  <a:lnTo>
                    <a:pt x="181618" y="455110"/>
                  </a:lnTo>
                  <a:lnTo>
                    <a:pt x="181618" y="460660"/>
                  </a:lnTo>
                  <a:lnTo>
                    <a:pt x="173869" y="460660"/>
                  </a:lnTo>
                  <a:lnTo>
                    <a:pt x="166119" y="466210"/>
                  </a:lnTo>
                  <a:lnTo>
                    <a:pt x="150621" y="477310"/>
                  </a:lnTo>
                  <a:lnTo>
                    <a:pt x="150621" y="482860"/>
                  </a:lnTo>
                  <a:lnTo>
                    <a:pt x="130559" y="497229"/>
                  </a:lnTo>
                  <a:lnTo>
                    <a:pt x="118471" y="482667"/>
                  </a:lnTo>
                  <a:cubicBezTo>
                    <a:pt x="111222" y="473807"/>
                    <a:pt x="107516" y="462187"/>
                    <a:pt x="99421" y="454092"/>
                  </a:cubicBezTo>
                  <a:cubicBezTo>
                    <a:pt x="78723" y="433394"/>
                    <a:pt x="54971" y="415992"/>
                    <a:pt x="32746" y="396942"/>
                  </a:cubicBezTo>
                  <a:cubicBezTo>
                    <a:pt x="23782" y="397503"/>
                    <a:pt x="13551" y="400119"/>
                    <a:pt x="0" y="402605"/>
                  </a:cubicBezTo>
                  <a:cubicBezTo>
                    <a:pt x="2936" y="402156"/>
                    <a:pt x="5806" y="401478"/>
                    <a:pt x="8231" y="399861"/>
                  </a:cubicBezTo>
                  <a:cubicBezTo>
                    <a:pt x="28140" y="386589"/>
                    <a:pt x="37107" y="383308"/>
                    <a:pt x="51094" y="366524"/>
                  </a:cubicBezTo>
                  <a:cubicBezTo>
                    <a:pt x="54758" y="362127"/>
                    <a:pt x="57444" y="356999"/>
                    <a:pt x="60619" y="352236"/>
                  </a:cubicBezTo>
                  <a:cubicBezTo>
                    <a:pt x="60652" y="352219"/>
                    <a:pt x="81106" y="341275"/>
                    <a:pt x="89194" y="333186"/>
                  </a:cubicBezTo>
                  <a:cubicBezTo>
                    <a:pt x="94214" y="328166"/>
                    <a:pt x="95544" y="320486"/>
                    <a:pt x="98719" y="314136"/>
                  </a:cubicBezTo>
                  <a:cubicBezTo>
                    <a:pt x="103839" y="303897"/>
                    <a:pt x="112210" y="295568"/>
                    <a:pt x="117769" y="285561"/>
                  </a:cubicBezTo>
                  <a:cubicBezTo>
                    <a:pt x="120207" y="281173"/>
                    <a:pt x="120286" y="275764"/>
                    <a:pt x="122531" y="271274"/>
                  </a:cubicBezTo>
                  <a:cubicBezTo>
                    <a:pt x="140999" y="234338"/>
                    <a:pt x="124845" y="278616"/>
                    <a:pt x="136819" y="242699"/>
                  </a:cubicBezTo>
                  <a:lnTo>
                    <a:pt x="150764" y="233332"/>
                  </a:lnTo>
                  <a:cubicBezTo>
                    <a:pt x="155122" y="230375"/>
                    <a:pt x="138440" y="241772"/>
                    <a:pt x="170156" y="223649"/>
                  </a:cubicBezTo>
                  <a:cubicBezTo>
                    <a:pt x="189544" y="212570"/>
                    <a:pt x="181189" y="214985"/>
                    <a:pt x="186851" y="213201"/>
                  </a:cubicBezTo>
                  <a:lnTo>
                    <a:pt x="198731" y="209361"/>
                  </a:lnTo>
                  <a:cubicBezTo>
                    <a:pt x="236008" y="204702"/>
                    <a:pt x="237078" y="210337"/>
                    <a:pt x="265406" y="185549"/>
                  </a:cubicBezTo>
                  <a:cubicBezTo>
                    <a:pt x="269714" y="181780"/>
                    <a:pt x="271756" y="176024"/>
                    <a:pt x="274931" y="171261"/>
                  </a:cubicBezTo>
                  <a:cubicBezTo>
                    <a:pt x="288979" y="161896"/>
                    <a:pt x="292047" y="161200"/>
                    <a:pt x="303506" y="147449"/>
                  </a:cubicBezTo>
                  <a:cubicBezTo>
                    <a:pt x="307170" y="143052"/>
                    <a:pt x="309367" y="137558"/>
                    <a:pt x="313031" y="133161"/>
                  </a:cubicBezTo>
                  <a:cubicBezTo>
                    <a:pt x="317343" y="127987"/>
                    <a:pt x="322936" y="123988"/>
                    <a:pt x="327319" y="118874"/>
                  </a:cubicBezTo>
                  <a:cubicBezTo>
                    <a:pt x="332485" y="112848"/>
                    <a:pt x="336844" y="106174"/>
                    <a:pt x="341606" y="99824"/>
                  </a:cubicBezTo>
                  <a:cubicBezTo>
                    <a:pt x="349756" y="97107"/>
                    <a:pt x="364905" y="93449"/>
                    <a:pt x="370181" y="85536"/>
                  </a:cubicBezTo>
                  <a:cubicBezTo>
                    <a:pt x="373812" y="80090"/>
                    <a:pt x="372874" y="72696"/>
                    <a:pt x="374944" y="66486"/>
                  </a:cubicBezTo>
                  <a:cubicBezTo>
                    <a:pt x="378119" y="56961"/>
                    <a:pt x="380391" y="47086"/>
                    <a:pt x="384469" y="37911"/>
                  </a:cubicBezTo>
                  <a:cubicBezTo>
                    <a:pt x="386794" y="32681"/>
                    <a:pt x="391434" y="28743"/>
                    <a:pt x="393994" y="23624"/>
                  </a:cubicBezTo>
                  <a:cubicBezTo>
                    <a:pt x="394129" y="23354"/>
                    <a:pt x="394260" y="23083"/>
                    <a:pt x="394282" y="22761"/>
                  </a:cubicBezTo>
                  <a:lnTo>
                    <a:pt x="421845" y="16650"/>
                  </a:lnTo>
                  <a:close/>
                </a:path>
              </a:pathLst>
            </a:custGeom>
            <a:solidFill>
              <a:schemeClr val="accent2">
                <a:lumMod val="60000"/>
                <a:lumOff val="40000"/>
              </a:schemeClr>
            </a:solidFill>
            <a:ln w="9525">
              <a:solidFill>
                <a:schemeClr val="bg1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500">
                <a:latin typeface="+mn-lt"/>
              </a:endParaRPr>
            </a:p>
          </p:txBody>
        </p:sp>
        <p:sp>
          <p:nvSpPr>
            <p:cNvPr id="156" name="Freeform 155"/>
            <p:cNvSpPr/>
            <p:nvPr/>
          </p:nvSpPr>
          <p:spPr bwMode="gray">
            <a:xfrm>
              <a:off x="4449938" y="4357379"/>
              <a:ext cx="356470" cy="439990"/>
            </a:xfrm>
            <a:custGeom>
              <a:avLst/>
              <a:gdLst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9530 w 1203960"/>
                <a:gd name="connsiteY52" fmla="*/ 739140 h 2065020"/>
                <a:gd name="connsiteX53" fmla="*/ 68580 w 1203960"/>
                <a:gd name="connsiteY53" fmla="*/ 681990 h 2065020"/>
                <a:gd name="connsiteX54" fmla="*/ 121920 w 1203960"/>
                <a:gd name="connsiteY54" fmla="*/ 670560 h 2065020"/>
                <a:gd name="connsiteX55" fmla="*/ 251460 w 1203960"/>
                <a:gd name="connsiteY55" fmla="*/ 662940 h 2065020"/>
                <a:gd name="connsiteX56" fmla="*/ 327660 w 1203960"/>
                <a:gd name="connsiteY56" fmla="*/ 681990 h 2065020"/>
                <a:gd name="connsiteX57" fmla="*/ 392430 w 1203960"/>
                <a:gd name="connsiteY57" fmla="*/ 662940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9530 w 1203960"/>
                <a:gd name="connsiteY52" fmla="*/ 739140 h 2065020"/>
                <a:gd name="connsiteX53" fmla="*/ 68580 w 1203960"/>
                <a:gd name="connsiteY53" fmla="*/ 681990 h 2065020"/>
                <a:gd name="connsiteX54" fmla="*/ 121920 w 1203960"/>
                <a:gd name="connsiteY54" fmla="*/ 670560 h 2065020"/>
                <a:gd name="connsiteX55" fmla="*/ 327660 w 1203960"/>
                <a:gd name="connsiteY55" fmla="*/ 681990 h 2065020"/>
                <a:gd name="connsiteX56" fmla="*/ 392430 w 1203960"/>
                <a:gd name="connsiteY56" fmla="*/ 662940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9530 w 1203960"/>
                <a:gd name="connsiteY52" fmla="*/ 739140 h 2065020"/>
                <a:gd name="connsiteX53" fmla="*/ 68580 w 1203960"/>
                <a:gd name="connsiteY53" fmla="*/ 681990 h 2065020"/>
                <a:gd name="connsiteX54" fmla="*/ 121920 w 1203960"/>
                <a:gd name="connsiteY54" fmla="*/ 670560 h 2065020"/>
                <a:gd name="connsiteX55" fmla="*/ 392430 w 1203960"/>
                <a:gd name="connsiteY55" fmla="*/ 662940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9530 w 1203960"/>
                <a:gd name="connsiteY52" fmla="*/ 739140 h 2065020"/>
                <a:gd name="connsiteX53" fmla="*/ 68580 w 1203960"/>
                <a:gd name="connsiteY53" fmla="*/ 68199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68580 w 1203960"/>
                <a:gd name="connsiteY53" fmla="*/ 68199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6670 w 1203960"/>
                <a:gd name="connsiteY47" fmla="*/ 937260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20040 w 1203960"/>
                <a:gd name="connsiteY41" fmla="*/ 1363980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9090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12420 w 1203960"/>
                <a:gd name="connsiteY36" fmla="*/ 1604010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89610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04800 w 1203960"/>
                <a:gd name="connsiteY36" fmla="*/ 1602105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04800 w 1203960"/>
                <a:gd name="connsiteY36" fmla="*/ 1602105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85800 w 1203960"/>
                <a:gd name="connsiteY7" fmla="*/ 45339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81050 w 1203960"/>
                <a:gd name="connsiteY10" fmla="*/ 499110 h 2065020"/>
                <a:gd name="connsiteX11" fmla="*/ 758190 w 1203960"/>
                <a:gd name="connsiteY11" fmla="*/ 53721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85800 w 1203960"/>
                <a:gd name="connsiteY7" fmla="*/ 45339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81050 w 1203960"/>
                <a:gd name="connsiteY10" fmla="*/ 499110 h 2065020"/>
                <a:gd name="connsiteX11" fmla="*/ 758190 w 1203960"/>
                <a:gd name="connsiteY11" fmla="*/ 53721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74370 w 1203960"/>
                <a:gd name="connsiteY7" fmla="*/ 42672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81050 w 1203960"/>
                <a:gd name="connsiteY10" fmla="*/ 499110 h 2065020"/>
                <a:gd name="connsiteX11" fmla="*/ 758190 w 1203960"/>
                <a:gd name="connsiteY11" fmla="*/ 53721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81050 w 1203960"/>
                <a:gd name="connsiteY9" fmla="*/ 499110 h 2065020"/>
                <a:gd name="connsiteX10" fmla="*/ 758190 w 1203960"/>
                <a:gd name="connsiteY10" fmla="*/ 53721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04800 w 1203960"/>
                <a:gd name="connsiteY36" fmla="*/ 1602105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83895 w 1203960"/>
                <a:gd name="connsiteY7" fmla="*/ 42672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81050 w 1203960"/>
                <a:gd name="connsiteY10" fmla="*/ 499110 h 2065020"/>
                <a:gd name="connsiteX11" fmla="*/ 758190 w 1203960"/>
                <a:gd name="connsiteY11" fmla="*/ 53721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83895 w 1203960"/>
                <a:gd name="connsiteY7" fmla="*/ 42672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73430 w 1203960"/>
                <a:gd name="connsiteY10" fmla="*/ 487680 h 2065020"/>
                <a:gd name="connsiteX11" fmla="*/ 758190 w 1203960"/>
                <a:gd name="connsiteY11" fmla="*/ 53721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683895 w 1203960"/>
                <a:gd name="connsiteY7" fmla="*/ 426720 h 2065020"/>
                <a:gd name="connsiteX8" fmla="*/ 731520 w 1203960"/>
                <a:gd name="connsiteY8" fmla="*/ 449580 h 2065020"/>
                <a:gd name="connsiteX9" fmla="*/ 765810 w 1203960"/>
                <a:gd name="connsiteY9" fmla="*/ 457200 h 2065020"/>
                <a:gd name="connsiteX10" fmla="*/ 773430 w 1203960"/>
                <a:gd name="connsiteY10" fmla="*/ 487680 h 2065020"/>
                <a:gd name="connsiteX11" fmla="*/ 746760 w 1203960"/>
                <a:gd name="connsiteY11" fmla="*/ 53340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2465 w 1203960"/>
                <a:gd name="connsiteY6" fmla="*/ 426720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04800 w 1203960"/>
                <a:gd name="connsiteY36" fmla="*/ 1602105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20090 w 1203960"/>
                <a:gd name="connsiteY11" fmla="*/ 537210 h 2065020"/>
                <a:gd name="connsiteX12" fmla="*/ 701040 w 1203960"/>
                <a:gd name="connsiteY12" fmla="*/ 571500 h 2065020"/>
                <a:gd name="connsiteX13" fmla="*/ 701040 w 1203960"/>
                <a:gd name="connsiteY13" fmla="*/ 586740 h 2065020"/>
                <a:gd name="connsiteX14" fmla="*/ 701040 w 1203960"/>
                <a:gd name="connsiteY14" fmla="*/ 598170 h 2065020"/>
                <a:gd name="connsiteX15" fmla="*/ 666750 w 1203960"/>
                <a:gd name="connsiteY15" fmla="*/ 632460 h 2065020"/>
                <a:gd name="connsiteX16" fmla="*/ 861060 w 1203960"/>
                <a:gd name="connsiteY16" fmla="*/ 632460 h 2065020"/>
                <a:gd name="connsiteX17" fmla="*/ 971550 w 1203960"/>
                <a:gd name="connsiteY17" fmla="*/ 830580 h 2065020"/>
                <a:gd name="connsiteX18" fmla="*/ 1169670 w 1203960"/>
                <a:gd name="connsiteY18" fmla="*/ 963930 h 2065020"/>
                <a:gd name="connsiteX19" fmla="*/ 1184910 w 1203960"/>
                <a:gd name="connsiteY19" fmla="*/ 1215390 h 2065020"/>
                <a:gd name="connsiteX20" fmla="*/ 1200150 w 1203960"/>
                <a:gd name="connsiteY20" fmla="*/ 1226820 h 2065020"/>
                <a:gd name="connsiteX21" fmla="*/ 1203960 w 1203960"/>
                <a:gd name="connsiteY21" fmla="*/ 1280160 h 2065020"/>
                <a:gd name="connsiteX22" fmla="*/ 1085850 w 1203960"/>
                <a:gd name="connsiteY22" fmla="*/ 1268730 h 2065020"/>
                <a:gd name="connsiteX23" fmla="*/ 1078230 w 1203960"/>
                <a:gd name="connsiteY23" fmla="*/ 1268730 h 2065020"/>
                <a:gd name="connsiteX24" fmla="*/ 1062990 w 1203960"/>
                <a:gd name="connsiteY24" fmla="*/ 1264920 h 2065020"/>
                <a:gd name="connsiteX25" fmla="*/ 887730 w 1203960"/>
                <a:gd name="connsiteY25" fmla="*/ 1466850 h 2065020"/>
                <a:gd name="connsiteX26" fmla="*/ 842010 w 1203960"/>
                <a:gd name="connsiteY26" fmla="*/ 1535430 h 2065020"/>
                <a:gd name="connsiteX27" fmla="*/ 739140 w 1203960"/>
                <a:gd name="connsiteY27" fmla="*/ 1718310 h 2065020"/>
                <a:gd name="connsiteX28" fmla="*/ 803910 w 1203960"/>
                <a:gd name="connsiteY28" fmla="*/ 1885950 h 2065020"/>
                <a:gd name="connsiteX29" fmla="*/ 819150 w 1203960"/>
                <a:gd name="connsiteY29" fmla="*/ 1962150 h 2065020"/>
                <a:gd name="connsiteX30" fmla="*/ 773430 w 1203960"/>
                <a:gd name="connsiteY30" fmla="*/ 2026920 h 2065020"/>
                <a:gd name="connsiteX31" fmla="*/ 750570 w 1203960"/>
                <a:gd name="connsiteY31" fmla="*/ 2065020 h 2065020"/>
                <a:gd name="connsiteX32" fmla="*/ 693420 w 1203960"/>
                <a:gd name="connsiteY32" fmla="*/ 2065020 h 2065020"/>
                <a:gd name="connsiteX33" fmla="*/ 541020 w 1203960"/>
                <a:gd name="connsiteY33" fmla="*/ 2007870 h 2065020"/>
                <a:gd name="connsiteX34" fmla="*/ 541020 w 1203960"/>
                <a:gd name="connsiteY34" fmla="*/ 1649730 h 2065020"/>
                <a:gd name="connsiteX35" fmla="*/ 320040 w 1203960"/>
                <a:gd name="connsiteY35" fmla="*/ 1630680 h 2065020"/>
                <a:gd name="connsiteX36" fmla="*/ 304800 w 1203960"/>
                <a:gd name="connsiteY36" fmla="*/ 1602105 h 2065020"/>
                <a:gd name="connsiteX37" fmla="*/ 316230 w 1203960"/>
                <a:gd name="connsiteY37" fmla="*/ 1558290 h 2065020"/>
                <a:gd name="connsiteX38" fmla="*/ 323850 w 1203960"/>
                <a:gd name="connsiteY38" fmla="*/ 1497330 h 2065020"/>
                <a:gd name="connsiteX39" fmla="*/ 331470 w 1203960"/>
                <a:gd name="connsiteY39" fmla="*/ 1447800 h 2065020"/>
                <a:gd name="connsiteX40" fmla="*/ 333375 w 1203960"/>
                <a:gd name="connsiteY40" fmla="*/ 1398270 h 2065020"/>
                <a:gd name="connsiteX41" fmla="*/ 310515 w 1203960"/>
                <a:gd name="connsiteY41" fmla="*/ 1373505 h 2065020"/>
                <a:gd name="connsiteX42" fmla="*/ 205740 w 1203960"/>
                <a:gd name="connsiteY42" fmla="*/ 1318260 h 2065020"/>
                <a:gd name="connsiteX43" fmla="*/ 87630 w 1203960"/>
                <a:gd name="connsiteY43" fmla="*/ 1238250 h 2065020"/>
                <a:gd name="connsiteX44" fmla="*/ 57150 w 1203960"/>
                <a:gd name="connsiteY44" fmla="*/ 1024890 h 2065020"/>
                <a:gd name="connsiteX45" fmla="*/ 87630 w 1203960"/>
                <a:gd name="connsiteY45" fmla="*/ 1017270 h 2065020"/>
                <a:gd name="connsiteX46" fmla="*/ 60960 w 1203960"/>
                <a:gd name="connsiteY46" fmla="*/ 982980 h 2065020"/>
                <a:gd name="connsiteX47" fmla="*/ 22860 w 1203960"/>
                <a:gd name="connsiteY47" fmla="*/ 958215 h 2065020"/>
                <a:gd name="connsiteX48" fmla="*/ 0 w 1203960"/>
                <a:gd name="connsiteY48" fmla="*/ 861060 h 2065020"/>
                <a:gd name="connsiteX49" fmla="*/ 60960 w 1203960"/>
                <a:gd name="connsiteY49" fmla="*/ 872490 h 2065020"/>
                <a:gd name="connsiteX50" fmla="*/ 87630 w 1203960"/>
                <a:gd name="connsiteY50" fmla="*/ 822960 h 2065020"/>
                <a:gd name="connsiteX51" fmla="*/ 64770 w 1203960"/>
                <a:gd name="connsiteY51" fmla="*/ 773430 h 2065020"/>
                <a:gd name="connsiteX52" fmla="*/ 41910 w 1203960"/>
                <a:gd name="connsiteY52" fmla="*/ 737235 h 2065020"/>
                <a:gd name="connsiteX53" fmla="*/ 57150 w 1203960"/>
                <a:gd name="connsiteY53" fmla="*/ 685800 h 2065020"/>
                <a:gd name="connsiteX54" fmla="*/ 121920 w 1203960"/>
                <a:gd name="connsiteY54" fmla="*/ 670560 h 2065020"/>
                <a:gd name="connsiteX55" fmla="*/ 161925 w 1203960"/>
                <a:gd name="connsiteY55" fmla="*/ 676275 h 2065020"/>
                <a:gd name="connsiteX56" fmla="*/ 266700 w 1203960"/>
                <a:gd name="connsiteY56" fmla="*/ 506730 h 2065020"/>
                <a:gd name="connsiteX57" fmla="*/ 285750 w 1203960"/>
                <a:gd name="connsiteY57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20090 w 1203960"/>
                <a:gd name="connsiteY12" fmla="*/ 537210 h 2065020"/>
                <a:gd name="connsiteX13" fmla="*/ 701040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20090 w 1203960"/>
                <a:gd name="connsiteY12" fmla="*/ 537210 h 2065020"/>
                <a:gd name="connsiteX13" fmla="*/ 695325 w 1203960"/>
                <a:gd name="connsiteY13" fmla="*/ 571500 h 2065020"/>
                <a:gd name="connsiteX14" fmla="*/ 701040 w 1203960"/>
                <a:gd name="connsiteY14" fmla="*/ 586740 h 2065020"/>
                <a:gd name="connsiteX15" fmla="*/ 701040 w 1203960"/>
                <a:gd name="connsiteY15" fmla="*/ 598170 h 2065020"/>
                <a:gd name="connsiteX16" fmla="*/ 666750 w 1203960"/>
                <a:gd name="connsiteY16" fmla="*/ 632460 h 2065020"/>
                <a:gd name="connsiteX17" fmla="*/ 861060 w 1203960"/>
                <a:gd name="connsiteY17" fmla="*/ 632460 h 2065020"/>
                <a:gd name="connsiteX18" fmla="*/ 971550 w 1203960"/>
                <a:gd name="connsiteY18" fmla="*/ 830580 h 2065020"/>
                <a:gd name="connsiteX19" fmla="*/ 1169670 w 1203960"/>
                <a:gd name="connsiteY19" fmla="*/ 963930 h 2065020"/>
                <a:gd name="connsiteX20" fmla="*/ 1184910 w 1203960"/>
                <a:gd name="connsiteY20" fmla="*/ 1215390 h 2065020"/>
                <a:gd name="connsiteX21" fmla="*/ 1200150 w 1203960"/>
                <a:gd name="connsiteY21" fmla="*/ 1226820 h 2065020"/>
                <a:gd name="connsiteX22" fmla="*/ 1203960 w 1203960"/>
                <a:gd name="connsiteY22" fmla="*/ 1280160 h 2065020"/>
                <a:gd name="connsiteX23" fmla="*/ 1085850 w 1203960"/>
                <a:gd name="connsiteY23" fmla="*/ 1268730 h 2065020"/>
                <a:gd name="connsiteX24" fmla="*/ 1078230 w 1203960"/>
                <a:gd name="connsiteY24" fmla="*/ 1268730 h 2065020"/>
                <a:gd name="connsiteX25" fmla="*/ 1062990 w 1203960"/>
                <a:gd name="connsiteY25" fmla="*/ 1264920 h 2065020"/>
                <a:gd name="connsiteX26" fmla="*/ 887730 w 1203960"/>
                <a:gd name="connsiteY26" fmla="*/ 1466850 h 2065020"/>
                <a:gd name="connsiteX27" fmla="*/ 842010 w 1203960"/>
                <a:gd name="connsiteY27" fmla="*/ 1535430 h 2065020"/>
                <a:gd name="connsiteX28" fmla="*/ 739140 w 1203960"/>
                <a:gd name="connsiteY28" fmla="*/ 1718310 h 2065020"/>
                <a:gd name="connsiteX29" fmla="*/ 803910 w 1203960"/>
                <a:gd name="connsiteY29" fmla="*/ 1885950 h 2065020"/>
                <a:gd name="connsiteX30" fmla="*/ 819150 w 1203960"/>
                <a:gd name="connsiteY30" fmla="*/ 1962150 h 2065020"/>
                <a:gd name="connsiteX31" fmla="*/ 773430 w 1203960"/>
                <a:gd name="connsiteY31" fmla="*/ 2026920 h 2065020"/>
                <a:gd name="connsiteX32" fmla="*/ 750570 w 1203960"/>
                <a:gd name="connsiteY32" fmla="*/ 2065020 h 2065020"/>
                <a:gd name="connsiteX33" fmla="*/ 693420 w 1203960"/>
                <a:gd name="connsiteY33" fmla="*/ 2065020 h 2065020"/>
                <a:gd name="connsiteX34" fmla="*/ 541020 w 1203960"/>
                <a:gd name="connsiteY34" fmla="*/ 2007870 h 2065020"/>
                <a:gd name="connsiteX35" fmla="*/ 541020 w 1203960"/>
                <a:gd name="connsiteY35" fmla="*/ 1649730 h 2065020"/>
                <a:gd name="connsiteX36" fmla="*/ 320040 w 1203960"/>
                <a:gd name="connsiteY36" fmla="*/ 1630680 h 2065020"/>
                <a:gd name="connsiteX37" fmla="*/ 304800 w 1203960"/>
                <a:gd name="connsiteY37" fmla="*/ 1602105 h 2065020"/>
                <a:gd name="connsiteX38" fmla="*/ 316230 w 1203960"/>
                <a:gd name="connsiteY38" fmla="*/ 1558290 h 2065020"/>
                <a:gd name="connsiteX39" fmla="*/ 323850 w 1203960"/>
                <a:gd name="connsiteY39" fmla="*/ 1497330 h 2065020"/>
                <a:gd name="connsiteX40" fmla="*/ 331470 w 1203960"/>
                <a:gd name="connsiteY40" fmla="*/ 1447800 h 2065020"/>
                <a:gd name="connsiteX41" fmla="*/ 333375 w 1203960"/>
                <a:gd name="connsiteY41" fmla="*/ 1398270 h 2065020"/>
                <a:gd name="connsiteX42" fmla="*/ 310515 w 1203960"/>
                <a:gd name="connsiteY42" fmla="*/ 1373505 h 2065020"/>
                <a:gd name="connsiteX43" fmla="*/ 205740 w 1203960"/>
                <a:gd name="connsiteY43" fmla="*/ 1318260 h 2065020"/>
                <a:gd name="connsiteX44" fmla="*/ 87630 w 1203960"/>
                <a:gd name="connsiteY44" fmla="*/ 1238250 h 2065020"/>
                <a:gd name="connsiteX45" fmla="*/ 57150 w 1203960"/>
                <a:gd name="connsiteY45" fmla="*/ 1024890 h 2065020"/>
                <a:gd name="connsiteX46" fmla="*/ 87630 w 1203960"/>
                <a:gd name="connsiteY46" fmla="*/ 1017270 h 2065020"/>
                <a:gd name="connsiteX47" fmla="*/ 60960 w 1203960"/>
                <a:gd name="connsiteY47" fmla="*/ 982980 h 2065020"/>
                <a:gd name="connsiteX48" fmla="*/ 22860 w 1203960"/>
                <a:gd name="connsiteY48" fmla="*/ 958215 h 2065020"/>
                <a:gd name="connsiteX49" fmla="*/ 0 w 1203960"/>
                <a:gd name="connsiteY49" fmla="*/ 861060 h 2065020"/>
                <a:gd name="connsiteX50" fmla="*/ 60960 w 1203960"/>
                <a:gd name="connsiteY50" fmla="*/ 872490 h 2065020"/>
                <a:gd name="connsiteX51" fmla="*/ 87630 w 1203960"/>
                <a:gd name="connsiteY51" fmla="*/ 822960 h 2065020"/>
                <a:gd name="connsiteX52" fmla="*/ 64770 w 1203960"/>
                <a:gd name="connsiteY52" fmla="*/ 773430 h 2065020"/>
                <a:gd name="connsiteX53" fmla="*/ 41910 w 1203960"/>
                <a:gd name="connsiteY53" fmla="*/ 737235 h 2065020"/>
                <a:gd name="connsiteX54" fmla="*/ 57150 w 1203960"/>
                <a:gd name="connsiteY54" fmla="*/ 685800 h 2065020"/>
                <a:gd name="connsiteX55" fmla="*/ 121920 w 1203960"/>
                <a:gd name="connsiteY55" fmla="*/ 670560 h 2065020"/>
                <a:gd name="connsiteX56" fmla="*/ 161925 w 1203960"/>
                <a:gd name="connsiteY56" fmla="*/ 676275 h 2065020"/>
                <a:gd name="connsiteX57" fmla="*/ 266700 w 1203960"/>
                <a:gd name="connsiteY57" fmla="*/ 506730 h 2065020"/>
                <a:gd name="connsiteX58" fmla="*/ 285750 w 1203960"/>
                <a:gd name="connsiteY58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20090 w 1203960"/>
                <a:gd name="connsiteY12" fmla="*/ 537210 h 2065020"/>
                <a:gd name="connsiteX13" fmla="*/ 710565 w 1203960"/>
                <a:gd name="connsiteY13" fmla="*/ 554355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66750 w 1203960"/>
                <a:gd name="connsiteY17" fmla="*/ 632460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20090 w 1203960"/>
                <a:gd name="connsiteY12" fmla="*/ 53721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66750 w 1203960"/>
                <a:gd name="connsiteY17" fmla="*/ 632460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20090 w 1203960"/>
                <a:gd name="connsiteY12" fmla="*/ 53721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81990 w 1203960"/>
                <a:gd name="connsiteY17" fmla="*/ 626745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14375 w 1203960"/>
                <a:gd name="connsiteY12" fmla="*/ 52959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81990 w 1203960"/>
                <a:gd name="connsiteY17" fmla="*/ 626745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14375 w 1203960"/>
                <a:gd name="connsiteY12" fmla="*/ 52959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55320 w 1203960"/>
                <a:gd name="connsiteY17" fmla="*/ 626745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14375 w 1203960"/>
                <a:gd name="connsiteY12" fmla="*/ 52959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55320 w 1203960"/>
                <a:gd name="connsiteY17" fmla="*/ 626745 h 2065020"/>
                <a:gd name="connsiteX18" fmla="*/ 861060 w 1203960"/>
                <a:gd name="connsiteY18" fmla="*/ 632460 h 2065020"/>
                <a:gd name="connsiteX19" fmla="*/ 971550 w 1203960"/>
                <a:gd name="connsiteY19" fmla="*/ 830580 h 2065020"/>
                <a:gd name="connsiteX20" fmla="*/ 1169670 w 1203960"/>
                <a:gd name="connsiteY20" fmla="*/ 963930 h 2065020"/>
                <a:gd name="connsiteX21" fmla="*/ 1184910 w 1203960"/>
                <a:gd name="connsiteY21" fmla="*/ 1215390 h 2065020"/>
                <a:gd name="connsiteX22" fmla="*/ 1200150 w 1203960"/>
                <a:gd name="connsiteY22" fmla="*/ 1226820 h 2065020"/>
                <a:gd name="connsiteX23" fmla="*/ 1203960 w 1203960"/>
                <a:gd name="connsiteY23" fmla="*/ 1280160 h 2065020"/>
                <a:gd name="connsiteX24" fmla="*/ 1085850 w 1203960"/>
                <a:gd name="connsiteY24" fmla="*/ 1268730 h 2065020"/>
                <a:gd name="connsiteX25" fmla="*/ 1078230 w 1203960"/>
                <a:gd name="connsiteY25" fmla="*/ 1268730 h 2065020"/>
                <a:gd name="connsiteX26" fmla="*/ 1062990 w 1203960"/>
                <a:gd name="connsiteY26" fmla="*/ 1264920 h 2065020"/>
                <a:gd name="connsiteX27" fmla="*/ 887730 w 1203960"/>
                <a:gd name="connsiteY27" fmla="*/ 1466850 h 2065020"/>
                <a:gd name="connsiteX28" fmla="*/ 842010 w 1203960"/>
                <a:gd name="connsiteY28" fmla="*/ 1535430 h 2065020"/>
                <a:gd name="connsiteX29" fmla="*/ 739140 w 1203960"/>
                <a:gd name="connsiteY29" fmla="*/ 1718310 h 2065020"/>
                <a:gd name="connsiteX30" fmla="*/ 803910 w 1203960"/>
                <a:gd name="connsiteY30" fmla="*/ 1885950 h 2065020"/>
                <a:gd name="connsiteX31" fmla="*/ 819150 w 1203960"/>
                <a:gd name="connsiteY31" fmla="*/ 1962150 h 2065020"/>
                <a:gd name="connsiteX32" fmla="*/ 773430 w 1203960"/>
                <a:gd name="connsiteY32" fmla="*/ 2026920 h 2065020"/>
                <a:gd name="connsiteX33" fmla="*/ 750570 w 1203960"/>
                <a:gd name="connsiteY33" fmla="*/ 2065020 h 2065020"/>
                <a:gd name="connsiteX34" fmla="*/ 693420 w 1203960"/>
                <a:gd name="connsiteY34" fmla="*/ 2065020 h 2065020"/>
                <a:gd name="connsiteX35" fmla="*/ 541020 w 1203960"/>
                <a:gd name="connsiteY35" fmla="*/ 2007870 h 2065020"/>
                <a:gd name="connsiteX36" fmla="*/ 541020 w 1203960"/>
                <a:gd name="connsiteY36" fmla="*/ 1649730 h 2065020"/>
                <a:gd name="connsiteX37" fmla="*/ 320040 w 1203960"/>
                <a:gd name="connsiteY37" fmla="*/ 1630680 h 2065020"/>
                <a:gd name="connsiteX38" fmla="*/ 304800 w 1203960"/>
                <a:gd name="connsiteY38" fmla="*/ 1602105 h 2065020"/>
                <a:gd name="connsiteX39" fmla="*/ 316230 w 1203960"/>
                <a:gd name="connsiteY39" fmla="*/ 1558290 h 2065020"/>
                <a:gd name="connsiteX40" fmla="*/ 323850 w 1203960"/>
                <a:gd name="connsiteY40" fmla="*/ 1497330 h 2065020"/>
                <a:gd name="connsiteX41" fmla="*/ 331470 w 1203960"/>
                <a:gd name="connsiteY41" fmla="*/ 1447800 h 2065020"/>
                <a:gd name="connsiteX42" fmla="*/ 333375 w 1203960"/>
                <a:gd name="connsiteY42" fmla="*/ 1398270 h 2065020"/>
                <a:gd name="connsiteX43" fmla="*/ 310515 w 1203960"/>
                <a:gd name="connsiteY43" fmla="*/ 1373505 h 2065020"/>
                <a:gd name="connsiteX44" fmla="*/ 205740 w 1203960"/>
                <a:gd name="connsiteY44" fmla="*/ 1318260 h 2065020"/>
                <a:gd name="connsiteX45" fmla="*/ 87630 w 1203960"/>
                <a:gd name="connsiteY45" fmla="*/ 1238250 h 2065020"/>
                <a:gd name="connsiteX46" fmla="*/ 57150 w 1203960"/>
                <a:gd name="connsiteY46" fmla="*/ 1024890 h 2065020"/>
                <a:gd name="connsiteX47" fmla="*/ 87630 w 1203960"/>
                <a:gd name="connsiteY47" fmla="*/ 1017270 h 2065020"/>
                <a:gd name="connsiteX48" fmla="*/ 60960 w 1203960"/>
                <a:gd name="connsiteY48" fmla="*/ 982980 h 2065020"/>
                <a:gd name="connsiteX49" fmla="*/ 22860 w 1203960"/>
                <a:gd name="connsiteY49" fmla="*/ 958215 h 2065020"/>
                <a:gd name="connsiteX50" fmla="*/ 0 w 1203960"/>
                <a:gd name="connsiteY50" fmla="*/ 861060 h 2065020"/>
                <a:gd name="connsiteX51" fmla="*/ 60960 w 1203960"/>
                <a:gd name="connsiteY51" fmla="*/ 872490 h 2065020"/>
                <a:gd name="connsiteX52" fmla="*/ 87630 w 1203960"/>
                <a:gd name="connsiteY52" fmla="*/ 822960 h 2065020"/>
                <a:gd name="connsiteX53" fmla="*/ 64770 w 1203960"/>
                <a:gd name="connsiteY53" fmla="*/ 773430 h 2065020"/>
                <a:gd name="connsiteX54" fmla="*/ 41910 w 1203960"/>
                <a:gd name="connsiteY54" fmla="*/ 737235 h 2065020"/>
                <a:gd name="connsiteX55" fmla="*/ 57150 w 1203960"/>
                <a:gd name="connsiteY55" fmla="*/ 685800 h 2065020"/>
                <a:gd name="connsiteX56" fmla="*/ 121920 w 1203960"/>
                <a:gd name="connsiteY56" fmla="*/ 670560 h 2065020"/>
                <a:gd name="connsiteX57" fmla="*/ 161925 w 1203960"/>
                <a:gd name="connsiteY57" fmla="*/ 676275 h 2065020"/>
                <a:gd name="connsiteX58" fmla="*/ 266700 w 1203960"/>
                <a:gd name="connsiteY58" fmla="*/ 506730 h 2065020"/>
                <a:gd name="connsiteX59" fmla="*/ 285750 w 1203960"/>
                <a:gd name="connsiteY59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14375 w 1203960"/>
                <a:gd name="connsiteY12" fmla="*/ 52959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78180 w 1203960"/>
                <a:gd name="connsiteY17" fmla="*/ 609600 h 2065020"/>
                <a:gd name="connsiteX18" fmla="*/ 655320 w 1203960"/>
                <a:gd name="connsiteY18" fmla="*/ 626745 h 2065020"/>
                <a:gd name="connsiteX19" fmla="*/ 861060 w 1203960"/>
                <a:gd name="connsiteY19" fmla="*/ 632460 h 2065020"/>
                <a:gd name="connsiteX20" fmla="*/ 971550 w 1203960"/>
                <a:gd name="connsiteY20" fmla="*/ 830580 h 2065020"/>
                <a:gd name="connsiteX21" fmla="*/ 1169670 w 1203960"/>
                <a:gd name="connsiteY21" fmla="*/ 963930 h 2065020"/>
                <a:gd name="connsiteX22" fmla="*/ 1184910 w 1203960"/>
                <a:gd name="connsiteY22" fmla="*/ 1215390 h 2065020"/>
                <a:gd name="connsiteX23" fmla="*/ 1200150 w 1203960"/>
                <a:gd name="connsiteY23" fmla="*/ 1226820 h 2065020"/>
                <a:gd name="connsiteX24" fmla="*/ 1203960 w 1203960"/>
                <a:gd name="connsiteY24" fmla="*/ 1280160 h 2065020"/>
                <a:gd name="connsiteX25" fmla="*/ 1085850 w 1203960"/>
                <a:gd name="connsiteY25" fmla="*/ 1268730 h 2065020"/>
                <a:gd name="connsiteX26" fmla="*/ 1078230 w 1203960"/>
                <a:gd name="connsiteY26" fmla="*/ 1268730 h 2065020"/>
                <a:gd name="connsiteX27" fmla="*/ 1062990 w 1203960"/>
                <a:gd name="connsiteY27" fmla="*/ 1264920 h 2065020"/>
                <a:gd name="connsiteX28" fmla="*/ 887730 w 1203960"/>
                <a:gd name="connsiteY28" fmla="*/ 1466850 h 2065020"/>
                <a:gd name="connsiteX29" fmla="*/ 842010 w 1203960"/>
                <a:gd name="connsiteY29" fmla="*/ 1535430 h 2065020"/>
                <a:gd name="connsiteX30" fmla="*/ 739140 w 1203960"/>
                <a:gd name="connsiteY30" fmla="*/ 1718310 h 2065020"/>
                <a:gd name="connsiteX31" fmla="*/ 803910 w 1203960"/>
                <a:gd name="connsiteY31" fmla="*/ 1885950 h 2065020"/>
                <a:gd name="connsiteX32" fmla="*/ 819150 w 1203960"/>
                <a:gd name="connsiteY32" fmla="*/ 1962150 h 2065020"/>
                <a:gd name="connsiteX33" fmla="*/ 773430 w 1203960"/>
                <a:gd name="connsiteY33" fmla="*/ 2026920 h 2065020"/>
                <a:gd name="connsiteX34" fmla="*/ 750570 w 1203960"/>
                <a:gd name="connsiteY34" fmla="*/ 2065020 h 2065020"/>
                <a:gd name="connsiteX35" fmla="*/ 693420 w 1203960"/>
                <a:gd name="connsiteY35" fmla="*/ 2065020 h 2065020"/>
                <a:gd name="connsiteX36" fmla="*/ 541020 w 1203960"/>
                <a:gd name="connsiteY36" fmla="*/ 2007870 h 2065020"/>
                <a:gd name="connsiteX37" fmla="*/ 541020 w 1203960"/>
                <a:gd name="connsiteY37" fmla="*/ 1649730 h 2065020"/>
                <a:gd name="connsiteX38" fmla="*/ 320040 w 1203960"/>
                <a:gd name="connsiteY38" fmla="*/ 1630680 h 2065020"/>
                <a:gd name="connsiteX39" fmla="*/ 304800 w 1203960"/>
                <a:gd name="connsiteY39" fmla="*/ 1602105 h 2065020"/>
                <a:gd name="connsiteX40" fmla="*/ 316230 w 1203960"/>
                <a:gd name="connsiteY40" fmla="*/ 1558290 h 2065020"/>
                <a:gd name="connsiteX41" fmla="*/ 323850 w 1203960"/>
                <a:gd name="connsiteY41" fmla="*/ 1497330 h 2065020"/>
                <a:gd name="connsiteX42" fmla="*/ 331470 w 1203960"/>
                <a:gd name="connsiteY42" fmla="*/ 1447800 h 2065020"/>
                <a:gd name="connsiteX43" fmla="*/ 333375 w 1203960"/>
                <a:gd name="connsiteY43" fmla="*/ 1398270 h 2065020"/>
                <a:gd name="connsiteX44" fmla="*/ 310515 w 1203960"/>
                <a:gd name="connsiteY44" fmla="*/ 1373505 h 2065020"/>
                <a:gd name="connsiteX45" fmla="*/ 205740 w 1203960"/>
                <a:gd name="connsiteY45" fmla="*/ 1318260 h 2065020"/>
                <a:gd name="connsiteX46" fmla="*/ 87630 w 1203960"/>
                <a:gd name="connsiteY46" fmla="*/ 1238250 h 2065020"/>
                <a:gd name="connsiteX47" fmla="*/ 57150 w 1203960"/>
                <a:gd name="connsiteY47" fmla="*/ 1024890 h 2065020"/>
                <a:gd name="connsiteX48" fmla="*/ 87630 w 1203960"/>
                <a:gd name="connsiteY48" fmla="*/ 1017270 h 2065020"/>
                <a:gd name="connsiteX49" fmla="*/ 60960 w 1203960"/>
                <a:gd name="connsiteY49" fmla="*/ 982980 h 2065020"/>
                <a:gd name="connsiteX50" fmla="*/ 22860 w 1203960"/>
                <a:gd name="connsiteY50" fmla="*/ 958215 h 2065020"/>
                <a:gd name="connsiteX51" fmla="*/ 0 w 1203960"/>
                <a:gd name="connsiteY51" fmla="*/ 861060 h 2065020"/>
                <a:gd name="connsiteX52" fmla="*/ 60960 w 1203960"/>
                <a:gd name="connsiteY52" fmla="*/ 872490 h 2065020"/>
                <a:gd name="connsiteX53" fmla="*/ 87630 w 1203960"/>
                <a:gd name="connsiteY53" fmla="*/ 822960 h 2065020"/>
                <a:gd name="connsiteX54" fmla="*/ 64770 w 1203960"/>
                <a:gd name="connsiteY54" fmla="*/ 773430 h 2065020"/>
                <a:gd name="connsiteX55" fmla="*/ 41910 w 1203960"/>
                <a:gd name="connsiteY55" fmla="*/ 737235 h 2065020"/>
                <a:gd name="connsiteX56" fmla="*/ 57150 w 1203960"/>
                <a:gd name="connsiteY56" fmla="*/ 685800 h 2065020"/>
                <a:gd name="connsiteX57" fmla="*/ 121920 w 1203960"/>
                <a:gd name="connsiteY57" fmla="*/ 670560 h 2065020"/>
                <a:gd name="connsiteX58" fmla="*/ 161925 w 1203960"/>
                <a:gd name="connsiteY58" fmla="*/ 676275 h 2065020"/>
                <a:gd name="connsiteX59" fmla="*/ 266700 w 1203960"/>
                <a:gd name="connsiteY59" fmla="*/ 506730 h 2065020"/>
                <a:gd name="connsiteX60" fmla="*/ 285750 w 1203960"/>
                <a:gd name="connsiteY60" fmla="*/ 464820 h 2065020"/>
                <a:gd name="connsiteX0" fmla="*/ 213360 w 1203960"/>
                <a:gd name="connsiteY0" fmla="*/ 312420 h 2065020"/>
                <a:gd name="connsiteX1" fmla="*/ 118110 w 1203960"/>
                <a:gd name="connsiteY1" fmla="*/ 148590 h 2065020"/>
                <a:gd name="connsiteX2" fmla="*/ 118110 w 1203960"/>
                <a:gd name="connsiteY2" fmla="*/ 0 h 2065020"/>
                <a:gd name="connsiteX3" fmla="*/ 765810 w 1203960"/>
                <a:gd name="connsiteY3" fmla="*/ 0 h 2065020"/>
                <a:gd name="connsiteX4" fmla="*/ 765810 w 1203960"/>
                <a:gd name="connsiteY4" fmla="*/ 331470 h 2065020"/>
                <a:gd name="connsiteX5" fmla="*/ 704850 w 1203960"/>
                <a:gd name="connsiteY5" fmla="*/ 392430 h 2065020"/>
                <a:gd name="connsiteX6" fmla="*/ 676275 w 1203960"/>
                <a:gd name="connsiteY6" fmla="*/ 421005 h 2065020"/>
                <a:gd name="connsiteX7" fmla="*/ 731520 w 1203960"/>
                <a:gd name="connsiteY7" fmla="*/ 449580 h 2065020"/>
                <a:gd name="connsiteX8" fmla="*/ 765810 w 1203960"/>
                <a:gd name="connsiteY8" fmla="*/ 457200 h 2065020"/>
                <a:gd name="connsiteX9" fmla="*/ 773430 w 1203960"/>
                <a:gd name="connsiteY9" fmla="*/ 487680 h 2065020"/>
                <a:gd name="connsiteX10" fmla="*/ 746760 w 1203960"/>
                <a:gd name="connsiteY10" fmla="*/ 533400 h 2065020"/>
                <a:gd name="connsiteX11" fmla="*/ 718185 w 1203960"/>
                <a:gd name="connsiteY11" fmla="*/ 533400 h 2065020"/>
                <a:gd name="connsiteX12" fmla="*/ 714375 w 1203960"/>
                <a:gd name="connsiteY12" fmla="*/ 529590 h 2065020"/>
                <a:gd name="connsiteX13" fmla="*/ 697230 w 1203960"/>
                <a:gd name="connsiteY13" fmla="*/ 552450 h 2065020"/>
                <a:gd name="connsiteX14" fmla="*/ 695325 w 1203960"/>
                <a:gd name="connsiteY14" fmla="*/ 571500 h 2065020"/>
                <a:gd name="connsiteX15" fmla="*/ 701040 w 1203960"/>
                <a:gd name="connsiteY15" fmla="*/ 586740 h 2065020"/>
                <a:gd name="connsiteX16" fmla="*/ 701040 w 1203960"/>
                <a:gd name="connsiteY16" fmla="*/ 598170 h 2065020"/>
                <a:gd name="connsiteX17" fmla="*/ 676275 w 1203960"/>
                <a:gd name="connsiteY17" fmla="*/ 603885 h 2065020"/>
                <a:gd name="connsiteX18" fmla="*/ 655320 w 1203960"/>
                <a:gd name="connsiteY18" fmla="*/ 626745 h 2065020"/>
                <a:gd name="connsiteX19" fmla="*/ 861060 w 1203960"/>
                <a:gd name="connsiteY19" fmla="*/ 632460 h 2065020"/>
                <a:gd name="connsiteX20" fmla="*/ 971550 w 1203960"/>
                <a:gd name="connsiteY20" fmla="*/ 830580 h 2065020"/>
                <a:gd name="connsiteX21" fmla="*/ 1169670 w 1203960"/>
                <a:gd name="connsiteY21" fmla="*/ 963930 h 2065020"/>
                <a:gd name="connsiteX22" fmla="*/ 1184910 w 1203960"/>
                <a:gd name="connsiteY22" fmla="*/ 1215390 h 2065020"/>
                <a:gd name="connsiteX23" fmla="*/ 1200150 w 1203960"/>
                <a:gd name="connsiteY23" fmla="*/ 1226820 h 2065020"/>
                <a:gd name="connsiteX24" fmla="*/ 1203960 w 1203960"/>
                <a:gd name="connsiteY24" fmla="*/ 1280160 h 2065020"/>
                <a:gd name="connsiteX25" fmla="*/ 1085850 w 1203960"/>
                <a:gd name="connsiteY25" fmla="*/ 1268730 h 2065020"/>
                <a:gd name="connsiteX26" fmla="*/ 1078230 w 1203960"/>
                <a:gd name="connsiteY26" fmla="*/ 1268730 h 2065020"/>
                <a:gd name="connsiteX27" fmla="*/ 1062990 w 1203960"/>
                <a:gd name="connsiteY27" fmla="*/ 1264920 h 2065020"/>
                <a:gd name="connsiteX28" fmla="*/ 887730 w 1203960"/>
                <a:gd name="connsiteY28" fmla="*/ 1466850 h 2065020"/>
                <a:gd name="connsiteX29" fmla="*/ 842010 w 1203960"/>
                <a:gd name="connsiteY29" fmla="*/ 1535430 h 2065020"/>
                <a:gd name="connsiteX30" fmla="*/ 739140 w 1203960"/>
                <a:gd name="connsiteY30" fmla="*/ 1718310 h 2065020"/>
                <a:gd name="connsiteX31" fmla="*/ 803910 w 1203960"/>
                <a:gd name="connsiteY31" fmla="*/ 1885950 h 2065020"/>
                <a:gd name="connsiteX32" fmla="*/ 819150 w 1203960"/>
                <a:gd name="connsiteY32" fmla="*/ 1962150 h 2065020"/>
                <a:gd name="connsiteX33" fmla="*/ 773430 w 1203960"/>
                <a:gd name="connsiteY33" fmla="*/ 2026920 h 2065020"/>
                <a:gd name="connsiteX34" fmla="*/ 750570 w 1203960"/>
                <a:gd name="connsiteY34" fmla="*/ 2065020 h 2065020"/>
                <a:gd name="connsiteX35" fmla="*/ 693420 w 1203960"/>
                <a:gd name="connsiteY35" fmla="*/ 2065020 h 2065020"/>
                <a:gd name="connsiteX36" fmla="*/ 541020 w 1203960"/>
                <a:gd name="connsiteY36" fmla="*/ 2007870 h 2065020"/>
                <a:gd name="connsiteX37" fmla="*/ 541020 w 1203960"/>
                <a:gd name="connsiteY37" fmla="*/ 1649730 h 2065020"/>
                <a:gd name="connsiteX38" fmla="*/ 320040 w 1203960"/>
                <a:gd name="connsiteY38" fmla="*/ 1630680 h 2065020"/>
                <a:gd name="connsiteX39" fmla="*/ 304800 w 1203960"/>
                <a:gd name="connsiteY39" fmla="*/ 1602105 h 2065020"/>
                <a:gd name="connsiteX40" fmla="*/ 316230 w 1203960"/>
                <a:gd name="connsiteY40" fmla="*/ 1558290 h 2065020"/>
                <a:gd name="connsiteX41" fmla="*/ 323850 w 1203960"/>
                <a:gd name="connsiteY41" fmla="*/ 1497330 h 2065020"/>
                <a:gd name="connsiteX42" fmla="*/ 331470 w 1203960"/>
                <a:gd name="connsiteY42" fmla="*/ 1447800 h 2065020"/>
                <a:gd name="connsiteX43" fmla="*/ 333375 w 1203960"/>
                <a:gd name="connsiteY43" fmla="*/ 1398270 h 2065020"/>
                <a:gd name="connsiteX44" fmla="*/ 310515 w 1203960"/>
                <a:gd name="connsiteY44" fmla="*/ 1373505 h 2065020"/>
                <a:gd name="connsiteX45" fmla="*/ 205740 w 1203960"/>
                <a:gd name="connsiteY45" fmla="*/ 1318260 h 2065020"/>
                <a:gd name="connsiteX46" fmla="*/ 87630 w 1203960"/>
                <a:gd name="connsiteY46" fmla="*/ 1238250 h 2065020"/>
                <a:gd name="connsiteX47" fmla="*/ 57150 w 1203960"/>
                <a:gd name="connsiteY47" fmla="*/ 1024890 h 2065020"/>
                <a:gd name="connsiteX48" fmla="*/ 87630 w 1203960"/>
                <a:gd name="connsiteY48" fmla="*/ 1017270 h 2065020"/>
                <a:gd name="connsiteX49" fmla="*/ 60960 w 1203960"/>
                <a:gd name="connsiteY49" fmla="*/ 982980 h 2065020"/>
                <a:gd name="connsiteX50" fmla="*/ 22860 w 1203960"/>
                <a:gd name="connsiteY50" fmla="*/ 958215 h 2065020"/>
                <a:gd name="connsiteX51" fmla="*/ 0 w 1203960"/>
                <a:gd name="connsiteY51" fmla="*/ 861060 h 2065020"/>
                <a:gd name="connsiteX52" fmla="*/ 60960 w 1203960"/>
                <a:gd name="connsiteY52" fmla="*/ 872490 h 2065020"/>
                <a:gd name="connsiteX53" fmla="*/ 87630 w 1203960"/>
                <a:gd name="connsiteY53" fmla="*/ 822960 h 2065020"/>
                <a:gd name="connsiteX54" fmla="*/ 64770 w 1203960"/>
                <a:gd name="connsiteY54" fmla="*/ 773430 h 2065020"/>
                <a:gd name="connsiteX55" fmla="*/ 41910 w 1203960"/>
                <a:gd name="connsiteY55" fmla="*/ 737235 h 2065020"/>
                <a:gd name="connsiteX56" fmla="*/ 57150 w 1203960"/>
                <a:gd name="connsiteY56" fmla="*/ 685800 h 2065020"/>
                <a:gd name="connsiteX57" fmla="*/ 121920 w 1203960"/>
                <a:gd name="connsiteY57" fmla="*/ 670560 h 2065020"/>
                <a:gd name="connsiteX58" fmla="*/ 161925 w 1203960"/>
                <a:gd name="connsiteY58" fmla="*/ 676275 h 2065020"/>
                <a:gd name="connsiteX59" fmla="*/ 266700 w 1203960"/>
                <a:gd name="connsiteY59" fmla="*/ 506730 h 2065020"/>
                <a:gd name="connsiteX60" fmla="*/ 285750 w 1203960"/>
                <a:gd name="connsiteY60" fmla="*/ 464820 h 2065020"/>
                <a:gd name="connsiteX0" fmla="*/ 213360 w 1200150"/>
                <a:gd name="connsiteY0" fmla="*/ 312420 h 2065020"/>
                <a:gd name="connsiteX1" fmla="*/ 118110 w 1200150"/>
                <a:gd name="connsiteY1" fmla="*/ 148590 h 2065020"/>
                <a:gd name="connsiteX2" fmla="*/ 118110 w 1200150"/>
                <a:gd name="connsiteY2" fmla="*/ 0 h 2065020"/>
                <a:gd name="connsiteX3" fmla="*/ 765810 w 1200150"/>
                <a:gd name="connsiteY3" fmla="*/ 0 h 2065020"/>
                <a:gd name="connsiteX4" fmla="*/ 765810 w 1200150"/>
                <a:gd name="connsiteY4" fmla="*/ 331470 h 2065020"/>
                <a:gd name="connsiteX5" fmla="*/ 704850 w 1200150"/>
                <a:gd name="connsiteY5" fmla="*/ 392430 h 2065020"/>
                <a:gd name="connsiteX6" fmla="*/ 676275 w 1200150"/>
                <a:gd name="connsiteY6" fmla="*/ 421005 h 2065020"/>
                <a:gd name="connsiteX7" fmla="*/ 731520 w 1200150"/>
                <a:gd name="connsiteY7" fmla="*/ 449580 h 2065020"/>
                <a:gd name="connsiteX8" fmla="*/ 765810 w 1200150"/>
                <a:gd name="connsiteY8" fmla="*/ 457200 h 2065020"/>
                <a:gd name="connsiteX9" fmla="*/ 773430 w 1200150"/>
                <a:gd name="connsiteY9" fmla="*/ 487680 h 2065020"/>
                <a:gd name="connsiteX10" fmla="*/ 746760 w 1200150"/>
                <a:gd name="connsiteY10" fmla="*/ 533400 h 2065020"/>
                <a:gd name="connsiteX11" fmla="*/ 718185 w 1200150"/>
                <a:gd name="connsiteY11" fmla="*/ 533400 h 2065020"/>
                <a:gd name="connsiteX12" fmla="*/ 714375 w 1200150"/>
                <a:gd name="connsiteY12" fmla="*/ 529590 h 2065020"/>
                <a:gd name="connsiteX13" fmla="*/ 697230 w 1200150"/>
                <a:gd name="connsiteY13" fmla="*/ 552450 h 2065020"/>
                <a:gd name="connsiteX14" fmla="*/ 695325 w 1200150"/>
                <a:gd name="connsiteY14" fmla="*/ 571500 h 2065020"/>
                <a:gd name="connsiteX15" fmla="*/ 701040 w 1200150"/>
                <a:gd name="connsiteY15" fmla="*/ 586740 h 2065020"/>
                <a:gd name="connsiteX16" fmla="*/ 701040 w 1200150"/>
                <a:gd name="connsiteY16" fmla="*/ 598170 h 2065020"/>
                <a:gd name="connsiteX17" fmla="*/ 676275 w 1200150"/>
                <a:gd name="connsiteY17" fmla="*/ 603885 h 2065020"/>
                <a:gd name="connsiteX18" fmla="*/ 655320 w 1200150"/>
                <a:gd name="connsiteY18" fmla="*/ 626745 h 2065020"/>
                <a:gd name="connsiteX19" fmla="*/ 861060 w 1200150"/>
                <a:gd name="connsiteY19" fmla="*/ 632460 h 2065020"/>
                <a:gd name="connsiteX20" fmla="*/ 971550 w 1200150"/>
                <a:gd name="connsiteY20" fmla="*/ 830580 h 2065020"/>
                <a:gd name="connsiteX21" fmla="*/ 1169670 w 1200150"/>
                <a:gd name="connsiteY21" fmla="*/ 963930 h 2065020"/>
                <a:gd name="connsiteX22" fmla="*/ 1184910 w 1200150"/>
                <a:gd name="connsiteY22" fmla="*/ 1215390 h 2065020"/>
                <a:gd name="connsiteX23" fmla="*/ 1200150 w 1200150"/>
                <a:gd name="connsiteY23" fmla="*/ 1226820 h 2065020"/>
                <a:gd name="connsiteX24" fmla="*/ 1198245 w 1200150"/>
                <a:gd name="connsiteY24" fmla="*/ 1282065 h 2065020"/>
                <a:gd name="connsiteX25" fmla="*/ 1085850 w 1200150"/>
                <a:gd name="connsiteY25" fmla="*/ 1268730 h 2065020"/>
                <a:gd name="connsiteX26" fmla="*/ 1078230 w 1200150"/>
                <a:gd name="connsiteY26" fmla="*/ 1268730 h 2065020"/>
                <a:gd name="connsiteX27" fmla="*/ 1062990 w 1200150"/>
                <a:gd name="connsiteY27" fmla="*/ 1264920 h 2065020"/>
                <a:gd name="connsiteX28" fmla="*/ 887730 w 1200150"/>
                <a:gd name="connsiteY28" fmla="*/ 1466850 h 2065020"/>
                <a:gd name="connsiteX29" fmla="*/ 842010 w 1200150"/>
                <a:gd name="connsiteY29" fmla="*/ 1535430 h 2065020"/>
                <a:gd name="connsiteX30" fmla="*/ 739140 w 1200150"/>
                <a:gd name="connsiteY30" fmla="*/ 1718310 h 2065020"/>
                <a:gd name="connsiteX31" fmla="*/ 803910 w 1200150"/>
                <a:gd name="connsiteY31" fmla="*/ 1885950 h 2065020"/>
                <a:gd name="connsiteX32" fmla="*/ 819150 w 1200150"/>
                <a:gd name="connsiteY32" fmla="*/ 1962150 h 2065020"/>
                <a:gd name="connsiteX33" fmla="*/ 773430 w 1200150"/>
                <a:gd name="connsiteY33" fmla="*/ 2026920 h 2065020"/>
                <a:gd name="connsiteX34" fmla="*/ 750570 w 1200150"/>
                <a:gd name="connsiteY34" fmla="*/ 2065020 h 2065020"/>
                <a:gd name="connsiteX35" fmla="*/ 693420 w 1200150"/>
                <a:gd name="connsiteY35" fmla="*/ 2065020 h 2065020"/>
                <a:gd name="connsiteX36" fmla="*/ 541020 w 1200150"/>
                <a:gd name="connsiteY36" fmla="*/ 2007870 h 2065020"/>
                <a:gd name="connsiteX37" fmla="*/ 541020 w 1200150"/>
                <a:gd name="connsiteY37" fmla="*/ 1649730 h 2065020"/>
                <a:gd name="connsiteX38" fmla="*/ 320040 w 1200150"/>
                <a:gd name="connsiteY38" fmla="*/ 1630680 h 2065020"/>
                <a:gd name="connsiteX39" fmla="*/ 304800 w 1200150"/>
                <a:gd name="connsiteY39" fmla="*/ 1602105 h 2065020"/>
                <a:gd name="connsiteX40" fmla="*/ 316230 w 1200150"/>
                <a:gd name="connsiteY40" fmla="*/ 1558290 h 2065020"/>
                <a:gd name="connsiteX41" fmla="*/ 323850 w 1200150"/>
                <a:gd name="connsiteY41" fmla="*/ 1497330 h 2065020"/>
                <a:gd name="connsiteX42" fmla="*/ 331470 w 1200150"/>
                <a:gd name="connsiteY42" fmla="*/ 1447800 h 2065020"/>
                <a:gd name="connsiteX43" fmla="*/ 333375 w 1200150"/>
                <a:gd name="connsiteY43" fmla="*/ 1398270 h 2065020"/>
                <a:gd name="connsiteX44" fmla="*/ 310515 w 1200150"/>
                <a:gd name="connsiteY44" fmla="*/ 1373505 h 2065020"/>
                <a:gd name="connsiteX45" fmla="*/ 205740 w 1200150"/>
                <a:gd name="connsiteY45" fmla="*/ 1318260 h 2065020"/>
                <a:gd name="connsiteX46" fmla="*/ 87630 w 1200150"/>
                <a:gd name="connsiteY46" fmla="*/ 1238250 h 2065020"/>
                <a:gd name="connsiteX47" fmla="*/ 57150 w 1200150"/>
                <a:gd name="connsiteY47" fmla="*/ 1024890 h 2065020"/>
                <a:gd name="connsiteX48" fmla="*/ 87630 w 1200150"/>
                <a:gd name="connsiteY48" fmla="*/ 1017270 h 2065020"/>
                <a:gd name="connsiteX49" fmla="*/ 60960 w 1200150"/>
                <a:gd name="connsiteY49" fmla="*/ 982980 h 2065020"/>
                <a:gd name="connsiteX50" fmla="*/ 22860 w 1200150"/>
                <a:gd name="connsiteY50" fmla="*/ 958215 h 2065020"/>
                <a:gd name="connsiteX51" fmla="*/ 0 w 1200150"/>
                <a:gd name="connsiteY51" fmla="*/ 861060 h 2065020"/>
                <a:gd name="connsiteX52" fmla="*/ 60960 w 1200150"/>
                <a:gd name="connsiteY52" fmla="*/ 872490 h 2065020"/>
                <a:gd name="connsiteX53" fmla="*/ 87630 w 1200150"/>
                <a:gd name="connsiteY53" fmla="*/ 822960 h 2065020"/>
                <a:gd name="connsiteX54" fmla="*/ 64770 w 1200150"/>
                <a:gd name="connsiteY54" fmla="*/ 773430 h 2065020"/>
                <a:gd name="connsiteX55" fmla="*/ 41910 w 1200150"/>
                <a:gd name="connsiteY55" fmla="*/ 737235 h 2065020"/>
                <a:gd name="connsiteX56" fmla="*/ 57150 w 1200150"/>
                <a:gd name="connsiteY56" fmla="*/ 685800 h 2065020"/>
                <a:gd name="connsiteX57" fmla="*/ 121920 w 1200150"/>
                <a:gd name="connsiteY57" fmla="*/ 670560 h 2065020"/>
                <a:gd name="connsiteX58" fmla="*/ 161925 w 1200150"/>
                <a:gd name="connsiteY58" fmla="*/ 676275 h 2065020"/>
                <a:gd name="connsiteX59" fmla="*/ 266700 w 1200150"/>
                <a:gd name="connsiteY59" fmla="*/ 506730 h 2065020"/>
                <a:gd name="connsiteX60" fmla="*/ 285750 w 1200150"/>
                <a:gd name="connsiteY60" fmla="*/ 464820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41020 w 1198245"/>
                <a:gd name="connsiteY37" fmla="*/ 1649730 h 2065020"/>
                <a:gd name="connsiteX38" fmla="*/ 320040 w 1198245"/>
                <a:gd name="connsiteY38" fmla="*/ 1630680 h 2065020"/>
                <a:gd name="connsiteX39" fmla="*/ 304800 w 1198245"/>
                <a:gd name="connsiteY39" fmla="*/ 160210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285750 w 1198245"/>
                <a:gd name="connsiteY60" fmla="*/ 464820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41020 w 1198245"/>
                <a:gd name="connsiteY37" fmla="*/ 1649730 h 2065020"/>
                <a:gd name="connsiteX38" fmla="*/ 320040 w 1198245"/>
                <a:gd name="connsiteY38" fmla="*/ 1630680 h 2065020"/>
                <a:gd name="connsiteX39" fmla="*/ 304800 w 1198245"/>
                <a:gd name="connsiteY39" fmla="*/ 160210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312091 w 1198245"/>
                <a:gd name="connsiteY60" fmla="*/ 432126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41020 w 1198245"/>
                <a:gd name="connsiteY37" fmla="*/ 1649730 h 2065020"/>
                <a:gd name="connsiteX38" fmla="*/ 320040 w 1198245"/>
                <a:gd name="connsiteY38" fmla="*/ 1630680 h 2065020"/>
                <a:gd name="connsiteX39" fmla="*/ 304800 w 1198245"/>
                <a:gd name="connsiteY39" fmla="*/ 160210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295805 w 1198245"/>
                <a:gd name="connsiteY60" fmla="*/ 463229 h 2065020"/>
                <a:gd name="connsiteX61" fmla="*/ 312091 w 1198245"/>
                <a:gd name="connsiteY61" fmla="*/ 432126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41020 w 1198245"/>
                <a:gd name="connsiteY37" fmla="*/ 1649730 h 2065020"/>
                <a:gd name="connsiteX38" fmla="*/ 320040 w 1198245"/>
                <a:gd name="connsiteY38" fmla="*/ 1630680 h 2065020"/>
                <a:gd name="connsiteX39" fmla="*/ 304800 w 1198245"/>
                <a:gd name="connsiteY39" fmla="*/ 160210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295805 w 1198245"/>
                <a:gd name="connsiteY60" fmla="*/ 463229 h 2065020"/>
                <a:gd name="connsiteX61" fmla="*/ 209651 w 1198245"/>
                <a:gd name="connsiteY61" fmla="*/ 301354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57027 w 1198245"/>
                <a:gd name="connsiteY37" fmla="*/ 1683255 h 2065020"/>
                <a:gd name="connsiteX38" fmla="*/ 320040 w 1198245"/>
                <a:gd name="connsiteY38" fmla="*/ 1630680 h 2065020"/>
                <a:gd name="connsiteX39" fmla="*/ 304800 w 1198245"/>
                <a:gd name="connsiteY39" fmla="*/ 160210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295805 w 1198245"/>
                <a:gd name="connsiteY60" fmla="*/ 463229 h 2065020"/>
                <a:gd name="connsiteX61" fmla="*/ 209651 w 1198245"/>
                <a:gd name="connsiteY61" fmla="*/ 301354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57027 w 1198245"/>
                <a:gd name="connsiteY37" fmla="*/ 1683255 h 2065020"/>
                <a:gd name="connsiteX38" fmla="*/ 320040 w 1198245"/>
                <a:gd name="connsiteY38" fmla="*/ 1630680 h 2065020"/>
                <a:gd name="connsiteX39" fmla="*/ 344824 w 1198245"/>
                <a:gd name="connsiteY39" fmla="*/ 1691515 h 2065020"/>
                <a:gd name="connsiteX40" fmla="*/ 316230 w 1198245"/>
                <a:gd name="connsiteY40" fmla="*/ 1558290 h 2065020"/>
                <a:gd name="connsiteX41" fmla="*/ 323850 w 1198245"/>
                <a:gd name="connsiteY41" fmla="*/ 1497330 h 2065020"/>
                <a:gd name="connsiteX42" fmla="*/ 331470 w 1198245"/>
                <a:gd name="connsiteY42" fmla="*/ 1447800 h 2065020"/>
                <a:gd name="connsiteX43" fmla="*/ 333375 w 1198245"/>
                <a:gd name="connsiteY43" fmla="*/ 1398270 h 2065020"/>
                <a:gd name="connsiteX44" fmla="*/ 310515 w 1198245"/>
                <a:gd name="connsiteY44" fmla="*/ 1373505 h 2065020"/>
                <a:gd name="connsiteX45" fmla="*/ 205740 w 1198245"/>
                <a:gd name="connsiteY45" fmla="*/ 1318260 h 2065020"/>
                <a:gd name="connsiteX46" fmla="*/ 87630 w 1198245"/>
                <a:gd name="connsiteY46" fmla="*/ 1238250 h 2065020"/>
                <a:gd name="connsiteX47" fmla="*/ 57150 w 1198245"/>
                <a:gd name="connsiteY47" fmla="*/ 1024890 h 2065020"/>
                <a:gd name="connsiteX48" fmla="*/ 87630 w 1198245"/>
                <a:gd name="connsiteY48" fmla="*/ 1017270 h 2065020"/>
                <a:gd name="connsiteX49" fmla="*/ 60960 w 1198245"/>
                <a:gd name="connsiteY49" fmla="*/ 982980 h 2065020"/>
                <a:gd name="connsiteX50" fmla="*/ 22860 w 1198245"/>
                <a:gd name="connsiteY50" fmla="*/ 958215 h 2065020"/>
                <a:gd name="connsiteX51" fmla="*/ 0 w 1198245"/>
                <a:gd name="connsiteY51" fmla="*/ 861060 h 2065020"/>
                <a:gd name="connsiteX52" fmla="*/ 60960 w 1198245"/>
                <a:gd name="connsiteY52" fmla="*/ 872490 h 2065020"/>
                <a:gd name="connsiteX53" fmla="*/ 87630 w 1198245"/>
                <a:gd name="connsiteY53" fmla="*/ 822960 h 2065020"/>
                <a:gd name="connsiteX54" fmla="*/ 64770 w 1198245"/>
                <a:gd name="connsiteY54" fmla="*/ 773430 h 2065020"/>
                <a:gd name="connsiteX55" fmla="*/ 41910 w 1198245"/>
                <a:gd name="connsiteY55" fmla="*/ 737235 h 2065020"/>
                <a:gd name="connsiteX56" fmla="*/ 57150 w 1198245"/>
                <a:gd name="connsiteY56" fmla="*/ 685800 h 2065020"/>
                <a:gd name="connsiteX57" fmla="*/ 121920 w 1198245"/>
                <a:gd name="connsiteY57" fmla="*/ 670560 h 2065020"/>
                <a:gd name="connsiteX58" fmla="*/ 161925 w 1198245"/>
                <a:gd name="connsiteY58" fmla="*/ 676275 h 2065020"/>
                <a:gd name="connsiteX59" fmla="*/ 266700 w 1198245"/>
                <a:gd name="connsiteY59" fmla="*/ 506730 h 2065020"/>
                <a:gd name="connsiteX60" fmla="*/ 295805 w 1198245"/>
                <a:gd name="connsiteY60" fmla="*/ 463229 h 2065020"/>
                <a:gd name="connsiteX61" fmla="*/ 209651 w 1198245"/>
                <a:gd name="connsiteY61" fmla="*/ 301354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57027 w 1198245"/>
                <a:gd name="connsiteY37" fmla="*/ 1683255 h 2065020"/>
                <a:gd name="connsiteX38" fmla="*/ 320040 w 1198245"/>
                <a:gd name="connsiteY38" fmla="*/ 1630680 h 2065020"/>
                <a:gd name="connsiteX39" fmla="*/ 316230 w 1198245"/>
                <a:gd name="connsiteY39" fmla="*/ 1558290 h 2065020"/>
                <a:gd name="connsiteX40" fmla="*/ 323850 w 1198245"/>
                <a:gd name="connsiteY40" fmla="*/ 1497330 h 2065020"/>
                <a:gd name="connsiteX41" fmla="*/ 331470 w 1198245"/>
                <a:gd name="connsiteY41" fmla="*/ 1447800 h 2065020"/>
                <a:gd name="connsiteX42" fmla="*/ 333375 w 1198245"/>
                <a:gd name="connsiteY42" fmla="*/ 1398270 h 2065020"/>
                <a:gd name="connsiteX43" fmla="*/ 310515 w 1198245"/>
                <a:gd name="connsiteY43" fmla="*/ 1373505 h 2065020"/>
                <a:gd name="connsiteX44" fmla="*/ 205740 w 1198245"/>
                <a:gd name="connsiteY44" fmla="*/ 1318260 h 2065020"/>
                <a:gd name="connsiteX45" fmla="*/ 87630 w 1198245"/>
                <a:gd name="connsiteY45" fmla="*/ 1238250 h 2065020"/>
                <a:gd name="connsiteX46" fmla="*/ 57150 w 1198245"/>
                <a:gd name="connsiteY46" fmla="*/ 1024890 h 2065020"/>
                <a:gd name="connsiteX47" fmla="*/ 87630 w 1198245"/>
                <a:gd name="connsiteY47" fmla="*/ 1017270 h 2065020"/>
                <a:gd name="connsiteX48" fmla="*/ 60960 w 1198245"/>
                <a:gd name="connsiteY48" fmla="*/ 982980 h 2065020"/>
                <a:gd name="connsiteX49" fmla="*/ 22860 w 1198245"/>
                <a:gd name="connsiteY49" fmla="*/ 958215 h 2065020"/>
                <a:gd name="connsiteX50" fmla="*/ 0 w 1198245"/>
                <a:gd name="connsiteY50" fmla="*/ 861060 h 2065020"/>
                <a:gd name="connsiteX51" fmla="*/ 60960 w 1198245"/>
                <a:gd name="connsiteY51" fmla="*/ 872490 h 2065020"/>
                <a:gd name="connsiteX52" fmla="*/ 87630 w 1198245"/>
                <a:gd name="connsiteY52" fmla="*/ 822960 h 2065020"/>
                <a:gd name="connsiteX53" fmla="*/ 64770 w 1198245"/>
                <a:gd name="connsiteY53" fmla="*/ 773430 h 2065020"/>
                <a:gd name="connsiteX54" fmla="*/ 41910 w 1198245"/>
                <a:gd name="connsiteY54" fmla="*/ 737235 h 2065020"/>
                <a:gd name="connsiteX55" fmla="*/ 57150 w 1198245"/>
                <a:gd name="connsiteY55" fmla="*/ 685800 h 2065020"/>
                <a:gd name="connsiteX56" fmla="*/ 121920 w 1198245"/>
                <a:gd name="connsiteY56" fmla="*/ 670560 h 2065020"/>
                <a:gd name="connsiteX57" fmla="*/ 161925 w 1198245"/>
                <a:gd name="connsiteY57" fmla="*/ 676275 h 2065020"/>
                <a:gd name="connsiteX58" fmla="*/ 266700 w 1198245"/>
                <a:gd name="connsiteY58" fmla="*/ 506730 h 2065020"/>
                <a:gd name="connsiteX59" fmla="*/ 295805 w 1198245"/>
                <a:gd name="connsiteY59" fmla="*/ 463229 h 2065020"/>
                <a:gd name="connsiteX60" fmla="*/ 209651 w 1198245"/>
                <a:gd name="connsiteY60" fmla="*/ 301354 h 2065020"/>
                <a:gd name="connsiteX0" fmla="*/ 213360 w 1198245"/>
                <a:gd name="connsiteY0" fmla="*/ 312420 h 2065020"/>
                <a:gd name="connsiteX1" fmla="*/ 118110 w 1198245"/>
                <a:gd name="connsiteY1" fmla="*/ 148590 h 2065020"/>
                <a:gd name="connsiteX2" fmla="*/ 118110 w 1198245"/>
                <a:gd name="connsiteY2" fmla="*/ 0 h 2065020"/>
                <a:gd name="connsiteX3" fmla="*/ 765810 w 1198245"/>
                <a:gd name="connsiteY3" fmla="*/ 0 h 2065020"/>
                <a:gd name="connsiteX4" fmla="*/ 765810 w 1198245"/>
                <a:gd name="connsiteY4" fmla="*/ 331470 h 2065020"/>
                <a:gd name="connsiteX5" fmla="*/ 704850 w 1198245"/>
                <a:gd name="connsiteY5" fmla="*/ 392430 h 2065020"/>
                <a:gd name="connsiteX6" fmla="*/ 676275 w 1198245"/>
                <a:gd name="connsiteY6" fmla="*/ 421005 h 2065020"/>
                <a:gd name="connsiteX7" fmla="*/ 731520 w 1198245"/>
                <a:gd name="connsiteY7" fmla="*/ 449580 h 2065020"/>
                <a:gd name="connsiteX8" fmla="*/ 765810 w 1198245"/>
                <a:gd name="connsiteY8" fmla="*/ 457200 h 2065020"/>
                <a:gd name="connsiteX9" fmla="*/ 773430 w 1198245"/>
                <a:gd name="connsiteY9" fmla="*/ 487680 h 2065020"/>
                <a:gd name="connsiteX10" fmla="*/ 746760 w 1198245"/>
                <a:gd name="connsiteY10" fmla="*/ 533400 h 2065020"/>
                <a:gd name="connsiteX11" fmla="*/ 718185 w 1198245"/>
                <a:gd name="connsiteY11" fmla="*/ 533400 h 2065020"/>
                <a:gd name="connsiteX12" fmla="*/ 714375 w 1198245"/>
                <a:gd name="connsiteY12" fmla="*/ 529590 h 2065020"/>
                <a:gd name="connsiteX13" fmla="*/ 697230 w 1198245"/>
                <a:gd name="connsiteY13" fmla="*/ 552450 h 2065020"/>
                <a:gd name="connsiteX14" fmla="*/ 695325 w 1198245"/>
                <a:gd name="connsiteY14" fmla="*/ 571500 h 2065020"/>
                <a:gd name="connsiteX15" fmla="*/ 701040 w 1198245"/>
                <a:gd name="connsiteY15" fmla="*/ 586740 h 2065020"/>
                <a:gd name="connsiteX16" fmla="*/ 701040 w 1198245"/>
                <a:gd name="connsiteY16" fmla="*/ 598170 h 2065020"/>
                <a:gd name="connsiteX17" fmla="*/ 676275 w 1198245"/>
                <a:gd name="connsiteY17" fmla="*/ 603885 h 2065020"/>
                <a:gd name="connsiteX18" fmla="*/ 655320 w 1198245"/>
                <a:gd name="connsiteY18" fmla="*/ 626745 h 2065020"/>
                <a:gd name="connsiteX19" fmla="*/ 861060 w 1198245"/>
                <a:gd name="connsiteY19" fmla="*/ 632460 h 2065020"/>
                <a:gd name="connsiteX20" fmla="*/ 971550 w 1198245"/>
                <a:gd name="connsiteY20" fmla="*/ 830580 h 2065020"/>
                <a:gd name="connsiteX21" fmla="*/ 1169670 w 1198245"/>
                <a:gd name="connsiteY21" fmla="*/ 963930 h 2065020"/>
                <a:gd name="connsiteX22" fmla="*/ 1184910 w 1198245"/>
                <a:gd name="connsiteY22" fmla="*/ 1215390 h 2065020"/>
                <a:gd name="connsiteX23" fmla="*/ 1196340 w 1198245"/>
                <a:gd name="connsiteY23" fmla="*/ 1232535 h 2065020"/>
                <a:gd name="connsiteX24" fmla="*/ 1198245 w 1198245"/>
                <a:gd name="connsiteY24" fmla="*/ 1282065 h 2065020"/>
                <a:gd name="connsiteX25" fmla="*/ 1085850 w 1198245"/>
                <a:gd name="connsiteY25" fmla="*/ 1268730 h 2065020"/>
                <a:gd name="connsiteX26" fmla="*/ 1078230 w 1198245"/>
                <a:gd name="connsiteY26" fmla="*/ 1268730 h 2065020"/>
                <a:gd name="connsiteX27" fmla="*/ 1062990 w 1198245"/>
                <a:gd name="connsiteY27" fmla="*/ 1264920 h 2065020"/>
                <a:gd name="connsiteX28" fmla="*/ 887730 w 1198245"/>
                <a:gd name="connsiteY28" fmla="*/ 1466850 h 2065020"/>
                <a:gd name="connsiteX29" fmla="*/ 842010 w 1198245"/>
                <a:gd name="connsiteY29" fmla="*/ 1535430 h 2065020"/>
                <a:gd name="connsiteX30" fmla="*/ 739140 w 1198245"/>
                <a:gd name="connsiteY30" fmla="*/ 1718310 h 2065020"/>
                <a:gd name="connsiteX31" fmla="*/ 803910 w 1198245"/>
                <a:gd name="connsiteY31" fmla="*/ 1885950 h 2065020"/>
                <a:gd name="connsiteX32" fmla="*/ 819150 w 1198245"/>
                <a:gd name="connsiteY32" fmla="*/ 1962150 h 2065020"/>
                <a:gd name="connsiteX33" fmla="*/ 773430 w 1198245"/>
                <a:gd name="connsiteY33" fmla="*/ 2026920 h 2065020"/>
                <a:gd name="connsiteX34" fmla="*/ 750570 w 1198245"/>
                <a:gd name="connsiteY34" fmla="*/ 2065020 h 2065020"/>
                <a:gd name="connsiteX35" fmla="*/ 693420 w 1198245"/>
                <a:gd name="connsiteY35" fmla="*/ 2065020 h 2065020"/>
                <a:gd name="connsiteX36" fmla="*/ 541020 w 1198245"/>
                <a:gd name="connsiteY36" fmla="*/ 2007870 h 2065020"/>
                <a:gd name="connsiteX37" fmla="*/ 557027 w 1198245"/>
                <a:gd name="connsiteY37" fmla="*/ 1683255 h 2065020"/>
                <a:gd name="connsiteX38" fmla="*/ 336051 w 1198245"/>
                <a:gd name="connsiteY38" fmla="*/ 1686559 h 2065020"/>
                <a:gd name="connsiteX39" fmla="*/ 316230 w 1198245"/>
                <a:gd name="connsiteY39" fmla="*/ 1558290 h 2065020"/>
                <a:gd name="connsiteX40" fmla="*/ 323850 w 1198245"/>
                <a:gd name="connsiteY40" fmla="*/ 1497330 h 2065020"/>
                <a:gd name="connsiteX41" fmla="*/ 331470 w 1198245"/>
                <a:gd name="connsiteY41" fmla="*/ 1447800 h 2065020"/>
                <a:gd name="connsiteX42" fmla="*/ 333375 w 1198245"/>
                <a:gd name="connsiteY42" fmla="*/ 1398270 h 2065020"/>
                <a:gd name="connsiteX43" fmla="*/ 310515 w 1198245"/>
                <a:gd name="connsiteY43" fmla="*/ 1373505 h 2065020"/>
                <a:gd name="connsiteX44" fmla="*/ 205740 w 1198245"/>
                <a:gd name="connsiteY44" fmla="*/ 1318260 h 2065020"/>
                <a:gd name="connsiteX45" fmla="*/ 87630 w 1198245"/>
                <a:gd name="connsiteY45" fmla="*/ 1238250 h 2065020"/>
                <a:gd name="connsiteX46" fmla="*/ 57150 w 1198245"/>
                <a:gd name="connsiteY46" fmla="*/ 1024890 h 2065020"/>
                <a:gd name="connsiteX47" fmla="*/ 87630 w 1198245"/>
                <a:gd name="connsiteY47" fmla="*/ 1017270 h 2065020"/>
                <a:gd name="connsiteX48" fmla="*/ 60960 w 1198245"/>
                <a:gd name="connsiteY48" fmla="*/ 982980 h 2065020"/>
                <a:gd name="connsiteX49" fmla="*/ 22860 w 1198245"/>
                <a:gd name="connsiteY49" fmla="*/ 958215 h 2065020"/>
                <a:gd name="connsiteX50" fmla="*/ 0 w 1198245"/>
                <a:gd name="connsiteY50" fmla="*/ 861060 h 2065020"/>
                <a:gd name="connsiteX51" fmla="*/ 60960 w 1198245"/>
                <a:gd name="connsiteY51" fmla="*/ 872490 h 2065020"/>
                <a:gd name="connsiteX52" fmla="*/ 87630 w 1198245"/>
                <a:gd name="connsiteY52" fmla="*/ 822960 h 2065020"/>
                <a:gd name="connsiteX53" fmla="*/ 64770 w 1198245"/>
                <a:gd name="connsiteY53" fmla="*/ 773430 h 2065020"/>
                <a:gd name="connsiteX54" fmla="*/ 41910 w 1198245"/>
                <a:gd name="connsiteY54" fmla="*/ 737235 h 2065020"/>
                <a:gd name="connsiteX55" fmla="*/ 57150 w 1198245"/>
                <a:gd name="connsiteY55" fmla="*/ 685800 h 2065020"/>
                <a:gd name="connsiteX56" fmla="*/ 121920 w 1198245"/>
                <a:gd name="connsiteY56" fmla="*/ 670560 h 2065020"/>
                <a:gd name="connsiteX57" fmla="*/ 161925 w 1198245"/>
                <a:gd name="connsiteY57" fmla="*/ 676275 h 2065020"/>
                <a:gd name="connsiteX58" fmla="*/ 266700 w 1198245"/>
                <a:gd name="connsiteY58" fmla="*/ 506730 h 2065020"/>
                <a:gd name="connsiteX59" fmla="*/ 295805 w 1198245"/>
                <a:gd name="connsiteY59" fmla="*/ 463229 h 2065020"/>
                <a:gd name="connsiteX60" fmla="*/ 209651 w 1198245"/>
                <a:gd name="connsiteY60" fmla="*/ 301354 h 20650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</a:cxnLst>
              <a:rect l="l" t="t" r="r" b="b"/>
              <a:pathLst>
                <a:path w="1198245" h="2065020">
                  <a:moveTo>
                    <a:pt x="213360" y="312420"/>
                  </a:moveTo>
                  <a:lnTo>
                    <a:pt x="118110" y="148590"/>
                  </a:lnTo>
                  <a:lnTo>
                    <a:pt x="118110" y="0"/>
                  </a:lnTo>
                  <a:lnTo>
                    <a:pt x="765810" y="0"/>
                  </a:lnTo>
                  <a:lnTo>
                    <a:pt x="765810" y="331470"/>
                  </a:lnTo>
                  <a:lnTo>
                    <a:pt x="704850" y="392430"/>
                  </a:lnTo>
                  <a:lnTo>
                    <a:pt x="676275" y="421005"/>
                  </a:lnTo>
                  <a:cubicBezTo>
                    <a:pt x="680720" y="430530"/>
                    <a:pt x="715963" y="444500"/>
                    <a:pt x="731520" y="449580"/>
                  </a:cubicBezTo>
                  <a:lnTo>
                    <a:pt x="765810" y="457200"/>
                  </a:lnTo>
                  <a:lnTo>
                    <a:pt x="773430" y="487680"/>
                  </a:lnTo>
                  <a:lnTo>
                    <a:pt x="746760" y="533400"/>
                  </a:lnTo>
                  <a:lnTo>
                    <a:pt x="718185" y="533400"/>
                  </a:lnTo>
                  <a:lnTo>
                    <a:pt x="714375" y="529590"/>
                  </a:lnTo>
                  <a:lnTo>
                    <a:pt x="697230" y="552450"/>
                  </a:lnTo>
                  <a:lnTo>
                    <a:pt x="695325" y="571500"/>
                  </a:lnTo>
                  <a:cubicBezTo>
                    <a:pt x="697230" y="576580"/>
                    <a:pt x="700088" y="582295"/>
                    <a:pt x="701040" y="586740"/>
                  </a:cubicBezTo>
                  <a:cubicBezTo>
                    <a:pt x="701993" y="591185"/>
                    <a:pt x="704850" y="594360"/>
                    <a:pt x="701040" y="598170"/>
                  </a:cubicBezTo>
                  <a:cubicBezTo>
                    <a:pt x="697230" y="601980"/>
                    <a:pt x="683895" y="599123"/>
                    <a:pt x="676275" y="603885"/>
                  </a:cubicBezTo>
                  <a:cubicBezTo>
                    <a:pt x="668655" y="608647"/>
                    <a:pt x="624840" y="622935"/>
                    <a:pt x="655320" y="626745"/>
                  </a:cubicBezTo>
                  <a:lnTo>
                    <a:pt x="861060" y="632460"/>
                  </a:lnTo>
                  <a:lnTo>
                    <a:pt x="971550" y="830580"/>
                  </a:lnTo>
                  <a:lnTo>
                    <a:pt x="1169670" y="963930"/>
                  </a:lnTo>
                  <a:lnTo>
                    <a:pt x="1184910" y="1215390"/>
                  </a:lnTo>
                  <a:lnTo>
                    <a:pt x="1196340" y="1232535"/>
                  </a:lnTo>
                  <a:lnTo>
                    <a:pt x="1198245" y="1282065"/>
                  </a:lnTo>
                  <a:lnTo>
                    <a:pt x="1085850" y="1268730"/>
                  </a:lnTo>
                  <a:lnTo>
                    <a:pt x="1078230" y="1268730"/>
                  </a:lnTo>
                  <a:lnTo>
                    <a:pt x="1062990" y="1264920"/>
                  </a:lnTo>
                  <a:lnTo>
                    <a:pt x="887730" y="1466850"/>
                  </a:lnTo>
                  <a:lnTo>
                    <a:pt x="842010" y="1535430"/>
                  </a:lnTo>
                  <a:lnTo>
                    <a:pt x="739140" y="1718310"/>
                  </a:lnTo>
                  <a:lnTo>
                    <a:pt x="803910" y="1885950"/>
                  </a:lnTo>
                  <a:lnTo>
                    <a:pt x="819150" y="1962150"/>
                  </a:lnTo>
                  <a:lnTo>
                    <a:pt x="773430" y="2026920"/>
                  </a:lnTo>
                  <a:lnTo>
                    <a:pt x="750570" y="2065020"/>
                  </a:lnTo>
                  <a:lnTo>
                    <a:pt x="693420" y="2065020"/>
                  </a:lnTo>
                  <a:lnTo>
                    <a:pt x="541020" y="2007870"/>
                  </a:lnTo>
                  <a:lnTo>
                    <a:pt x="557027" y="1683255"/>
                  </a:lnTo>
                  <a:lnTo>
                    <a:pt x="336051" y="1686559"/>
                  </a:lnTo>
                  <a:lnTo>
                    <a:pt x="316230" y="1558290"/>
                  </a:lnTo>
                  <a:lnTo>
                    <a:pt x="323850" y="1497330"/>
                  </a:lnTo>
                  <a:cubicBezTo>
                    <a:pt x="326390" y="1480820"/>
                    <a:pt x="329882" y="1464310"/>
                    <a:pt x="331470" y="1447800"/>
                  </a:cubicBezTo>
                  <a:cubicBezTo>
                    <a:pt x="333058" y="1431290"/>
                    <a:pt x="332740" y="1414780"/>
                    <a:pt x="333375" y="1398270"/>
                  </a:cubicBezTo>
                  <a:lnTo>
                    <a:pt x="310515" y="1373505"/>
                  </a:lnTo>
                  <a:lnTo>
                    <a:pt x="205740" y="1318260"/>
                  </a:lnTo>
                  <a:lnTo>
                    <a:pt x="87630" y="1238250"/>
                  </a:lnTo>
                  <a:lnTo>
                    <a:pt x="57150" y="1024890"/>
                  </a:lnTo>
                  <a:lnTo>
                    <a:pt x="87630" y="1017270"/>
                  </a:lnTo>
                  <a:lnTo>
                    <a:pt x="60960" y="982980"/>
                  </a:lnTo>
                  <a:lnTo>
                    <a:pt x="22860" y="958215"/>
                  </a:lnTo>
                  <a:lnTo>
                    <a:pt x="0" y="861060"/>
                  </a:lnTo>
                  <a:lnTo>
                    <a:pt x="60960" y="872490"/>
                  </a:lnTo>
                  <a:lnTo>
                    <a:pt x="87630" y="822960"/>
                  </a:lnTo>
                  <a:lnTo>
                    <a:pt x="64770" y="773430"/>
                  </a:lnTo>
                  <a:lnTo>
                    <a:pt x="41910" y="737235"/>
                  </a:lnTo>
                  <a:cubicBezTo>
                    <a:pt x="46990" y="720090"/>
                    <a:pt x="38735" y="708660"/>
                    <a:pt x="57150" y="685800"/>
                  </a:cubicBezTo>
                  <a:lnTo>
                    <a:pt x="121920" y="670560"/>
                  </a:lnTo>
                  <a:lnTo>
                    <a:pt x="161925" y="676275"/>
                  </a:lnTo>
                  <a:lnTo>
                    <a:pt x="266700" y="506730"/>
                  </a:lnTo>
                  <a:cubicBezTo>
                    <a:pt x="289013" y="471222"/>
                    <a:pt x="288240" y="475663"/>
                    <a:pt x="295805" y="463229"/>
                  </a:cubicBezTo>
                  <a:cubicBezTo>
                    <a:pt x="303370" y="450795"/>
                    <a:pt x="206937" y="306538"/>
                    <a:pt x="209651" y="301354"/>
                  </a:cubicBez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500">
                <a:solidFill>
                  <a:schemeClr val="lt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0" name="Freeform 39"/>
            <p:cNvSpPr/>
            <p:nvPr/>
          </p:nvSpPr>
          <p:spPr>
            <a:xfrm>
              <a:off x="4795692" y="4632341"/>
              <a:ext cx="150019" cy="111918"/>
            </a:xfrm>
            <a:custGeom>
              <a:avLst/>
              <a:gdLst>
                <a:gd name="connsiteX0" fmla="*/ 0 w 150019"/>
                <a:gd name="connsiteY0" fmla="*/ 0 h 111918"/>
                <a:gd name="connsiteX1" fmla="*/ 0 w 150019"/>
                <a:gd name="connsiteY1" fmla="*/ 0 h 111918"/>
                <a:gd name="connsiteX2" fmla="*/ 40481 w 150019"/>
                <a:gd name="connsiteY2" fmla="*/ 2381 h 111918"/>
                <a:gd name="connsiteX3" fmla="*/ 47625 w 150019"/>
                <a:gd name="connsiteY3" fmla="*/ 7143 h 111918"/>
                <a:gd name="connsiteX4" fmla="*/ 54769 w 150019"/>
                <a:gd name="connsiteY4" fmla="*/ 9525 h 111918"/>
                <a:gd name="connsiteX5" fmla="*/ 69056 w 150019"/>
                <a:gd name="connsiteY5" fmla="*/ 21431 h 111918"/>
                <a:gd name="connsiteX6" fmla="*/ 71437 w 150019"/>
                <a:gd name="connsiteY6" fmla="*/ 35718 h 111918"/>
                <a:gd name="connsiteX7" fmla="*/ 76200 w 150019"/>
                <a:gd name="connsiteY7" fmla="*/ 59531 h 111918"/>
                <a:gd name="connsiteX8" fmla="*/ 80962 w 150019"/>
                <a:gd name="connsiteY8" fmla="*/ 66675 h 111918"/>
                <a:gd name="connsiteX9" fmla="*/ 83344 w 150019"/>
                <a:gd name="connsiteY9" fmla="*/ 73818 h 111918"/>
                <a:gd name="connsiteX10" fmla="*/ 104775 w 150019"/>
                <a:gd name="connsiteY10" fmla="*/ 92868 h 111918"/>
                <a:gd name="connsiteX11" fmla="*/ 111919 w 150019"/>
                <a:gd name="connsiteY11" fmla="*/ 102393 h 111918"/>
                <a:gd name="connsiteX12" fmla="*/ 126206 w 150019"/>
                <a:gd name="connsiteY12" fmla="*/ 107156 h 111918"/>
                <a:gd name="connsiteX13" fmla="*/ 135731 w 150019"/>
                <a:gd name="connsiteY13" fmla="*/ 111918 h 111918"/>
                <a:gd name="connsiteX14" fmla="*/ 138112 w 150019"/>
                <a:gd name="connsiteY14" fmla="*/ 104775 h 111918"/>
                <a:gd name="connsiteX15" fmla="*/ 150019 w 150019"/>
                <a:gd name="connsiteY15" fmla="*/ 100012 h 1119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50019" h="111918">
                  <a:moveTo>
                    <a:pt x="0" y="0"/>
                  </a:moveTo>
                  <a:lnTo>
                    <a:pt x="0" y="0"/>
                  </a:lnTo>
                  <a:cubicBezTo>
                    <a:pt x="13494" y="794"/>
                    <a:pt x="27114" y="376"/>
                    <a:pt x="40481" y="2381"/>
                  </a:cubicBezTo>
                  <a:cubicBezTo>
                    <a:pt x="43311" y="2805"/>
                    <a:pt x="45065" y="5863"/>
                    <a:pt x="47625" y="7143"/>
                  </a:cubicBezTo>
                  <a:cubicBezTo>
                    <a:pt x="49870" y="8266"/>
                    <a:pt x="52524" y="8402"/>
                    <a:pt x="54769" y="9525"/>
                  </a:cubicBezTo>
                  <a:cubicBezTo>
                    <a:pt x="61400" y="12840"/>
                    <a:pt x="63789" y="16164"/>
                    <a:pt x="69056" y="21431"/>
                  </a:cubicBezTo>
                  <a:cubicBezTo>
                    <a:pt x="69850" y="26193"/>
                    <a:pt x="70703" y="30946"/>
                    <a:pt x="71437" y="35718"/>
                  </a:cubicBezTo>
                  <a:cubicBezTo>
                    <a:pt x="72412" y="42053"/>
                    <a:pt x="72832" y="52795"/>
                    <a:pt x="76200" y="59531"/>
                  </a:cubicBezTo>
                  <a:cubicBezTo>
                    <a:pt x="77480" y="62091"/>
                    <a:pt x="79682" y="64115"/>
                    <a:pt x="80962" y="66675"/>
                  </a:cubicBezTo>
                  <a:cubicBezTo>
                    <a:pt x="82085" y="68920"/>
                    <a:pt x="81803" y="71837"/>
                    <a:pt x="83344" y="73818"/>
                  </a:cubicBezTo>
                  <a:cubicBezTo>
                    <a:pt x="92130" y="85114"/>
                    <a:pt x="95224" y="86502"/>
                    <a:pt x="104775" y="92868"/>
                  </a:cubicBezTo>
                  <a:cubicBezTo>
                    <a:pt x="107156" y="96043"/>
                    <a:pt x="108617" y="100191"/>
                    <a:pt x="111919" y="102393"/>
                  </a:cubicBezTo>
                  <a:cubicBezTo>
                    <a:pt x="116096" y="105178"/>
                    <a:pt x="121716" y="104911"/>
                    <a:pt x="126206" y="107156"/>
                  </a:cubicBezTo>
                  <a:lnTo>
                    <a:pt x="135731" y="111918"/>
                  </a:lnTo>
                  <a:cubicBezTo>
                    <a:pt x="136525" y="109537"/>
                    <a:pt x="136544" y="106735"/>
                    <a:pt x="138112" y="104775"/>
                  </a:cubicBezTo>
                  <a:cubicBezTo>
                    <a:pt x="142627" y="99131"/>
                    <a:pt x="144585" y="100012"/>
                    <a:pt x="150019" y="100012"/>
                  </a:cubicBez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  <p:sp>
          <p:nvSpPr>
            <p:cNvPr id="46" name="Freeform 45"/>
            <p:cNvSpPr/>
            <p:nvPr/>
          </p:nvSpPr>
          <p:spPr>
            <a:xfrm>
              <a:off x="4233863" y="4409514"/>
              <a:ext cx="278606" cy="38100"/>
            </a:xfrm>
            <a:custGeom>
              <a:avLst/>
              <a:gdLst>
                <a:gd name="connsiteX0" fmla="*/ 0 w 278606"/>
                <a:gd name="connsiteY0" fmla="*/ 0 h 38100"/>
                <a:gd name="connsiteX1" fmla="*/ 0 w 278606"/>
                <a:gd name="connsiteY1" fmla="*/ 0 h 38100"/>
                <a:gd name="connsiteX2" fmla="*/ 19050 w 278606"/>
                <a:gd name="connsiteY2" fmla="*/ 23813 h 38100"/>
                <a:gd name="connsiteX3" fmla="*/ 33337 w 278606"/>
                <a:gd name="connsiteY3" fmla="*/ 33338 h 38100"/>
                <a:gd name="connsiteX4" fmla="*/ 52387 w 278606"/>
                <a:gd name="connsiteY4" fmla="*/ 38100 h 38100"/>
                <a:gd name="connsiteX5" fmla="*/ 88106 w 278606"/>
                <a:gd name="connsiteY5" fmla="*/ 35719 h 38100"/>
                <a:gd name="connsiteX6" fmla="*/ 95250 w 278606"/>
                <a:gd name="connsiteY6" fmla="*/ 33338 h 38100"/>
                <a:gd name="connsiteX7" fmla="*/ 109537 w 278606"/>
                <a:gd name="connsiteY7" fmla="*/ 30956 h 38100"/>
                <a:gd name="connsiteX8" fmla="*/ 140493 w 278606"/>
                <a:gd name="connsiteY8" fmla="*/ 21431 h 38100"/>
                <a:gd name="connsiteX9" fmla="*/ 147637 w 278606"/>
                <a:gd name="connsiteY9" fmla="*/ 19050 h 38100"/>
                <a:gd name="connsiteX10" fmla="*/ 278606 w 278606"/>
                <a:gd name="connsiteY10" fmla="*/ 16669 h 38100"/>
                <a:gd name="connsiteX11" fmla="*/ 278606 w 278606"/>
                <a:gd name="connsiteY11" fmla="*/ 16669 h 381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8606" h="38100">
                  <a:moveTo>
                    <a:pt x="0" y="0"/>
                  </a:moveTo>
                  <a:lnTo>
                    <a:pt x="0" y="0"/>
                  </a:lnTo>
                  <a:cubicBezTo>
                    <a:pt x="5195" y="7274"/>
                    <a:pt x="11353" y="17826"/>
                    <a:pt x="19050" y="23813"/>
                  </a:cubicBezTo>
                  <a:cubicBezTo>
                    <a:pt x="23568" y="27327"/>
                    <a:pt x="27724" y="32216"/>
                    <a:pt x="33337" y="33338"/>
                  </a:cubicBezTo>
                  <a:cubicBezTo>
                    <a:pt x="47704" y="36211"/>
                    <a:pt x="41403" y="34439"/>
                    <a:pt x="52387" y="38100"/>
                  </a:cubicBezTo>
                  <a:cubicBezTo>
                    <a:pt x="64293" y="37306"/>
                    <a:pt x="76246" y="37037"/>
                    <a:pt x="88106" y="35719"/>
                  </a:cubicBezTo>
                  <a:cubicBezTo>
                    <a:pt x="90601" y="35442"/>
                    <a:pt x="92800" y="33883"/>
                    <a:pt x="95250" y="33338"/>
                  </a:cubicBezTo>
                  <a:cubicBezTo>
                    <a:pt x="99963" y="32291"/>
                    <a:pt x="104775" y="31750"/>
                    <a:pt x="109537" y="30956"/>
                  </a:cubicBezTo>
                  <a:cubicBezTo>
                    <a:pt x="127520" y="23763"/>
                    <a:pt x="117296" y="27231"/>
                    <a:pt x="140493" y="21431"/>
                  </a:cubicBezTo>
                  <a:cubicBezTo>
                    <a:pt x="142928" y="20822"/>
                    <a:pt x="145129" y="19141"/>
                    <a:pt x="147637" y="19050"/>
                  </a:cubicBezTo>
                  <a:cubicBezTo>
                    <a:pt x="214381" y="16623"/>
                    <a:pt x="233609" y="16669"/>
                    <a:pt x="278606" y="16669"/>
                  </a:cubicBezTo>
                  <a:lnTo>
                    <a:pt x="278606" y="16669"/>
                  </a:lnTo>
                </a:path>
              </a:pathLst>
            </a:custGeom>
            <a:noFill/>
            <a:ln w="317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500"/>
            </a:p>
          </p:txBody>
        </p:sp>
      </p:grpSp>
      <p:sp>
        <p:nvSpPr>
          <p:cNvPr id="3" name="Rectangle 3"/>
          <p:cNvSpPr txBox="1"/>
          <p:nvPr>
            <p:custDataLst>
              <p:tags r:id="rId28"/>
            </p:custDataLst>
          </p:nvPr>
        </p:nvSpPr>
        <p:spPr>
          <a:xfrm>
            <a:off x="179830" y="940862"/>
            <a:ext cx="2861741" cy="115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lvl="1" indent="-285750">
              <a:buFont typeface="Wingdings" pitchFamily="2" charset="2"/>
              <a:buChar char="§"/>
            </a:pPr>
            <a:r>
              <a:rPr lang="en-US" sz="1500" dirty="0"/>
              <a:t>There is a completed investment plan for the ZEAT in all the States in partnership with other line ministries and development partners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483EF17-B88D-41EC-D54B-0640B69BEF19}"/>
              </a:ext>
            </a:extLst>
          </p:cNvPr>
          <p:cNvSpPr txBox="1"/>
          <p:nvPr>
            <p:custDataLst>
              <p:tags r:id="rId29"/>
            </p:custDataLst>
          </p:nvPr>
        </p:nvSpPr>
        <p:spPr>
          <a:xfrm>
            <a:off x="126092" y="2215469"/>
            <a:ext cx="2694746" cy="6924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lvl="1" indent="-285750">
              <a:buFont typeface="Wingdings" pitchFamily="2" charset="2"/>
              <a:buChar char="§"/>
            </a:pPr>
            <a:r>
              <a:rPr lang="en-US" sz="1500" b="1" dirty="0"/>
              <a:t>Phase 1</a:t>
            </a:r>
            <a:r>
              <a:rPr lang="en-US" sz="1500" dirty="0"/>
              <a:t>:  Farmers ready area. Relatively easy access to the market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45AE8942-0D74-0549-0435-9A24BBCBEA7D}"/>
              </a:ext>
            </a:extLst>
          </p:cNvPr>
          <p:cNvSpPr txBox="1"/>
          <p:nvPr>
            <p:custDataLst>
              <p:tags r:id="rId30"/>
            </p:custDataLst>
          </p:nvPr>
        </p:nvSpPr>
        <p:spPr>
          <a:xfrm>
            <a:off x="68915" y="3299001"/>
            <a:ext cx="269474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lvl="1" indent="-285750">
              <a:buFont typeface="Wingdings" pitchFamily="2" charset="2"/>
              <a:buChar char="§"/>
            </a:pPr>
            <a:r>
              <a:rPr lang="en-US" sz="1500" b="1" dirty="0"/>
              <a:t>Phase 2</a:t>
            </a:r>
            <a:r>
              <a:rPr lang="en-US" sz="1500" dirty="0"/>
              <a:t>:  High production area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ED3AAE67-8557-C04B-E881-455E63DA2EFD}"/>
              </a:ext>
            </a:extLst>
          </p:cNvPr>
          <p:cNvSpPr txBox="1"/>
          <p:nvPr>
            <p:custDataLst>
              <p:tags r:id="rId31"/>
            </p:custDataLst>
          </p:nvPr>
        </p:nvSpPr>
        <p:spPr>
          <a:xfrm>
            <a:off x="67159" y="4168359"/>
            <a:ext cx="2694746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285750" lvl="1" indent="-285750">
              <a:buFont typeface="Wingdings" pitchFamily="2" charset="2"/>
              <a:buChar char="§"/>
            </a:pPr>
            <a:r>
              <a:rPr lang="en-US" sz="1500" b="1" dirty="0"/>
              <a:t>Phase 3</a:t>
            </a:r>
            <a:r>
              <a:rPr lang="en-US" sz="1500" dirty="0"/>
              <a:t>:  </a:t>
            </a:r>
          </a:p>
          <a:p>
            <a:pPr marL="285750" lvl="1" indent="-285750">
              <a:buFont typeface="Wingdings" pitchFamily="2" charset="2"/>
              <a:buChar char="§"/>
            </a:pP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8651363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Object 14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20340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Rectangle 140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  <a:sym typeface="Arial"/>
            </a:endParaRPr>
          </a:p>
        </p:txBody>
      </p:sp>
      <p:sp>
        <p:nvSpPr>
          <p:cNvPr id="6" name="Rectangle 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54000" y="1159062"/>
            <a:ext cx="4896224" cy="381635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32931" y="1145615"/>
            <a:ext cx="4917293" cy="350837"/>
          </a:xfrm>
          <a:prstGeom prst="rect">
            <a:avLst/>
          </a:prstGeom>
          <a:solidFill>
            <a:srgbClr val="D7ECF3"/>
          </a:solidFill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119063" y="230190"/>
            <a:ext cx="8618537" cy="584775"/>
          </a:xfrm>
        </p:spPr>
        <p:txBody>
          <a:bodyPr/>
          <a:lstStyle/>
          <a:p>
            <a:r>
              <a:rPr lang="en-US" dirty="0"/>
              <a:t>Prioritize supporting cooperative associations and commercial farmers to buy and sell at scale</a:t>
            </a:r>
          </a:p>
        </p:txBody>
      </p:sp>
      <p:sp>
        <p:nvSpPr>
          <p:cNvPr id="8" name="Rectangle 31"/>
          <p:cNvSpPr txBox="1">
            <a:spLocks/>
          </p:cNvSpPr>
          <p:nvPr/>
        </p:nvSpPr>
        <p:spPr bwMode="gray">
          <a:xfrm>
            <a:off x="325994" y="1565090"/>
            <a:ext cx="3672800" cy="20774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Support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existing associations and develop new associations per state</a:t>
            </a:r>
          </a:p>
          <a:p>
            <a:pPr lvl="2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Build on existing successes (e.g., </a:t>
            </a:r>
          </a:p>
          <a:p>
            <a:pPr lvl="2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Construct or rehabilitate warehouses and ensure proper fumigation </a:t>
            </a:r>
          </a:p>
          <a:p>
            <a:pPr lvl="2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Link associations to large traders and develop processing opportunities</a:t>
            </a:r>
          </a:p>
          <a:p>
            <a:pPr lvl="2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Provide quality extension and input subsidies</a:t>
            </a:r>
          </a:p>
        </p:txBody>
      </p:sp>
      <p:sp>
        <p:nvSpPr>
          <p:cNvPr id="3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81465" y="1191018"/>
            <a:ext cx="415286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Clr>
                <a:srgbClr val="002960"/>
              </a:buClr>
            </a:pPr>
            <a:r>
              <a:rPr lang="en-US" sz="1500" b="1" dirty="0">
                <a:solidFill>
                  <a:srgbClr val="002960"/>
                </a:solidFill>
              </a:rPr>
              <a:t>The interventions will be:</a:t>
            </a:r>
          </a:p>
        </p:txBody>
      </p:sp>
      <p:sp>
        <p:nvSpPr>
          <p:cNvPr id="12" name="Rectangle 11"/>
          <p:cNvSpPr/>
          <p:nvPr>
            <p:custDataLst>
              <p:tags r:id="rId7"/>
            </p:custDataLst>
          </p:nvPr>
        </p:nvSpPr>
        <p:spPr bwMode="gray">
          <a:xfrm>
            <a:off x="232932" y="967070"/>
            <a:ext cx="4771264" cy="96768"/>
          </a:xfrm>
          <a:prstGeom prst="rect">
            <a:avLst/>
          </a:prstGeom>
          <a:solidFill>
            <a:srgbClr val="D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3" name="Right Triangle 12"/>
          <p:cNvSpPr/>
          <p:nvPr>
            <p:custDataLst>
              <p:tags r:id="rId8"/>
            </p:custDataLst>
          </p:nvPr>
        </p:nvSpPr>
        <p:spPr bwMode="gray">
          <a:xfrm>
            <a:off x="4773706" y="805143"/>
            <a:ext cx="403413" cy="266702"/>
          </a:xfrm>
          <a:prstGeom prst="rtTriangle">
            <a:avLst/>
          </a:prstGeom>
          <a:solidFill>
            <a:srgbClr val="D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9"/>
            </p:custDataLst>
          </p:nvPr>
        </p:nvSpPr>
        <p:spPr bwMode="gray">
          <a:xfrm>
            <a:off x="5534203" y="1984841"/>
            <a:ext cx="284331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60" lvl="1"/>
            <a:endParaRPr lang="en-US" sz="1500" dirty="0">
              <a:solidFill>
                <a:srgbClr val="000000"/>
              </a:solidFill>
              <a:cs typeface="Arial" charset="0"/>
            </a:endParaRPr>
          </a:p>
          <a:p>
            <a:pPr marL="457160" lvl="1"/>
            <a:r>
              <a:rPr lang="en-US" sz="1500" dirty="0">
                <a:solidFill>
                  <a:srgbClr val="000000"/>
                </a:solidFill>
                <a:cs typeface="Arial" charset="0"/>
              </a:rPr>
              <a:t>Engage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15,000 farmers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 over 3 years </a:t>
            </a:r>
          </a:p>
        </p:txBody>
      </p:sp>
      <p:sp>
        <p:nvSpPr>
          <p:cNvPr id="58" name="Rectangle 57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325036" y="1246094"/>
            <a:ext cx="3466540" cy="3729318"/>
          </a:xfrm>
          <a:prstGeom prst="rect">
            <a:avLst/>
          </a:prstGeom>
          <a:solidFill>
            <a:schemeClr val="bg1"/>
          </a:solidFill>
          <a:ln w="19050">
            <a:solidFill>
              <a:srgbClr val="0D3E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59" name="Rectangle 58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325036" y="1151965"/>
            <a:ext cx="3466540" cy="350837"/>
          </a:xfrm>
          <a:prstGeom prst="rect">
            <a:avLst/>
          </a:prstGeom>
          <a:solidFill>
            <a:srgbClr val="0D3E97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60" name="Rectangle 31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94132" y="1177206"/>
            <a:ext cx="32904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Clr>
                <a:srgbClr val="002960"/>
              </a:buClr>
            </a:pPr>
            <a:r>
              <a:rPr lang="en-US" b="1" dirty="0">
                <a:solidFill>
                  <a:srgbClr val="FFFFFF"/>
                </a:solidFill>
              </a:rPr>
              <a:t>Projected results and costs:</a:t>
            </a:r>
          </a:p>
        </p:txBody>
      </p:sp>
      <p:sp>
        <p:nvSpPr>
          <p:cNvPr id="72" name="Rectangle 71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325036" y="976595"/>
            <a:ext cx="3466540" cy="95250"/>
          </a:xfrm>
          <a:prstGeom prst="rect">
            <a:avLst/>
          </a:prstGeom>
          <a:solidFill>
            <a:srgbClr val="0D3E97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 bwMode="gray">
          <a:xfrm>
            <a:off x="254000" y="5123627"/>
            <a:ext cx="4896224" cy="1234779"/>
            <a:chOff x="254000" y="5486696"/>
            <a:chExt cx="5286188" cy="1234779"/>
          </a:xfrm>
          <a:solidFill>
            <a:srgbClr val="D7ECF3"/>
          </a:solidFill>
        </p:grpSpPr>
        <p:sp>
          <p:nvSpPr>
            <p:cNvPr id="74" name="Rectangle 73"/>
            <p:cNvSpPr/>
            <p:nvPr>
              <p:custDataLst>
                <p:tags r:id="rId17"/>
              </p:custDataLst>
            </p:nvPr>
          </p:nvSpPr>
          <p:spPr bwMode="gray">
            <a:xfrm>
              <a:off x="254000" y="5486696"/>
              <a:ext cx="5286188" cy="1234779"/>
            </a:xfrm>
            <a:prstGeom prst="rect">
              <a:avLst/>
            </a:prstGeom>
            <a:grpFill/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76" name="Rectangle 3"/>
            <p:cNvSpPr txBox="1"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302534" y="5532099"/>
              <a:ext cx="5216585" cy="1154162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>
                <a:buClr>
                  <a:srgbClr val="002960"/>
                </a:buClr>
              </a:pPr>
              <a:r>
                <a:rPr lang="en-US" sz="1500" b="1" dirty="0">
                  <a:solidFill>
                    <a:srgbClr val="002960"/>
                  </a:solidFill>
                </a:rPr>
                <a:t>Critical requirements for success:</a:t>
              </a:r>
            </a:p>
            <a:p>
              <a:pPr marL="400040" lvl="2" indent="-285750">
                <a:buClr>
                  <a:srgbClr val="002960"/>
                </a:buClr>
                <a:buFont typeface="Wingdings" pitchFamily="2" charset="2"/>
                <a:buChar char="§"/>
              </a:pPr>
              <a:r>
                <a:rPr lang="en-US" sz="1500" b="1" dirty="0">
                  <a:solidFill>
                    <a:srgbClr val="002960"/>
                  </a:solidFill>
                  <a:cs typeface="Arial" charset="0"/>
                </a:rPr>
                <a:t>Funding for roads </a:t>
              </a:r>
              <a:r>
                <a:rPr lang="en-US" sz="1500" dirty="0">
                  <a:solidFill>
                    <a:srgbClr val="002960"/>
                  </a:solidFill>
                  <a:cs typeface="Arial" charset="0"/>
                </a:rPr>
                <a:t>mobilized quickly so increased production does not spoil</a:t>
              </a:r>
            </a:p>
            <a:p>
              <a:pPr marL="400040" lvl="2" indent="-285750">
                <a:buClr>
                  <a:srgbClr val="002960"/>
                </a:buClr>
                <a:buFont typeface="Wingdings" pitchFamily="2" charset="2"/>
                <a:buChar char="§"/>
              </a:pPr>
              <a:r>
                <a:rPr lang="en-US" sz="1500" b="1" dirty="0">
                  <a:solidFill>
                    <a:srgbClr val="002960"/>
                  </a:solidFill>
                  <a:cs typeface="Arial" charset="0"/>
                </a:rPr>
                <a:t>Farmer associations</a:t>
              </a:r>
              <a:r>
                <a:rPr lang="en-US" sz="1500" dirty="0">
                  <a:solidFill>
                    <a:srgbClr val="002960"/>
                  </a:solidFill>
                  <a:cs typeface="Arial" charset="0"/>
                </a:rPr>
                <a:t> are sustainable and private-sector oriented—not dependent on relief</a:t>
              </a:r>
            </a:p>
          </p:txBody>
        </p:sp>
      </p:grpSp>
      <p:sp>
        <p:nvSpPr>
          <p:cNvPr id="77" name="Rectangle 31"/>
          <p:cNvSpPr txBox="1">
            <a:spLocks/>
          </p:cNvSpPr>
          <p:nvPr/>
        </p:nvSpPr>
        <p:spPr bwMode="gray">
          <a:xfrm>
            <a:off x="5360362" y="1565090"/>
            <a:ext cx="3324176" cy="3077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Support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15,000 farmers over 3 years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 with 40 B SSP of public funds and </a:t>
            </a:r>
            <a:r>
              <a:rPr lang="en-US" sz="1500" dirty="0">
                <a:solidFill>
                  <a:srgbClr val="FFFF00"/>
                </a:solidFill>
                <a:highlight>
                  <a:srgbClr val="FFFF00"/>
                </a:highlight>
                <a:cs typeface="Arial" charset="0"/>
              </a:rPr>
              <a:t>…….. B SSP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of farmer/ association funding:</a:t>
            </a:r>
          </a:p>
          <a:p>
            <a:pPr lvl="2"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Average cultivated land from </a:t>
            </a:r>
            <a:r>
              <a:rPr lang="en-US" b="1" dirty="0">
                <a:solidFill>
                  <a:srgbClr val="000000"/>
                </a:solidFill>
                <a:cs typeface="Arial" charset="0"/>
              </a:rPr>
              <a:t>2.5 to 3.5 </a:t>
            </a:r>
            <a:r>
              <a:rPr lang="en-US" b="1" dirty="0" err="1">
                <a:solidFill>
                  <a:srgbClr val="000000"/>
                </a:solidFill>
                <a:cs typeface="Arial" charset="0"/>
              </a:rPr>
              <a:t>feddans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  <a:p>
            <a:pPr lvl="2"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Yield from </a:t>
            </a:r>
            <a:r>
              <a:rPr lang="en-US" b="1" dirty="0">
                <a:solidFill>
                  <a:srgbClr val="000000"/>
                </a:solidFill>
                <a:cs typeface="Arial" charset="0"/>
              </a:rPr>
              <a:t>1 to 2 MT/</a:t>
            </a:r>
            <a:r>
              <a:rPr lang="en-US" b="1" dirty="0" err="1">
                <a:solidFill>
                  <a:srgbClr val="000000"/>
                </a:solidFill>
                <a:cs typeface="Arial" charset="0"/>
              </a:rPr>
              <a:t>feddan</a:t>
            </a:r>
            <a:endParaRPr lang="en-US" b="1" dirty="0">
              <a:solidFill>
                <a:srgbClr val="000000"/>
              </a:solidFill>
              <a:cs typeface="Arial" charset="0"/>
            </a:endParaRPr>
          </a:p>
          <a:p>
            <a:pPr lvl="2"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Post-harvest loss reduces from </a:t>
            </a:r>
            <a:r>
              <a:rPr lang="en-US" b="1" dirty="0">
                <a:solidFill>
                  <a:srgbClr val="000000"/>
                </a:solidFill>
                <a:cs typeface="Arial" charset="0"/>
              </a:rPr>
              <a:t>40% to 15%</a:t>
            </a:r>
          </a:p>
          <a:p>
            <a:pPr lvl="2">
              <a:buClr>
                <a:srgbClr val="002960"/>
              </a:buClr>
            </a:pPr>
            <a:endParaRPr lang="en-US" sz="1500" b="1" dirty="0">
              <a:solidFill>
                <a:srgbClr val="000000"/>
              </a:solidFill>
              <a:cs typeface="Arial" charset="0"/>
            </a:endParaRPr>
          </a:p>
          <a:p>
            <a:pPr lvl="1">
              <a:buClr>
                <a:srgbClr val="002960"/>
              </a:buClr>
            </a:pPr>
            <a:endParaRPr lang="en-US" sz="1500" dirty="0">
              <a:solidFill>
                <a:srgbClr val="000000"/>
              </a:solidFill>
              <a:cs typeface="Arial" charset="0"/>
            </a:endParaRPr>
          </a:p>
          <a:p>
            <a:pPr lvl="1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Rehabilitate 1,260 km of road at SSP  </a:t>
            </a:r>
            <a:r>
              <a:rPr lang="en-US" sz="1500" dirty="0">
                <a:highlight>
                  <a:srgbClr val="FFFF00"/>
                </a:highlight>
                <a:cs typeface="Arial" charset="0"/>
              </a:rPr>
              <a:t>………..</a:t>
            </a:r>
            <a:r>
              <a:rPr lang="en-US" sz="1500" dirty="0">
                <a:solidFill>
                  <a:schemeClr val="bg1"/>
                </a:solidFill>
              </a:rPr>
              <a:t>.............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M cost</a:t>
            </a:r>
          </a:p>
        </p:txBody>
      </p:sp>
      <p:sp>
        <p:nvSpPr>
          <p:cNvPr id="7" name="TextBox 13"/>
          <p:cNvSpPr txBox="1"/>
          <p:nvPr>
            <p:custDataLst>
              <p:tags r:id="rId14"/>
            </p:custDataLst>
          </p:nvPr>
        </p:nvSpPr>
        <p:spPr bwMode="gray">
          <a:xfrm>
            <a:off x="5325036" y="5123627"/>
            <a:ext cx="3466540" cy="1234779"/>
          </a:xfrm>
          <a:prstGeom prst="roundRect">
            <a:avLst/>
          </a:prstGeom>
          <a:solidFill>
            <a:srgbClr val="0D3E97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500" b="1" dirty="0">
                <a:solidFill>
                  <a:srgbClr val="FFFFFF"/>
                </a:solidFill>
                <a:cs typeface="Arial" charset="0"/>
              </a:rPr>
              <a:t>Agriculture cost: </a:t>
            </a:r>
            <a:r>
              <a:rPr lang="en-US" sz="1500" dirty="0" err="1">
                <a:solidFill>
                  <a:srgbClr val="FFFFFF"/>
                </a:solidFill>
                <a:cs typeface="Arial" charset="0"/>
              </a:rPr>
              <a:t>SSP</a:t>
            </a:r>
            <a:r>
              <a:rPr lang="en-US" sz="1500" dirty="0">
                <a:solidFill>
                  <a:srgbClr val="FFFFFF"/>
                </a:solidFill>
                <a:cs typeface="Arial" charset="0"/>
              </a:rPr>
              <a:t> </a:t>
            </a:r>
            <a:r>
              <a:rPr lang="en-US" sz="1500" dirty="0">
                <a:solidFill>
                  <a:srgbClr val="FFFFFF"/>
                </a:solidFill>
              </a:rPr>
              <a:t>88</a:t>
            </a:r>
            <a:r>
              <a:rPr lang="en-US" sz="1500" dirty="0">
                <a:solidFill>
                  <a:srgbClr val="FFFFFF"/>
                </a:solidFill>
                <a:cs typeface="Arial" charset="0"/>
              </a:rPr>
              <a:t> M 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500" b="1" dirty="0">
                <a:solidFill>
                  <a:srgbClr val="FFFFFF"/>
                </a:solidFill>
                <a:cs typeface="Arial" charset="0"/>
              </a:rPr>
              <a:t>Infrastructure cost: </a:t>
            </a:r>
            <a:r>
              <a:rPr lang="en-US" sz="1500" dirty="0">
                <a:solidFill>
                  <a:srgbClr val="FFFFFF"/>
                </a:solidFill>
                <a:cs typeface="Arial" charset="0"/>
              </a:rPr>
              <a:t>SSP 600 B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endParaRPr lang="en-US" sz="1500" dirty="0">
              <a:solidFill>
                <a:srgbClr val="FFFFFF"/>
              </a:solidFill>
              <a:cs typeface="Arial" charset="0"/>
            </a:endParaRP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500" b="1" dirty="0">
                <a:solidFill>
                  <a:srgbClr val="FFFFFF"/>
                </a:solidFill>
                <a:cs typeface="Arial" charset="0"/>
              </a:rPr>
              <a:t>Total cost: SSP 688 B</a:t>
            </a:r>
            <a:endParaRPr lang="en-US" sz="1400" b="1" dirty="0">
              <a:solidFill>
                <a:srgbClr val="FFFFFF"/>
              </a:solidFill>
              <a:cs typeface="Arial" charset="0"/>
            </a:endParaRPr>
          </a:p>
          <a:p>
            <a:pPr>
              <a:buClr>
                <a:srgbClr val="002960"/>
              </a:buClr>
            </a:pPr>
            <a:endParaRPr lang="en-US" b="1" dirty="0">
              <a:solidFill>
                <a:srgbClr val="FFFFFF"/>
              </a:solidFill>
            </a:endParaRPr>
          </a:p>
        </p:txBody>
      </p:sp>
      <p:sp>
        <p:nvSpPr>
          <p:cNvPr id="82" name="Rectangle 31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54000" y="3603864"/>
            <a:ext cx="4824230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Boost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commercial farmers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to expand land or develop out growers through loans and input subsidies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Rehabilitate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trunk roads to Juba ad Wau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and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area feeder roads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500" b="1" dirty="0">
                <a:solidFill>
                  <a:srgbClr val="002960"/>
                </a:solidFill>
              </a:rPr>
              <a:t>Rehabilitate river transport Juba-</a:t>
            </a:r>
            <a:r>
              <a:rPr lang="en-US" sz="1500" b="1" dirty="0" err="1">
                <a:solidFill>
                  <a:srgbClr val="002960"/>
                </a:solidFill>
              </a:rPr>
              <a:t>Renk</a:t>
            </a:r>
            <a:endParaRPr lang="en-US" sz="15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3" name="Picture 6" descr="Maize_stacking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998794" y="1755095"/>
            <a:ext cx="1131916" cy="1502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788103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9062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3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6074430" y="2037745"/>
            <a:ext cx="2733394" cy="2950816"/>
          </a:xfrm>
          <a:prstGeom prst="rect">
            <a:avLst/>
          </a:prstGeom>
          <a:solidFill>
            <a:schemeClr val="bg1"/>
          </a:solidFill>
          <a:ln w="19050">
            <a:solidFill>
              <a:srgbClr val="0B337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dirty="0" err="1">
              <a:solidFill>
                <a:schemeClr val="tx1"/>
              </a:solidFill>
            </a:endParaRPr>
          </a:p>
        </p:txBody>
      </p:sp>
      <p:sp>
        <p:nvSpPr>
          <p:cNvPr id="3" name="Pentagon 2"/>
          <p:cNvSpPr/>
          <p:nvPr>
            <p:custDataLst>
              <p:tags r:id="rId3"/>
            </p:custDataLst>
          </p:nvPr>
        </p:nvSpPr>
        <p:spPr>
          <a:xfrm>
            <a:off x="119062" y="954741"/>
            <a:ext cx="5955368" cy="5526741"/>
          </a:xfrm>
          <a:prstGeom prst="homePlate">
            <a:avLst>
              <a:gd name="adj" fmla="val 11355"/>
            </a:avLst>
          </a:prstGeom>
          <a:solidFill>
            <a:srgbClr val="D7ECF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/>
          <p:nvPr>
            <p:custDataLst>
              <p:tags r:id="rId4"/>
            </p:custDataLst>
          </p:nvPr>
        </p:nvSpPr>
        <p:spPr>
          <a:xfrm>
            <a:off x="344091" y="1094852"/>
            <a:ext cx="258365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/>
              <a:t>What will it take?</a:t>
            </a:r>
            <a:endParaRPr lang="en-US" sz="1800" dirty="0"/>
          </a:p>
        </p:txBody>
      </p:sp>
      <p:sp>
        <p:nvSpPr>
          <p:cNvPr id="18" name="Rectangle 6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128712" y="1566064"/>
            <a:ext cx="4378008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b="1" dirty="0"/>
              <a:t>Identify leaders </a:t>
            </a:r>
            <a:r>
              <a:rPr lang="en-US" sz="1800" dirty="0"/>
              <a:t>of small farmer groups to form the foundation of each cooperative, through</a:t>
            </a:r>
            <a:r>
              <a:rPr lang="en-US" sz="1800" b="1" dirty="0"/>
              <a:t> </a:t>
            </a:r>
            <a:r>
              <a:rPr lang="en-US" sz="1800" dirty="0"/>
              <a:t>intensive recruitment and training</a:t>
            </a:r>
          </a:p>
        </p:txBody>
      </p:sp>
      <p:sp>
        <p:nvSpPr>
          <p:cNvPr id="21" name="Rectangle 6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128711" y="2630002"/>
            <a:ext cx="4703813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dirty="0"/>
              <a:t>Provide </a:t>
            </a:r>
            <a:r>
              <a:rPr lang="en-US" sz="1800" b="1" dirty="0"/>
              <a:t>training to create a small, professional management group </a:t>
            </a:r>
            <a:r>
              <a:rPr lang="en-US" sz="1800" dirty="0"/>
              <a:t>for each cooperative to represents the interests of its members</a:t>
            </a:r>
          </a:p>
        </p:txBody>
      </p:sp>
      <p:sp>
        <p:nvSpPr>
          <p:cNvPr id="22" name="Rectangle 6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128712" y="3929113"/>
            <a:ext cx="4703813" cy="13849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dirty="0"/>
              <a:t>Facilitate </a:t>
            </a:r>
            <a:r>
              <a:rPr lang="en-US" sz="1800" b="1" dirty="0"/>
              <a:t>access to finance for each association to ensure sustained </a:t>
            </a:r>
            <a:r>
              <a:rPr lang="en-US" sz="1800" dirty="0"/>
              <a:t>success beyond government/development partner support</a:t>
            </a:r>
            <a:endParaRPr lang="en-US" sz="1800" b="1" dirty="0"/>
          </a:p>
          <a:p>
            <a:pPr marL="1587" lvl="1" indent="0">
              <a:buNone/>
            </a:pPr>
            <a:endParaRPr lang="en-US" sz="1800" b="1" dirty="0"/>
          </a:p>
        </p:txBody>
      </p:sp>
      <p:sp>
        <p:nvSpPr>
          <p:cNvPr id="23" name="Rectangle 6"/>
          <p:cNvSpPr txBox="1"/>
          <p:nvPr>
            <p:custDataLst>
              <p:tags r:id="rId8"/>
            </p:custDataLst>
          </p:nvPr>
        </p:nvSpPr>
        <p:spPr>
          <a:xfrm>
            <a:off x="6282910" y="2309581"/>
            <a:ext cx="2375175" cy="276999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accent4"/>
                </a:solidFill>
              </a:rPr>
              <a:t>What will be created?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4" name="Rectangle 6"/>
          <p:cNvSpPr txBox="1"/>
          <p:nvPr>
            <p:custDataLst>
              <p:tags r:id="rId9"/>
            </p:custDataLst>
          </p:nvPr>
        </p:nvSpPr>
        <p:spPr>
          <a:xfrm>
            <a:off x="6264463" y="2965383"/>
            <a:ext cx="2393621" cy="1938992"/>
          </a:xfrm>
          <a:prstGeom prst="rect">
            <a:avLst/>
          </a:prstGeom>
          <a:solidFill>
            <a:schemeClr val="bg1"/>
          </a:solidFill>
          <a:ln w="19050"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b="1" dirty="0">
                <a:solidFill>
                  <a:schemeClr val="accent4"/>
                </a:solidFill>
              </a:rPr>
              <a:t>Co-operative associations </a:t>
            </a:r>
            <a:r>
              <a:rPr lang="en-US" sz="1800" dirty="0">
                <a:solidFill>
                  <a:schemeClr val="accent4"/>
                </a:solidFill>
              </a:rPr>
              <a:t>that are </a:t>
            </a:r>
            <a:r>
              <a:rPr lang="en-US" sz="1800" b="1" dirty="0">
                <a:solidFill>
                  <a:schemeClr val="accent4"/>
                </a:solidFill>
              </a:rPr>
              <a:t>profit-oriented businesses </a:t>
            </a:r>
            <a:r>
              <a:rPr lang="en-US" sz="1800" dirty="0">
                <a:solidFill>
                  <a:schemeClr val="accent4"/>
                </a:solidFill>
              </a:rPr>
              <a:t>that </a:t>
            </a:r>
            <a:r>
              <a:rPr lang="en-US" sz="1800" b="1" dirty="0">
                <a:solidFill>
                  <a:schemeClr val="accent4"/>
                </a:solidFill>
              </a:rPr>
              <a:t>independently organize and support farmers 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44091" y="1458488"/>
            <a:ext cx="494060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6264464" y="2783777"/>
            <a:ext cx="2393621" cy="0"/>
          </a:xfrm>
          <a:prstGeom prst="line">
            <a:avLst/>
          </a:prstGeom>
          <a:ln w="19050">
            <a:solidFill>
              <a:srgbClr val="0B337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6"/>
          <p:cNvSpPr txBox="1">
            <a:spLocks/>
          </p:cNvSpPr>
          <p:nvPr/>
        </p:nvSpPr>
        <p:spPr>
          <a:xfrm>
            <a:off x="1128711" y="5419772"/>
            <a:ext cx="4703813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dirty="0"/>
              <a:t>Connect</a:t>
            </a:r>
            <a:r>
              <a:rPr lang="en-US" sz="1800" b="1" dirty="0"/>
              <a:t> associations to institutional buyers and private traders to purchase harvest</a:t>
            </a:r>
            <a:endParaRPr lang="en-US" sz="1800" dirty="0"/>
          </a:p>
        </p:txBody>
      </p:sp>
      <p:sp>
        <p:nvSpPr>
          <p:cNvPr id="28" name="Rectangle 27"/>
          <p:cNvSpPr/>
          <p:nvPr>
            <p:custDataLst>
              <p:tags r:id="rId10"/>
            </p:custDataLst>
          </p:nvPr>
        </p:nvSpPr>
        <p:spPr>
          <a:xfrm>
            <a:off x="371475" y="1903038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9" name="Rectangle 14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0731" y="1660193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30" name="Rectangle 29"/>
          <p:cNvSpPr/>
          <p:nvPr/>
        </p:nvSpPr>
        <p:spPr>
          <a:xfrm>
            <a:off x="371475" y="2860261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1" name="Rectangle 142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20731" y="2617416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32" name="Rectangle 31"/>
          <p:cNvSpPr/>
          <p:nvPr/>
        </p:nvSpPr>
        <p:spPr>
          <a:xfrm>
            <a:off x="371475" y="4194779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Rectangle 142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320731" y="3951934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71475" y="5653052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5" name="Rectangle 142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320731" y="5410207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cxnSp>
        <p:nvCxnSpPr>
          <p:cNvPr id="36" name="Straight Connector 35"/>
          <p:cNvCxnSpPr/>
          <p:nvPr/>
        </p:nvCxnSpPr>
        <p:spPr>
          <a:xfrm>
            <a:off x="344091" y="2529654"/>
            <a:ext cx="494060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Connector 36"/>
          <p:cNvCxnSpPr/>
          <p:nvPr/>
        </p:nvCxnSpPr>
        <p:spPr>
          <a:xfrm>
            <a:off x="344091" y="3797033"/>
            <a:ext cx="494060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>
            <p:custDataLst>
              <p:tags r:id="rId15"/>
            </p:custDataLst>
          </p:nvPr>
        </p:nvCxnSpPr>
        <p:spPr>
          <a:xfrm>
            <a:off x="344091" y="5198170"/>
            <a:ext cx="494060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1"/>
          <p:cNvSpPr>
            <a:spLocks noGrp="1"/>
          </p:cNvSpPr>
          <p:nvPr>
            <p:ph type="title"/>
            <p:custDataLst>
              <p:tags r:id="rId16"/>
            </p:custDataLst>
          </p:nvPr>
        </p:nvSpPr>
        <p:spPr>
          <a:xfrm>
            <a:off x="119063" y="345605"/>
            <a:ext cx="7028990" cy="292388"/>
          </a:xfrm>
        </p:spPr>
        <p:txBody>
          <a:bodyPr/>
          <a:lstStyle/>
          <a:p>
            <a:r>
              <a:rPr lang="en-US" dirty="0"/>
              <a:t>Key success factors for strong, independent associations</a:t>
            </a:r>
          </a:p>
        </p:txBody>
      </p:sp>
    </p:spTree>
    <p:extLst>
      <p:ext uri="{BB962C8B-B14F-4D97-AF65-F5344CB8AC3E}">
        <p14:creationId xmlns:p14="http://schemas.microsoft.com/office/powerpoint/2010/main" val="33857676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66467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360" imgH="360" progId="">
                  <p:embed/>
                </p:oleObj>
              </mc:Choice>
              <mc:Fallback>
                <p:oleObj name="think-cell Slide" r:id="rId52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230190"/>
            <a:ext cx="8618537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Access a range of inputs from multiple providers</a:t>
            </a:r>
            <a:r>
              <a:rPr lang="en-US" dirty="0"/>
              <a:t>Investment Plan</a:t>
            </a:r>
          </a:p>
        </p:txBody>
      </p:sp>
      <p:sp>
        <p:nvSpPr>
          <p:cNvPr id="192" name="Rectangle 4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58939" y="555947"/>
            <a:ext cx="232133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3-year costs, </a:t>
            </a:r>
            <a:r>
              <a:rPr lang="en-US" sz="1200" dirty="0" err="1">
                <a:solidFill>
                  <a:schemeClr val="accent6"/>
                </a:solidFill>
              </a:rPr>
              <a:t>SSP</a:t>
            </a:r>
            <a:r>
              <a:rPr lang="en-US" sz="1200" dirty="0">
                <a:solidFill>
                  <a:schemeClr val="accent6"/>
                </a:solidFill>
              </a:rPr>
              <a:t>, ‘000</a:t>
            </a:r>
          </a:p>
        </p:txBody>
      </p:sp>
      <p:cxnSp>
        <p:nvCxnSpPr>
          <p:cNvPr id="196" name="Straight Connector 195"/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6458939" y="768321"/>
            <a:ext cx="2321334" cy="0"/>
          </a:xfrm>
          <a:prstGeom prst="line">
            <a:avLst/>
          </a:prstGeom>
          <a:ln w="9525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ectangle 4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2116872" y="1153962"/>
            <a:ext cx="443722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Major activities (over 3 years)</a:t>
            </a:r>
          </a:p>
        </p:txBody>
      </p:sp>
      <p:sp>
        <p:nvSpPr>
          <p:cNvPr id="170" name="Rectangle 4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119063" y="1153962"/>
            <a:ext cx="117546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>
                <a:solidFill>
                  <a:schemeClr val="tx2"/>
                </a:solidFill>
              </a:rPr>
              <a:t>Component</a:t>
            </a:r>
          </a:p>
        </p:txBody>
      </p:sp>
      <p:sp>
        <p:nvSpPr>
          <p:cNvPr id="206" name="Rectangle 4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7316799" y="1427649"/>
            <a:ext cx="605614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200" b="1" dirty="0">
                <a:solidFill>
                  <a:schemeClr val="tx2"/>
                </a:solidFill>
              </a:rPr>
              <a:t>-</a:t>
            </a:r>
          </a:p>
        </p:txBody>
      </p:sp>
      <p:sp>
        <p:nvSpPr>
          <p:cNvPr id="232" name="Rectangle 30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116872" y="1412260"/>
            <a:ext cx="4437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Organizers to form 4 new co-ops and strengthen 3existing co-ops</a:t>
            </a:r>
          </a:p>
        </p:txBody>
      </p:sp>
      <p:sp>
        <p:nvSpPr>
          <p:cNvPr id="172" name="Rectangle 121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9063" y="1412260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Co-op organization</a:t>
            </a:r>
          </a:p>
        </p:txBody>
      </p:sp>
      <p:pic>
        <p:nvPicPr>
          <p:cNvPr id="191" name="Picture 2" descr="http://www.oxfamblogs.org/eastafrica/wp-content/uploads/2010/09/Sudan13793483.jpg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1437497"/>
            <a:ext cx="636651" cy="409405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</p:spPr>
      </p:pic>
      <p:cxnSp>
        <p:nvCxnSpPr>
          <p:cNvPr id="200" name="Straight Connector 199"/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2116872" y="1893440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2116872" y="2395921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>
            <a:off x="2116872" y="3400884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>
            <a:off x="2116872" y="3903365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cxnSpLocks/>
          </p:cNvCxnSpPr>
          <p:nvPr>
            <p:custDataLst>
              <p:tags r:id="rId15"/>
            </p:custDataLst>
          </p:nvPr>
        </p:nvCxnSpPr>
        <p:spPr bwMode="gray">
          <a:xfrm>
            <a:off x="2116872" y="2898403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McK 5. Source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19063" y="6435734"/>
            <a:ext cx="686276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/>
              <a:t>SOURCE: Ministry of Agriculture,  implementation partner, field  interviews</a:t>
            </a:r>
          </a:p>
        </p:txBody>
      </p:sp>
      <p:sp>
        <p:nvSpPr>
          <p:cNvPr id="236" name="Rectangle 38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116872" y="2919704"/>
            <a:ext cx="4437221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500 MT warehouses for 4 new co-ops</a:t>
            </a:r>
          </a:p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Grants for equipment/fumigation for 7 co-ops for 1 year</a:t>
            </a:r>
          </a:p>
        </p:txBody>
      </p:sp>
      <p:sp>
        <p:nvSpPr>
          <p:cNvPr id="190" name="Rectangle 121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119063" y="2919704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Warehousing</a:t>
            </a:r>
          </a:p>
        </p:txBody>
      </p:sp>
      <p:pic>
        <p:nvPicPr>
          <p:cNvPr id="173" name="Picture 15"/>
          <p:cNvPicPr>
            <a:picLocks noChangeArrowheads="1"/>
          </p:cNvPicPr>
          <p:nvPr>
            <p:custDataLst>
              <p:tags r:id="rId19"/>
            </p:custDataLst>
          </p:nvPr>
        </p:nvPicPr>
        <p:blipFill>
          <a:blip r:embed="rId5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2944941"/>
            <a:ext cx="636651" cy="409405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233" name="Rectangle 32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2116872" y="1914741"/>
            <a:ext cx="4437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Grants for 7 co-ops to purchase 10 kg seeds, 500 mL crop protection per </a:t>
            </a:r>
            <a:r>
              <a:rPr lang="en-US" sz="1200" dirty="0" err="1">
                <a:solidFill>
                  <a:srgbClr val="000000"/>
                </a:solidFill>
              </a:rPr>
              <a:t>feddan</a:t>
            </a:r>
            <a:r>
              <a:rPr lang="en-US" sz="1200" dirty="0">
                <a:solidFill>
                  <a:srgbClr val="000000"/>
                </a:solidFill>
              </a:rPr>
              <a:t> for 1 year</a:t>
            </a:r>
          </a:p>
        </p:txBody>
      </p:sp>
      <p:sp>
        <p:nvSpPr>
          <p:cNvPr id="175" name="Rectangle 121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119063" y="1914741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nput supply</a:t>
            </a:r>
          </a:p>
        </p:txBody>
      </p:sp>
      <p:pic>
        <p:nvPicPr>
          <p:cNvPr id="69" name="Picture 2" descr="http://www.oxfamblogs.org/eastafrica/wp-content/uploads/2010/09/Sudan13793483.jpg"/>
          <p:cNvPicPr>
            <a:picLocks noChangeArrowheads="1"/>
          </p:cNvPicPr>
          <p:nvPr>
            <p:custDataLst>
              <p:tags r:id="rId22"/>
            </p:custDataLst>
          </p:nvPr>
        </p:nvPicPr>
        <p:blipFill>
          <a:blip r:embed="rId5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1939978"/>
            <a:ext cx="636651" cy="409405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</p:spPr>
      </p:pic>
      <p:sp>
        <p:nvSpPr>
          <p:cNvPr id="215" name="Rectangle 4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7316799" y="2417222"/>
            <a:ext cx="60561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200" b="1" dirty="0">
                <a:solidFill>
                  <a:schemeClr val="tx2"/>
                </a:solidFill>
              </a:rPr>
              <a:t>-</a:t>
            </a:r>
          </a:p>
        </p:txBody>
      </p:sp>
      <p:sp>
        <p:nvSpPr>
          <p:cNvPr id="235" name="Rectangle 36"/>
          <p:cNvSpPr txBox="1">
            <a:spLocks/>
          </p:cNvSpPr>
          <p:nvPr>
            <p:custDataLst>
              <p:tags r:id="rId24"/>
            </p:custDataLst>
          </p:nvPr>
        </p:nvSpPr>
        <p:spPr bwMode="gray">
          <a:xfrm>
            <a:off x="2116872" y="2417222"/>
            <a:ext cx="4437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Grants for 7 co-ops to to expand land under cultivation by 5 feddans/farmer</a:t>
            </a:r>
          </a:p>
        </p:txBody>
      </p:sp>
      <p:sp>
        <p:nvSpPr>
          <p:cNvPr id="181" name="Rectangle 121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119063" y="2417223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Land clearance</a:t>
            </a:r>
          </a:p>
        </p:txBody>
      </p:sp>
      <p:pic>
        <p:nvPicPr>
          <p:cNvPr id="70" name="Picture 20" descr="http://www.new-ag.info/image/09/04/poi783_5.jpg"/>
          <p:cNvPicPr>
            <a:picLocks noChangeArrowheads="1"/>
          </p:cNvPicPr>
          <p:nvPr>
            <p:custDataLst>
              <p:tags r:id="rId26"/>
            </p:custDataLst>
          </p:nvPr>
        </p:nvPicPr>
        <p:blipFill>
          <a:blip r:embed="rId5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2442460"/>
            <a:ext cx="636651" cy="409405"/>
          </a:xfrm>
          <a:prstGeom prst="rect">
            <a:avLst/>
          </a:prstGeom>
          <a:solidFill>
            <a:srgbClr val="D7ECF3"/>
          </a:solidFill>
        </p:spPr>
      </p:pic>
      <p:sp>
        <p:nvSpPr>
          <p:cNvPr id="237" name="Rectangle 40"/>
          <p:cNvSpPr txBox="1">
            <a:spLocks/>
          </p:cNvSpPr>
          <p:nvPr>
            <p:custDataLst>
              <p:tags r:id="rId27"/>
            </p:custDataLst>
          </p:nvPr>
        </p:nvSpPr>
        <p:spPr bwMode="gray">
          <a:xfrm>
            <a:off x="2116872" y="3422185"/>
            <a:ext cx="4437221" cy="387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2 MT/day maize mills for 7 co-ops</a:t>
            </a:r>
          </a:p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Grants for fuel/maintenance for 1 year</a:t>
            </a:r>
          </a:p>
        </p:txBody>
      </p:sp>
      <p:sp>
        <p:nvSpPr>
          <p:cNvPr id="184" name="Rectangle 121"/>
          <p:cNvSpPr txBox="1">
            <a:spLocks/>
          </p:cNvSpPr>
          <p:nvPr>
            <p:custDataLst>
              <p:tags r:id="rId28"/>
            </p:custDataLst>
          </p:nvPr>
        </p:nvSpPr>
        <p:spPr bwMode="gray">
          <a:xfrm>
            <a:off x="119063" y="3422185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Processing</a:t>
            </a:r>
          </a:p>
        </p:txBody>
      </p:sp>
      <p:pic>
        <p:nvPicPr>
          <p:cNvPr id="73" name="Picture 70"/>
          <p:cNvPicPr>
            <a:picLocks noChangeArrowheads="1"/>
          </p:cNvPicPr>
          <p:nvPr>
            <p:custDataLst>
              <p:tags r:id="rId29"/>
            </p:custDataLst>
          </p:nvPr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3447422"/>
            <a:ext cx="636651" cy="409405"/>
          </a:xfrm>
          <a:prstGeom prst="rect">
            <a:avLst/>
          </a:prstGeom>
          <a:solidFill>
            <a:srgbClr val="D7ECF3"/>
          </a:solidFill>
          <a:ln>
            <a:noFill/>
          </a:ln>
          <a:effectLst/>
        </p:spPr>
      </p:pic>
      <p:cxnSp>
        <p:nvCxnSpPr>
          <p:cNvPr id="80" name="Straight Connector 79"/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2116872" y="4536898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Rectangle 121"/>
          <p:cNvSpPr txBox="1">
            <a:spLocks/>
          </p:cNvSpPr>
          <p:nvPr>
            <p:custDataLst>
              <p:tags r:id="rId31"/>
            </p:custDataLst>
          </p:nvPr>
        </p:nvSpPr>
        <p:spPr bwMode="gray">
          <a:xfrm>
            <a:off x="119063" y="3924666"/>
            <a:ext cx="1913383" cy="590931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3152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682625" lvl="0" indent="0" defTabSz="895350" eaLnBrk="1" hangingPunct="1">
              <a:buClr>
                <a:schemeClr val="tx2"/>
              </a:buClr>
              <a:defRPr sz="12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Marketing</a:t>
            </a:r>
          </a:p>
        </p:txBody>
      </p:sp>
      <p:sp>
        <p:nvSpPr>
          <p:cNvPr id="86" name="Rectangle 40"/>
          <p:cNvSpPr txBox="1">
            <a:spLocks/>
          </p:cNvSpPr>
          <p:nvPr>
            <p:custDataLst>
              <p:tags r:id="rId32"/>
            </p:custDataLst>
          </p:nvPr>
        </p:nvSpPr>
        <p:spPr bwMode="gray">
          <a:xfrm>
            <a:off x="2116872" y="3924666"/>
            <a:ext cx="4437221" cy="5909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Trucks for 3 existing co-ops</a:t>
            </a:r>
          </a:p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Grants for truck hire for 4 new co-ops</a:t>
            </a:r>
          </a:p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Radio advertising of produce for 7 co-ops</a:t>
            </a:r>
          </a:p>
        </p:txBody>
      </p:sp>
      <p:pic>
        <p:nvPicPr>
          <p:cNvPr id="87" name="Picture 13"/>
          <p:cNvPicPr>
            <a:picLocks noChangeArrowheads="1"/>
          </p:cNvPicPr>
          <p:nvPr>
            <p:custDataLst>
              <p:tags r:id="rId33"/>
            </p:custDataLst>
          </p:nvPr>
        </p:nvPicPr>
        <p:blipFill>
          <a:blip r:embed="rId5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4015429"/>
            <a:ext cx="636651" cy="409405"/>
          </a:xfrm>
          <a:prstGeom prst="rect">
            <a:avLst/>
          </a:prstGeom>
          <a:solidFill>
            <a:srgbClr val="D7ECF3"/>
          </a:solidFill>
          <a:ln>
            <a:noFill/>
          </a:ln>
          <a:effectLst/>
        </p:spPr>
      </p:pic>
      <p:sp>
        <p:nvSpPr>
          <p:cNvPr id="187" name="Rectangle 121"/>
          <p:cNvSpPr txBox="1">
            <a:spLocks/>
          </p:cNvSpPr>
          <p:nvPr>
            <p:custDataLst>
              <p:tags r:id="rId34"/>
            </p:custDataLst>
          </p:nvPr>
        </p:nvSpPr>
        <p:spPr bwMode="gray">
          <a:xfrm>
            <a:off x="119063" y="4558199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682625"/>
            <a:r>
              <a:rPr lang="en-US" sz="1200" dirty="0"/>
              <a:t>Training/</a:t>
            </a:r>
          </a:p>
          <a:p>
            <a:pPr marL="682625"/>
            <a:r>
              <a:rPr lang="en-US" sz="1200" dirty="0"/>
              <a:t>Extension</a:t>
            </a:r>
          </a:p>
        </p:txBody>
      </p:sp>
      <p:sp>
        <p:nvSpPr>
          <p:cNvPr id="77" name="Rectangle 40"/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2116872" y="4558199"/>
            <a:ext cx="443722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Extension agents for farmers in 20 focus </a:t>
            </a:r>
            <a:r>
              <a:rPr lang="en-US" sz="1200" dirty="0" err="1">
                <a:solidFill>
                  <a:srgbClr val="000000"/>
                </a:solidFill>
              </a:rPr>
              <a:t>payams</a:t>
            </a: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88" name="Picture 11"/>
          <p:cNvPicPr>
            <a:picLocks noChangeArrowheads="1"/>
          </p:cNvPicPr>
          <p:nvPr>
            <p:custDataLst>
              <p:tags r:id="rId36"/>
            </p:custDataLst>
          </p:nvPr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4583436"/>
            <a:ext cx="636651" cy="409405"/>
          </a:xfrm>
          <a:prstGeom prst="rect">
            <a:avLst/>
          </a:prstGeom>
          <a:solidFill>
            <a:srgbClr val="D7ECF3"/>
          </a:solidFill>
          <a:ln>
            <a:noFill/>
          </a:ln>
          <a:effectLst/>
        </p:spPr>
      </p:pic>
      <p:sp>
        <p:nvSpPr>
          <p:cNvPr id="103" name="Rectangle 121"/>
          <p:cNvSpPr txBox="1">
            <a:spLocks/>
          </p:cNvSpPr>
          <p:nvPr>
            <p:custDataLst>
              <p:tags r:id="rId37"/>
            </p:custDataLst>
          </p:nvPr>
        </p:nvSpPr>
        <p:spPr bwMode="gray">
          <a:xfrm>
            <a:off x="119063" y="5060680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682625"/>
            <a:r>
              <a:rPr lang="en-US" sz="1200" dirty="0"/>
              <a:t>Market </a:t>
            </a:r>
            <a:r>
              <a:rPr lang="en-US" sz="1200" dirty="0" err="1"/>
              <a:t>infor-mation</a:t>
            </a:r>
            <a:r>
              <a:rPr lang="en-US" sz="1200" dirty="0"/>
              <a:t> system</a:t>
            </a:r>
          </a:p>
        </p:txBody>
      </p:sp>
      <p:sp>
        <p:nvSpPr>
          <p:cNvPr id="107" name="Rectangle 40"/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2116872" y="5060680"/>
            <a:ext cx="4437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Build market information team at the state level to track and communicate prices (3 analysts)</a:t>
            </a:r>
          </a:p>
        </p:txBody>
      </p:sp>
      <p:pic>
        <p:nvPicPr>
          <p:cNvPr id="108" name="Picture 11"/>
          <p:cNvPicPr>
            <a:picLocks noChangeArrowheads="1"/>
          </p:cNvPicPr>
          <p:nvPr>
            <p:custDataLst>
              <p:tags r:id="rId39"/>
            </p:custDataLst>
          </p:nvPr>
        </p:nvPicPr>
        <p:blipFill>
          <a:blip r:embed="rId5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5085917"/>
            <a:ext cx="636651" cy="409405"/>
          </a:xfrm>
          <a:prstGeom prst="rect">
            <a:avLst/>
          </a:prstGeom>
          <a:solidFill>
            <a:srgbClr val="D7ECF3"/>
          </a:solidFill>
          <a:ln>
            <a:noFill/>
          </a:ln>
          <a:effectLst/>
        </p:spPr>
      </p:pic>
      <p:cxnSp>
        <p:nvCxnSpPr>
          <p:cNvPr id="109" name="Straight Connector 108"/>
          <p:cNvCxnSpPr>
            <a:cxnSpLocks/>
          </p:cNvCxnSpPr>
          <p:nvPr>
            <p:custDataLst>
              <p:tags r:id="rId40"/>
            </p:custDataLst>
          </p:nvPr>
        </p:nvCxnSpPr>
        <p:spPr bwMode="gray">
          <a:xfrm>
            <a:off x="2116872" y="5039379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7" name="Straight Connector 116"/>
          <p:cNvCxnSpPr>
            <a:cxnSpLocks/>
          </p:cNvCxnSpPr>
          <p:nvPr>
            <p:custDataLst>
              <p:tags r:id="rId41"/>
            </p:custDataLst>
          </p:nvPr>
        </p:nvCxnSpPr>
        <p:spPr bwMode="gray">
          <a:xfrm>
            <a:off x="2116872" y="5541860"/>
            <a:ext cx="6663401" cy="0"/>
          </a:xfrm>
          <a:prstGeom prst="line">
            <a:avLst/>
          </a:prstGeom>
          <a:ln w="1270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Rectangle 121"/>
          <p:cNvSpPr txBox="1">
            <a:spLocks/>
          </p:cNvSpPr>
          <p:nvPr>
            <p:custDataLst>
              <p:tags r:id="rId42"/>
            </p:custDataLst>
          </p:nvPr>
        </p:nvSpPr>
        <p:spPr bwMode="gray">
          <a:xfrm>
            <a:off x="119063" y="5563168"/>
            <a:ext cx="1913383" cy="459879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45720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682625"/>
            <a:r>
              <a:rPr lang="en-US" sz="1200" dirty="0"/>
              <a:t>Infrastructure </a:t>
            </a:r>
          </a:p>
        </p:txBody>
      </p:sp>
      <p:sp>
        <p:nvSpPr>
          <p:cNvPr id="115" name="Rectangle 40"/>
          <p:cNvSpPr txBox="1">
            <a:spLocks/>
          </p:cNvSpPr>
          <p:nvPr>
            <p:custDataLst>
              <p:tags r:id="rId43"/>
            </p:custDataLst>
          </p:nvPr>
        </p:nvSpPr>
        <p:spPr bwMode="gray">
          <a:xfrm>
            <a:off x="2116872" y="5563168"/>
            <a:ext cx="4437221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200" dirty="0">
                <a:solidFill>
                  <a:srgbClr val="000000"/>
                </a:solidFill>
              </a:rPr>
              <a:t>Trunk and feeder roads connecting production area to the market</a:t>
            </a:r>
          </a:p>
        </p:txBody>
      </p:sp>
      <p:pic>
        <p:nvPicPr>
          <p:cNvPr id="120" name="Picture 15"/>
          <p:cNvPicPr>
            <a:picLocks noChangeArrowheads="1"/>
          </p:cNvPicPr>
          <p:nvPr>
            <p:custDataLst>
              <p:tags r:id="rId44"/>
            </p:custDataLst>
          </p:nvPr>
        </p:nvPicPr>
        <p:blipFill rotWithShape="1">
          <a:blip r:embed="rId6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45774" y="5588405"/>
            <a:ext cx="636651" cy="409405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</p:spPr>
      </p:pic>
      <p:pic>
        <p:nvPicPr>
          <p:cNvPr id="92" name="Picture 70"/>
          <p:cNvPicPr>
            <a:picLocks noChangeArrowheads="1"/>
          </p:cNvPicPr>
          <p:nvPr>
            <p:custDataLst>
              <p:tags r:id="rId45"/>
            </p:custDataLst>
          </p:nvPr>
        </p:nvPicPr>
        <p:blipFill>
          <a:blip r:embed="rId5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1437497"/>
            <a:ext cx="636651" cy="409405"/>
          </a:xfrm>
          <a:prstGeom prst="rect">
            <a:avLst/>
          </a:prstGeom>
          <a:solidFill>
            <a:srgbClr val="D7ECF3"/>
          </a:solidFill>
          <a:ln w="9525">
            <a:noFill/>
            <a:miter lim="800000"/>
            <a:headEnd/>
            <a:tailEnd/>
          </a:ln>
          <a:effectLst/>
        </p:spPr>
      </p:pic>
      <p:sp>
        <p:nvSpPr>
          <p:cNvPr id="3" name="AutoShape 2" descr="data:image/jpeg;base64,/9j/4AAQSkZJRgABAQAAAQABAAD/2wCEAAkGBhMSERUUExQVFRUWGBgXGBgVGBoZGxoZGhgYFxoaFxwYHSYfGBsjGRwXHy8gIycpLCwsGh4xNTAqNScrLCkBCQoKDgwOGg8PGikkHCQpLCksKSwsLCksLCkpLCwsLCwsLCwsLCwsLCwsLCwsLCwpKSwpLCwpKSksLCwsLCwsKf/AABEIAMIBAwMBIgACEQEDEQH/xAAcAAACAgMBAQAAAAAAAAAAAAAEBQMGAAECBwj/xAA+EAABAgQEAwUHAgUDBAMAAAABAhEAAyExBBJBUQVhcQYigZGhEzKxwdHh8BRCByNSYvFygpIVFjNTQ6Ky/8QAGAEAAwEBAAAAAAAAAAAAAAAAAAECAwT/xAAjEQACAgICAgMBAQEAAAAAAAAAAQIREiEDMUFREyIyYYEE/9oADAMBAAIRAxEAPwBLMxoGr7AR2nFqBrvAMyTUFmvHJW2+8aGdF/wHE0ZAHc7mCDxFPL0ihyJ5AfTrDWTNdIPnGimN2WYcQG6R4/aO/wDqSR+5Pg8Vp2D1MQHEq/Hh5k7LBxDj4CSBqGt8ISDiyh+4treOZodIKmPygKepjYAWtGcnbCi34DtClspFRTr6wX/3Ah7H0ioSqF2dwOXWJ/aEftilIHZav+5msmn+r7GOkdr17DxvFZlLeljflHC5xHPp8oLHstie2M16ZfCOVdrp5utukVNGPcijfnKCPbgVDeP5WFaDsfq7STRX2h/PGM/7tn/+wf8AEfSEAxIZ7vSBpuKLGjeMJtBtFimdoppLmasPs4HgIhHHZotNmc+8YrcnFkm+1YLlYnMNdfSFYxpiOJLLErUToSo09YGOKeIJij5i+/lEOYwWVQbLxUdmfC/2lYw4mDIdBqp/xjRnv5/WAzPjRxAOt/nBkFBS5zfl44E7m/5WBZk9muI4MzWn584VjonXiXOtI0Jn4IgUrV+vMeEdYZR0aEpBibXOMbTNJvHOKxIqyR5xEqeGDgh3NXZorIyo7WDpHJmRknE0sW52jP1L/aDIZ0Jg39BGRmbf4RkGaGDzFS0F1AgtZoBwuHUtamfKRVg9H9IcjBJUe9c3MSS+GgF0khvGnjGeZtiCHC5ZYQUk88p5bwwkJBCUKSGB/p2+NPN4IkrplUx3HjWCvbad09PhaIch4oAQoDKyLOagsRziRklyZaXahysfBqv1g0Tef5yjYnD+r5fKDIMUL5aUpLs6a93Lqw3EQ4uUhak925As28NRiAKt4lX48aXiASCwcb2gyDFAM3DS8opYNeNScOgK/to4L7biCsYXFvX4RBJntq29eUPJhijubl0fwGn4YGnSH5PsDrBQxQJys5+G7nSJZmJoBTMbcm1vbWHkxYoXGTtTz/PwR0kMGpvYBvOGKZwQmm3K536xpU/KMpAcb+b9HgyYYoASAQxcXLJGuvo0c+yBu7bt94l9oAbhIqQelfMQuV2oSqhBYPWjHbu6Q1k+hOl2EHCJcEP5bRMhKQ5IN389D4/CADxiWa5gGrX4NB3CF90E1UR3XqGq77KeB2ux0mrRLmSQbhuTXbeIJiBViT08vjB+LxIatSbAa0Y+YgFKlEhSswYtYig/qNi8Kwo5yJCXLvdm+cQAA1qPyg+EHrnlSAklhl6vSnyrA61DughwWcCl/hpBY6I8PJBooEdK7/OMXKSHap1+ESFYcC1amtLgv4xLMnBmvav5+3lBbFSF2JUCAz1cRBPLjpdrsL03H5rBU0v7tDoRRusQIlimUmjGrOSb9BDsdHOHUSLUIcaUNPjEshLG350jubMYABhr031pWOFL92wdQHga/SFYUTLSFb1/PhHUvCI/qUWFaWiTBrCRWp6bjnBUtBBALBxd966QsqFgmL5uGlmneGr7+ESDCygPehqiWT7yUqGkbXw9BNUfY/eF8g/jQoypGoPnGodf9PQP2RkPMeIlRMbY/m0dKmGtB4QvzmmvT8rBI2Dga1vzq0AEuRRqnTl5RqRmBPeBeOEoL1fwpEhIexGzwgoITNULjw/HjSPeNa87fCI0zVOanz56RyZmY16Cw9YQwpCn5lqH12aN+3f8+0QpygWNTQ6kgWHw8IwhzQP5/CsAzDMLrc1+THQ7Rwmbffq9Gjicb6AjU2PjHKSGAFem7O7+UAiZWJytVk38XtXxjuVPzOR922gedVBFBY05n108oiViGNCWelt9IoA5MzN7xI1Yed7vHM1QNixGogVRcBixNw8cqmmiah79dn0pfqIQFc47iSqcpzZg1gC1fWAZGJVmdOm7MOr0EF8bwExMwzAHBvlqxZn8d+cKkZiGSny5R0J6Mkt2HAoBGZRIcE5U0bqWfwEOsNOSVLVLUQCE5QS9R73yvzhAnAsxmKqdLmHvA5Kcq6USCXbWJk/Nmi6qh7gbe0UzqFTqOmw5R3ODS3BDVF/FwIHwahkAUXZLgacrctTHUxWWlhcg1b85xiM0qcwNAVNlqdbOPGogn9P3SxqnmziF2IJLEMVAvWtt7H/Eb/UqBUVOwJBLVJswGpJtAwJwsit6l/zq8bRMSTXU2A5F7wMJrkZkgbAacjvrGYhRDNuxAuX230ENCDSAwp3mBamrBnfaIJqwm5H7nccnFNIkRMWTVOVqnU2FG06wvxCnXkYEFyCbbnWn1hWOiSajMxUK+87eXycRsqCWY1fU60gtBooKcuDzFqvt9oAnSip9uemmltD4QxUGKnAsaufhrYUEFYacFBKcyno+wGjW1hbLXlN2YUFInw5AqX5WvCYDTuszmtKn8aMzAD3n68+e8LlYwE5SamunKO2P4PnCooM/UHRSW/3RkDAnVh1QkxkMYuQANXt0POsEJyk1d/7WPppAaSLt6/aOxzS+xcuKiorU9T5QMkIWEu4zHmavHWcBmPr8aRChRcAENXr1rq8Tqrp/mAZuSxJY1bf7O0Srmlql9KuPPNfygQitj1+UdiTUetTZoQExt+a9OTWjDPppYOSLcutohWutvD4NEABUST6b1d61g7AkVjATUV60BagYu0DysW5ZJ0szHxOgjrEyqpAIAYg87EeR3gUzkpBS1B5H86QAELxKAWBfeutw3j8I7M8VLBrV8YXy0kKKyzJDkhtNCa1dokEyoYliA9XctW+kMQVLxFiAGtt4xKnEAE5mB3uPI1iALA0ehPdsfDqbdIS8R4mSWD5RTmd/CLjHJiboOx6SsKznIHoRSlxe4MAfokS5aildiFJu6nIDBrUL12hcvFk0USU+bc4jOJUl0Kcgee4jT42kSpqwwYoPuOcOuGpzS1CgSaOxv5UGkIsPKl5RmBv7yTVtmNIfyVhMrusQKUodBXnEyTiis8gzB3CdE0VyNvN6+Ag2esBOjCtr1drV+8CImMAW2dxU29eUZje/KJemw3Fn62jEpHEoqKgnqLP3tqXGX5xzOmhU81BTLBLDUgEEnSw9Y5mTVBCalImDMo/uy1LDlQvAq3B7pALMlv6q15ltYEJheKQp/eSh694pBZmoCoEDq0ATpKz7kzNyCkv/APVR+UKJOBUcy1pKiCQ1xTW9esc4mSH93KwFo2SS0TtodcO4lNSsIWKaPcHR3uIY8QFMzF3o14qWF4rMkrGbvp0Bu2rf008LRZ5MwzCZhLJHu89X8qRE1THF2GqxNBmpv5axAgsH1c21pUfOOiHpYVvERmqCqVepezc63iCiRcsJUTe1DzFHjmSrKXFGDjr8olUl+8GU/wDggdSIHmSiQ9G/aNbuL7a+UMRKrK1ettd+ZvEycUFGyQR+4Agt8oXYtJS6TSo1csdTokNu8dyAQ6hYO+zkMB6jyMABPtuXr94yFhmEf5I9IyHQBSQqrEMeVbQZhpSgLU6R1KmbCnlHZUSwB+ETYzYw+pt6ef0juWR9H+hjlEoK0BVqbkeMQT+GhUwqzFwPdd25tpC7ALmAakPq7D86QFMxAFSpI5AgtWrDdtoyZiSKKY6F9RbSojpM+SQAUIamlPQ1h4sLBji1KY1IGj89QKfhjaFPQWpqDaz6+MNJWBlTiQl0911FLswbStawIcGhJISpShuUN4g2PIPCetD7AlrZe7guXqTpTaI/ZKUXSgq3Ar56D7QwMpCVUBW7VJb4QVh6pLshAOmpJ0HXWKoVlfnSClOQpV/Uqm9BXk/nHMoAFWmw9DFmnyk5aKUDuDfzobQum9nDOJWk5bvzYe8woIBCzFryoI/cSyaePkEv6RXfaOn67RYcTgVkzDlUohJQHBGVwTRxdjXrSKwgkKKSOXjG/HozmYRBKcMuYXAJCQAo6BgwBJ1IAYRrD4QrOVNTry6xYeE8OMsklSSWbKpOZD0IJ5iNcop7IUJPaQnwmCUZZXoGYatW3gknwgzAIKitFxRXPanpBUrGTJJHuSxRKsqKBLnNuxGvTrG8RMCZwJIGZDO7VBYZim5pVqGm8VyR+jFHsaCgbUUbSv8AhmiSVKQk51kJFQ5NDpb8bnEuEwMyYCQAHFHpQDU3N/tGlcGlqU82YSAQe6AA/wBPCOHs3Ynn4la1FSiA7AUctoz0AtE2EwEyaAZcpaqD3QSXqHJFrGLbgsDgUjNNKS1kFPefdTVIPWsF47tvh0pZCgMo7iAMoe2Xu0SLVhhRROJ8Pm4fJn7pU/co4AYVbnpyhLicarMTR+Q08zFj7VY5WIkSJ5SEHNMlnKoKSXIW41bMWYjURT5k0vboALmKiNuhlh+GOAuYL1GZ26lriHICcoFT/pLX6/WLLwHs0FYSUiZSdlc1cVdQcXDA3TCbjfZydh1gEDISSFVKTrWnyiXsSYL+pSzvQa3s3mXpHQUCCRd3Hz+kDrwilMlKSUgaOK3q7Pc05xicDlrMJuGCSX5DYesJDDeH3UCCwdVqNtyeh8IhM0lx++pFzbZultaRrDcRWnMUS05Egg5gGBNbE1VzhdwbE5pld7eBZttBAMYlAV3EjukZgVAl335uGManzWomwdn1L1P5aODMCaPYMBuRVTeNKbRAZwqTbTpyhiJSeniH9YyA/wBcg6tyb7RkAFr4cwkqJNqu1dK0rCk4hcybkS9SXKanwaJpEiXNlkFSkoJ0p7rg9R4QZhuIyZboQkpFBzPU3IeJQ2TS5TDKhwRoT5v94U4rFCWp2AU7E6+cMpPFULmZCVEsTfwEIO0fCJxUfZD2gOxAVv7pNfB4peiWLcbxPvU/PvHGAK5h7opYqNEjqflHHDOEkTh+qSpCRcEEPX1HSL/+lkgJCEjKBYAsPCxMOU0gjFsrmKmGQgISs1q4o/l8IWSeJ5TU6uXNCTqfrFwXwCRPUTMmql6hglh1gVeAw0lTy5ktZSWzq77NQsLjqHiFNFOLFeFw86Z3kpUEEjvEMANw7WvSLRhJWYAMUpSHSWNS7BzTTStzC6TjBOXlLrAGZ6sWLAPR+m0MJ8wkNq9+Y2eljET5F0XGDBuIS1AONrUDNSnKGfCpIGCKlODM92z3fZrh7WHOFeKxmSwIITrTMRRtj4RYsPh86kI/bLSEsNwwV5mkF60FbI+GYNEpGZTBIrWr8/7jsOsV7i/AU4palJlCWA3fIokalR1J5O5OkWM/z5uW0tD21Nn8aAcvGI+MYtz7MUSm/VrDoPV4pTx2DWR5zN4EcJ3hnIKgHAcFyznVJtvEkrGhfJQuDFn4/jkS8Mc1mduf7RW52jzpExRWVPUtQeUNSvbD86LcjiHcKVBKgQxBOjKGn+p4AGGlCaJgJSQ7JBDB+oe9YBAUQSbC79HiCRjkrYB/ERvlJqrIxhY+TxAILhaydXUa9QKRAviq1nKhyTokOfIQDxKUmWAwKswcKJYX0A9Xh7/D91TxoAlRPWw+JiGmGSXSIP0mJQAVyZofdB9WjjA8DxM5VEmWhy61AIAADlg2Ylv8iPUROCQ5HlCTBYsTVzKENMSCC1HS5D66N1jPIeToU4nAow6AJkuZMBSXmM6SFM4IctpypFdwsiUiYVAJUf2qL929ctGPnyi19p+GrmZPZgFWVnzlPlodYpszDTJKv5iSOdx5ikNSHVno/DeKZ1IADqCAVKp72UCjaE18YfTsIidLMtQBdmN2ULK8/nHl/CuOCWsVoadHaL7waepSc1gqve209Ib9mclRQuJ41UqctChVJKWua0prbUQlx3FVZsrFKv7vi51i4duuGZcSmaP/AJAlT0L5QEKPIs1BoQdxFcxPDEzivOahKlAhhlI5a84HKmFWcy1fyEpGpKlPbl8o4lLEvIwqoigDFnDkm7PpAGFx3siULBfUeA8NYNyZlhQq5SeiaO3QQmvIzU+nvF+t+TNpzMRzsQctWd2HTa9qGkB46Yp1FwDd+X+PtEapqhUVSu45Przd/LnDAJcaKblljIcYDsF7aWJntCnM9CK3I06RkAgnETEy0gaVNfy8I5mP1dgCafaN4rHKXzJt8GhJi5xUSBbUxSRLY54NiCtSlpHezNU3DP8A/pqw3mYglQBLAB/Gx8i0KeA91JAasH4iYzL2NfGh8Yl9lLo1NxmRJUoGjsHo1DUGmsWLDLSiWkhhRzpcWis8Ql9xiSQoOdwKgjyaLHKGeSAmvdDcwPnSOXl8HRxi7EYgnM4DF2DafXXwgBKQpJplUGdtTr1rBM1acrE1H40RypGZBVuWr9ojo0qznA4k1ylgkhJGoALuOZ+RiwpxgNH19LfnWPOeJY5UiZ3T3m72zGwI9YlwPaaatYShBJLAJRW1KUtGj45S2jJciTou3EhLKpQJc+1Rfkcx9BFnl4r2eHf98w0PW5HQHzIiiS+FLCxOxCgFI7yUAjKk7qI95T+AtDPD8aKwHchPeSbUO/W4OrbNAk4obaky14eamTJz3YFR5myE9Hr4xVRjMxUSbmpPVyfON9oO0iZiEsTSpe7gMBFM4nxNSgJaSa3I5mp8y0UlehXjs57TcWOJmMn/AMaSQKsCRc/BuVdY74PgSEv7pcCmxpVtoDGG/lMCl0LLNe5u1rax6j/Drs1hMVh0zFKWtaSy5dEhCtqd4jW8dEY3pHNKVbZTZ+GUSEoLlwkBiXtprp5GCuG/wtxy1lpaUINc0w5BvRNVHyj23BcLlSh/LlpR/pFT1Nz4wXljaPHXZl8no+ep/CZpEyUpOVckqoQXdqpNWY3HgdYZdhlezC1asn0/zHoHbfgMyfNlCWKropVqBrkDb4CK5juzczDTQUS1lN1KHeD7A6MNxeE4Nps0c1r+jeTxV6KDPAnDx3p9GBmIUB/sA+QjqXLcVUvw+0c8KmpK5l/eCa/2pH1jneikw+Yp1gwGZAHu2Tcmr9XvDJWHexqXrtShbWA+IT8iAn9ylN5VJjORaPOuPSAierIGBrl2Ju3KLZ2Q4+6RLUSSLQv4twxU9SUoDqBIPIO4JPpGpHYPFpAWgyyoVyhbHzIZ/GNoPJBKi0dtsP7WRKWK+zWonSiksOgBAjzviWLZkpJBsdyNo9G7P8cMyRMTNSBNlFSFhYv3S2cb6Pq0UzjMpBQSAxYXh429kJ0KMLjUOSqWmYQ7vdL6szKub61ghKgkhgSh6bg7wgwkw51aAj0MWTD4PuJLHMB5lrPCaoadgeJw1Q+pbLycs/L6xJKw5Fi/IJDbedImQgKUVKUCSKVcjo9aBh4PBmBwjqByqCRUuoE0qzMKE84lspFmkLMtIQkJISGvqKK9XjIXzcNNKiRlYnUvGQrDRQVzglJOwoLV0aBcGM0c8U4khRZJJFA51YXHjHXCUFSwlOsbWZeR1gZJHSGmUFJ8ozB4ZSgClJIBvQPzBOkFfo5zVQG5KFBzjJyRqosXTwMpqHHWCeCcbCe4tVLJJpEeKk5Q6gU3IcQnncLmTFCjAXU1K9PKJlFTVDUnF2i2zyFWCT1+8JeJdohLZCAFr0QircyzwdguEJSgAZlEDMSou/yA5RPg5CUuyUjkzeNIiPGvJbn6Kjg+zE3EzCud/LBLkXUegNvGLVhOHS5AaWgJ3NyepuYIMxgdDA87HBIOulNtOhEa2ZpUQYqYFzEBZJS6lEGxIZn3INWiPinEZl0y5hRQA5aPqb+MNOzuHE0qmkChZINgdT10hpxWSVSlJTc/G4HLZ4wlOnRqo6s8xmyJpmAZhmJDgKc16coMl8KzT/7XUv8A2pJCQ+tatzh1h8OEgkn3r0A9W9YE4gpUvMke8UEpI2NW6++RF5O6IcdWAycOEyllKc3eLvZjuXBJ9L3h3wLFTMBNCpZc09oHoQKN60/zCBGKypCiVd64B94ij7WA9IsHEg6gR/8AJTyA+RaLjcLcvb2Zv7Ukex9nuPy8XKEyWeoNwdj+Vhm0eJYHjczBFM2WHUVBOT+tO3xL6Rb+KfxgkS5SSiWpUwpcpJCQk7E1fwBHOOqM7W9M55ce9dF6nzAkEu3WgA3PKPK/4h/xHKEmThS2YEKnDX+1G3WEeL7WYrHhSpqwJQNJaKJPUmqz1pCrjUoKlZAzp75P9x2PP6Q5ciSHGIo4dxiaC3tZn/NX1iy8B4tMAygFZckqJuT9mimzMGuUyiDlOsMsJi1JIUhRSRfWnMaxnKNqjWLPU8HxhQT3wArSrvSnSEnFuJlc3uzBmvlb3QwClEtuABvFbmcQmkP7R3H7QAG5wfwiUEgOXUo51k3oxA8yP+MYONdlZei38NQ17w2TimpCaRPsEah36waRlS+9B9YcRMrnbfj3scx1mplp5skrzN4MP90ee4rjS5gyi2vPlFq/iFhlTVSUpagUS5a7AacoRcH7JzSoLIzJq2XfxjZsjYfwXhSEMtTlTCigGHTcvBfEeJ0DfmsR4icwAYjTaKvxHiBUsgGnKIRbdDE4tClMASo7Ehvzzi04UrlHMCMoFmVVRLVeoYab+cV3sxw8VWqo069AfpDPibpGUKfMXLmoewJiXvQ17C8R2hdRyimlTGQjVhVdfERkPRVsrn6RoO7PSHxCUuz08KP6PE07D5X/AARrgcwIxKCd/tDl0ZxW0emoZICRSkDzsYAfSgp0jlS3SSOcCmSVAgXjhemdi2bnIzlQJdJAHTeBMTLKAkftNxo/L8tXWJeHE1JGuu8S4kguBUkN4/A0i1KhOIOOIaVB/wAfSIRjQA73LNa4LwixfGJYvXfStoUYnj+iQWjopswySLNiMczGhcHV9ddoU47i2lqQmVNmL7yiw5XMamrYRVEuRf8AsRxD2kpaFKZlKcC/eZi+3SLatIKgNG0+HOxjxThPGV4acJia7pNlJNwY9Mk9rZcyQVy0TMxBGXLUUY1sRzeOTl42nrpnRxzTWyqcbxmSdMSk6l761blRh5wHgcbmWVLJJDFr0GX4keFYGxxmKWpa0kElzRtGHo0b4WkKWU0JUGar+DVf6x0NfUxvY3TKYJBCSEpymgLk5qFxS2loc46YHQAKZC3584TcPlTBM9ksKYnMTZqFzQEH6wfPzIQnKB3MwGZy6QWO1qaRnO46BOzni+JPtElnCUsGtU19ABuRCSZiTOmpAdTb2dqDls1o32hnpmNMAAIASoa3LKGpHqII7O8IUJstZsQVKBuBo/W78jGqgrUm9meWqGM9IkYYJFwAKf1Kp8XML8ZOyq9mCColjr1J6bQx4g658pFKn2h5ADu+AAfzitSZ5XPWb1PkCYqP2lYnpHoGA4UlUrKoBQIYvaKXxLh5w05UvS6TuDbx0i8cExH8pzuR5M/xisdtZqvboKgGyUO7n4OPWN2yYiWbiCnoYOw/FaueQ8B94HQUqDXekXXh/wDCdMxCVjFEpUAQ0rQhx++OXl5YQ/TNcSfsbiPaAn+n51Hzh5xGdVI8fSIuD8DTgyqSFZ658xDEg0FHNmgfiE15wH9piuOntEyKd2wxxGJA/pQmnMlSvmIX8CxS0kspTagFgTuz1gfjCzNxM03IURTYd0eggzBSgkJNLv0Nm6NFMaN8VxPe5wtmYZC6hL70tzic4ZUyapywBI8qROtSpLChB0IgAkwxysBRtoF4niJiiCmtXNQDypA8zFvEmGnjr4QDOTxFeqVP0PyEZBySNx5xkAULp8/u/KF65gCgbsX+EamzucDLmQ6Is9O4djQrDhQq6flX6xknEMNIqXZrj2UeyVY2e3Q/KHaJQUaknoab0jjnGmdcJJoKXxQJLK2dhX/Ebx+NyJBljvMXUa0ZmGhLsIiTIQFOKtqWaK/2i4649mg2NSNx8hf7QoxyY5ySQm4xiAuYrKAAGFOQb5fGOuC8M9quvupqeZ0EAgGPQ+F8PEmUEBipnVuVG7fDwjrbpUjkStlX4jg8nKFE5RDiLVx5Iyhw1B+HnFSmzXUYcQkaw0grWlIuogecek4bBkDJKSGQA7mnIHWor06xUeyOB9piUtZIKvGw+vhHo2ClFDgpyvUl6uasRpRhU7xlyu9GnGq2VPtBhWDkOakn6PEXZfBqllSyDnWKW9yhJ8aHpDrjUjOks9PERXOA8RyTTLm/+MJU5OgtU7WHpEpNR0W6b2P+ESFKUVzCDlJIFbglIbS582iTFa6JT3T1PeWREs7icnNMWhaSWBIB94gsFevm0VrjnElKKJCKf1G9zVR8PSM6yWP+smsXYvw6kTJ4zHuJLpemZiGvZ4s/DEZSygQ6S5L295q00LNvCvh/CJSlABBozBSz3i7Vp6AhhDfiKvZIISohCUgAXqKi9rgeMXKVJOIJeGIMVxBRmzpgLMMgOzuSBS7ACF3AiHUeY+sCzFnKs1rfxNPgTE/AklRKR+5QHnHRCOJjJ2ej8JQ0iW9yFK/5fgiv9tpJVIlLH7FFJ6KH1HrFrWjKlI2DeghLxop/TzAq1G6uGaNGyEVrs9wiZPOVLNmQFVZgXYjyMev9j0LRhky10UglP+13T6H0jyns3xmZhllUsJ7wYu9ncWN/qYe47+JM2T3giWVK0OYdSWO8cP8A08UuSNI3jKux1/E/iU/DzJEySrKFpKFUBBKS4uNifKEOF7SFcsrWGmBJZrKelNjbyhb2g7bzcfKTLXKQjKoLdJJNiNbUMD4YnIQQ35rG3BCUeNKXghtNgeDmupZH7iTWDsGmZn73LyhNJWRNKecWmRLADljTV4pyopKyOfLSJn7g7GhI2Hy9YA4+k91hc36MYMxs4ZkNQ1FLfl4MOFzoq3zB8oq7CisS8Ed/H8vDCXhQ1B4l/QAiJDh3JBLNqST5MH8I7ko27zbPCsEjhOFHKNwUJCv/AFH0jIRVFM/TvGv0R6wWEkGogzDMYuzKhIqSRcHyiXD4+Yj3VkeP1i14ZA5dIIRlKe8Eg/00iHJFKL9lQnY6atsyzTm3wjmUU6gdSCX9RFtVwtBrlRX+2Ik8FQ4OUAjVr9RaFkh4sE7K8MTNmKWADloHTQKZ3Z6tS+8WNcpPuqqAwdqk6FmiLhZMvM5oajKkAjwF9PKJ5uJlA+82taN18Izyds0pUJ+0MkJQWcFww0bX5RUVYd9G8YsnafiKVhAQrMNTz+0JZba/5jSLbWzOSVjrsFLy4oV0JFdRRvInyj0iXhKMsupg7b6nls0eacHRkK5iXSQhSQeam1OrQ64JxJUkpXM7yfdUdRnYhQf8oYiXZpHoadpJAlA0ax5VcefKPNOMP7Q86x6Jx7jSZoyLagJB3oK8gKR5/wAQw+ZTjaNIvRlMEwOJKFpqwcAts9fr4RbeH4BDqUpYKlb3ZnSR19XaKnLwxChFjmqXKTLJllQAGYl2FWyuKA/aJnxuVUEZV2NeBTFCZOdmlul8ozGtApR2A0vrEPGVFQIfn4ksB/yPpDORISJKVAVmMp6OzBulMo8TCfiYVlBQkqJWFUBNE2dty994iX2mootajbE3FcqQEABkkhwGdqW87v1sIJ7E4XPiOSe99PWBOMEUIDUsbirsecWb+HGBZK5h/cWHRP3eN4X5MpFpxh9D8opPanEuUIctVRA8h8D5xcsefeEULiCvaLWomgt0DARbJREgABLG994W41JWoqd9ozE4opGUHx2HWBpc/nElWNOGjvlJDvuf7WHlFml8MSgFBWfaBOYggtzykCrUHV4A4chARmUAJiShYLtmANR5Vhz+tCyo1Cinn7z0ZxYgVO6jCTtUVVFKxcz2eJBO4fxh9/1cZaEaC7xWeMTM05fVvKkCBMKUbEpUX7gckTFAkAkhwDSmwbzhushXuoYcvy3OK/2WmBYFWNE01ehHKkXiRKTYsKRjJtM3StFN4nhZss50BCk3NA487+EBfrpyv3AdD9IuXGkAylBNlJLHT7npFESIuLslqiYk6kk+H1jUc5TyjIoVgkuUTYQVI4fSsTJUkAc7Ur84MkSgRoOsDYkgVGFIHvRvMtNWB+TwUMoYqdTi9mqQx1exjWV9XG9vOIKBpeNLOUltxWC5fEUWLuNxoI7wyCn3WO9Hp8oAxU+UCQpQB2AUaF6BtGpeCgscyp6FBwzR0vDoVcAxX5Mt1dwKABuxA5QUubNQR3gqjl73sMohNDsK4lNTLSMqUuXagowufGKnipzvvyAEOuJYhSgKZbsCRsAW6sLwqlYIqzHYZidGjSNJGcjOHY3KkhQJDjK9r6+QhoviakqEqYoKYd4pDpJIBZ97BxSu9YUokqU22m0GIwYHSFJIcWyKbL77KysDmBGoPfrfSIZk1JqDfS3+YZ43Dd5xZh4P9gIBmAuxZ9zT4QkwoHRv8L/5izcOPtEuagpIDqoABUHcOWisT05gCHB1htwPGCW4mqOQOwAq6gxY7Usd4Gm6aD+MtOIlgpGX3QAgcnD/AA+EI+L4gOEpJGVIDPle96Wp5xPI49mOSWg3oqYWTWgcJ5UhXxXAzM/tFqcmhCQwHIO/OFGCi272Dtpa0ATsFmLLLNoPrD/gnapOGliWqXQUdJ+R5xX5gY3Pl8YgWpyAa1FBdtW8ItCaLrxnjqFyTMlKckANqkmlRo30in4vEAgJHU/T4wRxXBCWkEHKSHCe8SxURcjZr6woJJMWzPoKl4ZBqQ78zEiOFJWpku7ihOkR4ZJNKeJaH/A8Gp1FTOKDXkS40ApENlpHRwj+Bfyhth5bp5xHNlUYdXG8KeJYtctLlQDijDnrEpF3Qs4th0iesDd/MP8AOA0YVJ3/ADwjcyUS6wvMSXfU9awdwrBqWS6gCN7Ro2Z9sK4L/KWFAuNjpzi4ycZmYguNdfPaK0jh8xIpkUORD+sTy8LMDZUrSpqt6Wd3jmlTdm8dKhnx7HDIU0drBtdttYqUth/UfzeG82SrMVLKnOpB+cEInJIDsTzYhuUaQpImW2Kfap09p5JMZDk5NEJbpGRdk0CYUQVNFB1HwjUZEsfg6mDveHzMbSWdqf4jIyJY0CzP3dYHwssZlUHl/dGoyLQpBaBeO5Qoeo+cZGRLGRLSDcPe/jEcoU8viIyMhCA59JhiSf8AT5xkZDYI6T8j8IXGyuojcZCiN9HeETQ9THMkd382jIyKYl0SYS4/NRDnidvzaMjIldmq/JU55/POI8Me/L/NDGRkanOPO0H/AI5B1KfpCNMZGRRL7C5CYsnAkj2dv3fOMjIykaRDZ1zFf7Q+8PH5RkZFRExbw5AzGg/CIPloDmgvGRkNiRziSxLU6Qdw2cr2buXe71jIyMX0bLseSZ6mHeNtzBWJQDhlkgE5DU1PnGRkc8DWRS5U05RU+cZGRkd5yn//2Q==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4" name="AutoShape 4" descr="http://www.amigos.org.uk/Documents/Farming%20Gods%20way%204.jpg"/>
          <p:cNvSpPr>
            <a:spLocks noChangeAspect="1" noChangeArrowheads="1"/>
          </p:cNvSpPr>
          <p:nvPr/>
        </p:nvSpPr>
        <p:spPr bwMode="auto">
          <a:xfrm>
            <a:off x="6350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54631" name="Picture 7" descr="http://www.amigos.org.uk/Documents/Farming%20Gods%20way%204.jpg"/>
          <p:cNvPicPr>
            <a:picLocks noChangeArrowheads="1"/>
          </p:cNvPicPr>
          <p:nvPr/>
        </p:nvPicPr>
        <p:blipFill>
          <a:blip r:embed="rId6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45774" y="4583436"/>
            <a:ext cx="636651" cy="409405"/>
          </a:xfrm>
          <a:prstGeom prst="rect">
            <a:avLst/>
          </a:prstGeom>
          <a:solidFill>
            <a:srgbClr val="D7ECF3"/>
          </a:solidFill>
        </p:spPr>
      </p:pic>
      <p:sp>
        <p:nvSpPr>
          <p:cNvPr id="96" name="Rectangle 7"/>
          <p:cNvSpPr txBox="1">
            <a:spLocks/>
          </p:cNvSpPr>
          <p:nvPr>
            <p:custDataLst>
              <p:tags r:id="rId46"/>
            </p:custDataLst>
          </p:nvPr>
        </p:nvSpPr>
        <p:spPr bwMode="gray">
          <a:xfrm>
            <a:off x="7277750" y="1013986"/>
            <a:ext cx="683712" cy="4027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accent4"/>
                </a:solidFill>
              </a:rPr>
              <a:t>Private/Farmer</a:t>
            </a:r>
          </a:p>
        </p:txBody>
      </p:sp>
      <p:sp>
        <p:nvSpPr>
          <p:cNvPr id="98" name="Rectangle 7"/>
          <p:cNvSpPr txBox="1">
            <a:spLocks/>
          </p:cNvSpPr>
          <p:nvPr>
            <p:custDataLst>
              <p:tags r:id="rId47"/>
            </p:custDataLst>
          </p:nvPr>
        </p:nvSpPr>
        <p:spPr bwMode="gray">
          <a:xfrm>
            <a:off x="6458939" y="1013986"/>
            <a:ext cx="683712" cy="40272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accent4"/>
                </a:solidFill>
              </a:rPr>
              <a:t>Public/Donor</a:t>
            </a:r>
          </a:p>
        </p:txBody>
      </p:sp>
      <p:sp>
        <p:nvSpPr>
          <p:cNvPr id="99" name="Rectangle 7"/>
          <p:cNvSpPr txBox="1">
            <a:spLocks/>
          </p:cNvSpPr>
          <p:nvPr>
            <p:custDataLst>
              <p:tags r:id="rId48"/>
            </p:custDataLst>
          </p:nvPr>
        </p:nvSpPr>
        <p:spPr bwMode="gray">
          <a:xfrm>
            <a:off x="8096561" y="1013986"/>
            <a:ext cx="683712" cy="40272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bg1"/>
                </a:solidFill>
              </a:rPr>
              <a:t>Total</a:t>
            </a:r>
          </a:p>
        </p:txBody>
      </p:sp>
      <p:cxnSp>
        <p:nvCxnSpPr>
          <p:cNvPr id="100" name="Straight Connector 99"/>
          <p:cNvCxnSpPr>
            <a:cxnSpLocks/>
          </p:cNvCxnSpPr>
          <p:nvPr>
            <p:custDataLst>
              <p:tags r:id="rId49"/>
            </p:custDataLst>
          </p:nvPr>
        </p:nvCxnSpPr>
        <p:spPr>
          <a:xfrm>
            <a:off x="2213557" y="6014700"/>
            <a:ext cx="6597934" cy="0"/>
          </a:xfrm>
          <a:prstGeom prst="line">
            <a:avLst/>
          </a:prstGeom>
          <a:ln w="1905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21"/>
          <p:cNvSpPr txBox="1">
            <a:spLocks/>
          </p:cNvSpPr>
          <p:nvPr>
            <p:custDataLst>
              <p:tags r:id="rId50"/>
            </p:custDataLst>
          </p:nvPr>
        </p:nvSpPr>
        <p:spPr bwMode="gray">
          <a:xfrm>
            <a:off x="2213557" y="6049255"/>
            <a:ext cx="3883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tx2"/>
                </a:solidFill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194318658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232931" y="1235262"/>
            <a:ext cx="4917293" cy="3816350"/>
          </a:xfrm>
          <a:prstGeom prst="rect">
            <a:avLst/>
          </a:prstGeom>
          <a:solidFill>
            <a:schemeClr val="bg1"/>
          </a:solidFill>
          <a:ln w="19050">
            <a:solidFill>
              <a:srgbClr val="C9E7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0" name="Rectangle 31"/>
          <p:cNvSpPr txBox="1">
            <a:spLocks/>
          </p:cNvSpPr>
          <p:nvPr/>
        </p:nvSpPr>
        <p:spPr bwMode="gray">
          <a:xfrm>
            <a:off x="280158" y="1245447"/>
            <a:ext cx="3672800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Spur  </a:t>
            </a:r>
            <a:r>
              <a:rPr lang="en-US" sz="1500" b="1" dirty="0">
                <a:cs typeface="Arial" charset="0"/>
              </a:rPr>
              <a:t>100 entrepreneurs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to fill gaps in the value-chain for farmers and groups</a:t>
            </a:r>
          </a:p>
          <a:p>
            <a:pPr lvl="2">
              <a:buClr>
                <a:srgbClr val="002960"/>
              </a:buClr>
            </a:pPr>
            <a:r>
              <a:rPr lang="en-US" sz="1500" i="1" dirty="0">
                <a:solidFill>
                  <a:srgbClr val="000000"/>
                </a:solidFill>
                <a:cs typeface="Arial" charset="0"/>
              </a:rPr>
              <a:t>Mechanization service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(tractor and bulldozer) expands land clearance</a:t>
            </a:r>
          </a:p>
          <a:p>
            <a:pPr lvl="2">
              <a:buClr>
                <a:srgbClr val="002960"/>
              </a:buClr>
            </a:pPr>
            <a:r>
              <a:rPr lang="en-US" sz="1500" i="1" dirty="0">
                <a:solidFill>
                  <a:srgbClr val="000000"/>
                </a:solidFill>
                <a:cs typeface="Arial" charset="0"/>
              </a:rPr>
              <a:t>Input dealers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sell quality seeds and plant protection</a:t>
            </a:r>
          </a:p>
          <a:p>
            <a:pPr lvl="2">
              <a:buClr>
                <a:srgbClr val="002960"/>
              </a:buClr>
            </a:pPr>
            <a:r>
              <a:rPr lang="en-US" sz="1500" i="1" dirty="0">
                <a:solidFill>
                  <a:srgbClr val="000000"/>
                </a:solidFill>
                <a:cs typeface="Arial" charset="0"/>
              </a:rPr>
              <a:t>Warehouses and processing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improve market opportunities</a:t>
            </a:r>
          </a:p>
          <a:p>
            <a:pPr lvl="1"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RSS provides </a:t>
            </a:r>
            <a:r>
              <a:rPr lang="en-US" sz="1500" b="1" dirty="0">
                <a:solidFill>
                  <a:srgbClr val="000000"/>
                </a:solidFill>
                <a:cs typeface="Arial" charset="0"/>
              </a:rPr>
              <a:t>extension training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and subsidies</a:t>
            </a:r>
          </a:p>
        </p:txBody>
      </p:sp>
      <p:sp>
        <p:nvSpPr>
          <p:cNvPr id="11" name="Rectangle 3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278078" y="896624"/>
            <a:ext cx="415286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Clr>
                <a:srgbClr val="002960"/>
              </a:buClr>
            </a:pPr>
            <a:r>
              <a:rPr lang="en-US" sz="1500" b="1" dirty="0"/>
              <a:t>The Ministry’s interventions are:</a:t>
            </a:r>
          </a:p>
        </p:txBody>
      </p:sp>
      <p:sp>
        <p:nvSpPr>
          <p:cNvPr id="14" name="Rectangle 13"/>
          <p:cNvSpPr/>
          <p:nvPr>
            <p:custDataLst>
              <p:tags r:id="rId3"/>
            </p:custDataLst>
          </p:nvPr>
        </p:nvSpPr>
        <p:spPr bwMode="gray">
          <a:xfrm>
            <a:off x="5534203" y="2061041"/>
            <a:ext cx="284331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160" lvl="1"/>
            <a:endParaRPr lang="en-US" sz="1500" dirty="0">
              <a:solidFill>
                <a:srgbClr val="000000"/>
              </a:solidFill>
              <a:cs typeface="Arial" charset="0"/>
            </a:endParaRPr>
          </a:p>
          <a:p>
            <a:pPr marL="457160" lvl="1"/>
            <a:r>
              <a:rPr lang="en-US" sz="1500" dirty="0">
                <a:solidFill>
                  <a:srgbClr val="000000"/>
                </a:solidFill>
                <a:cs typeface="Arial" charset="0"/>
              </a:rPr>
              <a:t>Engage </a:t>
            </a:r>
            <a:r>
              <a:rPr lang="en-US" sz="1500" b="1" dirty="0">
                <a:solidFill>
                  <a:srgbClr val="002960"/>
                </a:solidFill>
                <a:cs typeface="Arial" charset="0"/>
              </a:rPr>
              <a:t>15,000 farmers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 over 3 years </a:t>
            </a:r>
          </a:p>
        </p:txBody>
      </p:sp>
      <p:sp>
        <p:nvSpPr>
          <p:cNvPr id="15" name="Rectangle 14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306065" y="1111742"/>
            <a:ext cx="3466540" cy="3729318"/>
          </a:xfrm>
          <a:prstGeom prst="rect">
            <a:avLst/>
          </a:prstGeom>
          <a:solidFill>
            <a:schemeClr val="bg1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6" name="Rectangle 15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5325036" y="936324"/>
            <a:ext cx="3466540" cy="350837"/>
          </a:xfrm>
          <a:prstGeom prst="rect">
            <a:avLst/>
          </a:prstGeom>
          <a:solidFill>
            <a:srgbClr val="00B050"/>
          </a:solidFill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>
              <a:solidFill>
                <a:srgbClr val="000000"/>
              </a:solidFill>
            </a:endParaRPr>
          </a:p>
        </p:txBody>
      </p:sp>
      <p:sp>
        <p:nvSpPr>
          <p:cNvPr id="17" name="Rectangle 31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394132" y="1253406"/>
            <a:ext cx="329040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>
              <a:buClr>
                <a:srgbClr val="002960"/>
              </a:buClr>
            </a:pPr>
            <a:r>
              <a:rPr lang="en-US" b="1" dirty="0">
                <a:solidFill>
                  <a:srgbClr val="FFFFFF"/>
                </a:solidFill>
              </a:rPr>
              <a:t>The  projected results and costs:</a:t>
            </a:r>
          </a:p>
        </p:txBody>
      </p:sp>
      <p:grpSp>
        <p:nvGrpSpPr>
          <p:cNvPr id="19" name="Group 18"/>
          <p:cNvGrpSpPr>
            <a:grpSpLocks/>
          </p:cNvGrpSpPr>
          <p:nvPr/>
        </p:nvGrpSpPr>
        <p:grpSpPr bwMode="gray">
          <a:xfrm>
            <a:off x="295854" y="4672501"/>
            <a:ext cx="4917293" cy="1439631"/>
            <a:chOff x="254000" y="5486696"/>
            <a:chExt cx="5286188" cy="1439631"/>
          </a:xfrm>
          <a:solidFill>
            <a:srgbClr val="C9E7A7"/>
          </a:solidFill>
        </p:grpSpPr>
        <p:sp>
          <p:nvSpPr>
            <p:cNvPr id="20" name="Rectangle 19"/>
            <p:cNvSpPr/>
            <p:nvPr>
              <p:custDataLst>
                <p:tags r:id="rId10"/>
              </p:custDataLst>
            </p:nvPr>
          </p:nvSpPr>
          <p:spPr bwMode="gray">
            <a:xfrm>
              <a:off x="254000" y="5486696"/>
              <a:ext cx="5286188" cy="1234779"/>
            </a:xfrm>
            <a:prstGeom prst="rect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rgbClr val="000000"/>
                </a:solidFill>
              </a:endParaRPr>
            </a:p>
          </p:txBody>
        </p:sp>
        <p:sp>
          <p:nvSpPr>
            <p:cNvPr id="21" name="Rectangle 3"/>
            <p:cNvSpPr txBox="1"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302534" y="5532099"/>
              <a:ext cx="5216585" cy="1394228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>
                <a:buClr>
                  <a:srgbClr val="002960"/>
                </a:buClr>
              </a:pPr>
              <a:r>
                <a:rPr lang="en-US" sz="1800" b="1" dirty="0"/>
                <a:t>Critical requirements for success:</a:t>
              </a:r>
            </a:p>
            <a:p>
              <a:pPr lvl="1">
                <a:spcBef>
                  <a:spcPct val="10000"/>
                </a:spcBef>
                <a:buClr>
                  <a:srgbClr val="002960"/>
                </a:buClr>
              </a:pPr>
              <a:r>
                <a:rPr lang="en-US" sz="1800" dirty="0">
                  <a:solidFill>
                    <a:srgbClr val="000000"/>
                  </a:solidFill>
                  <a:cs typeface="Arial" charset="0"/>
                </a:rPr>
                <a:t>Solid talent-pool and financial resources to mobilize entrepreneurs</a:t>
              </a:r>
            </a:p>
            <a:p>
              <a:pPr lvl="1">
                <a:spcBef>
                  <a:spcPct val="10000"/>
                </a:spcBef>
                <a:buClr>
                  <a:srgbClr val="002960"/>
                </a:buClr>
              </a:pPr>
              <a:r>
                <a:rPr lang="en-US" sz="1800" dirty="0">
                  <a:solidFill>
                    <a:srgbClr val="000000"/>
                  </a:solidFill>
                  <a:cs typeface="Arial" charset="0"/>
                </a:rPr>
                <a:t>Quick improv</a:t>
              </a:r>
              <a:r>
                <a:rPr lang="en-US" sz="1500" dirty="0">
                  <a:solidFill>
                    <a:srgbClr val="000000"/>
                  </a:solidFill>
                  <a:cs typeface="Arial" charset="0"/>
                </a:rPr>
                <a:t>ement of roads connecting farmers and markets</a:t>
              </a:r>
            </a:p>
          </p:txBody>
        </p:sp>
      </p:grpSp>
      <p:sp>
        <p:nvSpPr>
          <p:cNvPr id="22" name="Rectangle 31"/>
          <p:cNvSpPr txBox="1">
            <a:spLocks/>
          </p:cNvSpPr>
          <p:nvPr/>
        </p:nvSpPr>
        <p:spPr bwMode="gray">
          <a:xfrm>
            <a:off x="5360174" y="1287161"/>
            <a:ext cx="3377426" cy="3042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Support </a:t>
            </a:r>
            <a:r>
              <a:rPr lang="en-US" sz="1500" b="1" dirty="0">
                <a:cs typeface="Arial" charset="0"/>
              </a:rPr>
              <a:t>12,000 farmers over 3 years</a:t>
            </a:r>
            <a:r>
              <a:rPr lang="en-US" sz="1500" dirty="0">
                <a:cs typeface="Arial" charset="0"/>
              </a:rPr>
              <a:t>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with ….M SSP of public funds and ..M SSP of entrepreneur operating costs</a:t>
            </a:r>
          </a:p>
          <a:p>
            <a:pPr lvl="2">
              <a:spcBef>
                <a:spcPct val="15000"/>
              </a:spcBef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Land cultivated increases from </a:t>
            </a:r>
            <a:r>
              <a:rPr lang="en-US" b="1" dirty="0">
                <a:cs typeface="Arial" charset="0"/>
              </a:rPr>
              <a:t>2 to 5 feddans</a:t>
            </a:r>
          </a:p>
          <a:p>
            <a:pPr lvl="2">
              <a:spcBef>
                <a:spcPct val="15000"/>
              </a:spcBef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Yield increases from </a:t>
            </a:r>
            <a:r>
              <a:rPr lang="en-US" b="1" dirty="0">
                <a:cs typeface="Arial" charset="0"/>
              </a:rPr>
              <a:t>0.8 to 1.6 MT/</a:t>
            </a:r>
            <a:r>
              <a:rPr lang="en-US" b="1" dirty="0" err="1">
                <a:cs typeface="Arial" charset="0"/>
              </a:rPr>
              <a:t>feddan</a:t>
            </a:r>
            <a:endParaRPr lang="en-US" b="1" dirty="0">
              <a:cs typeface="Arial" charset="0"/>
            </a:endParaRPr>
          </a:p>
          <a:p>
            <a:pPr lvl="2">
              <a:spcBef>
                <a:spcPct val="15000"/>
              </a:spcBef>
              <a:buClr>
                <a:srgbClr val="002960"/>
              </a:buClr>
            </a:pPr>
            <a:r>
              <a:rPr lang="en-US" dirty="0">
                <a:solidFill>
                  <a:srgbClr val="000000"/>
                </a:solidFill>
                <a:cs typeface="Arial" charset="0"/>
              </a:rPr>
              <a:t>Post-harvest loss reduces from </a:t>
            </a:r>
            <a:r>
              <a:rPr lang="en-US" b="1" dirty="0">
                <a:cs typeface="Arial" charset="0"/>
              </a:rPr>
              <a:t>30% to 15%</a:t>
            </a:r>
            <a:endParaRPr lang="en-US" sz="1500" dirty="0">
              <a:cs typeface="Arial" charset="0"/>
            </a:endParaRPr>
          </a:p>
          <a:p>
            <a:pPr lvl="1">
              <a:spcBef>
                <a:spcPct val="3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Rehabilitate 545 kms of road at …M SSP</a:t>
            </a:r>
          </a:p>
        </p:txBody>
      </p:sp>
      <p:sp>
        <p:nvSpPr>
          <p:cNvPr id="23" name="TextBox 13"/>
          <p:cNvSpPr txBox="1"/>
          <p:nvPr>
            <p:custDataLst>
              <p:tags r:id="rId7"/>
            </p:custDataLst>
          </p:nvPr>
        </p:nvSpPr>
        <p:spPr bwMode="gray">
          <a:xfrm>
            <a:off x="5286466" y="4479435"/>
            <a:ext cx="3466540" cy="1234779"/>
          </a:xfrm>
          <a:prstGeom prst="roundRect">
            <a:avLst/>
          </a:prstGeom>
          <a:solidFill>
            <a:srgbClr val="00B050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Bef>
                <a:spcPct val="10000"/>
              </a:spcBef>
              <a:buClr>
                <a:srgbClr val="002960"/>
              </a:buClr>
              <a:buNone/>
            </a:pPr>
            <a:r>
              <a:rPr lang="en-US" sz="1500" b="1" dirty="0">
                <a:solidFill>
                  <a:schemeClr val="bg1"/>
                </a:solidFill>
                <a:cs typeface="Arial" charset="0"/>
              </a:rPr>
              <a:t>Agriculture cost: </a:t>
            </a:r>
            <a:r>
              <a:rPr lang="en-US" sz="1500" dirty="0">
                <a:solidFill>
                  <a:schemeClr val="bg1"/>
                </a:solidFill>
                <a:cs typeface="Arial" charset="0"/>
              </a:rPr>
              <a:t>SSP ……… </a:t>
            </a:r>
          </a:p>
          <a:p>
            <a:pPr marL="0" lvl="1" indent="0">
              <a:spcBef>
                <a:spcPct val="10000"/>
              </a:spcBef>
              <a:buClr>
                <a:srgbClr val="002960"/>
              </a:buClr>
              <a:buNone/>
            </a:pPr>
            <a:r>
              <a:rPr lang="en-US" sz="1500" b="1" dirty="0">
                <a:solidFill>
                  <a:schemeClr val="bg1"/>
                </a:solidFill>
                <a:cs typeface="Arial" charset="0"/>
              </a:rPr>
              <a:t>Infrastructure cost: </a:t>
            </a:r>
            <a:r>
              <a:rPr lang="en-US" sz="1500" dirty="0">
                <a:solidFill>
                  <a:schemeClr val="bg1"/>
                </a:solidFill>
                <a:cs typeface="Arial" charset="0"/>
              </a:rPr>
              <a:t>SSP ………</a:t>
            </a:r>
          </a:p>
          <a:p>
            <a:pPr marL="0" lvl="1" indent="0">
              <a:spcBef>
                <a:spcPct val="10000"/>
              </a:spcBef>
              <a:buClr>
                <a:srgbClr val="002960"/>
              </a:buClr>
              <a:buNone/>
            </a:pPr>
            <a:r>
              <a:rPr lang="en-US" sz="1500" b="1" dirty="0">
                <a:solidFill>
                  <a:schemeClr val="bg1"/>
                </a:solidFill>
                <a:cs typeface="Arial" charset="0"/>
              </a:rPr>
              <a:t>Total cost: SSP …………….</a:t>
            </a:r>
            <a:endParaRPr lang="en-US" b="1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24" name="Rectangle 31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306395" y="3580907"/>
            <a:ext cx="4824230" cy="10387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Support </a:t>
            </a:r>
            <a:r>
              <a:rPr lang="en-US" sz="1500" b="1" dirty="0">
                <a:cs typeface="Arial" charset="0"/>
              </a:rPr>
              <a:t>4 private associations with out-growers 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to through organizing, warehouse and transport support</a:t>
            </a:r>
          </a:p>
          <a:p>
            <a:pPr lvl="1">
              <a:spcBef>
                <a:spcPct val="50000"/>
              </a:spcBef>
              <a:buClr>
                <a:srgbClr val="002960"/>
              </a:buClr>
            </a:pPr>
            <a:r>
              <a:rPr lang="en-US" sz="1500" dirty="0">
                <a:solidFill>
                  <a:srgbClr val="000000"/>
                </a:solidFill>
                <a:cs typeface="Arial" charset="0"/>
              </a:rPr>
              <a:t>Rehabilitate </a:t>
            </a:r>
            <a:r>
              <a:rPr lang="en-US" sz="1500" b="1" dirty="0" err="1">
                <a:cs typeface="Arial" charset="0"/>
              </a:rPr>
              <a:t>mmajor</a:t>
            </a:r>
            <a:r>
              <a:rPr lang="en-US" sz="1500" b="1" dirty="0">
                <a:cs typeface="Arial" charset="0"/>
              </a:rPr>
              <a:t> food security roads</a:t>
            </a:r>
            <a:r>
              <a:rPr lang="en-US" sz="1500" dirty="0">
                <a:solidFill>
                  <a:srgbClr val="000000"/>
                </a:solidFill>
                <a:cs typeface="Arial" charset="0"/>
              </a:rPr>
              <a:t>, and construct new feeder roads</a:t>
            </a:r>
          </a:p>
        </p:txBody>
      </p:sp>
      <p:sp>
        <p:nvSpPr>
          <p:cNvPr id="26" name="Title 1"/>
          <p:cNvSpPr>
            <a:spLocks noGrp="1"/>
          </p:cNvSpPr>
          <p:nvPr>
            <p:ph type="title"/>
            <p:custDataLst>
              <p:tags r:id="rId9"/>
            </p:custDataLst>
          </p:nvPr>
        </p:nvSpPr>
        <p:spPr bwMode="gray">
          <a:xfrm>
            <a:off x="119063" y="211140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Prioritize supporting agro-entrepreneurs and farmer associations to provide smallholder value-chain services</a:t>
            </a:r>
          </a:p>
        </p:txBody>
      </p:sp>
      <p:pic>
        <p:nvPicPr>
          <p:cNvPr id="112642" name="Picture 2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16200000">
            <a:off x="3834957" y="1472342"/>
            <a:ext cx="1577205" cy="12771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81446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8098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0" name="Picture 4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8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0" y="-231712"/>
            <a:ext cx="8562145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8099" dir="2700000" algn="ctr" rotWithShape="0">
                    <a:schemeClr val="bg2">
                      <a:alpha val="74997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just" defTabSz="914400"/>
            <a:r>
              <a:rPr lang="en-US" dirty="0">
                <a:latin typeface="Arial" pitchFamily="34" charset="0"/>
              </a:rPr>
              <a:t>The National Effort for Agricultural Transformation (NEAT) will drive South Sudan towards its 2040 Agricultural Vision</a:t>
            </a:r>
            <a:br>
              <a:rPr lang="en-US" dirty="0">
                <a:latin typeface="Arial" pitchFamily="34" charset="0"/>
              </a:rPr>
            </a:br>
            <a:r>
              <a:rPr lang="en-GB" sz="1400" dirty="0"/>
              <a:t>A vibrant, commercial and modern agricultural sector that sustainably supports South Sudan’s development in the context of devolution, short-term national aspirations for 100% food security, and longer-term global CAADP and the SDG especially 2 commitments </a:t>
            </a:r>
            <a:r>
              <a:rPr lang="en-US" sz="1400" dirty="0">
                <a:effectLst/>
                <a:ea typeface="Calibri" panose="020F0502020204030204" pitchFamily="34" charset="0"/>
                <a:cs typeface="Cambria" panose="02040503050406030204" pitchFamily="18" charset="0"/>
              </a:rPr>
              <a:t>which calls for ending hunger, achieve food security and improved nutrition and promote sustainable agriculture</a:t>
            </a:r>
            <a:r>
              <a:rPr lang="en-US" sz="14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Cambria" panose="02040503050406030204" pitchFamily="18" charset="0"/>
              </a:rPr>
              <a:t>.</a:t>
            </a:r>
            <a:br>
              <a:rPr lang="en-GB" sz="14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kumimoji="0" lang="en-US" sz="1400" b="0" i="0" u="none" strike="noStrike" cap="none" normalizeH="0" baseline="0" dirty="0">
              <a:ln>
                <a:noFill/>
              </a:ln>
              <a:solidFill>
                <a:schemeClr val="tx2"/>
              </a:solidFill>
              <a:effectLst/>
              <a:latin typeface="Arial" pitchFamily="34" charset="0"/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0" y="1544567"/>
            <a:ext cx="8562146" cy="4640659"/>
            <a:chOff x="232229" y="937024"/>
            <a:chExt cx="8562146" cy="3885704"/>
          </a:xfrm>
        </p:grpSpPr>
        <p:sp>
          <p:nvSpPr>
            <p:cNvPr id="32" name="Rectangle 33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3657600" y="937024"/>
              <a:ext cx="5136775" cy="3815086"/>
            </a:xfrm>
            <a:prstGeom prst="rect">
              <a:avLst/>
            </a:prstGeom>
            <a:solidFill>
              <a:schemeClr val="bg1"/>
            </a:solidFill>
            <a:ln w="28575" cap="rnd" algn="ctr">
              <a:solidFill>
                <a:schemeClr val="accent4"/>
              </a:solidFill>
              <a:miter lim="800000"/>
              <a:headEnd type="none" w="sm" len="sm"/>
              <a:tailEnd type="none" w="sm" len="sm"/>
            </a:ln>
          </p:spPr>
          <p:txBody>
            <a:bodyPr wrap="none" anchor="ctr"/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  <a:ea typeface="MS PGothic" pitchFamily="34" charset="-128"/>
                </a:defRPr>
              </a:lvl9pPr>
            </a:lstStyle>
            <a:p>
              <a:pPr eaLnBrk="1" hangingPunct="1"/>
              <a:endParaRPr lang="en-US" sz="1500"/>
            </a:p>
          </p:txBody>
        </p:sp>
        <p:pic>
          <p:nvPicPr>
            <p:cNvPr id="9" name="Picture 22" descr="DSCN0104"/>
            <p:cNvPicPr>
              <a:picLocks noChangeAspect="1" noChangeArrowheads="1"/>
            </p:cNvPicPr>
            <p:nvPr>
              <p:custDataLst>
                <p:tags r:id="rId4"/>
              </p:custDataLst>
            </p:nvPr>
          </p:nvPicPr>
          <p:blipFill>
            <a:blip r:embed="rId16" cstate="email">
              <a:lum bright="70000" contrast="-7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767360" y="966051"/>
              <a:ext cx="4941636" cy="36665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8" name="Rectangle 7"/>
            <p:cNvSpPr txBox="1"/>
            <p:nvPr>
              <p:custDataLst>
                <p:tags r:id="rId5"/>
              </p:custDataLst>
            </p:nvPr>
          </p:nvSpPr>
          <p:spPr>
            <a:xfrm>
              <a:off x="3767360" y="1652629"/>
              <a:ext cx="4918557" cy="227986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kumimoji="1">
                  <a:latin typeface="+mn-lt"/>
                  <a:cs typeface="ＭＳ Ｐゴシック" charset="0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kumimoji="1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kumimoji="1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kumimoji="1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285750" indent="-285750">
                <a:spcAft>
                  <a:spcPts val="700"/>
                </a:spcAft>
                <a:buFont typeface="Wingdings" pitchFamily="2" charset="2"/>
                <a:buChar char="Ø"/>
              </a:pPr>
              <a:r>
                <a:rPr lang="en-US" sz="1500" dirty="0"/>
                <a:t>NEAT has two integrated components: the </a:t>
              </a:r>
              <a:r>
                <a:rPr lang="en-US" sz="1500" b="1" dirty="0">
                  <a:solidFill>
                    <a:schemeClr val="tx2"/>
                  </a:solidFill>
                </a:rPr>
                <a:t>Zonal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Effort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for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Agricultural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Transformation</a:t>
              </a:r>
              <a:r>
                <a:rPr lang="en-US" sz="1500" dirty="0"/>
                <a:t> (</a:t>
              </a:r>
              <a:r>
                <a:rPr lang="en-US" sz="1500" b="1" dirty="0" err="1">
                  <a:solidFill>
                    <a:schemeClr val="tx2"/>
                  </a:solidFill>
                </a:rPr>
                <a:t>ZEAT</a:t>
              </a:r>
              <a:r>
                <a:rPr lang="en-US" sz="1500" b="1" dirty="0">
                  <a:solidFill>
                    <a:schemeClr val="tx2"/>
                  </a:solidFill>
                </a:rPr>
                <a:t>) </a:t>
              </a:r>
              <a:r>
                <a:rPr lang="en-US" sz="1500" dirty="0"/>
                <a:t>and the </a:t>
              </a:r>
              <a:r>
                <a:rPr lang="en-US" sz="1500" b="1" dirty="0">
                  <a:solidFill>
                    <a:schemeClr val="tx2"/>
                  </a:solidFill>
                </a:rPr>
                <a:t>Comprehensive Agricultural Master Plan (CAMP)</a:t>
              </a:r>
            </a:p>
            <a:p>
              <a:pPr marL="568325" indent="-401638">
                <a:spcAft>
                  <a:spcPts val="700"/>
                </a:spcAft>
                <a:buFont typeface="+mj-lt"/>
                <a:buAutoNum type="arabicParenR"/>
              </a:pPr>
              <a:r>
                <a:rPr lang="en-US" sz="1500" dirty="0"/>
                <a:t>ZEAT is a </a:t>
              </a:r>
              <a:r>
                <a:rPr lang="en-US" sz="1500" b="1" dirty="0">
                  <a:solidFill>
                    <a:schemeClr val="tx2"/>
                  </a:solidFill>
                </a:rPr>
                <a:t>highly prioritized zonal approach</a:t>
              </a:r>
              <a:r>
                <a:rPr lang="en-US" sz="1500" dirty="0">
                  <a:solidFill>
                    <a:schemeClr val="tx2"/>
                  </a:solidFill>
                </a:rPr>
                <a:t> </a:t>
              </a:r>
              <a:r>
                <a:rPr lang="en-US" sz="1500" dirty="0"/>
                <a:t>ready for</a:t>
              </a:r>
              <a:r>
                <a:rPr lang="en-US" sz="1500" b="1" dirty="0">
                  <a:solidFill>
                    <a:schemeClr val="tx2"/>
                  </a:solidFill>
                </a:rPr>
                <a:t> rapid implementation </a:t>
              </a:r>
              <a:r>
                <a:rPr lang="en-US" sz="1500" dirty="0"/>
                <a:t>by the rainy seasons of </a:t>
              </a:r>
              <a:r>
                <a:rPr lang="en-US" sz="1500" b="1" dirty="0">
                  <a:solidFill>
                    <a:schemeClr val="tx2"/>
                  </a:solidFill>
                </a:rPr>
                <a:t>2024 and 2025</a:t>
              </a:r>
              <a:endParaRPr lang="en-US" sz="1500" dirty="0"/>
            </a:p>
            <a:p>
              <a:pPr marL="568325" indent="-401638">
                <a:spcAft>
                  <a:spcPts val="700"/>
                </a:spcAft>
                <a:buFont typeface="+mj-lt"/>
                <a:buAutoNum type="arabicParenR"/>
              </a:pPr>
              <a:r>
                <a:rPr lang="en-US" sz="1500" dirty="0"/>
                <a:t>CAMP is a </a:t>
              </a:r>
              <a:r>
                <a:rPr lang="en-US" sz="1500" b="1" dirty="0">
                  <a:solidFill>
                    <a:schemeClr val="tx2"/>
                  </a:solidFill>
                </a:rPr>
                <a:t>complete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strategy</a:t>
              </a:r>
              <a:r>
                <a:rPr lang="en-US" sz="1500" dirty="0"/>
                <a:t> covering agriculture and related sectors for </a:t>
              </a:r>
              <a:r>
                <a:rPr lang="en-US" sz="1500" b="1" dirty="0">
                  <a:solidFill>
                    <a:schemeClr val="tx2"/>
                  </a:solidFill>
                </a:rPr>
                <a:t>all states and communities, </a:t>
              </a:r>
              <a:r>
                <a:rPr lang="en-US" sz="1500" dirty="0"/>
                <a:t>to guide the country to full national and household food security; implementation should begin by </a:t>
              </a:r>
              <a:r>
                <a:rPr lang="en-US" sz="1500" b="1" dirty="0">
                  <a:solidFill>
                    <a:schemeClr val="tx2"/>
                  </a:solidFill>
                </a:rPr>
                <a:t>2025</a:t>
              </a:r>
              <a:endParaRPr lang="en-US" sz="1500" dirty="0"/>
            </a:p>
          </p:txBody>
        </p:sp>
        <p:sp>
          <p:nvSpPr>
            <p:cNvPr id="33" name="Rectangle 7"/>
            <p:cNvSpPr txBox="1"/>
            <p:nvPr>
              <p:custDataLst>
                <p:tags r:id="rId6"/>
              </p:custDataLst>
            </p:nvPr>
          </p:nvSpPr>
          <p:spPr>
            <a:xfrm>
              <a:off x="3767360" y="1021725"/>
              <a:ext cx="4918557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kumimoji="1">
                  <a:latin typeface="+mn-lt"/>
                  <a:cs typeface="ＭＳ Ｐゴシック" charset="0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kumimoji="1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kumimoji="1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kumimoji="1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indent="0">
                <a:spcAft>
                  <a:spcPts val="700"/>
                </a:spcAft>
              </a:pPr>
              <a:r>
                <a:rPr lang="en-US" sz="1500" b="1" dirty="0">
                  <a:solidFill>
                    <a:schemeClr val="tx2"/>
                  </a:solidFill>
                </a:rPr>
                <a:t>The National Effort for Agricultural Transformation (NEAT) will achieve this vision</a:t>
              </a:r>
              <a:endParaRPr lang="en-US" sz="1500" dirty="0"/>
            </a:p>
          </p:txBody>
        </p:sp>
        <p:cxnSp>
          <p:nvCxnSpPr>
            <p:cNvPr id="14" name="Straight Connector 13"/>
            <p:cNvCxnSpPr/>
            <p:nvPr>
              <p:custDataLst>
                <p:tags r:id="rId7"/>
              </p:custDataLst>
            </p:nvPr>
          </p:nvCxnSpPr>
          <p:spPr>
            <a:xfrm>
              <a:off x="3767360" y="1568259"/>
              <a:ext cx="4918557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49" name="Pentagon 2048"/>
            <p:cNvSpPr/>
            <p:nvPr>
              <p:custDataLst>
                <p:tags r:id="rId8"/>
              </p:custDataLst>
            </p:nvPr>
          </p:nvSpPr>
          <p:spPr>
            <a:xfrm>
              <a:off x="232229" y="937024"/>
              <a:ext cx="3425371" cy="3815086"/>
            </a:xfrm>
            <a:prstGeom prst="homePlate">
              <a:avLst>
                <a:gd name="adj" fmla="val 9627"/>
              </a:avLst>
            </a:prstGeom>
            <a:solidFill>
              <a:schemeClr val="bg2"/>
            </a:solidFill>
            <a:ln w="28575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500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tangle 7"/>
            <p:cNvSpPr txBox="1"/>
            <p:nvPr>
              <p:custDataLst>
                <p:tags r:id="rId9"/>
              </p:custDataLst>
            </p:nvPr>
          </p:nvSpPr>
          <p:spPr>
            <a:xfrm>
              <a:off x="354238" y="1652629"/>
              <a:ext cx="2926574" cy="31700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kumimoji="1">
                  <a:latin typeface="+mn-lt"/>
                  <a:cs typeface="ＭＳ Ｐゴシック" charset="0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kumimoji="1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kumimoji="1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kumimoji="1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500" b="1" dirty="0">
                  <a:solidFill>
                    <a:schemeClr val="tx2"/>
                  </a:solidFill>
                </a:rPr>
                <a:t>Improved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production</a:t>
              </a:r>
              <a:r>
                <a:rPr lang="en-US" sz="1500" dirty="0"/>
                <a:t> so the country is </a:t>
              </a:r>
              <a:r>
                <a:rPr lang="en-US" sz="1500" b="1" dirty="0">
                  <a:solidFill>
                    <a:schemeClr val="tx2"/>
                  </a:solidFill>
                </a:rPr>
                <a:t>food secure and self-sufficient </a:t>
              </a:r>
              <a:r>
                <a:rPr lang="en-US" sz="1500" dirty="0"/>
                <a:t>in the region</a:t>
              </a:r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endParaRPr lang="en-US" sz="800" b="1" dirty="0">
                <a:solidFill>
                  <a:schemeClr val="tx2"/>
                </a:solidFill>
              </a:endParaRPr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500" b="1" dirty="0">
                  <a:solidFill>
                    <a:schemeClr val="tx2"/>
                  </a:solidFill>
                </a:rPr>
                <a:t>Improved health and nutrition </a:t>
              </a:r>
              <a:r>
                <a:rPr lang="en-US" sz="1500" dirty="0"/>
                <a:t>across the country</a:t>
              </a:r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endParaRPr lang="en-US" sz="800" dirty="0"/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500" dirty="0"/>
                <a:t>Agriculture as an alternative </a:t>
              </a:r>
              <a:r>
                <a:rPr lang="en-US" sz="1500" b="1" dirty="0">
                  <a:solidFill>
                    <a:schemeClr val="tx2"/>
                  </a:solidFill>
                </a:rPr>
                <a:t>economic engine </a:t>
              </a:r>
              <a:r>
                <a:rPr lang="en-US" sz="1500" dirty="0"/>
                <a:t>complementing oil and gas</a:t>
              </a:r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endParaRPr lang="en-US" sz="800" b="1" dirty="0">
                <a:solidFill>
                  <a:schemeClr val="tx2"/>
                </a:solidFill>
              </a:endParaRPr>
            </a:p>
            <a:p>
              <a:pPr>
                <a:spcAft>
                  <a:spcPts val="500"/>
                </a:spcAft>
                <a:buFont typeface="Wingdings" pitchFamily="2" charset="2"/>
                <a:buChar char="Ø"/>
              </a:pPr>
              <a:r>
                <a:rPr lang="en-US" sz="1500" b="1" dirty="0">
                  <a:solidFill>
                    <a:schemeClr val="tx2"/>
                  </a:solidFill>
                </a:rPr>
                <a:t>Increased</a:t>
              </a:r>
              <a:r>
                <a:rPr lang="en-US" sz="1500" dirty="0"/>
                <a:t> </a:t>
              </a:r>
              <a:r>
                <a:rPr lang="en-US" sz="1500" b="1" dirty="0">
                  <a:solidFill>
                    <a:schemeClr val="tx2"/>
                  </a:solidFill>
                </a:rPr>
                <a:t>incomes</a:t>
              </a:r>
              <a:r>
                <a:rPr lang="en-US" sz="1500" dirty="0"/>
                <a:t> for &gt;80% of the population</a:t>
              </a:r>
            </a:p>
          </p:txBody>
        </p:sp>
        <p:sp>
          <p:nvSpPr>
            <p:cNvPr id="28" name="Rectangle 7"/>
            <p:cNvSpPr txBox="1"/>
            <p:nvPr>
              <p:custDataLst>
                <p:tags r:id="rId10"/>
              </p:custDataLst>
            </p:nvPr>
          </p:nvSpPr>
          <p:spPr>
            <a:xfrm>
              <a:off x="286454" y="1021725"/>
              <a:ext cx="3128550" cy="4616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63500" dist="38099" dir="2700000" algn="ctr" rotWithShape="0">
                      <a:schemeClr val="bg2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900" lvl="0" indent="-342900" defTabSz="895350" eaLnBrk="0" hangingPunct="0">
                <a:buClr>
                  <a:schemeClr val="tx2"/>
                </a:buClr>
                <a:defRPr kumimoji="1">
                  <a:latin typeface="+mn-lt"/>
                  <a:cs typeface="ＭＳ Ｐゴシック" charset="0"/>
                </a:defRPr>
              </a:lvl1pPr>
              <a:lvl2pPr marL="193675" lvl="1" indent="-192088" defTabSz="895350" eaLnBrk="0" hangingPunct="0">
                <a:buClr>
                  <a:schemeClr val="tx2"/>
                </a:buClr>
                <a:buSzPct val="125000"/>
                <a:buFont typeface="Arial" pitchFamily="34" charset="0"/>
                <a:buChar char="▪"/>
                <a:defRPr kumimoji="1">
                  <a:latin typeface="+mn-lt"/>
                </a:defRPr>
              </a:lvl2pPr>
              <a:lvl3pPr marL="457200" lvl="2" indent="-261938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–"/>
                <a:defRPr kumimoji="1">
                  <a:latin typeface="+mn-lt"/>
                </a:defRPr>
              </a:lvl3pPr>
              <a:lvl4pPr marL="614363" lvl="3" indent="-155575" defTabSz="895350" eaLnBrk="0" hangingPunct="0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kumimoji="1">
                  <a:latin typeface="+mn-lt"/>
                </a:defRPr>
              </a:lvl4pPr>
              <a:lvl5pPr marL="746125" lvl="4" indent="-130175" defTabSz="895350" eaLnBrk="0" hangingPunct="0">
                <a:buClr>
                  <a:schemeClr val="tx2"/>
                </a:buClr>
                <a:buSzPct val="89000"/>
                <a:buFont typeface="Arial" pitchFamily="34" charset="0"/>
                <a:buChar char="-"/>
                <a:defRPr kumimoji="1">
                  <a:latin typeface="+mn-lt"/>
                </a:defRPr>
              </a:lvl5pPr>
              <a:lvl6pPr marL="12033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16605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21177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2574925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0" indent="0"/>
              <a:r>
                <a:rPr lang="en-US" sz="1500" b="1" dirty="0">
                  <a:solidFill>
                    <a:schemeClr val="tx2"/>
                  </a:solidFill>
                </a:rPr>
                <a:t>South Sudan has a vision for a transformed agricultural sector</a:t>
              </a:r>
              <a:endParaRPr lang="en-US" sz="1500" dirty="0"/>
            </a:p>
          </p:txBody>
        </p:sp>
        <p:cxnSp>
          <p:nvCxnSpPr>
            <p:cNvPr id="3" name="Straight Connector 2"/>
            <p:cNvCxnSpPr/>
            <p:nvPr>
              <p:custDataLst>
                <p:tags r:id="rId11"/>
              </p:custDataLst>
            </p:nvPr>
          </p:nvCxnSpPr>
          <p:spPr>
            <a:xfrm>
              <a:off x="286017" y="1568259"/>
              <a:ext cx="3048585" cy="0"/>
            </a:xfrm>
            <a:prstGeom prst="line">
              <a:avLst/>
            </a:prstGeom>
            <a:ln w="381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2514746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2888860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6043950" y="2037745"/>
            <a:ext cx="2583656" cy="3099504"/>
          </a:xfrm>
          <a:prstGeom prst="rect">
            <a:avLst/>
          </a:prstGeom>
          <a:noFill/>
          <a:ln w="19050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Pentagon 2"/>
          <p:cNvSpPr/>
          <p:nvPr>
            <p:custDataLst>
              <p:tags r:id="rId3"/>
            </p:custDataLst>
          </p:nvPr>
        </p:nvSpPr>
        <p:spPr>
          <a:xfrm>
            <a:off x="119062" y="944581"/>
            <a:ext cx="5955368" cy="5526741"/>
          </a:xfrm>
          <a:prstGeom prst="homePlate">
            <a:avLst>
              <a:gd name="adj" fmla="val 4369"/>
            </a:avLst>
          </a:prstGeom>
          <a:solidFill>
            <a:srgbClr val="C9E7A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" name="Rectangle 6"/>
          <p:cNvSpPr txBox="1"/>
          <p:nvPr>
            <p:custDataLst>
              <p:tags r:id="rId4"/>
            </p:custDataLst>
          </p:nvPr>
        </p:nvSpPr>
        <p:spPr>
          <a:xfrm>
            <a:off x="344091" y="1094852"/>
            <a:ext cx="258365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What will it take?</a:t>
            </a:r>
            <a:endParaRPr lang="en-US" dirty="0"/>
          </a:p>
        </p:txBody>
      </p:sp>
      <p:sp>
        <p:nvSpPr>
          <p:cNvPr id="23" name="Rectangle 6"/>
          <p:cNvSpPr txBox="1"/>
          <p:nvPr>
            <p:custDataLst>
              <p:tags r:id="rId5"/>
            </p:custDataLst>
          </p:nvPr>
        </p:nvSpPr>
        <p:spPr>
          <a:xfrm>
            <a:off x="6252430" y="2309581"/>
            <a:ext cx="2375175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4"/>
                </a:solidFill>
              </a:rPr>
              <a:t>What will be created?</a:t>
            </a:r>
            <a:endParaRPr lang="en-US" dirty="0">
              <a:solidFill>
                <a:schemeClr val="accent4"/>
              </a:solidFill>
            </a:endParaRPr>
          </a:p>
        </p:txBody>
      </p:sp>
      <p:sp>
        <p:nvSpPr>
          <p:cNvPr id="24" name="Rectangle 6"/>
          <p:cNvSpPr txBox="1"/>
          <p:nvPr>
            <p:custDataLst>
              <p:tags r:id="rId6"/>
            </p:custDataLst>
          </p:nvPr>
        </p:nvSpPr>
        <p:spPr>
          <a:xfrm>
            <a:off x="6233984" y="3059512"/>
            <a:ext cx="2165022" cy="172354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b="1" dirty="0">
                <a:solidFill>
                  <a:schemeClr val="accent4"/>
                </a:solidFill>
              </a:rPr>
              <a:t>Private sector entrepreneurs </a:t>
            </a:r>
            <a:r>
              <a:rPr lang="en-US" dirty="0">
                <a:solidFill>
                  <a:schemeClr val="accent4"/>
                </a:solidFill>
              </a:rPr>
              <a:t>that are </a:t>
            </a:r>
            <a:r>
              <a:rPr lang="en-US" b="1" dirty="0">
                <a:solidFill>
                  <a:schemeClr val="accent4"/>
                </a:solidFill>
              </a:rPr>
              <a:t>able to connect with smallholder farmers and </a:t>
            </a:r>
            <a:r>
              <a:rPr lang="en-US" b="1" dirty="0" err="1">
                <a:solidFill>
                  <a:schemeClr val="accent4"/>
                </a:solidFill>
              </a:rPr>
              <a:t>FBOs</a:t>
            </a:r>
            <a:r>
              <a:rPr lang="en-US" b="1" dirty="0">
                <a:solidFill>
                  <a:schemeClr val="accent4"/>
                </a:solidFill>
              </a:rPr>
              <a:t> </a:t>
            </a:r>
            <a:r>
              <a:rPr lang="en-US" dirty="0">
                <a:solidFill>
                  <a:schemeClr val="accent4"/>
                </a:solidFill>
              </a:rPr>
              <a:t>and</a:t>
            </a:r>
            <a:r>
              <a:rPr lang="en-US" b="1" dirty="0">
                <a:solidFill>
                  <a:schemeClr val="accent4"/>
                </a:solidFill>
              </a:rPr>
              <a:t> create sustainable linkages </a:t>
            </a:r>
            <a:r>
              <a:rPr lang="en-US" dirty="0">
                <a:solidFill>
                  <a:schemeClr val="accent4"/>
                </a:solidFill>
              </a:rPr>
              <a:t>along the value chain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344091" y="1458488"/>
            <a:ext cx="494060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6233984" y="2783777"/>
            <a:ext cx="2165022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11"/>
          <p:cNvGrpSpPr/>
          <p:nvPr/>
        </p:nvGrpSpPr>
        <p:grpSpPr>
          <a:xfrm>
            <a:off x="320731" y="1566064"/>
            <a:ext cx="4963963" cy="1017459"/>
            <a:chOff x="320731" y="1566064"/>
            <a:chExt cx="4963963" cy="1017459"/>
          </a:xfrm>
        </p:grpSpPr>
        <p:sp>
          <p:nvSpPr>
            <p:cNvPr id="18" name="Rectangle 6"/>
            <p:cNvSpPr txBox="1">
              <a:spLocks/>
            </p:cNvSpPr>
            <p:nvPr>
              <p:custDataLst>
                <p:tags r:id="rId16"/>
              </p:custDataLst>
            </p:nvPr>
          </p:nvSpPr>
          <p:spPr>
            <a:xfrm>
              <a:off x="1128712" y="1566064"/>
              <a:ext cx="4155982" cy="984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dirty="0"/>
                <a:t>Establish clear expectations and contracts with entrepreneurs </a:t>
              </a:r>
              <a:r>
                <a:rPr lang="en-US" b="1" dirty="0"/>
                <a:t>detailing support, performance targets, and consequences for management failure</a:t>
              </a:r>
            </a:p>
          </p:txBody>
        </p:sp>
        <p:sp>
          <p:nvSpPr>
            <p:cNvPr id="28" name="Rectangle 27"/>
            <p:cNvSpPr/>
            <p:nvPr>
              <p:custDataLst>
                <p:tags r:id="rId17"/>
              </p:custDataLst>
            </p:nvPr>
          </p:nvSpPr>
          <p:spPr>
            <a:xfrm>
              <a:off x="371475" y="1903038"/>
              <a:ext cx="352425" cy="3524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29" name="Rectangle 142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gray">
            <a:xfrm>
              <a:off x="320731" y="1660193"/>
              <a:ext cx="508630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03384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Wingdings" pitchFamily="2" charset="2"/>
                </a:rPr>
                <a:t>ü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320731" y="2866349"/>
            <a:ext cx="5511108" cy="923330"/>
            <a:chOff x="320731" y="2705976"/>
            <a:chExt cx="5511108" cy="923330"/>
          </a:xfrm>
        </p:grpSpPr>
        <p:sp>
          <p:nvSpPr>
            <p:cNvPr id="22" name="Rectangle 6"/>
            <p:cNvSpPr txBox="1">
              <a:spLocks/>
            </p:cNvSpPr>
            <p:nvPr>
              <p:custDataLst>
                <p:tags r:id="rId14"/>
              </p:custDataLst>
            </p:nvPr>
          </p:nvSpPr>
          <p:spPr>
            <a:xfrm>
              <a:off x="1128712" y="2764435"/>
              <a:ext cx="4703127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dirty="0"/>
                <a:t>Provide </a:t>
              </a:r>
              <a:r>
                <a:rPr lang="en-US" b="1" dirty="0"/>
                <a:t>ongoing training to each entrepreneur on business and technical management </a:t>
              </a:r>
              <a:r>
                <a:rPr lang="en-US" dirty="0"/>
                <a:t>(e.g. accounting, marketing, warehouse cleaning)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71475" y="2969141"/>
              <a:ext cx="352425" cy="3524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3" name="Rectangle 142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320731" y="2705976"/>
              <a:ext cx="508630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03384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Wingdings" pitchFamily="2" charset="2"/>
                </a:rPr>
                <a:t>ü</a:t>
              </a:r>
            </a:p>
          </p:txBody>
        </p:sp>
      </p:grpSp>
      <p:cxnSp>
        <p:nvCxnSpPr>
          <p:cNvPr id="36" name="Straight Connector 35"/>
          <p:cNvCxnSpPr/>
          <p:nvPr/>
        </p:nvCxnSpPr>
        <p:spPr>
          <a:xfrm>
            <a:off x="344091" y="2724936"/>
            <a:ext cx="494060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320731" y="4072505"/>
            <a:ext cx="5622869" cy="923330"/>
            <a:chOff x="320731" y="3509542"/>
            <a:chExt cx="5622869" cy="923330"/>
          </a:xfrm>
        </p:grpSpPr>
        <p:cxnSp>
          <p:nvCxnSpPr>
            <p:cNvPr id="40" name="Straight Connector 39"/>
            <p:cNvCxnSpPr/>
            <p:nvPr>
              <p:custDataLst>
                <p:tags r:id="rId11"/>
              </p:custDataLst>
            </p:nvPr>
          </p:nvCxnSpPr>
          <p:spPr>
            <a:xfrm>
              <a:off x="344091" y="4342498"/>
              <a:ext cx="4940603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8" name="Rectangle 37"/>
            <p:cNvSpPr/>
            <p:nvPr/>
          </p:nvSpPr>
          <p:spPr>
            <a:xfrm>
              <a:off x="371475" y="3772707"/>
              <a:ext cx="352425" cy="3524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39" name="Rectangle 142"/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320731" y="3509542"/>
              <a:ext cx="508630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03384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Wingdings" pitchFamily="2" charset="2"/>
                </a:rPr>
                <a:t>ü</a:t>
              </a:r>
            </a:p>
          </p:txBody>
        </p:sp>
        <p:sp>
          <p:nvSpPr>
            <p:cNvPr id="41" name="Rectangle 6"/>
            <p:cNvSpPr txBox="1">
              <a:spLocks/>
            </p:cNvSpPr>
            <p:nvPr>
              <p:custDataLst>
                <p:tags r:id="rId13"/>
              </p:custDataLst>
            </p:nvPr>
          </p:nvSpPr>
          <p:spPr>
            <a:xfrm>
              <a:off x="1128712" y="3695969"/>
              <a:ext cx="4814888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b="1" dirty="0"/>
                <a:t>Connect entrepreneurs with service support </a:t>
              </a:r>
              <a:r>
                <a:rPr lang="en-US" dirty="0"/>
                <a:t>(e.g. mechanics for tractors &amp; mills, warehouse suppliers)</a:t>
              </a:r>
            </a:p>
          </p:txBody>
        </p:sp>
      </p:grpSp>
      <p:cxnSp>
        <p:nvCxnSpPr>
          <p:cNvPr id="42" name="Straight Connector 41"/>
          <p:cNvCxnSpPr/>
          <p:nvPr>
            <p:custDataLst>
              <p:tags r:id="rId7"/>
            </p:custDataLst>
          </p:nvPr>
        </p:nvCxnSpPr>
        <p:spPr>
          <a:xfrm>
            <a:off x="344091" y="3931092"/>
            <a:ext cx="4940603" cy="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320731" y="5137249"/>
            <a:ext cx="5273245" cy="997471"/>
            <a:chOff x="320731" y="4403307"/>
            <a:chExt cx="5273245" cy="997471"/>
          </a:xfrm>
        </p:grpSpPr>
        <p:sp>
          <p:nvSpPr>
            <p:cNvPr id="43" name="Rectangle 6"/>
            <p:cNvSpPr txBox="1">
              <a:spLocks/>
            </p:cNvSpPr>
            <p:nvPr>
              <p:custDataLst>
                <p:tags r:id="rId9"/>
              </p:custDataLst>
            </p:nvPr>
          </p:nvSpPr>
          <p:spPr>
            <a:xfrm>
              <a:off x="1128712" y="4415893"/>
              <a:ext cx="4465264" cy="9848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b="1" dirty="0"/>
                <a:t>Connect entrepreneurs to smallholder farmer groups </a:t>
              </a:r>
              <a:r>
                <a:rPr lang="en-US" dirty="0"/>
                <a:t>to help groups to grow and ensure businesses have a market for their services</a:t>
              </a:r>
            </a:p>
            <a:p>
              <a:pPr marL="1587" lvl="1" indent="0">
                <a:buNone/>
              </a:pPr>
              <a:endParaRPr lang="en-US" dirty="0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371475" y="4646152"/>
              <a:ext cx="352425" cy="3524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>
                <a:solidFill>
                  <a:schemeClr val="tx1"/>
                </a:solidFill>
              </a:endParaRPr>
            </a:p>
          </p:txBody>
        </p:sp>
        <p:sp>
          <p:nvSpPr>
            <p:cNvPr id="45" name="Rectangle 142"/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gray">
            <a:xfrm>
              <a:off x="320731" y="4403307"/>
              <a:ext cx="508630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marL="0" marR="0" lvl="0" indent="0" defTabSz="803384" eaLnBrk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0" b="0" i="0" u="none" strike="noStrike" kern="0" cap="none" spc="0" normalizeH="0" baseline="0" noProof="0" dirty="0">
                  <a:ln>
                    <a:noFill/>
                  </a:ln>
                  <a:solidFill>
                    <a:srgbClr val="92D050"/>
                  </a:solidFill>
                  <a:effectLst/>
                  <a:uLnTx/>
                  <a:uFillTx/>
                  <a:latin typeface="Wingdings" pitchFamily="2" charset="2"/>
                </a:rPr>
                <a:t>ü</a:t>
              </a:r>
            </a:p>
          </p:txBody>
        </p:sp>
      </p:grpSp>
      <p:sp>
        <p:nvSpPr>
          <p:cNvPr id="48" name="Title 1"/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119063" y="230190"/>
            <a:ext cx="8618537" cy="292388"/>
          </a:xfrm>
        </p:spPr>
        <p:txBody>
          <a:bodyPr/>
          <a:lstStyle/>
          <a:p>
            <a:r>
              <a:rPr lang="en-US" dirty="0"/>
              <a:t>Key success factors for private sector </a:t>
            </a:r>
            <a:r>
              <a:rPr lang="en-US" dirty="0" err="1"/>
              <a:t>agro</a:t>
            </a:r>
            <a:r>
              <a:rPr lang="en-US" dirty="0"/>
              <a:t>-entrepreneurs</a:t>
            </a:r>
          </a:p>
        </p:txBody>
      </p:sp>
    </p:spTree>
    <p:extLst>
      <p:ext uri="{BB962C8B-B14F-4D97-AF65-F5344CB8AC3E}">
        <p14:creationId xmlns:p14="http://schemas.microsoft.com/office/powerpoint/2010/main" val="19205854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063" y="230190"/>
            <a:ext cx="8618537" cy="3016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dirty="0"/>
              <a:t>Increase agricultural output and value addition</a:t>
            </a:r>
            <a:endParaRPr lang="en-US" dirty="0"/>
          </a:p>
        </p:txBody>
      </p:sp>
      <p:sp>
        <p:nvSpPr>
          <p:cNvPr id="170" name="Rectangle 4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170005" y="912561"/>
            <a:ext cx="1175461" cy="1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Component</a:t>
            </a:r>
          </a:p>
        </p:txBody>
      </p:sp>
      <p:grpSp>
        <p:nvGrpSpPr>
          <p:cNvPr id="171" name="Group 170"/>
          <p:cNvGrpSpPr/>
          <p:nvPr>
            <p:custDataLst>
              <p:tags r:id="rId2"/>
            </p:custDataLst>
          </p:nvPr>
        </p:nvGrpSpPr>
        <p:grpSpPr>
          <a:xfrm>
            <a:off x="170005" y="1193863"/>
            <a:ext cx="2000539" cy="545534"/>
            <a:chOff x="123825" y="1290694"/>
            <a:chExt cx="2000539" cy="545534"/>
          </a:xfrm>
          <a:solidFill>
            <a:srgbClr val="C9E7A7"/>
          </a:solidFill>
        </p:grpSpPr>
        <p:sp>
          <p:nvSpPr>
            <p:cNvPr id="172" name="Rectangle 121"/>
            <p:cNvSpPr txBox="1">
              <a:spLocks/>
            </p:cNvSpPr>
            <p:nvPr>
              <p:custDataLst>
                <p:tags r:id="rId34"/>
              </p:custDataLst>
            </p:nvPr>
          </p:nvSpPr>
          <p:spPr bwMode="gray">
            <a:xfrm>
              <a:off x="123825" y="1290694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Warehouse operator</a:t>
              </a:r>
            </a:p>
          </p:txBody>
        </p:sp>
        <p:pic>
          <p:nvPicPr>
            <p:cNvPr id="173" name="Picture 15"/>
            <p:cNvPicPr>
              <a:picLocks noChangeArrowheads="1"/>
            </p:cNvPicPr>
            <p:nvPr>
              <p:custDataLst>
                <p:tags r:id="rId35"/>
              </p:custDataLst>
            </p:nvPr>
          </p:nvPicPr>
          <p:blipFill>
            <a:blip r:embed="rId3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011" y="1311503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74" name="Group 173"/>
          <p:cNvGrpSpPr/>
          <p:nvPr>
            <p:custDataLst>
              <p:tags r:id="rId3"/>
            </p:custDataLst>
          </p:nvPr>
        </p:nvGrpSpPr>
        <p:grpSpPr>
          <a:xfrm>
            <a:off x="103765" y="1892448"/>
            <a:ext cx="2216648" cy="545534"/>
            <a:chOff x="57585" y="2107395"/>
            <a:chExt cx="2216648" cy="545534"/>
          </a:xfrm>
          <a:solidFill>
            <a:srgbClr val="C9E7A7"/>
          </a:solidFill>
        </p:grpSpPr>
        <p:sp>
          <p:nvSpPr>
            <p:cNvPr id="175" name="Rectangle 121"/>
            <p:cNvSpPr txBox="1"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123825" y="2107395"/>
              <a:ext cx="2150408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Tractor/Bulldozer hire</a:t>
              </a:r>
            </a:p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rgbClr val="C00000"/>
                  </a:solidFill>
                  <a:cs typeface="Arial" charset="0"/>
                </a:rPr>
                <a:t>Animal traction</a:t>
              </a:r>
            </a:p>
          </p:txBody>
        </p:sp>
        <p:pic>
          <p:nvPicPr>
            <p:cNvPr id="176" name="Picture 20" descr="http://www.new-ag.info/image/09/04/poi783_5.jpg"/>
            <p:cNvPicPr>
              <a:picLocks noChangeArrowheads="1"/>
            </p:cNvPicPr>
            <p:nvPr>
              <p:custDataLst>
                <p:tags r:id="rId33"/>
              </p:custDataLst>
            </p:nvPr>
          </p:nvPicPr>
          <p:blipFill>
            <a:blip r:embed="rId3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7585" y="2149013"/>
              <a:ext cx="887690" cy="503916"/>
            </a:xfrm>
            <a:prstGeom prst="rect">
              <a:avLst/>
            </a:prstGeom>
            <a:grpFill/>
            <a:ln w="9525">
              <a:noFill/>
            </a:ln>
          </p:spPr>
        </p:pic>
      </p:grpSp>
      <p:grpSp>
        <p:nvGrpSpPr>
          <p:cNvPr id="177" name="Group 176"/>
          <p:cNvGrpSpPr/>
          <p:nvPr>
            <p:custDataLst>
              <p:tags r:id="rId4"/>
            </p:custDataLst>
          </p:nvPr>
        </p:nvGrpSpPr>
        <p:grpSpPr>
          <a:xfrm>
            <a:off x="170005" y="2591033"/>
            <a:ext cx="2000539" cy="545534"/>
            <a:chOff x="123825" y="2913215"/>
            <a:chExt cx="2000539" cy="545534"/>
          </a:xfrm>
          <a:solidFill>
            <a:srgbClr val="C9E7A7"/>
          </a:solidFill>
        </p:grpSpPr>
        <p:sp>
          <p:nvSpPr>
            <p:cNvPr id="178" name="Rectangle 121"/>
            <p:cNvSpPr txBox="1"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123825" y="2913215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Processors</a:t>
              </a:r>
            </a:p>
          </p:txBody>
        </p:sp>
        <p:pic>
          <p:nvPicPr>
            <p:cNvPr id="179" name="Picture 70"/>
            <p:cNvPicPr>
              <a:picLocks noChangeArrowheads="1"/>
            </p:cNvPicPr>
            <p:nvPr>
              <p:custDataLst>
                <p:tags r:id="rId31"/>
              </p:custDataLst>
            </p:nvPr>
          </p:nvPicPr>
          <p:blipFill>
            <a:blip r:embed="rId3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011" y="2934024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0" name="Group 179"/>
          <p:cNvGrpSpPr/>
          <p:nvPr>
            <p:custDataLst>
              <p:tags r:id="rId5"/>
            </p:custDataLst>
          </p:nvPr>
        </p:nvGrpSpPr>
        <p:grpSpPr>
          <a:xfrm>
            <a:off x="170005" y="3289618"/>
            <a:ext cx="2000539" cy="545534"/>
            <a:chOff x="123825" y="3719035"/>
            <a:chExt cx="2000539" cy="545534"/>
          </a:xfrm>
          <a:solidFill>
            <a:srgbClr val="C9E7A7"/>
          </a:solidFill>
        </p:grpSpPr>
        <p:sp>
          <p:nvSpPr>
            <p:cNvPr id="181" name="Rectangle 121"/>
            <p:cNvSpPr txBox="1"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123825" y="3719035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Seed dealers</a:t>
              </a:r>
            </a:p>
          </p:txBody>
        </p:sp>
        <p:pic>
          <p:nvPicPr>
            <p:cNvPr id="182" name="Picture 13"/>
            <p:cNvPicPr>
              <a:picLocks noChangeArrowheads="1"/>
            </p:cNvPicPr>
            <p:nvPr>
              <p:custDataLst>
                <p:tags r:id="rId29"/>
              </p:custDataLst>
            </p:nvPr>
          </p:nvPicPr>
          <p:blipFill>
            <a:blip r:embed="rId4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011" y="3739844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3" name="Group 182"/>
          <p:cNvGrpSpPr/>
          <p:nvPr>
            <p:custDataLst>
              <p:tags r:id="rId6"/>
            </p:custDataLst>
          </p:nvPr>
        </p:nvGrpSpPr>
        <p:grpSpPr>
          <a:xfrm>
            <a:off x="170005" y="4686788"/>
            <a:ext cx="2000539" cy="545534"/>
            <a:chOff x="123825" y="4927766"/>
            <a:chExt cx="2000539" cy="545534"/>
          </a:xfrm>
          <a:solidFill>
            <a:srgbClr val="C9E7A7"/>
          </a:solidFill>
        </p:grpSpPr>
        <p:sp>
          <p:nvSpPr>
            <p:cNvPr id="184" name="Rectangle 121"/>
            <p:cNvSpPr txBox="1">
              <a:spLocks/>
            </p:cNvSpPr>
            <p:nvPr>
              <p:custDataLst>
                <p:tags r:id="rId26"/>
              </p:custDataLst>
            </p:nvPr>
          </p:nvSpPr>
          <p:spPr bwMode="gray">
            <a:xfrm>
              <a:off x="123825" y="4927766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Extension</a:t>
              </a:r>
            </a:p>
          </p:txBody>
        </p:sp>
        <p:pic>
          <p:nvPicPr>
            <p:cNvPr id="185" name="Picture 11"/>
            <p:cNvPicPr>
              <a:picLocks noChangeArrowheads="1"/>
            </p:cNvPicPr>
            <p:nvPr>
              <p:custDataLst>
                <p:tags r:id="rId27"/>
              </p:custDataLst>
            </p:nvPr>
          </p:nvPicPr>
          <p:blipFill>
            <a:blip r:embed="rId4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1011" y="4948575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6" name="Group 185"/>
          <p:cNvGrpSpPr/>
          <p:nvPr>
            <p:custDataLst>
              <p:tags r:id="rId7"/>
            </p:custDataLst>
          </p:nvPr>
        </p:nvGrpSpPr>
        <p:grpSpPr>
          <a:xfrm>
            <a:off x="170005" y="5385373"/>
            <a:ext cx="2000539" cy="545534"/>
            <a:chOff x="123825" y="5537578"/>
            <a:chExt cx="2000539" cy="545534"/>
          </a:xfrm>
          <a:solidFill>
            <a:srgbClr val="C9E7A7"/>
          </a:solidFill>
        </p:grpSpPr>
        <p:sp>
          <p:nvSpPr>
            <p:cNvPr id="187" name="Rectangle 121"/>
            <p:cNvSpPr txBox="1"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123825" y="5537578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Infra-structure </a:t>
              </a:r>
            </a:p>
          </p:txBody>
        </p:sp>
        <p:pic>
          <p:nvPicPr>
            <p:cNvPr id="188" name="Picture 15"/>
            <p:cNvPicPr>
              <a:picLocks noChangeArrowheads="1"/>
            </p:cNvPicPr>
            <p:nvPr>
              <p:custDataLst>
                <p:tags r:id="rId25"/>
              </p:custDataLst>
            </p:nvPr>
          </p:nvPicPr>
          <p:blipFill rotWithShape="1">
            <a:blip r:embed="rId4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gray">
            <a:xfrm>
              <a:off x="141011" y="5558387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89" name="Group 188"/>
          <p:cNvGrpSpPr/>
          <p:nvPr>
            <p:custDataLst>
              <p:tags r:id="rId8"/>
            </p:custDataLst>
          </p:nvPr>
        </p:nvGrpSpPr>
        <p:grpSpPr>
          <a:xfrm>
            <a:off x="170005" y="3988203"/>
            <a:ext cx="2000539" cy="545534"/>
            <a:chOff x="123825" y="4328842"/>
            <a:chExt cx="2000539" cy="545534"/>
          </a:xfrm>
          <a:solidFill>
            <a:srgbClr val="C9E7A7"/>
          </a:solidFill>
        </p:grpSpPr>
        <p:sp>
          <p:nvSpPr>
            <p:cNvPr id="190" name="Rectangle 121"/>
            <p:cNvSpPr txBox="1">
              <a:spLocks/>
            </p:cNvSpPr>
            <p:nvPr>
              <p:custDataLst>
                <p:tags r:id="rId22"/>
              </p:custDataLst>
            </p:nvPr>
          </p:nvSpPr>
          <p:spPr bwMode="gray">
            <a:xfrm>
              <a:off x="123825" y="4328842"/>
              <a:ext cx="2000539" cy="545534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885825" lvl="0" indent="0" defTabSz="895350" eaLnBrk="1" hangingPunct="1">
                <a:buClr>
                  <a:schemeClr val="tx2"/>
                </a:buClr>
                <a:defRPr sz="1300" b="1" baseline="0">
                  <a:solidFill>
                    <a:schemeClr val="tx2"/>
                  </a:solidFill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en-US" dirty="0">
                  <a:solidFill>
                    <a:schemeClr val="accent4"/>
                  </a:solidFill>
                  <a:cs typeface="Arial" charset="0"/>
                </a:rPr>
                <a:t>Private association</a:t>
              </a:r>
            </a:p>
          </p:txBody>
        </p:sp>
        <p:pic>
          <p:nvPicPr>
            <p:cNvPr id="191" name="Picture 2" descr="http://www.oxfamblogs.org/eastafrica/wp-content/uploads/2010/09/Sudan13793483.jpg"/>
            <p:cNvPicPr>
              <a:picLocks noChangeArrowheads="1"/>
            </p:cNvPicPr>
            <p:nvPr>
              <p:custDataLst>
                <p:tags r:id="rId23"/>
              </p:custDataLst>
            </p:nvPr>
          </p:nvPicPr>
          <p:blipFill>
            <a:blip r:embed="rId4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41011" y="4349651"/>
              <a:ext cx="887690" cy="503916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</p:pic>
      </p:grpSp>
      <p:cxnSp>
        <p:nvCxnSpPr>
          <p:cNvPr id="196" name="Straight Connector 195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6458939" y="639726"/>
            <a:ext cx="2321334" cy="0"/>
          </a:xfrm>
          <a:prstGeom prst="line">
            <a:avLst/>
          </a:prstGeom>
          <a:ln w="9525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7" name="Rectangle 196"/>
          <p:cNvSpPr/>
          <p:nvPr>
            <p:custDataLst>
              <p:tags r:id="rId10"/>
            </p:custDataLst>
          </p:nvPr>
        </p:nvSpPr>
        <p:spPr>
          <a:xfrm>
            <a:off x="2160643" y="1130101"/>
            <a:ext cx="6699003" cy="5153891"/>
          </a:xfrm>
          <a:prstGeom prst="rect">
            <a:avLst/>
          </a:prstGeom>
          <a:solidFill>
            <a:schemeClr val="bg1"/>
          </a:solidFill>
          <a:ln w="19050">
            <a:solidFill>
              <a:srgbClr val="C9E7A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98" name="Rectangle 4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2213557" y="912561"/>
            <a:ext cx="4347263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Major activities (over 3 years)</a:t>
            </a:r>
          </a:p>
        </p:txBody>
      </p:sp>
      <p:cxnSp>
        <p:nvCxnSpPr>
          <p:cNvPr id="199" name="Straight Connector 198"/>
          <p:cNvCxnSpPr>
            <a:cxnSpLocks/>
          </p:cNvCxnSpPr>
          <p:nvPr>
            <p:custDataLst>
              <p:tags r:id="rId12"/>
            </p:custDataLst>
          </p:nvPr>
        </p:nvCxnSpPr>
        <p:spPr>
          <a:xfrm>
            <a:off x="1302904" y="1845799"/>
            <a:ext cx="7551895" cy="0"/>
          </a:xfrm>
          <a:prstGeom prst="line">
            <a:avLst/>
          </a:prstGeom>
          <a:ln>
            <a:solidFill>
              <a:schemeClr val="accent6">
                <a:lumMod val="20000"/>
                <a:lumOff val="8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>
            <a:cxnSpLocks/>
          </p:cNvCxnSpPr>
          <p:nvPr>
            <p:custDataLst>
              <p:tags r:id="rId13"/>
            </p:custDataLst>
          </p:nvPr>
        </p:nvCxnSpPr>
        <p:spPr>
          <a:xfrm>
            <a:off x="2213557" y="1863243"/>
            <a:ext cx="659793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2213557" y="3260413"/>
            <a:ext cx="659793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2213557" y="3958998"/>
            <a:ext cx="659793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4" name="Straight Connector 203"/>
          <p:cNvCxnSpPr>
            <a:cxnSpLocks/>
          </p:cNvCxnSpPr>
          <p:nvPr/>
        </p:nvCxnSpPr>
        <p:spPr>
          <a:xfrm>
            <a:off x="2213557" y="5356168"/>
            <a:ext cx="6597934" cy="0"/>
          </a:xfrm>
          <a:prstGeom prst="line">
            <a:avLst/>
          </a:prstGeom>
          <a:ln w="19050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4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7316799" y="5385373"/>
            <a:ext cx="60561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0</a:t>
            </a:r>
          </a:p>
        </p:txBody>
      </p:sp>
      <p:cxnSp>
        <p:nvCxnSpPr>
          <p:cNvPr id="226" name="Straight Connector 225"/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2213557" y="5960108"/>
            <a:ext cx="6597934" cy="0"/>
          </a:xfrm>
          <a:prstGeom prst="line">
            <a:avLst/>
          </a:prstGeom>
          <a:ln w="19050">
            <a:solidFill>
              <a:srgbClr val="00B050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9" name="Rectangle 121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213557" y="5994663"/>
            <a:ext cx="3883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Total</a:t>
            </a:r>
          </a:p>
        </p:txBody>
      </p:sp>
      <p:sp>
        <p:nvSpPr>
          <p:cNvPr id="232" name="Rectangle 30"/>
          <p:cNvSpPr txBox="1">
            <a:spLocks/>
          </p:cNvSpPr>
          <p:nvPr/>
        </p:nvSpPr>
        <p:spPr>
          <a:xfrm>
            <a:off x="2213557" y="1193863"/>
            <a:ext cx="4347263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Establish/train 35 warehouse operators to purchase locally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Construct 40 500MT warehouses and equipment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Start-up capital for seasonal </a:t>
            </a:r>
            <a:r>
              <a:rPr lang="en-US" sz="1300" dirty="0" err="1">
                <a:solidFill>
                  <a:srgbClr val="000000"/>
                </a:solidFill>
                <a:cs typeface="Arial" charset="0"/>
              </a:rPr>
              <a:t>offtake</a:t>
            </a:r>
            <a:r>
              <a:rPr lang="en-US" sz="1300" dirty="0">
                <a:solidFill>
                  <a:srgbClr val="000000"/>
                </a:solidFill>
                <a:cs typeface="Arial" charset="0"/>
              </a:rPr>
              <a:t> purchases</a:t>
            </a:r>
          </a:p>
        </p:txBody>
      </p:sp>
      <p:sp>
        <p:nvSpPr>
          <p:cNvPr id="233" name="Rectangle 32"/>
          <p:cNvSpPr txBox="1">
            <a:spLocks/>
          </p:cNvSpPr>
          <p:nvPr/>
        </p:nvSpPr>
        <p:spPr>
          <a:xfrm>
            <a:off x="2213557" y="1892448"/>
            <a:ext cx="4347263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Establish/train 24 mechanization providers across the state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Purchase 20 75hp 4-wheel tractors and 4-bulldozers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Ongoing fuel and maintenance</a:t>
            </a:r>
          </a:p>
        </p:txBody>
      </p:sp>
      <p:sp>
        <p:nvSpPr>
          <p:cNvPr id="234" name="Rectangle 34"/>
          <p:cNvSpPr txBox="1">
            <a:spLocks/>
          </p:cNvSpPr>
          <p:nvPr/>
        </p:nvSpPr>
        <p:spPr>
          <a:xfrm>
            <a:off x="2213557" y="2591033"/>
            <a:ext cx="4347263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Establish/train 20 processing operations focused on maize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Purchase 20 2MT/day maize mill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Construct 20 150MT stores near mills</a:t>
            </a:r>
          </a:p>
        </p:txBody>
      </p:sp>
      <p:sp>
        <p:nvSpPr>
          <p:cNvPr id="235" name="Rectangle 36"/>
          <p:cNvSpPr txBox="1">
            <a:spLocks/>
          </p:cNvSpPr>
          <p:nvPr/>
        </p:nvSpPr>
        <p:spPr>
          <a:xfrm>
            <a:off x="2213557" y="3289618"/>
            <a:ext cx="4347263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Establish/train 20 seed and input dealerships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Support 20 stores to start-up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Subsidize initial stock  of improved seed</a:t>
            </a:r>
          </a:p>
        </p:txBody>
      </p:sp>
      <p:sp>
        <p:nvSpPr>
          <p:cNvPr id="236" name="Rectangle 38"/>
          <p:cNvSpPr txBox="1">
            <a:spLocks/>
          </p:cNvSpPr>
          <p:nvPr/>
        </p:nvSpPr>
        <p:spPr>
          <a:xfrm>
            <a:off x="2213557" y="3988203"/>
            <a:ext cx="4587238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Organize/train 4 private associations to aggregate supply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Construct 4 1000MT warehouse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Purchase 4 20MT-capacity lorry</a:t>
            </a:r>
          </a:p>
        </p:txBody>
      </p:sp>
      <p:sp>
        <p:nvSpPr>
          <p:cNvPr id="237" name="Rectangle 40"/>
          <p:cNvSpPr txBox="1">
            <a:spLocks/>
          </p:cNvSpPr>
          <p:nvPr/>
        </p:nvSpPr>
        <p:spPr>
          <a:xfrm>
            <a:off x="2213557" y="4686788"/>
            <a:ext cx="4347263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ct val="10000"/>
              </a:spcBef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20 public extension agents reactivated to cover all </a:t>
            </a:r>
            <a:r>
              <a:rPr lang="en-US" sz="1300" i="1" dirty="0" err="1">
                <a:solidFill>
                  <a:srgbClr val="000000"/>
                </a:solidFill>
                <a:cs typeface="Arial" charset="0"/>
              </a:rPr>
              <a:t>payams</a:t>
            </a:r>
            <a:endParaRPr lang="en-US" sz="1300" i="1" dirty="0">
              <a:solidFill>
                <a:srgbClr val="000000"/>
              </a:solidFill>
              <a:cs typeface="Arial" charset="0"/>
            </a:endParaRP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Agent salary</a:t>
            </a:r>
          </a:p>
          <a:p>
            <a:pPr lvl="1">
              <a:spcBef>
                <a:spcPct val="10000"/>
              </a:spcBef>
              <a:buClr>
                <a:srgbClr val="002960"/>
              </a:buClr>
            </a:pPr>
            <a:r>
              <a:rPr lang="en-US" sz="1300" dirty="0">
                <a:solidFill>
                  <a:srgbClr val="000000"/>
                </a:solidFill>
                <a:cs typeface="Arial" charset="0"/>
              </a:rPr>
              <a:t>Motorcycle</a:t>
            </a:r>
          </a:p>
        </p:txBody>
      </p:sp>
      <p:sp>
        <p:nvSpPr>
          <p:cNvPr id="238" name="Rectangle 42"/>
          <p:cNvSpPr txBox="1">
            <a:spLocks/>
          </p:cNvSpPr>
          <p:nvPr/>
        </p:nvSpPr>
        <p:spPr>
          <a:xfrm>
            <a:off x="2213557" y="5385373"/>
            <a:ext cx="4347263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i="1" dirty="0">
                <a:solidFill>
                  <a:srgbClr val="000000"/>
                </a:solidFill>
                <a:cs typeface="Arial" charset="0"/>
              </a:rPr>
              <a:t>………. kilometers of trunk and feeder roads connected to the market</a:t>
            </a:r>
          </a:p>
        </p:txBody>
      </p:sp>
      <p:sp>
        <p:nvSpPr>
          <p:cNvPr id="77" name="Rectangle 7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7277750" y="727378"/>
            <a:ext cx="683712" cy="4027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Private/Farmer</a:t>
            </a:r>
          </a:p>
        </p:txBody>
      </p:sp>
      <p:sp>
        <p:nvSpPr>
          <p:cNvPr id="78" name="Rectangle 7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6458939" y="727378"/>
            <a:ext cx="683712" cy="40272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002960"/>
                </a:solidFill>
                <a:cs typeface="Arial" charset="0"/>
              </a:rPr>
              <a:t>Public/Donor</a:t>
            </a:r>
          </a:p>
        </p:txBody>
      </p:sp>
      <p:sp>
        <p:nvSpPr>
          <p:cNvPr id="79" name="Rectangle 7"/>
          <p:cNvSpPr txBox="1">
            <a:spLocks/>
          </p:cNvSpPr>
          <p:nvPr>
            <p:custDataLst>
              <p:tags r:id="rId21"/>
            </p:custDataLst>
          </p:nvPr>
        </p:nvSpPr>
        <p:spPr bwMode="gray">
          <a:xfrm>
            <a:off x="8096561" y="727378"/>
            <a:ext cx="683712" cy="40272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en-US" sz="1300" b="1" dirty="0">
                <a:solidFill>
                  <a:srgbClr val="FFFFFF"/>
                </a:solidFill>
                <a:cs typeface="Arial" charset="0"/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217212996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36790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0" imgW="360" imgH="360" progId="">
                  <p:embed/>
                </p:oleObj>
              </mc:Choice>
              <mc:Fallback>
                <p:oleObj name="think-cell Slide" r:id="rId90" imgW="360" imgH="360" progId="">
                  <p:embed/>
                  <p:pic>
                    <p:nvPicPr>
                      <p:cNvPr id="0" name="Picture 3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6" name="Rectangle 125"/>
          <p:cNvSpPr/>
          <p:nvPr>
            <p:custDataLst>
              <p:tags r:id="rId2"/>
            </p:custDataLst>
          </p:nvPr>
        </p:nvSpPr>
        <p:spPr>
          <a:xfrm>
            <a:off x="2530153" y="5544675"/>
            <a:ext cx="6268491" cy="374846"/>
          </a:xfrm>
          <a:prstGeom prst="rect">
            <a:avLst/>
          </a:prstGeom>
          <a:solidFill>
            <a:srgbClr val="D1ED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1" name="Rectangle 110"/>
          <p:cNvSpPr/>
          <p:nvPr>
            <p:custDataLst>
              <p:tags r:id="rId3"/>
            </p:custDataLst>
          </p:nvPr>
        </p:nvSpPr>
        <p:spPr>
          <a:xfrm>
            <a:off x="4103974" y="4152900"/>
            <a:ext cx="1538559" cy="295922"/>
          </a:xfrm>
          <a:prstGeom prst="rect">
            <a:avLst/>
          </a:prstGeom>
          <a:solidFill>
            <a:srgbClr val="D1ED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7" name="Rectangle 126"/>
          <p:cNvSpPr/>
          <p:nvPr>
            <p:custDataLst>
              <p:tags r:id="rId4"/>
            </p:custDataLst>
          </p:nvPr>
        </p:nvSpPr>
        <p:spPr>
          <a:xfrm>
            <a:off x="5686101" y="4152900"/>
            <a:ext cx="1538559" cy="295922"/>
          </a:xfrm>
          <a:prstGeom prst="rect">
            <a:avLst/>
          </a:prstGeom>
          <a:solidFill>
            <a:srgbClr val="D1ED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8" name="Rectangle 127"/>
          <p:cNvSpPr/>
          <p:nvPr>
            <p:custDataLst>
              <p:tags r:id="rId5"/>
            </p:custDataLst>
          </p:nvPr>
        </p:nvSpPr>
        <p:spPr>
          <a:xfrm>
            <a:off x="7260085" y="4152900"/>
            <a:ext cx="1538559" cy="295922"/>
          </a:xfrm>
          <a:prstGeom prst="rect">
            <a:avLst/>
          </a:prstGeom>
          <a:solidFill>
            <a:srgbClr val="D1ED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0" name="Rectangle 129"/>
          <p:cNvSpPr/>
          <p:nvPr>
            <p:custDataLst>
              <p:tags r:id="rId6"/>
            </p:custDataLst>
          </p:nvPr>
        </p:nvSpPr>
        <p:spPr>
          <a:xfrm>
            <a:off x="2530154" y="4152900"/>
            <a:ext cx="1538559" cy="295922"/>
          </a:xfrm>
          <a:prstGeom prst="rect">
            <a:avLst/>
          </a:prstGeom>
          <a:solidFill>
            <a:srgbClr val="D1EDFF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119063" y="230190"/>
            <a:ext cx="6734021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Year 1:</a:t>
            </a:r>
            <a:r>
              <a:rPr lang="en-GB" dirty="0"/>
              <a:t>Boost household food resilience through</a:t>
            </a:r>
            <a:r>
              <a:rPr lang="en-US" dirty="0"/>
              <a:t> Public/Donor investments</a:t>
            </a:r>
            <a:endParaRPr lang="en-ZA" dirty="0"/>
          </a:p>
        </p:txBody>
      </p:sp>
      <p:sp>
        <p:nvSpPr>
          <p:cNvPr id="94" name="Rectangle 94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416335" y="4650350"/>
            <a:ext cx="1045250" cy="20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Organizing</a:t>
            </a:r>
          </a:p>
        </p:txBody>
      </p:sp>
      <p:sp>
        <p:nvSpPr>
          <p:cNvPr id="96" name="Rectangle 96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1416335" y="5045118"/>
            <a:ext cx="1045250" cy="41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Infra-structure</a:t>
            </a:r>
          </a:p>
        </p:txBody>
      </p:sp>
      <p:sp>
        <p:nvSpPr>
          <p:cNvPr id="100" name="Rectangle 100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162794" y="4527074"/>
            <a:ext cx="1178162" cy="937721"/>
          </a:xfrm>
          <a:prstGeom prst="rect">
            <a:avLst/>
          </a:prstGeom>
          <a:solidFill>
            <a:srgbClr val="C9E7A7"/>
          </a:solidFill>
          <a:ln w="9525">
            <a:solidFill>
              <a:srgbClr val="C9E7A7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Association with </a:t>
            </a:r>
            <a:r>
              <a:rPr lang="en-US" sz="1400" b="1" dirty="0" err="1">
                <a:solidFill>
                  <a:schemeClr val="accent4"/>
                </a:solidFill>
              </a:rPr>
              <a:t>outgrowers</a:t>
            </a:r>
            <a:endParaRPr lang="en-US" sz="1400" b="1" dirty="0">
              <a:solidFill>
                <a:schemeClr val="accent4"/>
              </a:solidFill>
            </a:endParaRPr>
          </a:p>
        </p:txBody>
      </p:sp>
      <p:sp>
        <p:nvSpPr>
          <p:cNvPr id="102" name="Rectangle 102"/>
          <p:cNvSpPr txBox="1">
            <a:spLocks/>
          </p:cNvSpPr>
          <p:nvPr>
            <p:custDataLst>
              <p:tags r:id="rId11"/>
            </p:custDataLst>
          </p:nvPr>
        </p:nvSpPr>
        <p:spPr>
          <a:xfrm>
            <a:off x="162794" y="5544675"/>
            <a:ext cx="1178162" cy="755979"/>
          </a:xfrm>
          <a:prstGeom prst="rect">
            <a:avLst/>
          </a:prstGeom>
          <a:solidFill>
            <a:srgbClr val="C9E7A7"/>
          </a:solidFill>
          <a:ln w="9525">
            <a:solidFill>
              <a:srgbClr val="C9E7A7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Extension service</a:t>
            </a:r>
          </a:p>
        </p:txBody>
      </p:sp>
      <p:sp>
        <p:nvSpPr>
          <p:cNvPr id="104" name="Rectangle 104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1416335" y="5582931"/>
            <a:ext cx="1045250" cy="20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Salary</a:t>
            </a:r>
          </a:p>
        </p:txBody>
      </p:sp>
      <p:sp>
        <p:nvSpPr>
          <p:cNvPr id="106" name="Rectangle 106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1416335" y="6042326"/>
            <a:ext cx="1045250" cy="207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Support</a:t>
            </a:r>
          </a:p>
        </p:txBody>
      </p:sp>
      <p:cxnSp>
        <p:nvCxnSpPr>
          <p:cNvPr id="204" name="Straight Connector 203"/>
          <p:cNvCxnSpPr>
            <a:cxnSpLocks/>
          </p:cNvCxnSpPr>
          <p:nvPr>
            <p:custDataLst>
              <p:tags r:id="rId14"/>
            </p:custDataLst>
          </p:nvPr>
        </p:nvCxnSpPr>
        <p:spPr>
          <a:xfrm>
            <a:off x="1416335" y="5003012"/>
            <a:ext cx="104525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6" name="Straight Connector 205"/>
          <p:cNvCxnSpPr>
            <a:cxnSpLocks/>
          </p:cNvCxnSpPr>
          <p:nvPr>
            <p:custDataLst>
              <p:tags r:id="rId15"/>
            </p:custDataLst>
          </p:nvPr>
        </p:nvCxnSpPr>
        <p:spPr>
          <a:xfrm>
            <a:off x="1416335" y="5922223"/>
            <a:ext cx="104525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8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162794" y="1392215"/>
            <a:ext cx="1178162" cy="3056608"/>
          </a:xfrm>
          <a:prstGeom prst="rect">
            <a:avLst/>
          </a:prstGeom>
          <a:solidFill>
            <a:srgbClr val="C9E7A7"/>
          </a:solidFill>
          <a:ln w="9525">
            <a:solidFill>
              <a:srgbClr val="C9E7A7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accent4"/>
                </a:solidFill>
              </a:rPr>
              <a:t>Entre-</a:t>
            </a:r>
            <a:r>
              <a:rPr lang="en-US" sz="1400" b="1" dirty="0" err="1">
                <a:solidFill>
                  <a:schemeClr val="accent4"/>
                </a:solidFill>
              </a:rPr>
              <a:t>preneur</a:t>
            </a:r>
            <a:r>
              <a:rPr lang="en-US" sz="1400" b="1" dirty="0">
                <a:solidFill>
                  <a:schemeClr val="accent4"/>
                </a:solidFill>
              </a:rPr>
              <a:t> support</a:t>
            </a:r>
          </a:p>
        </p:txBody>
      </p:sp>
      <p:grpSp>
        <p:nvGrpSpPr>
          <p:cNvPr id="3" name="Group 2"/>
          <p:cNvGrpSpPr/>
          <p:nvPr>
            <p:custDataLst>
              <p:tags r:id="rId17"/>
            </p:custDataLst>
          </p:nvPr>
        </p:nvGrpSpPr>
        <p:grpSpPr>
          <a:xfrm>
            <a:off x="7266995" y="5023834"/>
            <a:ext cx="1553550" cy="470926"/>
            <a:chOff x="7245095" y="5002568"/>
            <a:chExt cx="1553550" cy="470926"/>
          </a:xfrm>
        </p:grpSpPr>
        <p:sp>
          <p:nvSpPr>
            <p:cNvPr id="222" name="Rectangle 68"/>
            <p:cNvSpPr txBox="1">
              <a:spLocks/>
            </p:cNvSpPr>
            <p:nvPr>
              <p:custDataLst>
                <p:tags r:id="rId86"/>
              </p:custDataLst>
            </p:nvPr>
          </p:nvSpPr>
          <p:spPr>
            <a:xfrm>
              <a:off x="7245095" y="5002568"/>
              <a:ext cx="1553550" cy="47092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223" name="Rectangle 132"/>
            <p:cNvSpPr txBox="1"/>
            <p:nvPr>
              <p:custDataLst>
                <p:tags r:id="rId87"/>
              </p:custDataLst>
            </p:nvPr>
          </p:nvSpPr>
          <p:spPr>
            <a:xfrm>
              <a:off x="7313001" y="5030994"/>
              <a:ext cx="1485641" cy="41407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000MT store</a:t>
              </a:r>
            </a:p>
            <a:p>
              <a:pPr lvl="1"/>
              <a:r>
                <a:rPr lang="en-US" sz="1400" dirty="0"/>
                <a:t>Lorry</a:t>
              </a:r>
            </a:p>
          </p:txBody>
        </p:sp>
      </p:grpSp>
      <p:cxnSp>
        <p:nvCxnSpPr>
          <p:cNvPr id="4" name="Straight Connector 3"/>
          <p:cNvCxnSpPr>
            <a:cxnSpLocks/>
          </p:cNvCxnSpPr>
          <p:nvPr>
            <p:custDataLst>
              <p:tags r:id="rId18"/>
            </p:custDataLst>
          </p:nvPr>
        </p:nvCxnSpPr>
        <p:spPr>
          <a:xfrm>
            <a:off x="162794" y="4481459"/>
            <a:ext cx="8635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Straight Connector 162"/>
          <p:cNvCxnSpPr>
            <a:cxnSpLocks/>
          </p:cNvCxnSpPr>
          <p:nvPr>
            <p:custDataLst>
              <p:tags r:id="rId19"/>
            </p:custDataLst>
          </p:nvPr>
        </p:nvCxnSpPr>
        <p:spPr>
          <a:xfrm>
            <a:off x="162794" y="5510531"/>
            <a:ext cx="8635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Rectangle 68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1416335" y="1540075"/>
            <a:ext cx="10452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 err="1"/>
              <a:t>Mechaniz-ation</a:t>
            </a:r>
            <a:r>
              <a:rPr lang="en-US" sz="1400" dirty="0"/>
              <a:t> hire</a:t>
            </a:r>
          </a:p>
        </p:txBody>
      </p:sp>
      <p:sp>
        <p:nvSpPr>
          <p:cNvPr id="70" name="Rectangle 78"/>
          <p:cNvSpPr txBox="1">
            <a:spLocks/>
          </p:cNvSpPr>
          <p:nvPr>
            <p:custDataLst>
              <p:tags r:id="rId21"/>
            </p:custDataLst>
          </p:nvPr>
        </p:nvSpPr>
        <p:spPr>
          <a:xfrm>
            <a:off x="1416335" y="2410053"/>
            <a:ext cx="1045250" cy="200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Seed dealer</a:t>
            </a:r>
          </a:p>
        </p:txBody>
      </p:sp>
      <p:sp>
        <p:nvSpPr>
          <p:cNvPr id="92" name="Rectangle 92"/>
          <p:cNvSpPr txBox="1">
            <a:spLocks/>
          </p:cNvSpPr>
          <p:nvPr>
            <p:custDataLst>
              <p:tags r:id="rId22"/>
            </p:custDataLst>
          </p:nvPr>
        </p:nvSpPr>
        <p:spPr>
          <a:xfrm>
            <a:off x="1416335" y="3855366"/>
            <a:ext cx="1045250" cy="4018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Warehouse operator</a:t>
            </a:r>
          </a:p>
        </p:txBody>
      </p:sp>
      <p:cxnSp>
        <p:nvCxnSpPr>
          <p:cNvPr id="196" name="Straight Connector 195"/>
          <p:cNvCxnSpPr>
            <a:cxnSpLocks/>
          </p:cNvCxnSpPr>
          <p:nvPr>
            <p:custDataLst>
              <p:tags r:id="rId23"/>
            </p:custDataLst>
          </p:nvPr>
        </p:nvCxnSpPr>
        <p:spPr>
          <a:xfrm>
            <a:off x="1416335" y="2119561"/>
            <a:ext cx="104525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Straight Connector 199"/>
          <p:cNvCxnSpPr>
            <a:cxnSpLocks/>
          </p:cNvCxnSpPr>
          <p:nvPr>
            <p:custDataLst>
              <p:tags r:id="rId24"/>
            </p:custDataLst>
          </p:nvPr>
        </p:nvCxnSpPr>
        <p:spPr>
          <a:xfrm>
            <a:off x="1416335" y="2904496"/>
            <a:ext cx="104525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1" name="Straight Connector 200"/>
          <p:cNvCxnSpPr>
            <a:cxnSpLocks/>
          </p:cNvCxnSpPr>
          <p:nvPr>
            <p:custDataLst>
              <p:tags r:id="rId25"/>
            </p:custDataLst>
          </p:nvPr>
        </p:nvCxnSpPr>
        <p:spPr>
          <a:xfrm>
            <a:off x="1416335" y="3675929"/>
            <a:ext cx="1045250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21"/>
          <p:cNvGrpSpPr/>
          <p:nvPr>
            <p:custDataLst>
              <p:tags r:id="rId26"/>
            </p:custDataLst>
          </p:nvPr>
        </p:nvGrpSpPr>
        <p:grpSpPr>
          <a:xfrm>
            <a:off x="2522463" y="1392215"/>
            <a:ext cx="1553550" cy="720663"/>
            <a:chOff x="2522463" y="1392215"/>
            <a:chExt cx="1553550" cy="720663"/>
          </a:xfrm>
        </p:grpSpPr>
        <p:sp>
          <p:nvSpPr>
            <p:cNvPr id="97" name="Rectangle 68"/>
            <p:cNvSpPr txBox="1">
              <a:spLocks/>
            </p:cNvSpPr>
            <p:nvPr>
              <p:custDataLst>
                <p:tags r:id="rId84"/>
              </p:custDataLst>
            </p:nvPr>
          </p:nvSpPr>
          <p:spPr>
            <a:xfrm>
              <a:off x="2522463" y="1392215"/>
              <a:ext cx="1553550" cy="72066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73" name="Rectangle 128"/>
            <p:cNvSpPr txBox="1">
              <a:spLocks/>
            </p:cNvSpPr>
            <p:nvPr>
              <p:custDataLst>
                <p:tags r:id="rId85"/>
              </p:custDataLst>
            </p:nvPr>
          </p:nvSpPr>
          <p:spPr>
            <a:xfrm>
              <a:off x="2587544" y="1454095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tractor</a:t>
              </a:r>
            </a:p>
            <a:p>
              <a:pPr lvl="1"/>
              <a:r>
                <a:rPr lang="en-US" sz="1400" dirty="0"/>
                <a:t>Operation training</a:t>
              </a:r>
            </a:p>
          </p:txBody>
        </p:sp>
      </p:grpSp>
      <p:grpSp>
        <p:nvGrpSpPr>
          <p:cNvPr id="23" name="Group 22"/>
          <p:cNvGrpSpPr/>
          <p:nvPr>
            <p:custDataLst>
              <p:tags r:id="rId27"/>
            </p:custDataLst>
          </p:nvPr>
        </p:nvGrpSpPr>
        <p:grpSpPr>
          <a:xfrm>
            <a:off x="2522463" y="2118019"/>
            <a:ext cx="1553550" cy="785016"/>
            <a:chOff x="2522463" y="2118019"/>
            <a:chExt cx="1553550" cy="785016"/>
          </a:xfrm>
        </p:grpSpPr>
        <p:sp>
          <p:nvSpPr>
            <p:cNvPr id="146" name="Rectangle 68"/>
            <p:cNvSpPr txBox="1">
              <a:spLocks/>
            </p:cNvSpPr>
            <p:nvPr>
              <p:custDataLst>
                <p:tags r:id="rId82"/>
              </p:custDataLst>
            </p:nvPr>
          </p:nvSpPr>
          <p:spPr>
            <a:xfrm>
              <a:off x="2522463" y="2118019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47" name="Rectangle 128"/>
            <p:cNvSpPr txBox="1">
              <a:spLocks/>
            </p:cNvSpPr>
            <p:nvPr>
              <p:custDataLst>
                <p:tags r:id="rId83"/>
              </p:custDataLst>
            </p:nvPr>
          </p:nvSpPr>
          <p:spPr>
            <a:xfrm>
              <a:off x="2587544" y="2209105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dealer</a:t>
              </a:r>
            </a:p>
            <a:p>
              <a:pPr lvl="1"/>
              <a:r>
                <a:rPr lang="en-US" sz="1400" dirty="0"/>
                <a:t>Seed training</a:t>
              </a:r>
            </a:p>
            <a:p>
              <a:pPr lvl="1"/>
              <a:r>
                <a:rPr lang="en-US" sz="1400" dirty="0"/>
                <a:t>Startup grant</a:t>
              </a:r>
            </a:p>
          </p:txBody>
        </p:sp>
      </p:grpSp>
      <p:grpSp>
        <p:nvGrpSpPr>
          <p:cNvPr id="25" name="Group 24"/>
          <p:cNvGrpSpPr/>
          <p:nvPr>
            <p:custDataLst>
              <p:tags r:id="rId28"/>
            </p:custDataLst>
          </p:nvPr>
        </p:nvGrpSpPr>
        <p:grpSpPr>
          <a:xfrm>
            <a:off x="2522463" y="3663807"/>
            <a:ext cx="1553550" cy="785016"/>
            <a:chOff x="2522463" y="3663807"/>
            <a:chExt cx="1553550" cy="785016"/>
          </a:xfrm>
        </p:grpSpPr>
        <p:sp>
          <p:nvSpPr>
            <p:cNvPr id="180" name="Rectangle 68"/>
            <p:cNvSpPr txBox="1">
              <a:spLocks/>
            </p:cNvSpPr>
            <p:nvPr>
              <p:custDataLst>
                <p:tags r:id="rId80"/>
              </p:custDataLst>
            </p:nvPr>
          </p:nvSpPr>
          <p:spPr>
            <a:xfrm>
              <a:off x="2522463" y="3663807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81" name="Rectangle 128"/>
            <p:cNvSpPr txBox="1">
              <a:spLocks/>
            </p:cNvSpPr>
            <p:nvPr>
              <p:custDataLst>
                <p:tags r:id="rId81"/>
              </p:custDataLst>
            </p:nvPr>
          </p:nvSpPr>
          <p:spPr>
            <a:xfrm>
              <a:off x="2587544" y="3754893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500MT warehouses</a:t>
              </a:r>
            </a:p>
            <a:p>
              <a:pPr lvl="1"/>
              <a:r>
                <a:rPr lang="en-US" sz="1400" dirty="0" err="1"/>
                <a:t>Mgmt</a:t>
              </a:r>
              <a:r>
                <a:rPr lang="en-US" sz="1400" dirty="0"/>
                <a:t> training</a:t>
              </a:r>
            </a:p>
          </p:txBody>
        </p:sp>
      </p:grpSp>
      <p:sp>
        <p:nvSpPr>
          <p:cNvPr id="210" name="Rectangle 86"/>
          <p:cNvSpPr txBox="1">
            <a:spLocks/>
          </p:cNvSpPr>
          <p:nvPr>
            <p:custDataLst>
              <p:tags r:id="rId29"/>
            </p:custDataLst>
          </p:nvPr>
        </p:nvSpPr>
        <p:spPr>
          <a:xfrm>
            <a:off x="1416335" y="3195070"/>
            <a:ext cx="1045250" cy="2009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dirty="0"/>
              <a:t>Processor</a:t>
            </a:r>
          </a:p>
        </p:txBody>
      </p:sp>
      <p:grpSp>
        <p:nvGrpSpPr>
          <p:cNvPr id="24" name="Group 23"/>
          <p:cNvGrpSpPr/>
          <p:nvPr>
            <p:custDataLst>
              <p:tags r:id="rId30"/>
            </p:custDataLst>
          </p:nvPr>
        </p:nvGrpSpPr>
        <p:grpSpPr>
          <a:xfrm>
            <a:off x="2522462" y="2903036"/>
            <a:ext cx="1553549" cy="785016"/>
            <a:chOff x="2522462" y="2903036"/>
            <a:chExt cx="1553549" cy="785016"/>
          </a:xfrm>
        </p:grpSpPr>
        <p:sp>
          <p:nvSpPr>
            <p:cNvPr id="251" name="Rectangle 68"/>
            <p:cNvSpPr txBox="1">
              <a:spLocks/>
            </p:cNvSpPr>
            <p:nvPr>
              <p:custDataLst>
                <p:tags r:id="rId78"/>
              </p:custDataLst>
            </p:nvPr>
          </p:nvSpPr>
          <p:spPr>
            <a:xfrm>
              <a:off x="2522462" y="2903036"/>
              <a:ext cx="1553549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252" name="Rectangle 128"/>
            <p:cNvSpPr txBox="1">
              <a:spLocks/>
            </p:cNvSpPr>
            <p:nvPr>
              <p:custDataLst>
                <p:tags r:id="rId79"/>
              </p:custDataLst>
            </p:nvPr>
          </p:nvSpPr>
          <p:spPr>
            <a:xfrm>
              <a:off x="2587544" y="2994122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mill</a:t>
              </a:r>
            </a:p>
            <a:p>
              <a:pPr lvl="1"/>
              <a:r>
                <a:rPr lang="en-US" sz="1400" dirty="0"/>
                <a:t>1 150MT store</a:t>
              </a:r>
            </a:p>
            <a:p>
              <a:pPr lvl="1"/>
              <a:r>
                <a:rPr lang="en-US" sz="1400" dirty="0"/>
                <a:t>Mill training</a:t>
              </a:r>
            </a:p>
          </p:txBody>
        </p:sp>
      </p:grpSp>
      <p:grpSp>
        <p:nvGrpSpPr>
          <p:cNvPr id="19" name="Group 18"/>
          <p:cNvGrpSpPr/>
          <p:nvPr>
            <p:custDataLst>
              <p:tags r:id="rId31"/>
            </p:custDataLst>
          </p:nvPr>
        </p:nvGrpSpPr>
        <p:grpSpPr>
          <a:xfrm>
            <a:off x="4103972" y="2903036"/>
            <a:ext cx="1553550" cy="785016"/>
            <a:chOff x="4096674" y="2903036"/>
            <a:chExt cx="1553550" cy="785016"/>
          </a:xfrm>
        </p:grpSpPr>
        <p:sp>
          <p:nvSpPr>
            <p:cNvPr id="253" name="Rectangle 68"/>
            <p:cNvSpPr txBox="1">
              <a:spLocks/>
            </p:cNvSpPr>
            <p:nvPr>
              <p:custDataLst>
                <p:tags r:id="rId76"/>
              </p:custDataLst>
            </p:nvPr>
          </p:nvSpPr>
          <p:spPr>
            <a:xfrm>
              <a:off x="4096674" y="2903036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254" name="Rectangle 128"/>
            <p:cNvSpPr txBox="1">
              <a:spLocks/>
            </p:cNvSpPr>
            <p:nvPr>
              <p:custDataLst>
                <p:tags r:id="rId77"/>
              </p:custDataLst>
            </p:nvPr>
          </p:nvSpPr>
          <p:spPr>
            <a:xfrm>
              <a:off x="4161755" y="2994122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mills</a:t>
              </a:r>
            </a:p>
            <a:p>
              <a:pPr lvl="1"/>
              <a:r>
                <a:rPr lang="en-US" sz="1400" dirty="0"/>
                <a:t>2 150MT stores</a:t>
              </a:r>
            </a:p>
            <a:p>
              <a:pPr lvl="1"/>
              <a:r>
                <a:rPr lang="en-US" sz="1400" dirty="0"/>
                <a:t>Mill training</a:t>
              </a:r>
            </a:p>
          </p:txBody>
        </p:sp>
      </p:grpSp>
      <p:grpSp>
        <p:nvGrpSpPr>
          <p:cNvPr id="16" name="Group 15"/>
          <p:cNvGrpSpPr/>
          <p:nvPr>
            <p:custDataLst>
              <p:tags r:id="rId32"/>
            </p:custDataLst>
          </p:nvPr>
        </p:nvGrpSpPr>
        <p:grpSpPr>
          <a:xfrm>
            <a:off x="5685483" y="2903036"/>
            <a:ext cx="1553550" cy="785016"/>
            <a:chOff x="5670885" y="2903036"/>
            <a:chExt cx="1553550" cy="785016"/>
          </a:xfrm>
        </p:grpSpPr>
        <p:sp>
          <p:nvSpPr>
            <p:cNvPr id="213" name="Rectangle 68"/>
            <p:cNvSpPr txBox="1">
              <a:spLocks/>
            </p:cNvSpPr>
            <p:nvPr>
              <p:custDataLst>
                <p:tags r:id="rId74"/>
              </p:custDataLst>
            </p:nvPr>
          </p:nvSpPr>
          <p:spPr>
            <a:xfrm>
              <a:off x="5670885" y="2903036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255" name="Rectangle 128"/>
            <p:cNvSpPr txBox="1">
              <a:spLocks/>
            </p:cNvSpPr>
            <p:nvPr>
              <p:custDataLst>
                <p:tags r:id="rId75"/>
              </p:custDataLst>
            </p:nvPr>
          </p:nvSpPr>
          <p:spPr>
            <a:xfrm>
              <a:off x="5729087" y="2994122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mill</a:t>
              </a:r>
            </a:p>
            <a:p>
              <a:pPr lvl="1"/>
              <a:r>
                <a:rPr lang="en-US" sz="1400" dirty="0"/>
                <a:t>1 150MT store</a:t>
              </a:r>
            </a:p>
            <a:p>
              <a:pPr lvl="1"/>
              <a:r>
                <a:rPr lang="en-US" sz="1400" dirty="0"/>
                <a:t>Mill training</a:t>
              </a:r>
            </a:p>
          </p:txBody>
        </p:sp>
      </p:grpSp>
      <p:grpSp>
        <p:nvGrpSpPr>
          <p:cNvPr id="8" name="Group 7"/>
          <p:cNvGrpSpPr/>
          <p:nvPr>
            <p:custDataLst>
              <p:tags r:id="rId33"/>
            </p:custDataLst>
          </p:nvPr>
        </p:nvGrpSpPr>
        <p:grpSpPr>
          <a:xfrm>
            <a:off x="7266995" y="2903036"/>
            <a:ext cx="1553550" cy="785016"/>
            <a:chOff x="7245095" y="2903036"/>
            <a:chExt cx="1553550" cy="785016"/>
          </a:xfrm>
        </p:grpSpPr>
        <p:sp>
          <p:nvSpPr>
            <p:cNvPr id="214" name="Rectangle 68"/>
            <p:cNvSpPr txBox="1">
              <a:spLocks/>
            </p:cNvSpPr>
            <p:nvPr>
              <p:custDataLst>
                <p:tags r:id="rId72"/>
              </p:custDataLst>
            </p:nvPr>
          </p:nvSpPr>
          <p:spPr>
            <a:xfrm>
              <a:off x="7245095" y="2903036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256" name="Rectangle 128"/>
            <p:cNvSpPr txBox="1">
              <a:spLocks/>
            </p:cNvSpPr>
            <p:nvPr>
              <p:custDataLst>
                <p:tags r:id="rId73"/>
              </p:custDataLst>
            </p:nvPr>
          </p:nvSpPr>
          <p:spPr>
            <a:xfrm>
              <a:off x="7313001" y="2994122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mills</a:t>
              </a:r>
            </a:p>
            <a:p>
              <a:pPr lvl="1"/>
              <a:r>
                <a:rPr lang="en-US" sz="1400" dirty="0"/>
                <a:t>2 150MT stores</a:t>
              </a:r>
            </a:p>
            <a:p>
              <a:pPr lvl="1"/>
              <a:r>
                <a:rPr lang="en-US" sz="1400" dirty="0"/>
                <a:t>Mill training</a:t>
              </a:r>
            </a:p>
          </p:txBody>
        </p:sp>
      </p:grpSp>
      <p:grpSp>
        <p:nvGrpSpPr>
          <p:cNvPr id="105" name="Group 104"/>
          <p:cNvGrpSpPr/>
          <p:nvPr>
            <p:custDataLst>
              <p:tags r:id="rId34"/>
            </p:custDataLst>
          </p:nvPr>
        </p:nvGrpSpPr>
        <p:grpSpPr>
          <a:xfrm>
            <a:off x="5685485" y="1392215"/>
            <a:ext cx="1553550" cy="720663"/>
            <a:chOff x="5670885" y="1392215"/>
            <a:chExt cx="1553550" cy="720663"/>
          </a:xfrm>
        </p:grpSpPr>
        <p:sp>
          <p:nvSpPr>
            <p:cNvPr id="107" name="Rectangle 68"/>
            <p:cNvSpPr txBox="1">
              <a:spLocks/>
            </p:cNvSpPr>
            <p:nvPr>
              <p:custDataLst>
                <p:tags r:id="rId70"/>
              </p:custDataLst>
            </p:nvPr>
          </p:nvSpPr>
          <p:spPr>
            <a:xfrm>
              <a:off x="5670885" y="1392215"/>
              <a:ext cx="1553550" cy="72066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08" name="Rectangle 128"/>
            <p:cNvSpPr txBox="1">
              <a:spLocks/>
            </p:cNvSpPr>
            <p:nvPr>
              <p:custDataLst>
                <p:tags r:id="rId71"/>
              </p:custDataLst>
            </p:nvPr>
          </p:nvSpPr>
          <p:spPr>
            <a:xfrm>
              <a:off x="5729087" y="1444570"/>
              <a:ext cx="1423388" cy="6463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tractor</a:t>
              </a:r>
            </a:p>
            <a:p>
              <a:pPr lvl="1"/>
              <a:r>
                <a:rPr lang="en-US" sz="1400" dirty="0"/>
                <a:t>Operation training</a:t>
              </a:r>
            </a:p>
          </p:txBody>
        </p:sp>
      </p:grpSp>
      <p:grpSp>
        <p:nvGrpSpPr>
          <p:cNvPr id="112" name="Group 111"/>
          <p:cNvGrpSpPr/>
          <p:nvPr>
            <p:custDataLst>
              <p:tags r:id="rId35"/>
            </p:custDataLst>
          </p:nvPr>
        </p:nvGrpSpPr>
        <p:grpSpPr>
          <a:xfrm>
            <a:off x="7266995" y="1392215"/>
            <a:ext cx="1553550" cy="720663"/>
            <a:chOff x="7245095" y="1392215"/>
            <a:chExt cx="1553550" cy="720663"/>
          </a:xfrm>
        </p:grpSpPr>
        <p:sp>
          <p:nvSpPr>
            <p:cNvPr id="113" name="Rectangle 68"/>
            <p:cNvSpPr txBox="1">
              <a:spLocks/>
            </p:cNvSpPr>
            <p:nvPr>
              <p:custDataLst>
                <p:tags r:id="rId68"/>
              </p:custDataLst>
            </p:nvPr>
          </p:nvSpPr>
          <p:spPr>
            <a:xfrm>
              <a:off x="7245095" y="1392215"/>
              <a:ext cx="1553550" cy="72066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14" name="Rectangle 132"/>
            <p:cNvSpPr txBox="1">
              <a:spLocks/>
            </p:cNvSpPr>
            <p:nvPr>
              <p:custDataLst>
                <p:tags r:id="rId69"/>
              </p:custDataLst>
            </p:nvPr>
          </p:nvSpPr>
          <p:spPr>
            <a:xfrm>
              <a:off x="7313001" y="1444570"/>
              <a:ext cx="1423388" cy="6463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tractors</a:t>
              </a:r>
            </a:p>
            <a:p>
              <a:pPr lvl="1"/>
              <a:r>
                <a:rPr lang="en-US" sz="1400" dirty="0"/>
                <a:t>Operation training</a:t>
              </a:r>
            </a:p>
          </p:txBody>
        </p:sp>
      </p:grpSp>
      <p:grpSp>
        <p:nvGrpSpPr>
          <p:cNvPr id="115" name="Group 114"/>
          <p:cNvGrpSpPr/>
          <p:nvPr>
            <p:custDataLst>
              <p:tags r:id="rId36"/>
            </p:custDataLst>
          </p:nvPr>
        </p:nvGrpSpPr>
        <p:grpSpPr>
          <a:xfrm>
            <a:off x="4103974" y="1392215"/>
            <a:ext cx="1553550" cy="720663"/>
            <a:chOff x="4096674" y="1392215"/>
            <a:chExt cx="1553550" cy="720663"/>
          </a:xfrm>
        </p:grpSpPr>
        <p:sp>
          <p:nvSpPr>
            <p:cNvPr id="116" name="Rectangle 68"/>
            <p:cNvSpPr txBox="1">
              <a:spLocks/>
            </p:cNvSpPr>
            <p:nvPr>
              <p:custDataLst>
                <p:tags r:id="rId66"/>
              </p:custDataLst>
            </p:nvPr>
          </p:nvSpPr>
          <p:spPr>
            <a:xfrm>
              <a:off x="4096674" y="1392215"/>
              <a:ext cx="1553550" cy="72066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17" name="Rectangle 132"/>
            <p:cNvSpPr txBox="1">
              <a:spLocks/>
            </p:cNvSpPr>
            <p:nvPr>
              <p:custDataLst>
                <p:tags r:id="rId67"/>
              </p:custDataLst>
            </p:nvPr>
          </p:nvSpPr>
          <p:spPr>
            <a:xfrm>
              <a:off x="4161755" y="1444570"/>
              <a:ext cx="1423388" cy="646331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tractors</a:t>
              </a:r>
            </a:p>
            <a:p>
              <a:pPr lvl="1"/>
              <a:r>
                <a:rPr lang="en-US" sz="1400" dirty="0"/>
                <a:t>Operation training</a:t>
              </a:r>
            </a:p>
          </p:txBody>
        </p:sp>
      </p:grpSp>
      <p:grpSp>
        <p:nvGrpSpPr>
          <p:cNvPr id="118" name="Group 117"/>
          <p:cNvGrpSpPr/>
          <p:nvPr>
            <p:custDataLst>
              <p:tags r:id="rId37"/>
            </p:custDataLst>
          </p:nvPr>
        </p:nvGrpSpPr>
        <p:grpSpPr>
          <a:xfrm>
            <a:off x="4103974" y="2118019"/>
            <a:ext cx="1553550" cy="785016"/>
            <a:chOff x="4095749" y="2118019"/>
            <a:chExt cx="1553550" cy="785016"/>
          </a:xfrm>
        </p:grpSpPr>
        <p:sp>
          <p:nvSpPr>
            <p:cNvPr id="119" name="Rectangle 68"/>
            <p:cNvSpPr txBox="1">
              <a:spLocks/>
            </p:cNvSpPr>
            <p:nvPr>
              <p:custDataLst>
                <p:tags r:id="rId64"/>
              </p:custDataLst>
            </p:nvPr>
          </p:nvSpPr>
          <p:spPr>
            <a:xfrm>
              <a:off x="4095749" y="2118019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20" name="Rectangle 128"/>
            <p:cNvSpPr txBox="1">
              <a:spLocks/>
            </p:cNvSpPr>
            <p:nvPr>
              <p:custDataLst>
                <p:tags r:id="rId65"/>
              </p:custDataLst>
            </p:nvPr>
          </p:nvSpPr>
          <p:spPr>
            <a:xfrm>
              <a:off x="4161755" y="2209105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dealers</a:t>
              </a:r>
            </a:p>
            <a:p>
              <a:pPr lvl="1"/>
              <a:r>
                <a:rPr lang="en-US" sz="1400" dirty="0"/>
                <a:t>Seed training</a:t>
              </a:r>
            </a:p>
            <a:p>
              <a:pPr lvl="1"/>
              <a:r>
                <a:rPr lang="en-US" sz="1400" dirty="0"/>
                <a:t>Startup grant</a:t>
              </a:r>
            </a:p>
          </p:txBody>
        </p:sp>
      </p:grpSp>
      <p:grpSp>
        <p:nvGrpSpPr>
          <p:cNvPr id="121" name="Group 120"/>
          <p:cNvGrpSpPr/>
          <p:nvPr>
            <p:custDataLst>
              <p:tags r:id="rId38"/>
            </p:custDataLst>
          </p:nvPr>
        </p:nvGrpSpPr>
        <p:grpSpPr>
          <a:xfrm>
            <a:off x="5685485" y="2118019"/>
            <a:ext cx="1553550" cy="785016"/>
            <a:chOff x="5660669" y="2118019"/>
            <a:chExt cx="1553550" cy="785016"/>
          </a:xfrm>
        </p:grpSpPr>
        <p:sp>
          <p:nvSpPr>
            <p:cNvPr id="122" name="Rectangle 68"/>
            <p:cNvSpPr txBox="1">
              <a:spLocks/>
            </p:cNvSpPr>
            <p:nvPr>
              <p:custDataLst>
                <p:tags r:id="rId62"/>
              </p:custDataLst>
            </p:nvPr>
          </p:nvSpPr>
          <p:spPr>
            <a:xfrm>
              <a:off x="5660669" y="2118019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23" name="Rectangle 128"/>
            <p:cNvSpPr txBox="1">
              <a:spLocks/>
            </p:cNvSpPr>
            <p:nvPr>
              <p:custDataLst>
                <p:tags r:id="rId63"/>
              </p:custDataLst>
            </p:nvPr>
          </p:nvSpPr>
          <p:spPr>
            <a:xfrm>
              <a:off x="5729087" y="2209105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1 dealer</a:t>
              </a:r>
            </a:p>
            <a:p>
              <a:pPr lvl="1"/>
              <a:r>
                <a:rPr lang="en-US" sz="1400" dirty="0"/>
                <a:t>Seed training</a:t>
              </a:r>
            </a:p>
            <a:p>
              <a:pPr lvl="1"/>
              <a:r>
                <a:rPr lang="en-US" sz="1400" dirty="0"/>
                <a:t>Startup grant</a:t>
              </a:r>
            </a:p>
          </p:txBody>
        </p:sp>
      </p:grpSp>
      <p:grpSp>
        <p:nvGrpSpPr>
          <p:cNvPr id="124" name="Group 123"/>
          <p:cNvGrpSpPr/>
          <p:nvPr>
            <p:custDataLst>
              <p:tags r:id="rId39"/>
            </p:custDataLst>
          </p:nvPr>
        </p:nvGrpSpPr>
        <p:grpSpPr>
          <a:xfrm>
            <a:off x="7266995" y="2118019"/>
            <a:ext cx="1553550" cy="785016"/>
            <a:chOff x="7238420" y="2118019"/>
            <a:chExt cx="1553550" cy="785016"/>
          </a:xfrm>
        </p:grpSpPr>
        <p:sp>
          <p:nvSpPr>
            <p:cNvPr id="125" name="Rectangle 68"/>
            <p:cNvSpPr txBox="1">
              <a:spLocks/>
            </p:cNvSpPr>
            <p:nvPr>
              <p:custDataLst>
                <p:tags r:id="rId60"/>
              </p:custDataLst>
            </p:nvPr>
          </p:nvSpPr>
          <p:spPr>
            <a:xfrm>
              <a:off x="7238420" y="2118019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29" name="Rectangle 128"/>
            <p:cNvSpPr txBox="1">
              <a:spLocks/>
            </p:cNvSpPr>
            <p:nvPr>
              <p:custDataLst>
                <p:tags r:id="rId61"/>
              </p:custDataLst>
            </p:nvPr>
          </p:nvSpPr>
          <p:spPr>
            <a:xfrm>
              <a:off x="7313001" y="2209105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dealers</a:t>
              </a:r>
            </a:p>
            <a:p>
              <a:pPr lvl="1"/>
              <a:r>
                <a:rPr lang="en-US" sz="1400" dirty="0"/>
                <a:t>Seed training</a:t>
              </a:r>
            </a:p>
            <a:p>
              <a:pPr lvl="1"/>
              <a:r>
                <a:rPr lang="en-US" sz="1400" dirty="0"/>
                <a:t>Startup grant</a:t>
              </a:r>
            </a:p>
          </p:txBody>
        </p:sp>
      </p:grpSp>
      <p:grpSp>
        <p:nvGrpSpPr>
          <p:cNvPr id="145" name="Group 144"/>
          <p:cNvGrpSpPr/>
          <p:nvPr>
            <p:custDataLst>
              <p:tags r:id="rId40"/>
            </p:custDataLst>
          </p:nvPr>
        </p:nvGrpSpPr>
        <p:grpSpPr>
          <a:xfrm>
            <a:off x="7266995" y="4504282"/>
            <a:ext cx="1553550" cy="516573"/>
            <a:chOff x="7245095" y="4504282"/>
            <a:chExt cx="1553550" cy="516573"/>
          </a:xfrm>
        </p:grpSpPr>
        <p:sp>
          <p:nvSpPr>
            <p:cNvPr id="148" name="Rectangle 68"/>
            <p:cNvSpPr txBox="1">
              <a:spLocks/>
            </p:cNvSpPr>
            <p:nvPr>
              <p:custDataLst>
                <p:tags r:id="rId58"/>
              </p:custDataLst>
            </p:nvPr>
          </p:nvSpPr>
          <p:spPr>
            <a:xfrm>
              <a:off x="7245095" y="4504282"/>
              <a:ext cx="1553550" cy="516573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49" name="Rectangle 132"/>
            <p:cNvSpPr txBox="1"/>
            <p:nvPr>
              <p:custDataLst>
                <p:tags r:id="rId59"/>
              </p:custDataLst>
            </p:nvPr>
          </p:nvSpPr>
          <p:spPr>
            <a:xfrm>
              <a:off x="7313001" y="4524362"/>
              <a:ext cx="1485641" cy="41407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Organizing 1 large coop</a:t>
              </a:r>
            </a:p>
          </p:txBody>
        </p:sp>
      </p:grpSp>
      <p:grpSp>
        <p:nvGrpSpPr>
          <p:cNvPr id="150" name="Group 149"/>
          <p:cNvGrpSpPr/>
          <p:nvPr>
            <p:custDataLst>
              <p:tags r:id="rId41"/>
            </p:custDataLst>
          </p:nvPr>
        </p:nvGrpSpPr>
        <p:grpSpPr>
          <a:xfrm>
            <a:off x="2522462" y="5919521"/>
            <a:ext cx="6276182" cy="380692"/>
            <a:chOff x="2522462" y="5919521"/>
            <a:chExt cx="6276182" cy="380692"/>
          </a:xfrm>
        </p:grpSpPr>
        <p:sp>
          <p:nvSpPr>
            <p:cNvPr id="151" name="Rectangle 68"/>
            <p:cNvSpPr txBox="1">
              <a:spLocks/>
            </p:cNvSpPr>
            <p:nvPr>
              <p:custDataLst>
                <p:tags r:id="rId56"/>
              </p:custDataLst>
            </p:nvPr>
          </p:nvSpPr>
          <p:spPr>
            <a:xfrm>
              <a:off x="2522462" y="5919521"/>
              <a:ext cx="6276182" cy="380692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52" name="Rectangle 18"/>
            <p:cNvSpPr txBox="1"/>
            <p:nvPr>
              <p:custDataLst>
                <p:tags r:id="rId57"/>
              </p:custDataLst>
            </p:nvPr>
          </p:nvSpPr>
          <p:spPr>
            <a:xfrm>
              <a:off x="2568875" y="5989113"/>
              <a:ext cx="3767013" cy="2070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4 motorcycles and supplies</a:t>
              </a:r>
            </a:p>
          </p:txBody>
        </p:sp>
      </p:grpSp>
      <p:grpSp>
        <p:nvGrpSpPr>
          <p:cNvPr id="153" name="Group 152"/>
          <p:cNvGrpSpPr/>
          <p:nvPr>
            <p:custDataLst>
              <p:tags r:id="rId42"/>
            </p:custDataLst>
          </p:nvPr>
        </p:nvGrpSpPr>
        <p:grpSpPr>
          <a:xfrm>
            <a:off x="2522463" y="5544234"/>
            <a:ext cx="6276182" cy="380692"/>
            <a:chOff x="2522463" y="5544234"/>
            <a:chExt cx="6276182" cy="380692"/>
          </a:xfrm>
          <a:noFill/>
        </p:grpSpPr>
        <p:sp>
          <p:nvSpPr>
            <p:cNvPr id="154" name="Rectangle 68"/>
            <p:cNvSpPr txBox="1">
              <a:spLocks/>
            </p:cNvSpPr>
            <p:nvPr>
              <p:custDataLst>
                <p:tags r:id="rId53"/>
              </p:custDataLst>
            </p:nvPr>
          </p:nvSpPr>
          <p:spPr>
            <a:xfrm>
              <a:off x="2522463" y="5544234"/>
              <a:ext cx="6276182" cy="380692"/>
            </a:xfrm>
            <a:prstGeom prst="rect">
              <a:avLst/>
            </a:prstGeom>
            <a:grp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57" name="Rectangle 18"/>
            <p:cNvSpPr txBox="1"/>
            <p:nvPr>
              <p:custDataLst>
                <p:tags r:id="rId54"/>
              </p:custDataLst>
            </p:nvPr>
          </p:nvSpPr>
          <p:spPr>
            <a:xfrm>
              <a:off x="2570608" y="5604861"/>
              <a:ext cx="5117615" cy="207037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4 extension agents (1 agent per county)</a:t>
              </a:r>
            </a:p>
          </p:txBody>
        </p:sp>
        <p:sp>
          <p:nvSpPr>
            <p:cNvPr id="158" name="Rectangle 18"/>
            <p:cNvSpPr txBox="1"/>
            <p:nvPr>
              <p:custDataLst>
                <p:tags r:id="rId55"/>
              </p:custDataLst>
            </p:nvPr>
          </p:nvSpPr>
          <p:spPr>
            <a:xfrm>
              <a:off x="6658654" y="5610388"/>
              <a:ext cx="2104399" cy="207037"/>
            </a:xfrm>
            <a:prstGeom prst="rect">
              <a:avLst/>
            </a:pr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Agronomy training</a:t>
              </a:r>
            </a:p>
          </p:txBody>
        </p:sp>
      </p:grpSp>
      <p:grpSp>
        <p:nvGrpSpPr>
          <p:cNvPr id="159" name="Group 158"/>
          <p:cNvGrpSpPr/>
          <p:nvPr>
            <p:custDataLst>
              <p:tags r:id="rId43"/>
            </p:custDataLst>
          </p:nvPr>
        </p:nvGrpSpPr>
        <p:grpSpPr>
          <a:xfrm>
            <a:off x="5685485" y="3663807"/>
            <a:ext cx="1553550" cy="785015"/>
            <a:chOff x="5670885" y="3663807"/>
            <a:chExt cx="1553550" cy="785015"/>
          </a:xfrm>
        </p:grpSpPr>
        <p:sp>
          <p:nvSpPr>
            <p:cNvPr id="160" name="Rectangle 68"/>
            <p:cNvSpPr txBox="1">
              <a:spLocks/>
            </p:cNvSpPr>
            <p:nvPr>
              <p:custDataLst>
                <p:tags r:id="rId51"/>
              </p:custDataLst>
            </p:nvPr>
          </p:nvSpPr>
          <p:spPr>
            <a:xfrm>
              <a:off x="5670885" y="3663807"/>
              <a:ext cx="1553550" cy="785015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61" name="Rectangle 128"/>
            <p:cNvSpPr txBox="1">
              <a:spLocks/>
            </p:cNvSpPr>
            <p:nvPr>
              <p:custDataLst>
                <p:tags r:id="rId52"/>
              </p:custDataLst>
            </p:nvPr>
          </p:nvSpPr>
          <p:spPr>
            <a:xfrm>
              <a:off x="5729087" y="3754893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2 500MT warehouses</a:t>
              </a:r>
            </a:p>
            <a:p>
              <a:pPr lvl="1"/>
              <a:r>
                <a:rPr lang="en-US" sz="1400" dirty="0" err="1"/>
                <a:t>Mgmt</a:t>
              </a:r>
              <a:r>
                <a:rPr lang="en-US" sz="1400" dirty="0"/>
                <a:t> training</a:t>
              </a:r>
            </a:p>
          </p:txBody>
        </p:sp>
      </p:grpSp>
      <p:grpSp>
        <p:nvGrpSpPr>
          <p:cNvPr id="164" name="Group 163"/>
          <p:cNvGrpSpPr/>
          <p:nvPr>
            <p:custDataLst>
              <p:tags r:id="rId44"/>
            </p:custDataLst>
          </p:nvPr>
        </p:nvGrpSpPr>
        <p:grpSpPr>
          <a:xfrm>
            <a:off x="7266995" y="3663807"/>
            <a:ext cx="1553550" cy="785016"/>
            <a:chOff x="7245095" y="3663807"/>
            <a:chExt cx="1553550" cy="785016"/>
          </a:xfrm>
        </p:grpSpPr>
        <p:sp>
          <p:nvSpPr>
            <p:cNvPr id="165" name="Rectangle 68"/>
            <p:cNvSpPr txBox="1">
              <a:spLocks/>
            </p:cNvSpPr>
            <p:nvPr>
              <p:custDataLst>
                <p:tags r:id="rId49"/>
              </p:custDataLst>
            </p:nvPr>
          </p:nvSpPr>
          <p:spPr>
            <a:xfrm>
              <a:off x="7245095" y="3663807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66" name="Rectangle 132"/>
            <p:cNvSpPr txBox="1">
              <a:spLocks/>
            </p:cNvSpPr>
            <p:nvPr>
              <p:custDataLst>
                <p:tags r:id="rId50"/>
              </p:custDataLst>
            </p:nvPr>
          </p:nvSpPr>
          <p:spPr>
            <a:xfrm>
              <a:off x="7313001" y="3754893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4 500MT warehouses</a:t>
              </a:r>
            </a:p>
            <a:p>
              <a:pPr lvl="1"/>
              <a:r>
                <a:rPr lang="en-US" sz="1400" dirty="0" err="1"/>
                <a:t>Mgmt</a:t>
              </a:r>
              <a:r>
                <a:rPr lang="en-US" sz="1400" dirty="0"/>
                <a:t> training</a:t>
              </a:r>
            </a:p>
          </p:txBody>
        </p:sp>
      </p:grpSp>
      <p:grpSp>
        <p:nvGrpSpPr>
          <p:cNvPr id="167" name="Group 166"/>
          <p:cNvGrpSpPr/>
          <p:nvPr>
            <p:custDataLst>
              <p:tags r:id="rId45"/>
            </p:custDataLst>
          </p:nvPr>
        </p:nvGrpSpPr>
        <p:grpSpPr>
          <a:xfrm>
            <a:off x="4103974" y="3663807"/>
            <a:ext cx="1553550" cy="785016"/>
            <a:chOff x="4096674" y="3663807"/>
            <a:chExt cx="1553550" cy="785016"/>
          </a:xfrm>
        </p:grpSpPr>
        <p:sp>
          <p:nvSpPr>
            <p:cNvPr id="171" name="Rectangle 68"/>
            <p:cNvSpPr txBox="1">
              <a:spLocks/>
            </p:cNvSpPr>
            <p:nvPr>
              <p:custDataLst>
                <p:tags r:id="rId47"/>
              </p:custDataLst>
            </p:nvPr>
          </p:nvSpPr>
          <p:spPr>
            <a:xfrm>
              <a:off x="4096674" y="3663807"/>
              <a:ext cx="1553550" cy="785016"/>
            </a:xfrm>
            <a:prstGeom prst="rect">
              <a:avLst/>
            </a:prstGeom>
            <a:noFill/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72009" tIns="72009" rIns="72009" bIns="72009" numCol="1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sz="1400" dirty="0"/>
            </a:p>
          </p:txBody>
        </p:sp>
        <p:sp>
          <p:nvSpPr>
            <p:cNvPr id="174" name="Rectangle 132"/>
            <p:cNvSpPr txBox="1">
              <a:spLocks/>
            </p:cNvSpPr>
            <p:nvPr>
              <p:custDataLst>
                <p:tags r:id="rId48"/>
              </p:custDataLst>
            </p:nvPr>
          </p:nvSpPr>
          <p:spPr>
            <a:xfrm>
              <a:off x="4161755" y="3754893"/>
              <a:ext cx="1423388" cy="602844"/>
            </a:xfrm>
            <a:prstGeom prst="rect">
              <a:avLst/>
            </a:prstGeom>
            <a:noFill/>
            <a:ln>
              <a:noFill/>
            </a:ln>
            <a:effec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sz="1400" dirty="0"/>
                <a:t>4 500MT warehouses</a:t>
              </a:r>
            </a:p>
            <a:p>
              <a:pPr lvl="1"/>
              <a:r>
                <a:rPr lang="en-US" sz="1400" dirty="0" err="1"/>
                <a:t>Mgmt</a:t>
              </a:r>
              <a:r>
                <a:rPr lang="en-US" sz="1400" dirty="0"/>
                <a:t> training</a:t>
              </a:r>
            </a:p>
          </p:txBody>
        </p:sp>
      </p:grpSp>
      <p:grpSp>
        <p:nvGrpSpPr>
          <p:cNvPr id="103" name="Group 102"/>
          <p:cNvGrpSpPr/>
          <p:nvPr>
            <p:custDataLst>
              <p:tags r:id="rId46"/>
            </p:custDataLst>
          </p:nvPr>
        </p:nvGrpSpPr>
        <p:grpSpPr>
          <a:xfrm>
            <a:off x="7237613" y="279400"/>
            <a:ext cx="1526784" cy="184666"/>
            <a:chOff x="7835905" y="279400"/>
            <a:chExt cx="1526784" cy="184666"/>
          </a:xfrm>
        </p:grpSpPr>
        <p:sp>
          <p:nvSpPr>
            <p:cNvPr id="109" name="Legend1"/>
            <p:cNvSpPr>
              <a:spLocks noChangeArrowheads="1"/>
            </p:cNvSpPr>
            <p:nvPr/>
          </p:nvSpPr>
          <p:spPr bwMode="auto">
            <a:xfrm>
              <a:off x="8089905" y="279400"/>
              <a:ext cx="1272784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>
                  <a:latin typeface="+mn-lt"/>
                </a:rPr>
                <a:t>RSS commitments</a:t>
              </a:r>
              <a:endParaRPr lang="en-US" sz="1200" dirty="0">
                <a:latin typeface="+mn-lt"/>
              </a:endParaRPr>
            </a:p>
          </p:txBody>
        </p:sp>
        <p:sp>
          <p:nvSpPr>
            <p:cNvPr id="110" name="LegendRectangle1"/>
            <p:cNvSpPr>
              <a:spLocks noChangeArrowheads="1"/>
            </p:cNvSpPr>
            <p:nvPr/>
          </p:nvSpPr>
          <p:spPr bwMode="auto">
            <a:xfrm>
              <a:off x="7835905" y="290513"/>
              <a:ext cx="165100" cy="160338"/>
            </a:xfrm>
            <a:prstGeom prst="rect">
              <a:avLst/>
            </a:prstGeom>
            <a:solidFill>
              <a:srgbClr val="CCECFF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77605467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2" name="Object 14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115520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1" name="Rectangle 140" hidden="1"/>
          <p:cNvSpPr/>
          <p:nvPr>
            <p:custDataLst>
              <p:tags r:id="rId2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dirty="0">
              <a:solidFill>
                <a:schemeClr val="tx1"/>
              </a:solidFill>
              <a:latin typeface="Arial"/>
              <a:ea typeface="MS PGothic"/>
              <a:sym typeface="Arial"/>
            </a:endParaRPr>
          </a:p>
        </p:txBody>
      </p:sp>
      <p:sp>
        <p:nvSpPr>
          <p:cNvPr id="6" name="Rectangle 5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32931" y="1159062"/>
            <a:ext cx="4917293" cy="332064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46" name="Rectangle 45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32931" y="1145615"/>
            <a:ext cx="4917293" cy="35083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>
          <a:xfrm>
            <a:off x="119063" y="230190"/>
            <a:ext cx="8618537" cy="584775"/>
          </a:xfrm>
        </p:spPr>
        <p:txBody>
          <a:bodyPr/>
          <a:lstStyle/>
          <a:p>
            <a:r>
              <a:rPr lang="en-US" dirty="0"/>
              <a:t>Prioritize establishing community block farms that clear new land and aggregate production</a:t>
            </a:r>
          </a:p>
        </p:txBody>
      </p:sp>
      <p:sp>
        <p:nvSpPr>
          <p:cNvPr id="8" name="Rectangle 31"/>
          <p:cNvSpPr txBox="1">
            <a:spLocks/>
          </p:cNvSpPr>
          <p:nvPr/>
        </p:nvSpPr>
        <p:spPr bwMode="gray">
          <a:xfrm>
            <a:off x="325994" y="1565090"/>
            <a:ext cx="3672800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500" dirty="0"/>
              <a:t>Support </a:t>
            </a:r>
            <a:r>
              <a:rPr lang="en-US" sz="1500" b="1" dirty="0">
                <a:solidFill>
                  <a:schemeClr val="tx2"/>
                </a:solidFill>
              </a:rPr>
              <a:t>300 community block farms </a:t>
            </a:r>
            <a:r>
              <a:rPr lang="en-US" sz="1500" dirty="0"/>
              <a:t>over a 3 year period</a:t>
            </a:r>
            <a:endParaRPr lang="en-US" sz="1500" b="1" dirty="0">
              <a:solidFill>
                <a:schemeClr val="tx2"/>
              </a:solidFill>
            </a:endParaRPr>
          </a:p>
          <a:p>
            <a:pPr lvl="2"/>
            <a:r>
              <a:rPr lang="en-US" sz="1500" dirty="0"/>
              <a:t>Each farm has </a:t>
            </a:r>
            <a:r>
              <a:rPr lang="en-US" sz="1500" b="1" dirty="0">
                <a:solidFill>
                  <a:schemeClr val="tx2"/>
                </a:solidFill>
              </a:rPr>
              <a:t>100 smallholders </a:t>
            </a:r>
            <a:r>
              <a:rPr lang="en-US" sz="1500" dirty="0"/>
              <a:t>with </a:t>
            </a:r>
            <a:r>
              <a:rPr lang="en-US" sz="1500" b="1" dirty="0">
                <a:solidFill>
                  <a:schemeClr val="tx2"/>
                </a:solidFill>
              </a:rPr>
              <a:t>5 feddans/farmer </a:t>
            </a:r>
          </a:p>
          <a:p>
            <a:pPr lvl="2"/>
            <a:r>
              <a:rPr lang="en-US" sz="1500" dirty="0"/>
              <a:t>Subsidize land clearance</a:t>
            </a:r>
            <a:endParaRPr lang="en-US" sz="1500" b="1" dirty="0">
              <a:solidFill>
                <a:schemeClr val="tx2"/>
              </a:solidFill>
            </a:endParaRPr>
          </a:p>
          <a:p>
            <a:pPr lvl="2"/>
            <a:r>
              <a:rPr lang="en-US" sz="1500" b="1" dirty="0">
                <a:solidFill>
                  <a:schemeClr val="tx2"/>
                </a:solidFill>
              </a:rPr>
              <a:t>Provide intensive training through extension </a:t>
            </a:r>
            <a:r>
              <a:rPr lang="en-US" sz="1500" dirty="0"/>
              <a:t>and subsidize seeds, crop protection and plowing</a:t>
            </a:r>
          </a:p>
          <a:p>
            <a:pPr lvl="2"/>
            <a:r>
              <a:rPr lang="en-US" sz="1500" b="1" dirty="0">
                <a:solidFill>
                  <a:schemeClr val="tx2"/>
                </a:solidFill>
              </a:rPr>
              <a:t>Construct warehouses</a:t>
            </a:r>
            <a:r>
              <a:rPr lang="en-US" sz="1500" dirty="0">
                <a:solidFill>
                  <a:schemeClr val="tx2"/>
                </a:solidFill>
              </a:rPr>
              <a:t> </a:t>
            </a:r>
            <a:r>
              <a:rPr lang="en-US" sz="1500" dirty="0"/>
              <a:t>to aggregate  output on each farm</a:t>
            </a:r>
            <a:endParaRPr lang="en-US" sz="1500" b="1" dirty="0"/>
          </a:p>
        </p:txBody>
      </p:sp>
      <p:sp>
        <p:nvSpPr>
          <p:cNvPr id="3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281465" y="1205617"/>
            <a:ext cx="4152863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/>
            <a:r>
              <a:rPr lang="en-US" sz="1500" b="1" dirty="0">
                <a:solidFill>
                  <a:schemeClr val="accent4"/>
                </a:solidFill>
              </a:rPr>
              <a:t>The interventions will be:</a:t>
            </a:r>
          </a:p>
        </p:txBody>
      </p:sp>
      <p:sp>
        <p:nvSpPr>
          <p:cNvPr id="12" name="Rectangle 11"/>
          <p:cNvSpPr/>
          <p:nvPr>
            <p:custDataLst>
              <p:tags r:id="rId7"/>
            </p:custDataLst>
          </p:nvPr>
        </p:nvSpPr>
        <p:spPr bwMode="gray">
          <a:xfrm>
            <a:off x="232932" y="967070"/>
            <a:ext cx="4771264" cy="96768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13" name="Right Triangle 12"/>
          <p:cNvSpPr/>
          <p:nvPr>
            <p:custDataLst>
              <p:tags r:id="rId8"/>
            </p:custDataLst>
          </p:nvPr>
        </p:nvSpPr>
        <p:spPr bwMode="gray">
          <a:xfrm>
            <a:off x="4773706" y="805143"/>
            <a:ext cx="403413" cy="266702"/>
          </a:xfrm>
          <a:prstGeom prst="rtTriangle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4" name="Rectangle 3"/>
          <p:cNvSpPr/>
          <p:nvPr>
            <p:custDataLst>
              <p:tags r:id="rId9"/>
            </p:custDataLst>
          </p:nvPr>
        </p:nvSpPr>
        <p:spPr bwMode="gray">
          <a:xfrm>
            <a:off x="5534203" y="1984841"/>
            <a:ext cx="2843316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endParaRPr lang="en-US" sz="1500" dirty="0">
              <a:latin typeface="+mn-lt"/>
            </a:endParaRPr>
          </a:p>
          <a:p>
            <a:pPr lvl="1"/>
            <a:r>
              <a:rPr lang="en-US" sz="1500" dirty="0">
                <a:latin typeface="+mn-lt"/>
              </a:rPr>
              <a:t>Engage </a:t>
            </a:r>
            <a:r>
              <a:rPr lang="en-US" sz="1500" b="1" dirty="0">
                <a:solidFill>
                  <a:schemeClr val="tx2"/>
                </a:solidFill>
                <a:latin typeface="+mn-lt"/>
              </a:rPr>
              <a:t>15,000 farmers</a:t>
            </a:r>
            <a:r>
              <a:rPr lang="en-US" sz="1500" dirty="0">
                <a:latin typeface="+mn-lt"/>
              </a:rPr>
              <a:t> over 3 years </a:t>
            </a:r>
          </a:p>
        </p:txBody>
      </p:sp>
      <p:sp>
        <p:nvSpPr>
          <p:cNvPr id="58" name="Rectangle 57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5325036" y="1246093"/>
            <a:ext cx="3466540" cy="379157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59" name="Rectangle 58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5325036" y="1151965"/>
            <a:ext cx="3466540" cy="350837"/>
          </a:xfrm>
          <a:prstGeom prst="rect">
            <a:avLst/>
          </a:prstGeom>
          <a:solidFill>
            <a:schemeClr val="accent6">
              <a:lumMod val="75000"/>
            </a:schemeClr>
          </a:solidFill>
          <a:ln w="1905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60" name="Rectangle 31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5394132" y="1205617"/>
            <a:ext cx="3290406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indent="0"/>
            <a:r>
              <a:rPr lang="en-US" sz="1500" b="1" dirty="0">
                <a:solidFill>
                  <a:schemeClr val="bg1"/>
                </a:solidFill>
              </a:rPr>
              <a:t>The projected results and costs:</a:t>
            </a:r>
          </a:p>
        </p:txBody>
      </p:sp>
      <p:sp>
        <p:nvSpPr>
          <p:cNvPr id="72" name="Rectangle 71"/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5325036" y="976595"/>
            <a:ext cx="3466540" cy="95250"/>
          </a:xfrm>
          <a:prstGeom prst="rect">
            <a:avLst/>
          </a:prstGeom>
          <a:solidFill>
            <a:schemeClr val="accent6">
              <a:lumMod val="75000"/>
            </a:schemeClr>
          </a:solidFill>
          <a:ln w="9525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254000" y="5161192"/>
            <a:ext cx="4896224" cy="1199564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 dirty="0" err="1">
              <a:solidFill>
                <a:schemeClr val="tx1"/>
              </a:solidFill>
            </a:endParaRPr>
          </a:p>
        </p:txBody>
      </p:sp>
      <p:sp>
        <p:nvSpPr>
          <p:cNvPr id="76" name="Rectangle 3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224725" y="4637997"/>
            <a:ext cx="4787678" cy="11541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 sz="1500"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 sz="1500"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500" b="1" dirty="0">
                <a:solidFill>
                  <a:srgbClr val="C00000"/>
                </a:solidFill>
              </a:rPr>
              <a:t>Critical requirements for success</a:t>
            </a:r>
            <a:r>
              <a:rPr lang="en-US" sz="1500" b="1" dirty="0">
                <a:solidFill>
                  <a:schemeClr val="tx2"/>
                </a:solidFill>
              </a:rPr>
              <a:t>:</a:t>
            </a:r>
          </a:p>
          <a:p>
            <a:pPr lvl="1"/>
            <a:r>
              <a:rPr lang="en-US" dirty="0"/>
              <a:t>Funding and labor mobilized quickly to clear huge amounts of land (possible army or </a:t>
            </a:r>
            <a:r>
              <a:rPr lang="en-US" dirty="0" err="1"/>
              <a:t>DDR</a:t>
            </a:r>
            <a:r>
              <a:rPr lang="en-US" dirty="0"/>
              <a:t> program)</a:t>
            </a:r>
          </a:p>
          <a:p>
            <a:pPr lvl="1"/>
            <a:r>
              <a:rPr lang="en-US" dirty="0"/>
              <a:t>Market focused training and connection to output markets</a:t>
            </a:r>
          </a:p>
        </p:txBody>
      </p:sp>
      <p:sp>
        <p:nvSpPr>
          <p:cNvPr id="77" name="Rectangle 31"/>
          <p:cNvSpPr txBox="1">
            <a:spLocks/>
          </p:cNvSpPr>
          <p:nvPr/>
        </p:nvSpPr>
        <p:spPr bwMode="gray">
          <a:xfrm>
            <a:off x="5352333" y="1565090"/>
            <a:ext cx="3379478" cy="32431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30000"/>
              </a:spcBef>
            </a:pPr>
            <a:r>
              <a:rPr lang="en-US" sz="1500" dirty="0"/>
              <a:t>Support </a:t>
            </a:r>
            <a:r>
              <a:rPr lang="en-US" sz="1500" b="1" dirty="0">
                <a:solidFill>
                  <a:schemeClr val="tx2"/>
                </a:solidFill>
              </a:rPr>
              <a:t>30,000 farmers over 3 years</a:t>
            </a:r>
            <a:r>
              <a:rPr lang="en-US" sz="1500" dirty="0"/>
              <a:t> with public funds and farmer/ association:</a:t>
            </a:r>
          </a:p>
          <a:p>
            <a:pPr lvl="2">
              <a:spcBef>
                <a:spcPct val="15000"/>
              </a:spcBef>
            </a:pPr>
            <a:r>
              <a:rPr lang="en-US" sz="1500" dirty="0"/>
              <a:t>Cultivated land from</a:t>
            </a:r>
            <a:r>
              <a:rPr lang="en-US" sz="1500" dirty="0">
                <a:solidFill>
                  <a:schemeClr val="tx2"/>
                </a:solidFill>
              </a:rPr>
              <a:t> </a:t>
            </a:r>
            <a:r>
              <a:rPr lang="en-US" sz="1500" b="1" dirty="0">
                <a:solidFill>
                  <a:schemeClr val="tx2"/>
                </a:solidFill>
              </a:rPr>
              <a:t>5 to 10 feddans </a:t>
            </a:r>
            <a:r>
              <a:rPr lang="en-US" sz="1500" dirty="0"/>
              <a:t>(2 at home; 2 on block)</a:t>
            </a:r>
            <a:endParaRPr lang="en-US" sz="1500" b="1" dirty="0"/>
          </a:p>
          <a:p>
            <a:pPr lvl="2">
              <a:spcBef>
                <a:spcPct val="15000"/>
              </a:spcBef>
            </a:pPr>
            <a:r>
              <a:rPr lang="en-US" sz="1500" dirty="0"/>
              <a:t>Yield from </a:t>
            </a:r>
            <a:r>
              <a:rPr lang="en-US" sz="1500" b="1" dirty="0">
                <a:solidFill>
                  <a:schemeClr val="tx2"/>
                </a:solidFill>
              </a:rPr>
              <a:t>0.4 to 1.2 MT/</a:t>
            </a:r>
            <a:r>
              <a:rPr lang="en-US" sz="1500" b="1" dirty="0" err="1">
                <a:solidFill>
                  <a:schemeClr val="tx2"/>
                </a:solidFill>
              </a:rPr>
              <a:t>feddan</a:t>
            </a:r>
            <a:r>
              <a:rPr lang="en-US" sz="1500" b="1" dirty="0"/>
              <a:t> </a:t>
            </a:r>
          </a:p>
          <a:p>
            <a:pPr lvl="2">
              <a:spcBef>
                <a:spcPct val="15000"/>
              </a:spcBef>
            </a:pPr>
            <a:r>
              <a:rPr lang="en-US" sz="1500" dirty="0"/>
              <a:t>Post-harvest loss reduces from </a:t>
            </a:r>
            <a:r>
              <a:rPr lang="en-US" sz="1500" b="1" dirty="0">
                <a:solidFill>
                  <a:schemeClr val="tx2"/>
                </a:solidFill>
              </a:rPr>
              <a:t>30% to 15%</a:t>
            </a:r>
          </a:p>
          <a:p>
            <a:pPr lvl="2">
              <a:spcBef>
                <a:spcPct val="15000"/>
              </a:spcBef>
            </a:pPr>
            <a:r>
              <a:rPr lang="en-US" sz="1500" dirty="0"/>
              <a:t>Participating farmers also improve home plot production</a:t>
            </a:r>
          </a:p>
          <a:p>
            <a:pPr lvl="2">
              <a:spcBef>
                <a:spcPct val="15000"/>
              </a:spcBef>
            </a:pPr>
            <a:r>
              <a:rPr lang="en-US" sz="1500" dirty="0"/>
              <a:t>Farmers go to market with surplus</a:t>
            </a:r>
          </a:p>
          <a:p>
            <a:pPr lvl="1">
              <a:spcBef>
                <a:spcPct val="30000"/>
              </a:spcBef>
            </a:pPr>
            <a:r>
              <a:rPr lang="en-US" sz="1500" dirty="0" err="1"/>
              <a:t>Rehabiliate</a:t>
            </a:r>
            <a:r>
              <a:rPr lang="en-US" sz="1500" dirty="0"/>
              <a:t> </a:t>
            </a:r>
            <a:r>
              <a:rPr lang="en-US" sz="1500" b="1" dirty="0">
                <a:solidFill>
                  <a:schemeClr val="tx2"/>
                </a:solidFill>
              </a:rPr>
              <a:t>326 kms</a:t>
            </a:r>
            <a:r>
              <a:rPr lang="en-US" sz="1500" dirty="0">
                <a:solidFill>
                  <a:schemeClr val="tx2"/>
                </a:solidFill>
              </a:rPr>
              <a:t> </a:t>
            </a:r>
            <a:r>
              <a:rPr lang="en-US" sz="1500" dirty="0"/>
              <a:t>of road at</a:t>
            </a:r>
            <a:r>
              <a:rPr lang="en-US" sz="1500" dirty="0">
                <a:solidFill>
                  <a:schemeClr val="tx2"/>
                </a:solidFill>
              </a:rPr>
              <a:t> </a:t>
            </a:r>
            <a:r>
              <a:rPr lang="en-US" sz="1500" b="1" dirty="0">
                <a:solidFill>
                  <a:schemeClr val="tx2"/>
                </a:solidFill>
              </a:rPr>
              <a:t>……….SSP</a:t>
            </a:r>
          </a:p>
        </p:txBody>
      </p:sp>
      <p:sp>
        <p:nvSpPr>
          <p:cNvPr id="7" name="TextBox 13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5252720" y="5161192"/>
            <a:ext cx="3538856" cy="1199564"/>
          </a:xfrm>
          <a:prstGeom prst="roundRect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lvl="1" indent="0">
              <a:spcBef>
                <a:spcPct val="10000"/>
              </a:spcBef>
              <a:buNone/>
            </a:pPr>
            <a:r>
              <a:rPr lang="en-US" sz="1500" b="1" dirty="0">
                <a:solidFill>
                  <a:schemeClr val="bg2"/>
                </a:solidFill>
              </a:rPr>
              <a:t>Agriculture cost: </a:t>
            </a:r>
            <a:r>
              <a:rPr lang="en-US" sz="1500" dirty="0">
                <a:solidFill>
                  <a:schemeClr val="bg2"/>
                </a:solidFill>
              </a:rPr>
              <a:t>SSP ……..</a:t>
            </a:r>
          </a:p>
          <a:p>
            <a:pPr marL="0" lvl="1" indent="0">
              <a:spcBef>
                <a:spcPct val="10000"/>
              </a:spcBef>
              <a:buNone/>
            </a:pPr>
            <a:r>
              <a:rPr lang="en-US" sz="1500" b="1" dirty="0">
                <a:solidFill>
                  <a:schemeClr val="bg2"/>
                </a:solidFill>
              </a:rPr>
              <a:t>Infrastructure cost: </a:t>
            </a:r>
            <a:r>
              <a:rPr lang="en-US" sz="1500" dirty="0">
                <a:solidFill>
                  <a:schemeClr val="bg2"/>
                </a:solidFill>
              </a:rPr>
              <a:t>SSP ……….</a:t>
            </a:r>
          </a:p>
          <a:p>
            <a:pPr marL="0" lvl="1" indent="0">
              <a:spcBef>
                <a:spcPct val="10000"/>
              </a:spcBef>
              <a:buNone/>
            </a:pPr>
            <a:r>
              <a:rPr lang="en-US" sz="1500" b="1" dirty="0">
                <a:solidFill>
                  <a:schemeClr val="bg2"/>
                </a:solidFill>
              </a:rPr>
              <a:t>Total cost: </a:t>
            </a:r>
            <a:r>
              <a:rPr lang="en-US" sz="1500" dirty="0">
                <a:solidFill>
                  <a:schemeClr val="bg2"/>
                </a:solidFill>
              </a:rPr>
              <a:t>SSP ……..</a:t>
            </a:r>
          </a:p>
        </p:txBody>
      </p:sp>
      <p:sp>
        <p:nvSpPr>
          <p:cNvPr id="82" name="Rectangle 31"/>
          <p:cNvSpPr txBox="1">
            <a:spLocks/>
          </p:cNvSpPr>
          <p:nvPr>
            <p:custDataLst>
              <p:tags r:id="rId17"/>
            </p:custDataLst>
          </p:nvPr>
        </p:nvSpPr>
        <p:spPr bwMode="gray">
          <a:xfrm>
            <a:off x="289997" y="3995488"/>
            <a:ext cx="4824230" cy="230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500" dirty="0"/>
              <a:t>Rehabilitate </a:t>
            </a:r>
            <a:r>
              <a:rPr lang="en-US" sz="1500" b="1" dirty="0">
                <a:solidFill>
                  <a:schemeClr val="tx2"/>
                </a:solidFill>
              </a:rPr>
              <a:t>feeder roads the production areas</a:t>
            </a:r>
          </a:p>
        </p:txBody>
      </p:sp>
      <p:pic>
        <p:nvPicPr>
          <p:cNvPr id="35" name="Picture 2" descr="http://www.oxfamblogs.org/eastafrica/wp-content/uploads/2010/09/Sudan13793483.jpg"/>
          <p:cNvPicPr>
            <a:picLocks noChangeArrowheads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4050375" y="2039535"/>
            <a:ext cx="1036257" cy="9671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248000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254535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Picture 8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>
            <p:custDataLst>
              <p:tags r:id="rId2"/>
            </p:custDataLst>
          </p:nvPr>
        </p:nvSpPr>
        <p:spPr>
          <a:xfrm>
            <a:off x="5441576" y="2037745"/>
            <a:ext cx="2810436" cy="3099504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" name="Pentagon 2"/>
          <p:cNvSpPr/>
          <p:nvPr>
            <p:custDataLst>
              <p:tags r:id="rId3"/>
            </p:custDataLst>
          </p:nvPr>
        </p:nvSpPr>
        <p:spPr>
          <a:xfrm>
            <a:off x="119062" y="954741"/>
            <a:ext cx="5360753" cy="5338483"/>
          </a:xfrm>
          <a:prstGeom prst="homePlate">
            <a:avLst>
              <a:gd name="adj" fmla="val 4570"/>
            </a:avLst>
          </a:prstGeom>
          <a:solidFill>
            <a:schemeClr val="accent6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19063" y="230190"/>
            <a:ext cx="8618537" cy="292388"/>
          </a:xfrm>
        </p:spPr>
        <p:txBody>
          <a:bodyPr/>
          <a:lstStyle/>
          <a:p>
            <a:r>
              <a:rPr lang="en-US" dirty="0"/>
              <a:t>Key success factors for self-sustaining block farms</a:t>
            </a:r>
          </a:p>
        </p:txBody>
      </p:sp>
      <p:sp>
        <p:nvSpPr>
          <p:cNvPr id="6" name="Rectangle 6"/>
          <p:cNvSpPr txBox="1"/>
          <p:nvPr>
            <p:custDataLst>
              <p:tags r:id="rId5"/>
            </p:custDataLst>
          </p:nvPr>
        </p:nvSpPr>
        <p:spPr>
          <a:xfrm>
            <a:off x="344091" y="1175534"/>
            <a:ext cx="258365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/>
              <a:t>What will it take?</a:t>
            </a:r>
            <a:endParaRPr lang="en-US" sz="1800" dirty="0"/>
          </a:p>
        </p:txBody>
      </p:sp>
      <p:sp>
        <p:nvSpPr>
          <p:cNvPr id="8" name="Rectangle 7"/>
          <p:cNvSpPr/>
          <p:nvPr>
            <p:custDataLst>
              <p:tags r:id="rId6"/>
            </p:custDataLst>
          </p:nvPr>
        </p:nvSpPr>
        <p:spPr>
          <a:xfrm>
            <a:off x="371475" y="1903038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4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0731" y="1660193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14" name="Rectangle 13"/>
          <p:cNvSpPr/>
          <p:nvPr>
            <p:custDataLst>
              <p:tags r:id="rId8"/>
            </p:custDataLst>
          </p:nvPr>
        </p:nvSpPr>
        <p:spPr>
          <a:xfrm>
            <a:off x="371475" y="3414642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5" name="Rectangle 142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20731" y="3171797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16" name="Rectangle 15"/>
          <p:cNvSpPr/>
          <p:nvPr>
            <p:custDataLst>
              <p:tags r:id="rId10"/>
            </p:custDataLst>
          </p:nvPr>
        </p:nvSpPr>
        <p:spPr>
          <a:xfrm>
            <a:off x="371475" y="4936204"/>
            <a:ext cx="352425" cy="352425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7" name="Rectangle 142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0731" y="4693359"/>
            <a:ext cx="50863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marR="0" lvl="0" indent="0" defTabSz="803384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0" cap="none" spc="0" normalizeH="0" baseline="0" noProof="0" dirty="0">
                <a:ln>
                  <a:noFill/>
                </a:ln>
                <a:solidFill>
                  <a:srgbClr val="92D050"/>
                </a:solidFill>
                <a:effectLst/>
                <a:uLnTx/>
                <a:uFillTx/>
                <a:latin typeface="Wingdings" pitchFamily="2" charset="2"/>
              </a:rPr>
              <a:t>ü</a:t>
            </a:r>
          </a:p>
        </p:txBody>
      </p:sp>
      <p:sp>
        <p:nvSpPr>
          <p:cNvPr id="18" name="Rectangle 6"/>
          <p:cNvSpPr txBox="1"/>
          <p:nvPr>
            <p:custDataLst>
              <p:tags r:id="rId12"/>
            </p:custDataLst>
          </p:nvPr>
        </p:nvSpPr>
        <p:spPr>
          <a:xfrm>
            <a:off x="986818" y="1732388"/>
            <a:ext cx="4194782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dirty="0"/>
              <a:t>Identify and develop capable </a:t>
            </a:r>
            <a:r>
              <a:rPr lang="en-US" sz="1800" b="1" dirty="0"/>
              <a:t>farm managers </a:t>
            </a:r>
            <a:r>
              <a:rPr lang="en-US" sz="1800" dirty="0"/>
              <a:t>for block farm operations—ensuring managers are incentivized based on farm success</a:t>
            </a:r>
          </a:p>
        </p:txBody>
      </p:sp>
      <p:sp>
        <p:nvSpPr>
          <p:cNvPr id="21" name="Rectangle 6"/>
          <p:cNvSpPr txBox="1"/>
          <p:nvPr>
            <p:custDataLst>
              <p:tags r:id="rId13"/>
            </p:custDataLst>
          </p:nvPr>
        </p:nvSpPr>
        <p:spPr>
          <a:xfrm>
            <a:off x="986818" y="3253278"/>
            <a:ext cx="4194781" cy="1107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dirty="0"/>
              <a:t>Facilitate </a:t>
            </a:r>
            <a:r>
              <a:rPr lang="en-US" sz="1800" b="1" dirty="0"/>
              <a:t>access to finance and training </a:t>
            </a:r>
            <a:r>
              <a:rPr lang="en-US" sz="1800" dirty="0"/>
              <a:t>for each block farm to ensure success after development partners leave</a:t>
            </a:r>
            <a:endParaRPr lang="en-US" sz="1800" b="1" dirty="0"/>
          </a:p>
        </p:txBody>
      </p:sp>
      <p:sp>
        <p:nvSpPr>
          <p:cNvPr id="22" name="Rectangle 6"/>
          <p:cNvSpPr txBox="1"/>
          <p:nvPr>
            <p:custDataLst>
              <p:tags r:id="rId14"/>
            </p:custDataLst>
          </p:nvPr>
        </p:nvSpPr>
        <p:spPr>
          <a:xfrm>
            <a:off x="986818" y="4774041"/>
            <a:ext cx="4194781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b="1" dirty="0"/>
              <a:t>Connect block farms to institutional buyers and private traders </a:t>
            </a:r>
            <a:r>
              <a:rPr lang="en-US" sz="1800" dirty="0"/>
              <a:t>to purchase harvest</a:t>
            </a:r>
          </a:p>
        </p:txBody>
      </p:sp>
      <p:sp>
        <p:nvSpPr>
          <p:cNvPr id="23" name="Rectangle 6"/>
          <p:cNvSpPr txBox="1"/>
          <p:nvPr>
            <p:custDataLst>
              <p:tags r:id="rId15"/>
            </p:custDataLst>
          </p:nvPr>
        </p:nvSpPr>
        <p:spPr>
          <a:xfrm>
            <a:off x="5668356" y="2309581"/>
            <a:ext cx="2583656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accent4"/>
                </a:solidFill>
              </a:rPr>
              <a:t>What will be created?</a:t>
            </a:r>
            <a:endParaRPr lang="en-US" sz="1800" dirty="0">
              <a:solidFill>
                <a:schemeClr val="accent4"/>
              </a:solidFill>
            </a:endParaRPr>
          </a:p>
        </p:txBody>
      </p:sp>
      <p:sp>
        <p:nvSpPr>
          <p:cNvPr id="24" name="Rectangle 6"/>
          <p:cNvSpPr txBox="1"/>
          <p:nvPr>
            <p:custDataLst>
              <p:tags r:id="rId16"/>
            </p:custDataLst>
          </p:nvPr>
        </p:nvSpPr>
        <p:spPr>
          <a:xfrm>
            <a:off x="5668356" y="3059512"/>
            <a:ext cx="2355056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800" b="1" dirty="0">
                <a:solidFill>
                  <a:schemeClr val="accent4"/>
                </a:solidFill>
              </a:rPr>
              <a:t>Self-sustaining block farms </a:t>
            </a:r>
            <a:r>
              <a:rPr lang="en-US" sz="1800" dirty="0">
                <a:solidFill>
                  <a:schemeClr val="accent4"/>
                </a:solidFill>
              </a:rPr>
              <a:t>that are </a:t>
            </a:r>
            <a:r>
              <a:rPr lang="en-US" sz="1800" b="1" dirty="0">
                <a:solidFill>
                  <a:schemeClr val="accent4"/>
                </a:solidFill>
              </a:rPr>
              <a:t>business-minded</a:t>
            </a:r>
            <a:r>
              <a:rPr lang="en-US" sz="1800" dirty="0">
                <a:solidFill>
                  <a:schemeClr val="accent4"/>
                </a:solidFill>
              </a:rPr>
              <a:t> and </a:t>
            </a:r>
            <a:r>
              <a:rPr lang="en-US" sz="1800" b="1" dirty="0">
                <a:solidFill>
                  <a:schemeClr val="accent4"/>
                </a:solidFill>
              </a:rPr>
              <a:t>do not need ongoing subsidies or support</a:t>
            </a:r>
            <a:r>
              <a:rPr lang="en-US" sz="1800" dirty="0">
                <a:solidFill>
                  <a:schemeClr val="accent4"/>
                </a:solidFill>
              </a:rPr>
              <a:t> </a:t>
            </a:r>
            <a:endParaRPr lang="en-US" sz="1800" b="1" dirty="0">
              <a:solidFill>
                <a:schemeClr val="accent4"/>
              </a:solidFill>
            </a:endParaRPr>
          </a:p>
          <a:p>
            <a:pPr marL="1587" lvl="1" indent="0">
              <a:buNone/>
            </a:pPr>
            <a:endParaRPr lang="en-US" sz="1800" b="1" dirty="0">
              <a:solidFill>
                <a:schemeClr val="accent4"/>
              </a:solidFill>
            </a:endParaRPr>
          </a:p>
        </p:txBody>
      </p:sp>
      <p:cxnSp>
        <p:nvCxnSpPr>
          <p:cNvPr id="9" name="Straight Connector 8"/>
          <p:cNvCxnSpPr>
            <a:cxnSpLocks/>
          </p:cNvCxnSpPr>
          <p:nvPr>
            <p:custDataLst>
              <p:tags r:id="rId17"/>
            </p:custDataLst>
          </p:nvPr>
        </p:nvCxnSpPr>
        <p:spPr>
          <a:xfrm>
            <a:off x="344091" y="1592958"/>
            <a:ext cx="4066544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5668356" y="2783777"/>
            <a:ext cx="2355056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344090" y="2894936"/>
            <a:ext cx="4837509" cy="1525763"/>
            <a:chOff x="344091" y="2894936"/>
            <a:chExt cx="4066544" cy="1525763"/>
          </a:xfrm>
        </p:grpSpPr>
        <p:cxnSp>
          <p:nvCxnSpPr>
            <p:cNvPr id="27" name="Straight Connector 26"/>
            <p:cNvCxnSpPr>
              <a:cxnSpLocks/>
            </p:cNvCxnSpPr>
            <p:nvPr/>
          </p:nvCxnSpPr>
          <p:spPr>
            <a:xfrm>
              <a:off x="344091" y="2894936"/>
              <a:ext cx="4066544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>
              <a:cxnSpLocks/>
            </p:cNvCxnSpPr>
            <p:nvPr/>
          </p:nvCxnSpPr>
          <p:spPr>
            <a:xfrm>
              <a:off x="344091" y="4420699"/>
              <a:ext cx="4066544" cy="0"/>
            </a:xfrm>
            <a:prstGeom prst="line">
              <a:avLst/>
            </a:prstGeom>
            <a:ln>
              <a:solidFill>
                <a:schemeClr val="accent6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19175712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0838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60" imgH="360" progId="">
                  <p:embed/>
                </p:oleObj>
              </mc:Choice>
              <mc:Fallback>
                <p:oleObj name="think-cell Slide" r:id="rId40" imgW="360" imgH="360" progId="">
                  <p:embed/>
                  <p:pic>
                    <p:nvPicPr>
                      <p:cNvPr id="0" name="Picture 2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3" name="Rectangle 7"/>
          <p:cNvSpPr txBox="1">
            <a:spLocks/>
          </p:cNvSpPr>
          <p:nvPr>
            <p:custDataLst>
              <p:tags r:id="rId2"/>
            </p:custDataLst>
          </p:nvPr>
        </p:nvSpPr>
        <p:spPr bwMode="gray">
          <a:xfrm>
            <a:off x="7277750" y="877506"/>
            <a:ext cx="683712" cy="402723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accent4"/>
                </a:solidFill>
              </a:rPr>
              <a:t>Private/Farmer</a:t>
            </a:r>
          </a:p>
        </p:txBody>
      </p:sp>
      <p:sp>
        <p:nvSpPr>
          <p:cNvPr id="194" name="Rectangle 7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6458939" y="877506"/>
            <a:ext cx="683712" cy="402724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accent4"/>
                </a:solidFill>
              </a:rPr>
              <a:t>Public/Donor</a:t>
            </a:r>
          </a:p>
        </p:txBody>
      </p:sp>
      <p:sp>
        <p:nvSpPr>
          <p:cNvPr id="195" name="Rectangle 7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8096561" y="877506"/>
            <a:ext cx="683712" cy="402723"/>
          </a:xfrm>
          <a:prstGeom prst="rect">
            <a:avLst/>
          </a:prstGeom>
          <a:solidFill>
            <a:schemeClr val="accent4"/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0" rIns="0" bIns="4572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bg1"/>
                </a:solidFill>
              </a:rPr>
              <a:t>Tota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 bwMode="gray"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mmary: Block Farming Investment Plan</a:t>
            </a:r>
          </a:p>
        </p:txBody>
      </p:sp>
      <p:sp>
        <p:nvSpPr>
          <p:cNvPr id="192" name="Rectangle 4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6458939" y="540558"/>
            <a:ext cx="232133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tx2"/>
                </a:solidFill>
              </a:rPr>
              <a:t>3-year costs, </a:t>
            </a:r>
            <a:r>
              <a:rPr lang="en-US" sz="1300" dirty="0" err="1">
                <a:solidFill>
                  <a:schemeClr val="accent6"/>
                </a:solidFill>
              </a:rPr>
              <a:t>SSP</a:t>
            </a:r>
            <a:r>
              <a:rPr lang="en-US" sz="1300" dirty="0">
                <a:solidFill>
                  <a:schemeClr val="accent6"/>
                </a:solidFill>
              </a:rPr>
              <a:t>, ‘000</a:t>
            </a:r>
          </a:p>
        </p:txBody>
      </p:sp>
      <p:cxnSp>
        <p:nvCxnSpPr>
          <p:cNvPr id="196" name="Straight Connector 195"/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6458939" y="768321"/>
            <a:ext cx="2321334" cy="0"/>
          </a:xfrm>
          <a:prstGeom prst="line">
            <a:avLst/>
          </a:prstGeom>
          <a:ln w="9525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8" name="Rectangle 4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2116872" y="1040193"/>
            <a:ext cx="4437221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tx2"/>
                </a:solidFill>
              </a:rPr>
              <a:t>Major activities (over 3 years)</a:t>
            </a:r>
          </a:p>
        </p:txBody>
      </p:sp>
      <p:sp>
        <p:nvSpPr>
          <p:cNvPr id="170" name="Rectangle 4"/>
          <p:cNvSpPr txBox="1">
            <a:spLocks/>
          </p:cNvSpPr>
          <p:nvPr>
            <p:custDataLst>
              <p:tags r:id="rId9"/>
            </p:custDataLst>
          </p:nvPr>
        </p:nvSpPr>
        <p:spPr bwMode="gray">
          <a:xfrm>
            <a:off x="119063" y="1185693"/>
            <a:ext cx="1175461" cy="182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300" b="1" dirty="0">
                <a:solidFill>
                  <a:schemeClr val="tx2"/>
                </a:solidFill>
              </a:rPr>
              <a:t>Component</a:t>
            </a:r>
          </a:p>
        </p:txBody>
      </p:sp>
      <p:sp>
        <p:nvSpPr>
          <p:cNvPr id="206" name="Rectangle 4"/>
          <p:cNvSpPr txBox="1">
            <a:spLocks/>
          </p:cNvSpPr>
          <p:nvPr>
            <p:custDataLst>
              <p:tags r:id="rId10"/>
            </p:custDataLst>
          </p:nvPr>
        </p:nvSpPr>
        <p:spPr bwMode="gray">
          <a:xfrm>
            <a:off x="7316799" y="1313880"/>
            <a:ext cx="60561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300" b="1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232" name="Rectangle 30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2116872" y="1313880"/>
            <a:ext cx="4437221" cy="860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Identify 90 farm groups interested in block farming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Develop and agree by-laws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Build capacity for group to work as an institution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Select and hire farm managers</a:t>
            </a:r>
          </a:p>
        </p:txBody>
      </p:sp>
      <p:sp>
        <p:nvSpPr>
          <p:cNvPr id="172" name="Rectangle 121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119063" y="1450360"/>
            <a:ext cx="1913383" cy="62888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Group formation</a:t>
            </a:r>
          </a:p>
        </p:txBody>
      </p:sp>
      <p:sp>
        <p:nvSpPr>
          <p:cNvPr id="209" name="Rectangle 4"/>
          <p:cNvSpPr txBox="1">
            <a:spLocks/>
          </p:cNvSpPr>
          <p:nvPr>
            <p:custDataLst>
              <p:tags r:id="rId13"/>
            </p:custDataLst>
          </p:nvPr>
        </p:nvSpPr>
        <p:spPr bwMode="gray">
          <a:xfrm>
            <a:off x="7316799" y="2210731"/>
            <a:ext cx="60561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300" b="1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233" name="Rectangle 32"/>
          <p:cNvSpPr txBox="1">
            <a:spLocks/>
          </p:cNvSpPr>
          <p:nvPr>
            <p:custDataLst>
              <p:tags r:id="rId14"/>
            </p:custDataLst>
          </p:nvPr>
        </p:nvSpPr>
        <p:spPr bwMode="gray">
          <a:xfrm>
            <a:off x="2116872" y="2210731"/>
            <a:ext cx="4437221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Secure 90 separate 200-feddan tracts of land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Clear land while reserving necessary trees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Hire surveyor to demarcate farm into 2 </a:t>
            </a:r>
            <a:r>
              <a:rPr lang="en-US" sz="1300" dirty="0" err="1">
                <a:solidFill>
                  <a:srgbClr val="000000"/>
                </a:solidFill>
              </a:rPr>
              <a:t>feddan</a:t>
            </a:r>
            <a:r>
              <a:rPr lang="en-US" sz="1300" dirty="0">
                <a:solidFill>
                  <a:srgbClr val="000000"/>
                </a:solidFill>
              </a:rPr>
              <a:t> plots</a:t>
            </a:r>
          </a:p>
        </p:txBody>
      </p:sp>
      <p:sp>
        <p:nvSpPr>
          <p:cNvPr id="175" name="Rectangle 121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119063" y="2210731"/>
            <a:ext cx="1913383" cy="62888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Land clearance</a:t>
            </a:r>
          </a:p>
        </p:txBody>
      </p:sp>
      <p:pic>
        <p:nvPicPr>
          <p:cNvPr id="176" name="Picture 20" descr="http://www.new-ag.info/image/09/04/poi783_5.jpg"/>
          <p:cNvPicPr>
            <a:picLocks noChangeArrowheads="1"/>
          </p:cNvPicPr>
          <p:nvPr>
            <p:custDataLst>
              <p:tags r:id="rId16"/>
            </p:custDataLst>
          </p:nvPr>
        </p:nvPicPr>
        <p:blipFill>
          <a:blip r:embed="rId4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2239752"/>
            <a:ext cx="887690" cy="5708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</a:ln>
        </p:spPr>
      </p:pic>
      <p:pic>
        <p:nvPicPr>
          <p:cNvPr id="179" name="Picture 70"/>
          <p:cNvPicPr>
            <a:picLocks noChangeArrowheads="1"/>
          </p:cNvPicPr>
          <p:nvPr>
            <p:custDataLst>
              <p:tags r:id="rId17"/>
            </p:custDataLst>
          </p:nvPr>
        </p:nvPicPr>
        <p:blipFill>
          <a:blip r:embed="rId4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1479381"/>
            <a:ext cx="887690" cy="5708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35" name="Rectangle 36"/>
          <p:cNvSpPr txBox="1">
            <a:spLocks/>
          </p:cNvSpPr>
          <p:nvPr>
            <p:custDataLst>
              <p:tags r:id="rId18"/>
            </p:custDataLst>
          </p:nvPr>
        </p:nvSpPr>
        <p:spPr bwMode="gray">
          <a:xfrm>
            <a:off x="2116872" y="2971102"/>
            <a:ext cx="4437221" cy="8602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Conduct on-farm agronomic training course (extension)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Seed purchase (25% subsidy each year)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Plowing and harrowing (100% subsidized in the first year)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Crop protection (50% subsidy each year)</a:t>
            </a:r>
          </a:p>
        </p:txBody>
      </p:sp>
      <p:sp>
        <p:nvSpPr>
          <p:cNvPr id="236" name="Rectangle 38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2103224" y="3937885"/>
            <a:ext cx="4437221" cy="640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Construct 100 MT warehouses 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Train co-op manager on systems and fumigation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Annual fumigation costs (100% subsidy in first year)</a:t>
            </a:r>
          </a:p>
        </p:txBody>
      </p:sp>
      <p:sp>
        <p:nvSpPr>
          <p:cNvPr id="181" name="Rectangle 121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119063" y="2971102"/>
            <a:ext cx="1913383" cy="86023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Farming</a:t>
            </a:r>
          </a:p>
        </p:txBody>
      </p:sp>
      <p:pic>
        <p:nvPicPr>
          <p:cNvPr id="191" name="Picture 2" descr="http://www.oxfamblogs.org/eastafrica/wp-content/uploads/2010/09/Sudan13793483.jpg"/>
          <p:cNvPicPr>
            <a:picLocks noChangeArrowheads="1"/>
          </p:cNvPicPr>
          <p:nvPr>
            <p:custDataLst>
              <p:tags r:id="rId21"/>
            </p:custDataLst>
          </p:nvPr>
        </p:nvPicPr>
        <p:blipFill>
          <a:blip r:embed="rId4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3016038"/>
            <a:ext cx="887690" cy="77036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237" name="Rectangle 40"/>
          <p:cNvSpPr txBox="1">
            <a:spLocks/>
          </p:cNvSpPr>
          <p:nvPr>
            <p:custDataLst>
              <p:tags r:id="rId22"/>
            </p:custDataLst>
          </p:nvPr>
        </p:nvSpPr>
        <p:spPr bwMode="gray">
          <a:xfrm>
            <a:off x="2116872" y="4650955"/>
            <a:ext cx="4437221" cy="8402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Build market information team at the state level to track and communicate prices (3 analysts)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Market-oriented training on how to link to buyers</a:t>
            </a:r>
          </a:p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Radio advertisements of output</a:t>
            </a:r>
          </a:p>
        </p:txBody>
      </p:sp>
      <p:sp>
        <p:nvSpPr>
          <p:cNvPr id="187" name="Rectangle 121"/>
          <p:cNvSpPr txBox="1">
            <a:spLocks/>
          </p:cNvSpPr>
          <p:nvPr>
            <p:custDataLst>
              <p:tags r:id="rId23"/>
            </p:custDataLst>
          </p:nvPr>
        </p:nvSpPr>
        <p:spPr bwMode="gray">
          <a:xfrm>
            <a:off x="119063" y="5432266"/>
            <a:ext cx="1913383" cy="62888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/>
              <a:t>Infra-structure</a:t>
            </a:r>
          </a:p>
        </p:txBody>
      </p:sp>
      <p:pic>
        <p:nvPicPr>
          <p:cNvPr id="188" name="Picture 15"/>
          <p:cNvPicPr>
            <a:picLocks noChangeArrowheads="1"/>
          </p:cNvPicPr>
          <p:nvPr>
            <p:custDataLst>
              <p:tags r:id="rId24"/>
            </p:custDataLst>
          </p:nvPr>
        </p:nvPicPr>
        <p:blipFill rotWithShape="1">
          <a:blip r:embed="rId4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145774" y="5461287"/>
            <a:ext cx="887690" cy="5708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</p:spPr>
      </p:pic>
      <p:sp>
        <p:nvSpPr>
          <p:cNvPr id="221" name="Rectangle 4"/>
          <p:cNvSpPr txBox="1">
            <a:spLocks/>
          </p:cNvSpPr>
          <p:nvPr>
            <p:custDataLst>
              <p:tags r:id="rId25"/>
            </p:custDataLst>
          </p:nvPr>
        </p:nvSpPr>
        <p:spPr bwMode="gray">
          <a:xfrm>
            <a:off x="7316799" y="5596042"/>
            <a:ext cx="605614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 algn="r">
              <a:buNone/>
            </a:pPr>
            <a:r>
              <a:rPr lang="en-US" sz="1300" b="1" dirty="0">
                <a:solidFill>
                  <a:schemeClr val="tx2"/>
                </a:solidFill>
              </a:rPr>
              <a:t>…</a:t>
            </a:r>
          </a:p>
        </p:txBody>
      </p:sp>
      <p:sp>
        <p:nvSpPr>
          <p:cNvPr id="77" name="Rectangle 40"/>
          <p:cNvSpPr txBox="1">
            <a:spLocks/>
          </p:cNvSpPr>
          <p:nvPr>
            <p:custDataLst>
              <p:tags r:id="rId26"/>
            </p:custDataLst>
          </p:nvPr>
        </p:nvSpPr>
        <p:spPr bwMode="gray">
          <a:xfrm>
            <a:off x="2116872" y="5596042"/>
            <a:ext cx="4437221" cy="400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10000"/>
              </a:spcBef>
            </a:pPr>
            <a:r>
              <a:rPr lang="en-US" sz="1300" dirty="0">
                <a:solidFill>
                  <a:srgbClr val="000000"/>
                </a:solidFill>
              </a:rPr>
              <a:t>5 priority feeder roads to connect output and markets within the state</a:t>
            </a:r>
          </a:p>
        </p:txBody>
      </p:sp>
      <p:cxnSp>
        <p:nvCxnSpPr>
          <p:cNvPr id="200" name="Straight Connector 199"/>
          <p:cNvCxnSpPr>
            <a:cxnSpLocks/>
          </p:cNvCxnSpPr>
          <p:nvPr>
            <p:custDataLst>
              <p:tags r:id="rId27"/>
            </p:custDataLst>
          </p:nvPr>
        </p:nvCxnSpPr>
        <p:spPr bwMode="gray">
          <a:xfrm>
            <a:off x="2116872" y="2191577"/>
            <a:ext cx="666340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2" name="Straight Connector 201"/>
          <p:cNvCxnSpPr>
            <a:cxnSpLocks/>
          </p:cNvCxnSpPr>
          <p:nvPr>
            <p:custDataLst>
              <p:tags r:id="rId28"/>
            </p:custDataLst>
          </p:nvPr>
        </p:nvCxnSpPr>
        <p:spPr bwMode="gray">
          <a:xfrm>
            <a:off x="2116872" y="2911004"/>
            <a:ext cx="666340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3" name="Straight Connector 202"/>
          <p:cNvCxnSpPr>
            <a:cxnSpLocks/>
          </p:cNvCxnSpPr>
          <p:nvPr>
            <p:custDataLst>
              <p:tags r:id="rId29"/>
            </p:custDataLst>
          </p:nvPr>
        </p:nvCxnSpPr>
        <p:spPr bwMode="gray">
          <a:xfrm>
            <a:off x="2116872" y="3932379"/>
            <a:ext cx="666340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1" name="Straight Connector 230"/>
          <p:cNvCxnSpPr>
            <a:cxnSpLocks/>
          </p:cNvCxnSpPr>
          <p:nvPr>
            <p:custDataLst>
              <p:tags r:id="rId30"/>
            </p:custDataLst>
          </p:nvPr>
        </p:nvCxnSpPr>
        <p:spPr bwMode="gray">
          <a:xfrm>
            <a:off x="2116872" y="4604505"/>
            <a:ext cx="666340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Straight Connector 92"/>
          <p:cNvCxnSpPr>
            <a:cxnSpLocks/>
          </p:cNvCxnSpPr>
          <p:nvPr>
            <p:custDataLst>
              <p:tags r:id="rId31"/>
            </p:custDataLst>
          </p:nvPr>
        </p:nvCxnSpPr>
        <p:spPr bwMode="gray">
          <a:xfrm>
            <a:off x="2116872" y="5549591"/>
            <a:ext cx="6663401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McK 5. Source"/>
          <p:cNvSpPr>
            <a:spLocks noChangeArrowheads="1"/>
          </p:cNvSpPr>
          <p:nvPr>
            <p:custDataLst>
              <p:tags r:id="rId32"/>
            </p:custDataLst>
          </p:nvPr>
        </p:nvSpPr>
        <p:spPr bwMode="gray">
          <a:xfrm>
            <a:off x="119063" y="6435734"/>
            <a:ext cx="686276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en-US" sz="1000" dirty="0"/>
              <a:t>SOURCE: Ministry of Agriculture,  implementation partner, field  interviews,</a:t>
            </a:r>
          </a:p>
        </p:txBody>
      </p:sp>
      <p:sp>
        <p:nvSpPr>
          <p:cNvPr id="184" name="Rectangle 121"/>
          <p:cNvSpPr txBox="1">
            <a:spLocks/>
          </p:cNvSpPr>
          <p:nvPr>
            <p:custDataLst>
              <p:tags r:id="rId33"/>
            </p:custDataLst>
          </p:nvPr>
        </p:nvSpPr>
        <p:spPr bwMode="gray">
          <a:xfrm>
            <a:off x="119063" y="4691899"/>
            <a:ext cx="1913383" cy="62017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/>
              <a:t>Marketing</a:t>
            </a:r>
            <a:endParaRPr lang="en-US" dirty="0"/>
          </a:p>
        </p:txBody>
      </p:sp>
      <p:pic>
        <p:nvPicPr>
          <p:cNvPr id="182" name="Picture 13"/>
          <p:cNvPicPr>
            <a:picLocks noChangeArrowheads="1"/>
          </p:cNvPicPr>
          <p:nvPr>
            <p:custDataLst>
              <p:tags r:id="rId34"/>
            </p:custDataLst>
          </p:nvPr>
        </p:nvPicPr>
        <p:blipFill>
          <a:blip r:embed="rId4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4716565"/>
            <a:ext cx="887690" cy="5708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190" name="Rectangle 121"/>
          <p:cNvSpPr txBox="1">
            <a:spLocks/>
          </p:cNvSpPr>
          <p:nvPr>
            <p:custDataLst>
              <p:tags r:id="rId35"/>
            </p:custDataLst>
          </p:nvPr>
        </p:nvSpPr>
        <p:spPr bwMode="gray">
          <a:xfrm>
            <a:off x="119063" y="3951533"/>
            <a:ext cx="1913383" cy="620170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885825" lvl="0" indent="0" defTabSz="895350" eaLnBrk="1" hangingPunct="1">
              <a:buClr>
                <a:schemeClr val="tx2"/>
              </a:buClr>
              <a:defRPr sz="1300" b="1" baseline="0">
                <a:solidFill>
                  <a:schemeClr val="tx2"/>
                </a:solidFill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err="1"/>
              <a:t>Aggrega-tion</a:t>
            </a:r>
            <a:endParaRPr lang="en-US" dirty="0"/>
          </a:p>
        </p:txBody>
      </p:sp>
      <p:pic>
        <p:nvPicPr>
          <p:cNvPr id="173" name="Picture 15"/>
          <p:cNvPicPr>
            <a:picLocks noChangeArrowheads="1"/>
          </p:cNvPicPr>
          <p:nvPr>
            <p:custDataLst>
              <p:tags r:id="rId36"/>
            </p:custDataLst>
          </p:nvPr>
        </p:nvPicPr>
        <p:blipFill>
          <a:blip r:embed="rId4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145774" y="3976199"/>
            <a:ext cx="887690" cy="570838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>
                <a:lumMod val="60000"/>
                <a:lumOff val="40000"/>
              </a:schemeClr>
            </a:solidFill>
            <a:miter lim="800000"/>
            <a:headEnd/>
            <a:tailEnd/>
          </a:ln>
          <a:effectLst/>
        </p:spPr>
      </p:pic>
      <p:grpSp>
        <p:nvGrpSpPr>
          <p:cNvPr id="71" name="Group 70"/>
          <p:cNvGrpSpPr/>
          <p:nvPr/>
        </p:nvGrpSpPr>
        <p:grpSpPr>
          <a:xfrm>
            <a:off x="7670706" y="285750"/>
            <a:ext cx="1066894" cy="212366"/>
            <a:chOff x="7670706" y="285750"/>
            <a:chExt cx="1066894" cy="212366"/>
          </a:xfrm>
        </p:grpSpPr>
        <p:sp>
          <p:nvSpPr>
            <p:cNvPr id="72" name="StickerRectangle"/>
            <p:cNvSpPr>
              <a:spLocks noChangeArrowheads="1"/>
            </p:cNvSpPr>
            <p:nvPr/>
          </p:nvSpPr>
          <p:spPr bwMode="auto">
            <a:xfrm>
              <a:off x="7670706" y="285750"/>
              <a:ext cx="106689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>
                  <a:solidFill>
                    <a:srgbClr val="808080"/>
                  </a:solidFill>
                  <a:latin typeface="+mn-lt"/>
                </a:rPr>
                <a:t>PRELIMINARY</a:t>
              </a:r>
              <a:endParaRPr lang="en-US" sz="1200" dirty="0">
                <a:solidFill>
                  <a:srgbClr val="808080"/>
                </a:solidFill>
                <a:latin typeface="+mn-lt"/>
              </a:endParaRPr>
            </a:p>
          </p:txBody>
        </p:sp>
        <p:cxnSp>
          <p:nvCxnSpPr>
            <p:cNvPr id="73" name="AutoShape 31"/>
            <p:cNvCxnSpPr>
              <a:cxnSpLocks noChangeShapeType="1"/>
              <a:stCxn id="72" idx="2"/>
              <a:endCxn id="72" idx="4"/>
            </p:cNvCxnSpPr>
            <p:nvPr/>
          </p:nvCxnSpPr>
          <p:spPr bwMode="auto">
            <a:xfrm>
              <a:off x="767070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4" name="AutoShape 32"/>
            <p:cNvCxnSpPr>
              <a:cxnSpLocks noChangeShapeType="1"/>
              <a:stCxn id="72" idx="4"/>
              <a:endCxn id="72" idx="6"/>
            </p:cNvCxnSpPr>
            <p:nvPr/>
          </p:nvCxnSpPr>
          <p:spPr bwMode="auto">
            <a:xfrm>
              <a:off x="7670706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cxnSp>
        <p:nvCxnSpPr>
          <p:cNvPr id="60" name="Straight Connector 59"/>
          <p:cNvCxnSpPr>
            <a:cxnSpLocks/>
          </p:cNvCxnSpPr>
          <p:nvPr>
            <p:custDataLst>
              <p:tags r:id="rId37"/>
            </p:custDataLst>
          </p:nvPr>
        </p:nvCxnSpPr>
        <p:spPr>
          <a:xfrm>
            <a:off x="2213557" y="6064883"/>
            <a:ext cx="6597934" cy="0"/>
          </a:xfrm>
          <a:prstGeom prst="line">
            <a:avLst/>
          </a:prstGeom>
          <a:ln w="19050">
            <a:solidFill>
              <a:schemeClr val="accent4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Rectangle 121"/>
          <p:cNvSpPr txBox="1">
            <a:spLocks/>
          </p:cNvSpPr>
          <p:nvPr>
            <p:custDataLst>
              <p:tags r:id="rId38"/>
            </p:custDataLst>
          </p:nvPr>
        </p:nvSpPr>
        <p:spPr bwMode="gray">
          <a:xfrm>
            <a:off x="2213557" y="6099438"/>
            <a:ext cx="388376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300" b="1" dirty="0">
                <a:solidFill>
                  <a:schemeClr val="tx2"/>
                </a:solidFill>
              </a:rPr>
              <a:t>Total</a:t>
            </a:r>
          </a:p>
        </p:txBody>
      </p:sp>
    </p:spTree>
    <p:extLst>
      <p:ext uri="{BB962C8B-B14F-4D97-AF65-F5344CB8AC3E}">
        <p14:creationId xmlns:p14="http://schemas.microsoft.com/office/powerpoint/2010/main" val="25744214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748090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8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9063" y="230190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Years 1-3</a:t>
            </a:r>
            <a:br>
              <a:rPr lang="en-US" dirty="0"/>
            </a:br>
            <a:r>
              <a:rPr lang="en-US" dirty="0"/>
              <a:t>Road Investments</a:t>
            </a:r>
            <a:endParaRPr lang="en-ZA" dirty="0"/>
          </a:p>
        </p:txBody>
      </p:sp>
      <p:sp>
        <p:nvSpPr>
          <p:cNvPr id="181" name="Rectangle 68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3923239" y="2556799"/>
            <a:ext cx="3597916" cy="7256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600" dirty="0"/>
          </a:p>
        </p:txBody>
      </p:sp>
      <p:sp>
        <p:nvSpPr>
          <p:cNvPr id="184" name="Rectangle 68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923239" y="4733828"/>
            <a:ext cx="3597916" cy="72567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600" dirty="0"/>
          </a:p>
        </p:txBody>
      </p:sp>
      <p:sp>
        <p:nvSpPr>
          <p:cNvPr id="108" name="Rectangle 108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470051" y="1468283"/>
            <a:ext cx="1452346" cy="362838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b="1" dirty="0">
                <a:solidFill>
                  <a:schemeClr val="tx2"/>
                </a:solidFill>
              </a:rPr>
              <a:t>Identified Agricultural Roads</a:t>
            </a:r>
          </a:p>
        </p:txBody>
      </p:sp>
      <p:sp>
        <p:nvSpPr>
          <p:cNvPr id="148" name="Rectangle 148"/>
          <p:cNvSpPr txBox="1"/>
          <p:nvPr>
            <p:custDataLst>
              <p:tags r:id="rId6"/>
            </p:custDataLst>
          </p:nvPr>
        </p:nvSpPr>
        <p:spPr>
          <a:xfrm>
            <a:off x="4074121" y="2070851"/>
            <a:ext cx="3199386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272" eaLnBrk="0" hangingPunct="0">
              <a:buClr>
                <a:schemeClr val="tx2"/>
              </a:buClr>
              <a:defRPr sz="1200"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600" dirty="0">
                <a:solidFill>
                  <a:schemeClr val="bg1"/>
                </a:solidFill>
              </a:rPr>
              <a:t>70 kilometers - ……. . SSP</a:t>
            </a:r>
          </a:p>
        </p:txBody>
      </p:sp>
      <p:cxnSp>
        <p:nvCxnSpPr>
          <p:cNvPr id="203" name="Straight Connector 202"/>
          <p:cNvCxnSpPr>
            <a:cxnSpLocks/>
          </p:cNvCxnSpPr>
          <p:nvPr>
            <p:custDataLst>
              <p:tags r:id="rId7"/>
            </p:custDataLst>
          </p:nvPr>
        </p:nvCxnSpPr>
        <p:spPr>
          <a:xfrm>
            <a:off x="2473003" y="2556803"/>
            <a:ext cx="140286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8" name="Straight Connector 207"/>
          <p:cNvCxnSpPr>
            <a:cxnSpLocks/>
          </p:cNvCxnSpPr>
          <p:nvPr>
            <p:custDataLst>
              <p:tags r:id="rId8"/>
            </p:custDataLst>
          </p:nvPr>
        </p:nvCxnSpPr>
        <p:spPr>
          <a:xfrm>
            <a:off x="2473003" y="3282481"/>
            <a:ext cx="140286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9" name="Straight Connector 208"/>
          <p:cNvCxnSpPr>
            <a:cxnSpLocks/>
          </p:cNvCxnSpPr>
          <p:nvPr>
            <p:custDataLst>
              <p:tags r:id="rId9"/>
            </p:custDataLst>
          </p:nvPr>
        </p:nvCxnSpPr>
        <p:spPr>
          <a:xfrm>
            <a:off x="2473003" y="4008158"/>
            <a:ext cx="140286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0" name="Straight Connector 209"/>
          <p:cNvCxnSpPr>
            <a:cxnSpLocks/>
          </p:cNvCxnSpPr>
          <p:nvPr>
            <p:custDataLst>
              <p:tags r:id="rId10"/>
            </p:custDataLst>
          </p:nvPr>
        </p:nvCxnSpPr>
        <p:spPr>
          <a:xfrm>
            <a:off x="2473003" y="4733828"/>
            <a:ext cx="1402863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84475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438891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">
                  <p:embed/>
                </p:oleObj>
              </mc:Choice>
              <mc:Fallback>
                <p:oleObj name="think-cell Slide" r:id="rId23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tangle 89"/>
          <p:cNvSpPr/>
          <p:nvPr>
            <p:custDataLst>
              <p:tags r:id="rId2"/>
            </p:custDataLst>
          </p:nvPr>
        </p:nvSpPr>
        <p:spPr>
          <a:xfrm>
            <a:off x="124959" y="575725"/>
            <a:ext cx="8612641" cy="5762013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19063" y="104070"/>
            <a:ext cx="8618537" cy="292388"/>
          </a:xfrm>
        </p:spPr>
        <p:txBody>
          <a:bodyPr/>
          <a:lstStyle/>
          <a:p>
            <a:r>
              <a:rPr lang="en-US" dirty="0"/>
              <a:t>Documenting financial institution contributions to </a:t>
            </a:r>
            <a:r>
              <a:rPr lang="en-US" dirty="0" err="1"/>
              <a:t>ZEAT</a:t>
            </a:r>
            <a:r>
              <a:rPr lang="en-US" dirty="0"/>
              <a:t> strategy</a:t>
            </a:r>
          </a:p>
        </p:txBody>
      </p:sp>
      <p:sp>
        <p:nvSpPr>
          <p:cNvPr id="8" name="Rectangle 7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1723889" y="1299875"/>
            <a:ext cx="7002770" cy="4859665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en-US" sz="1400"/>
          </a:p>
        </p:txBody>
      </p:sp>
      <p:sp>
        <p:nvSpPr>
          <p:cNvPr id="9" name="TextBox 9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164715" y="1302618"/>
            <a:ext cx="1557939" cy="5718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Cooperative lending</a:t>
            </a:r>
          </a:p>
        </p:txBody>
      </p:sp>
      <p:sp>
        <p:nvSpPr>
          <p:cNvPr id="15" name="TextBox 9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164715" y="2511308"/>
            <a:ext cx="1557939" cy="5718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Loan guarantees</a:t>
            </a:r>
          </a:p>
        </p:txBody>
      </p:sp>
      <p:sp>
        <p:nvSpPr>
          <p:cNvPr id="16" name="TextBox 9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164715" y="3741018"/>
            <a:ext cx="1557939" cy="5718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Asset-backed lending</a:t>
            </a:r>
          </a:p>
        </p:txBody>
      </p:sp>
      <p:sp>
        <p:nvSpPr>
          <p:cNvPr id="17" name="TextBox 9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164715" y="5033790"/>
            <a:ext cx="1557939" cy="571879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b="1" dirty="0">
                <a:solidFill>
                  <a:schemeClr val="tx2"/>
                </a:solidFill>
              </a:rPr>
              <a:t>Commercial farm lending</a:t>
            </a:r>
          </a:p>
        </p:txBody>
      </p:sp>
      <p:cxnSp>
        <p:nvCxnSpPr>
          <p:cNvPr id="32" name="Straight Connector 31"/>
          <p:cNvCxnSpPr/>
          <p:nvPr/>
        </p:nvCxnSpPr>
        <p:spPr>
          <a:xfrm>
            <a:off x="2117684" y="2386339"/>
            <a:ext cx="635776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/>
        </p:nvCxnSpPr>
        <p:spPr>
          <a:xfrm>
            <a:off x="2117684" y="3605539"/>
            <a:ext cx="635776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/>
          <p:cNvCxnSpPr/>
          <p:nvPr/>
        </p:nvCxnSpPr>
        <p:spPr>
          <a:xfrm>
            <a:off x="2117684" y="4887801"/>
            <a:ext cx="6357764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AutoShape 25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57716" y="728073"/>
            <a:ext cx="1261650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Financial offering</a:t>
            </a:r>
          </a:p>
        </p:txBody>
      </p:sp>
      <p:cxnSp>
        <p:nvCxnSpPr>
          <p:cNvPr id="4" name="Straight Connector 3"/>
          <p:cNvCxnSpPr/>
          <p:nvPr>
            <p:custDataLst>
              <p:tags r:id="rId10"/>
            </p:custDataLst>
          </p:nvPr>
        </p:nvCxnSpPr>
        <p:spPr>
          <a:xfrm flipV="1">
            <a:off x="3038096" y="1353205"/>
            <a:ext cx="0" cy="47958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/>
        </p:nvCxnSpPr>
        <p:spPr>
          <a:xfrm flipV="1">
            <a:off x="4526107" y="1353205"/>
            <a:ext cx="0" cy="47958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11"/>
            </p:custDataLst>
          </p:nvPr>
        </p:nvCxnSpPr>
        <p:spPr>
          <a:xfrm flipV="1">
            <a:off x="6951322" y="1353205"/>
            <a:ext cx="0" cy="47958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AutoShape 25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722655" y="942699"/>
            <a:ext cx="1431005" cy="23472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Institution</a:t>
            </a:r>
          </a:p>
        </p:txBody>
      </p:sp>
      <p:sp>
        <p:nvSpPr>
          <p:cNvPr id="51" name="Rectangle 51"/>
          <p:cNvSpPr txBox="1"/>
          <p:nvPr>
            <p:custDataLst>
              <p:tags r:id="rId13"/>
            </p:custDataLst>
          </p:nvPr>
        </p:nvSpPr>
        <p:spPr>
          <a:xfrm>
            <a:off x="1871781" y="1311165"/>
            <a:ext cx="126265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Lender A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3172550" y="728034"/>
            <a:ext cx="1431005" cy="44939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Geographic focus (States)</a:t>
            </a:r>
          </a:p>
        </p:txBody>
      </p:sp>
      <p:sp>
        <p:nvSpPr>
          <p:cNvPr id="63" name="Rectangle 63"/>
          <p:cNvSpPr txBox="1"/>
          <p:nvPr/>
        </p:nvSpPr>
        <p:spPr>
          <a:xfrm>
            <a:off x="3172550" y="1311165"/>
            <a:ext cx="1390123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i="1" dirty="0"/>
              <a:t>……………</a:t>
            </a:r>
          </a:p>
          <a:p>
            <a:pPr lvl="1"/>
            <a:r>
              <a:rPr lang="en-US" sz="1400" i="1" dirty="0"/>
              <a:t>……………</a:t>
            </a:r>
          </a:p>
        </p:txBody>
      </p:sp>
      <p:sp>
        <p:nvSpPr>
          <p:cNvPr id="88" name="AutoShape 250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5600765" y="720660"/>
            <a:ext cx="1216103" cy="45037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Average loan size</a:t>
            </a:r>
          </a:p>
        </p:txBody>
      </p:sp>
      <p:sp>
        <p:nvSpPr>
          <p:cNvPr id="91" name="Rectangle 63"/>
          <p:cNvSpPr txBox="1"/>
          <p:nvPr/>
        </p:nvSpPr>
        <p:spPr>
          <a:xfrm>
            <a:off x="5663335" y="1311165"/>
            <a:ext cx="115353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SSP 000,000</a:t>
            </a:r>
          </a:p>
        </p:txBody>
      </p:sp>
      <p:sp>
        <p:nvSpPr>
          <p:cNvPr id="85" name="AutoShape 25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049882" y="728074"/>
            <a:ext cx="1586200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Total </a:t>
            </a:r>
            <a:r>
              <a:rPr lang="en-US" sz="1400" b="1" dirty="0" err="1"/>
              <a:t>ag</a:t>
            </a:r>
            <a:r>
              <a:rPr lang="en-US" sz="1400" b="1" dirty="0"/>
              <a:t>. lending outstanding</a:t>
            </a:r>
          </a:p>
        </p:txBody>
      </p:sp>
      <p:sp>
        <p:nvSpPr>
          <p:cNvPr id="92" name="Rectangle 63"/>
          <p:cNvSpPr txBox="1"/>
          <p:nvPr/>
        </p:nvSpPr>
        <p:spPr>
          <a:xfrm>
            <a:off x="7188617" y="1311165"/>
            <a:ext cx="128683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SSP 0,000,000</a:t>
            </a:r>
          </a:p>
        </p:txBody>
      </p:sp>
      <p:sp>
        <p:nvSpPr>
          <p:cNvPr id="98" name="AutoShape 250"/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4603555" y="728074"/>
            <a:ext cx="823893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No. loans extended</a:t>
            </a:r>
          </a:p>
        </p:txBody>
      </p:sp>
      <p:sp>
        <p:nvSpPr>
          <p:cNvPr id="99" name="Rectangle 63"/>
          <p:cNvSpPr txBox="1"/>
          <p:nvPr/>
        </p:nvSpPr>
        <p:spPr>
          <a:xfrm>
            <a:off x="4603555" y="1311165"/>
            <a:ext cx="139012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200</a:t>
            </a:r>
          </a:p>
        </p:txBody>
      </p:sp>
      <p:cxnSp>
        <p:nvCxnSpPr>
          <p:cNvPr id="100" name="Straight Connector 99"/>
          <p:cNvCxnSpPr/>
          <p:nvPr>
            <p:custDataLst>
              <p:tags r:id="rId17"/>
            </p:custDataLst>
          </p:nvPr>
        </p:nvCxnSpPr>
        <p:spPr>
          <a:xfrm flipV="1">
            <a:off x="5408976" y="1353205"/>
            <a:ext cx="0" cy="4795825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51"/>
          <p:cNvSpPr txBox="1"/>
          <p:nvPr>
            <p:custDataLst>
              <p:tags r:id="rId18"/>
            </p:custDataLst>
          </p:nvPr>
        </p:nvSpPr>
        <p:spPr>
          <a:xfrm>
            <a:off x="156858" y="1874497"/>
            <a:ext cx="155917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Loans to registered coops/ </a:t>
            </a:r>
            <a:r>
              <a:rPr lang="en-US" sz="1400" i="1" dirty="0" err="1"/>
              <a:t>FBOs</a:t>
            </a:r>
            <a:endParaRPr lang="en-US" sz="1400" i="1" dirty="0"/>
          </a:p>
        </p:txBody>
      </p:sp>
      <p:sp>
        <p:nvSpPr>
          <p:cNvPr id="36" name="Rectangle 51"/>
          <p:cNvSpPr txBox="1"/>
          <p:nvPr>
            <p:custDataLst>
              <p:tags r:id="rId19"/>
            </p:custDataLst>
          </p:nvPr>
        </p:nvSpPr>
        <p:spPr>
          <a:xfrm>
            <a:off x="156858" y="3059406"/>
            <a:ext cx="155917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Sharing risk with lenders</a:t>
            </a:r>
          </a:p>
        </p:txBody>
      </p:sp>
      <p:sp>
        <p:nvSpPr>
          <p:cNvPr id="37" name="Rectangle 51"/>
          <p:cNvSpPr txBox="1"/>
          <p:nvPr>
            <p:custDataLst>
              <p:tags r:id="rId20"/>
            </p:custDataLst>
          </p:nvPr>
        </p:nvSpPr>
        <p:spPr>
          <a:xfrm>
            <a:off x="156858" y="4312897"/>
            <a:ext cx="15591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Allowing farmers to use farming assets as collateral</a:t>
            </a:r>
          </a:p>
        </p:txBody>
      </p:sp>
      <p:sp>
        <p:nvSpPr>
          <p:cNvPr id="38" name="Rectangle 51"/>
          <p:cNvSpPr txBox="1"/>
          <p:nvPr>
            <p:custDataLst>
              <p:tags r:id="rId21"/>
            </p:custDataLst>
          </p:nvPr>
        </p:nvSpPr>
        <p:spPr>
          <a:xfrm>
            <a:off x="156858" y="5590762"/>
            <a:ext cx="155917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Agriculture-focused commercial loan products</a:t>
            </a:r>
          </a:p>
        </p:txBody>
      </p:sp>
    </p:spTree>
    <p:extLst>
      <p:ext uri="{BB962C8B-B14F-4D97-AF65-F5344CB8AC3E}">
        <p14:creationId xmlns:p14="http://schemas.microsoft.com/office/powerpoint/2010/main" val="148193113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206193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0" name="Picture 6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19064" y="156617"/>
            <a:ext cx="7411632" cy="292388"/>
          </a:xfrm>
        </p:spPr>
        <p:txBody>
          <a:bodyPr/>
          <a:lstStyle/>
          <a:p>
            <a:r>
              <a:rPr lang="en-US" dirty="0"/>
              <a:t>Documenting other cross-cutting enablers for </a:t>
            </a:r>
            <a:r>
              <a:rPr lang="en-US" dirty="0" err="1"/>
              <a:t>ZEAT</a:t>
            </a:r>
            <a:r>
              <a:rPr lang="en-US" dirty="0"/>
              <a:t> strategy</a:t>
            </a:r>
          </a:p>
        </p:txBody>
      </p:sp>
      <p:sp>
        <p:nvSpPr>
          <p:cNvPr id="18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737107" y="624801"/>
            <a:ext cx="3843015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 dirty="0"/>
              <a:t>Institution</a:t>
            </a:r>
          </a:p>
        </p:txBody>
      </p:sp>
      <p:sp>
        <p:nvSpPr>
          <p:cNvPr id="36" name="AutoShape 25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915868" y="624801"/>
            <a:ext cx="3751046" cy="2646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b="1" dirty="0"/>
              <a:t>Enabling environment programs</a:t>
            </a:r>
          </a:p>
        </p:txBody>
      </p:sp>
      <p:grpSp>
        <p:nvGrpSpPr>
          <p:cNvPr id="9" name="Group 8"/>
          <p:cNvGrpSpPr>
            <a:grpSpLocks/>
          </p:cNvGrpSpPr>
          <p:nvPr/>
        </p:nvGrpSpPr>
        <p:grpSpPr>
          <a:xfrm>
            <a:off x="119063" y="2878324"/>
            <a:ext cx="8547851" cy="1747744"/>
            <a:chOff x="119063" y="2698528"/>
            <a:chExt cx="8547850" cy="1241407"/>
          </a:xfrm>
        </p:grpSpPr>
        <p:sp>
          <p:nvSpPr>
            <p:cNvPr id="38" name="Rectangle 37"/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2479437" y="2698528"/>
              <a:ext cx="6187476" cy="12414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3" name="TextBox 9"/>
            <p:cNvSpPr txBox="1">
              <a:spLocks/>
            </p:cNvSpPr>
            <p:nvPr>
              <p:custDataLst>
                <p:tags r:id="rId15"/>
              </p:custDataLst>
            </p:nvPr>
          </p:nvSpPr>
          <p:spPr>
            <a:xfrm>
              <a:off x="119063" y="2698528"/>
              <a:ext cx="2360374" cy="124140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Establish-</a:t>
              </a:r>
            </a:p>
            <a:p>
              <a:pPr marL="1587" lvl="1" indent="0">
                <a:buNone/>
              </a:pPr>
              <a:r>
                <a:rPr lang="en-US" b="1" dirty="0" err="1">
                  <a:solidFill>
                    <a:schemeClr val="tx2"/>
                  </a:solidFill>
                </a:rPr>
                <a:t>Ing</a:t>
              </a:r>
              <a:r>
                <a:rPr lang="en-US" b="1" dirty="0">
                  <a:solidFill>
                    <a:schemeClr val="tx2"/>
                  </a:solidFill>
                </a:rPr>
                <a:t> land 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security </a:t>
              </a:r>
            </a:p>
          </p:txBody>
        </p:sp>
        <p:sp>
          <p:nvSpPr>
            <p:cNvPr id="27" name="Rectangle 23"/>
            <p:cNvSpPr txBox="1"/>
            <p:nvPr>
              <p:custDataLst>
                <p:tags r:id="rId16"/>
              </p:custDataLst>
            </p:nvPr>
          </p:nvSpPr>
          <p:spPr>
            <a:xfrm>
              <a:off x="4915867" y="2698528"/>
              <a:ext cx="3671084" cy="6995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Font typeface="Wingdings" pitchFamily="2" charset="2"/>
                <a:buChar char="Ø"/>
              </a:pPr>
              <a:r>
                <a:rPr lang="en-US" dirty="0"/>
                <a:t>Surveying and titling farmer landholdings in 2 counties</a:t>
              </a:r>
            </a:p>
            <a:p>
              <a:pPr lvl="1">
                <a:buFont typeface="Wingdings" pitchFamily="2" charset="2"/>
                <a:buChar char="Ø"/>
              </a:pPr>
              <a:endParaRPr lang="en-US" dirty="0"/>
            </a:p>
            <a:p>
              <a:pPr lvl="1">
                <a:buFont typeface="Wingdings" pitchFamily="2" charset="2"/>
                <a:buChar char="Ø"/>
              </a:pPr>
              <a:r>
                <a:rPr lang="en-US" b="1" dirty="0"/>
                <a:t> </a:t>
              </a:r>
              <a:r>
                <a:rPr lang="en-US" b="1" i="1" dirty="0"/>
                <a:t>(+  contributing activities)</a:t>
              </a:r>
              <a:endParaRPr lang="en-US" b="1" dirty="0"/>
            </a:p>
          </p:txBody>
        </p:sp>
        <p:sp>
          <p:nvSpPr>
            <p:cNvPr id="32" name="Rectangle 23"/>
            <p:cNvSpPr txBox="1"/>
            <p:nvPr>
              <p:custDataLst>
                <p:tags r:id="rId17"/>
              </p:custDataLst>
            </p:nvPr>
          </p:nvSpPr>
          <p:spPr>
            <a:xfrm>
              <a:off x="2737107" y="2698528"/>
              <a:ext cx="2052640" cy="52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 err="1"/>
                <a:t>USAID</a:t>
              </a:r>
              <a:endParaRPr lang="en-US" dirty="0"/>
            </a:p>
            <a:p>
              <a:pPr lvl="1"/>
              <a:endParaRPr lang="en-US" i="1" dirty="0"/>
            </a:p>
            <a:p>
              <a:pPr lvl="1"/>
              <a:r>
                <a:rPr lang="en-US" b="1" i="1" dirty="0"/>
                <a:t>………</a:t>
              </a:r>
            </a:p>
          </p:txBody>
        </p:sp>
        <p:pic>
          <p:nvPicPr>
            <p:cNvPr id="41" name="Picture 9"/>
            <p:cNvPicPr>
              <a:picLocks noChangeArrowheads="1"/>
            </p:cNvPicPr>
            <p:nvPr>
              <p:custDataLst>
                <p:tags r:id="rId18"/>
              </p:custDataLst>
            </p:nvPr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1152937" y="2715261"/>
              <a:ext cx="1417983" cy="120977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grpSp>
        <p:nvGrpSpPr>
          <p:cNvPr id="10" name="Group 9"/>
          <p:cNvGrpSpPr>
            <a:grpSpLocks/>
          </p:cNvGrpSpPr>
          <p:nvPr/>
        </p:nvGrpSpPr>
        <p:grpSpPr>
          <a:xfrm>
            <a:off x="119063" y="4684595"/>
            <a:ext cx="8547851" cy="1747744"/>
            <a:chOff x="119063" y="4276476"/>
            <a:chExt cx="8547851" cy="1903607"/>
          </a:xfrm>
        </p:grpSpPr>
        <p:sp>
          <p:nvSpPr>
            <p:cNvPr id="40" name="Rectangle 39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2479438" y="4276476"/>
              <a:ext cx="6187476" cy="19036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5" name="TextBox 9"/>
            <p:cNvSpPr txBox="1">
              <a:spLocks/>
            </p:cNvSpPr>
            <p:nvPr>
              <p:custDataLst>
                <p:tags r:id="rId10"/>
              </p:custDataLst>
            </p:nvPr>
          </p:nvSpPr>
          <p:spPr>
            <a:xfrm>
              <a:off x="119063" y="4276476"/>
              <a:ext cx="2360375" cy="190360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Creating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growth-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friendly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trade 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policy</a:t>
              </a:r>
            </a:p>
          </p:txBody>
        </p:sp>
        <p:sp>
          <p:nvSpPr>
            <p:cNvPr id="29" name="Rectangle 23"/>
            <p:cNvSpPr txBox="1"/>
            <p:nvPr>
              <p:custDataLst>
                <p:tags r:id="rId11"/>
              </p:custDataLst>
            </p:nvPr>
          </p:nvSpPr>
          <p:spPr>
            <a:xfrm>
              <a:off x="4915868" y="4417393"/>
              <a:ext cx="3671084" cy="10727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Font typeface="Wingdings" pitchFamily="2" charset="2"/>
                <a:buChar char="Ø"/>
              </a:pPr>
              <a:r>
                <a:rPr lang="en-US" dirty="0"/>
                <a:t>Duty-free agricultural inputs, Customs policy (e.g. border clearance)</a:t>
              </a:r>
            </a:p>
            <a:p>
              <a:pPr lvl="1">
                <a:buFont typeface="Wingdings" pitchFamily="2" charset="2"/>
                <a:buChar char="Ø"/>
              </a:pPr>
              <a:endParaRPr lang="en-US" dirty="0"/>
            </a:p>
            <a:p>
              <a:pPr lvl="1">
                <a:buFont typeface="Wingdings" pitchFamily="2" charset="2"/>
                <a:buChar char="Ø"/>
              </a:pPr>
              <a:r>
                <a:rPr lang="en-US" b="1" i="1" dirty="0"/>
                <a:t> (+   contributing activities)</a:t>
              </a:r>
              <a:endParaRPr lang="en-US" b="1" dirty="0"/>
            </a:p>
          </p:txBody>
        </p:sp>
        <p:sp>
          <p:nvSpPr>
            <p:cNvPr id="34" name="Rectangle 23"/>
            <p:cNvSpPr txBox="1"/>
            <p:nvPr>
              <p:custDataLst>
                <p:tags r:id="rId12"/>
              </p:custDataLst>
            </p:nvPr>
          </p:nvSpPr>
          <p:spPr>
            <a:xfrm>
              <a:off x="2737108" y="4417393"/>
              <a:ext cx="2052640" cy="107271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Ministry of Commerce</a:t>
              </a:r>
            </a:p>
            <a:p>
              <a:pPr lvl="1"/>
              <a:endParaRPr lang="en-US" i="1" dirty="0"/>
            </a:p>
            <a:p>
              <a:pPr lvl="1"/>
              <a:r>
                <a:rPr lang="en-US" b="1" i="1" dirty="0"/>
                <a:t>…….</a:t>
              </a:r>
            </a:p>
          </p:txBody>
        </p:sp>
        <p:pic>
          <p:nvPicPr>
            <p:cNvPr id="43" name="Picture 8"/>
            <p:cNvPicPr>
              <a:picLocks noChangeArrowheads="1"/>
            </p:cNvPicPr>
            <p:nvPr>
              <p:custDataLst>
                <p:tags r:id="rId13"/>
              </p:custDataLst>
            </p:nvPr>
          </p:nvPicPr>
          <p:blipFill>
            <a:blip r:embed="rId2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152938" y="4485996"/>
              <a:ext cx="1417983" cy="167315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8" name="Group 7"/>
          <p:cNvGrpSpPr>
            <a:grpSpLocks/>
          </p:cNvGrpSpPr>
          <p:nvPr/>
        </p:nvGrpSpPr>
        <p:grpSpPr>
          <a:xfrm>
            <a:off x="119064" y="977458"/>
            <a:ext cx="8547851" cy="1747744"/>
            <a:chOff x="119064" y="947723"/>
            <a:chExt cx="8547850" cy="1241407"/>
          </a:xfrm>
        </p:grpSpPr>
        <p:sp>
          <p:nvSpPr>
            <p:cNvPr id="39" name="Rectangle 38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2479437" y="947723"/>
              <a:ext cx="6187477" cy="1241407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1"/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/>
            </a:p>
          </p:txBody>
        </p:sp>
        <p:sp>
          <p:nvSpPr>
            <p:cNvPr id="14" name="TextBox 9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119064" y="947723"/>
              <a:ext cx="2360374" cy="1241407"/>
            </a:xfrm>
            <a:prstGeom prst="rect">
              <a:avLst/>
            </a:prstGeom>
            <a:solidFill>
              <a:schemeClr val="accent1"/>
            </a:solidFill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6200" tIns="76200" rIns="76200" bIns="7620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Support-</a:t>
              </a:r>
            </a:p>
            <a:p>
              <a:pPr marL="1587" lvl="1" indent="0">
                <a:buNone/>
              </a:pPr>
              <a:r>
                <a:rPr lang="en-US" b="1" dirty="0" err="1">
                  <a:solidFill>
                    <a:schemeClr val="tx2"/>
                  </a:solidFill>
                </a:rPr>
                <a:t>ing</a:t>
              </a:r>
              <a:r>
                <a:rPr lang="en-US" b="1" dirty="0">
                  <a:solidFill>
                    <a:schemeClr val="tx2"/>
                  </a:solidFill>
                </a:rPr>
                <a:t> strong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local </a:t>
              </a:r>
            </a:p>
            <a:p>
              <a:pPr marL="1587" lvl="1" indent="0">
                <a:buNone/>
              </a:pPr>
              <a:r>
                <a:rPr lang="en-US" b="1" dirty="0">
                  <a:solidFill>
                    <a:schemeClr val="tx2"/>
                  </a:solidFill>
                </a:rPr>
                <a:t>research </a:t>
              </a:r>
            </a:p>
            <a:p>
              <a:pPr marL="1587" lvl="1" indent="0">
                <a:buNone/>
              </a:pPr>
              <a:endParaRPr lang="en-US" b="1" dirty="0">
                <a:solidFill>
                  <a:schemeClr val="tx2"/>
                </a:solidFill>
              </a:endParaRPr>
            </a:p>
          </p:txBody>
        </p:sp>
        <p:sp>
          <p:nvSpPr>
            <p:cNvPr id="28" name="Rectangle 23"/>
            <p:cNvSpPr txBox="1"/>
            <p:nvPr>
              <p:custDataLst>
                <p:tags r:id="rId7"/>
              </p:custDataLst>
            </p:nvPr>
          </p:nvSpPr>
          <p:spPr>
            <a:xfrm>
              <a:off x="4915869" y="977934"/>
              <a:ext cx="3671084" cy="10493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>
                <a:buFont typeface="Wingdings" pitchFamily="2" charset="2"/>
                <a:buChar char="Ø"/>
              </a:pPr>
              <a:r>
                <a:rPr lang="en-US" dirty="0"/>
                <a:t>Established seed research centers for breeding and testing varieties (e.g. </a:t>
              </a:r>
              <a:r>
                <a:rPr lang="en-US" dirty="0" err="1"/>
                <a:t>Palotaka</a:t>
              </a:r>
              <a:r>
                <a:rPr lang="en-US" dirty="0"/>
                <a:t>) </a:t>
              </a:r>
            </a:p>
            <a:p>
              <a:pPr lvl="1">
                <a:buFont typeface="Wingdings" pitchFamily="2" charset="2"/>
                <a:buChar char="Ø"/>
              </a:pPr>
              <a:endParaRPr lang="en-US" dirty="0"/>
            </a:p>
            <a:p>
              <a:pPr lvl="1">
                <a:buFont typeface="Wingdings" pitchFamily="2" charset="2"/>
                <a:buChar char="Ø"/>
              </a:pPr>
              <a:r>
                <a:rPr lang="en-US" b="1" i="1" dirty="0"/>
                <a:t> (+ contributing activities)</a:t>
              </a:r>
              <a:endParaRPr lang="en-US" b="1" dirty="0"/>
            </a:p>
            <a:p>
              <a:pPr lvl="1"/>
              <a:endParaRPr lang="en-US" dirty="0"/>
            </a:p>
          </p:txBody>
        </p:sp>
        <p:sp>
          <p:nvSpPr>
            <p:cNvPr id="33" name="Rectangle 23"/>
            <p:cNvSpPr txBox="1"/>
            <p:nvPr>
              <p:custDataLst>
                <p:tags r:id="rId8"/>
              </p:custDataLst>
            </p:nvPr>
          </p:nvSpPr>
          <p:spPr>
            <a:xfrm>
              <a:off x="2639424" y="977934"/>
              <a:ext cx="2400790" cy="87444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lvl="1"/>
              <a:r>
                <a:rPr lang="en-US" dirty="0"/>
                <a:t>AGRA</a:t>
              </a:r>
            </a:p>
            <a:p>
              <a:pPr lvl="1"/>
              <a:endParaRPr lang="en-US" i="1" dirty="0"/>
            </a:p>
            <a:p>
              <a:pPr lvl="1"/>
              <a:endParaRPr lang="en-US" i="1" dirty="0"/>
            </a:p>
            <a:p>
              <a:pPr lvl="1"/>
              <a:endParaRPr lang="en-US" i="1" dirty="0"/>
            </a:p>
            <a:p>
              <a:pPr lvl="1"/>
              <a:r>
                <a:rPr lang="en-US" b="1" i="1" dirty="0"/>
                <a:t>(add actor here)</a:t>
              </a:r>
              <a:endParaRPr lang="en-US" dirty="0"/>
            </a:p>
          </p:txBody>
        </p:sp>
        <p:pic>
          <p:nvPicPr>
            <p:cNvPr id="46" name="Picture 107"/>
            <p:cNvPicPr>
              <a:picLocks noChangeArrowheads="1"/>
            </p:cNvPicPr>
            <p:nvPr/>
          </p:nvPicPr>
          <p:blipFill>
            <a:blip r:embed="rId2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 flipH="1" flipV="1">
              <a:off x="1114363" y="964456"/>
              <a:ext cx="1365075" cy="1209771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941737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cumenting private sector investment in </a:t>
            </a:r>
            <a:r>
              <a:rPr lang="en-US" dirty="0" err="1"/>
              <a:t>ZEAT</a:t>
            </a:r>
            <a:r>
              <a:rPr lang="en-US" dirty="0"/>
              <a:t> strategy</a:t>
            </a:r>
          </a:p>
        </p:txBody>
      </p:sp>
      <p:sp>
        <p:nvSpPr>
          <p:cNvPr id="5" name="McK 5. Source"/>
          <p:cNvSpPr>
            <a:spLocks noChangeArrowheads="1"/>
          </p:cNvSpPr>
          <p:nvPr/>
        </p:nvSpPr>
        <p:spPr bwMode="auto">
          <a:xfrm>
            <a:off x="119063" y="6435734"/>
            <a:ext cx="686276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000"/>
              <a:t>SOURCE: Source</a:t>
            </a:r>
          </a:p>
        </p:txBody>
      </p:sp>
      <p:pic>
        <p:nvPicPr>
          <p:cNvPr id="9" name="Picture 2"/>
          <p:cNvPicPr>
            <a:picLocks noChangeArrowheads="1"/>
          </p:cNvPicPr>
          <p:nvPr>
            <p:custDataLst>
              <p:tags r:id="rId1"/>
            </p:custDataLst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71615" y="1215264"/>
            <a:ext cx="931396" cy="712061"/>
          </a:xfrm>
          <a:prstGeom prst="rect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AutoShape 250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1614" y="777806"/>
            <a:ext cx="1352384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Investor</a:t>
            </a:r>
          </a:p>
        </p:txBody>
      </p:sp>
      <p:sp>
        <p:nvSpPr>
          <p:cNvPr id="12" name="AutoShape 250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57250" y="562363"/>
            <a:ext cx="1985247" cy="449354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Geographic focus for investment</a:t>
            </a:r>
          </a:p>
        </p:txBody>
      </p:sp>
      <p:sp>
        <p:nvSpPr>
          <p:cNvPr id="13" name="AutoShape 250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577487" y="771409"/>
            <a:ext cx="201010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Value chain focus</a:t>
            </a:r>
          </a:p>
        </p:txBody>
      </p:sp>
      <p:sp>
        <p:nvSpPr>
          <p:cNvPr id="14" name="Rectangle 4"/>
          <p:cNvSpPr txBox="1"/>
          <p:nvPr/>
        </p:nvSpPr>
        <p:spPr>
          <a:xfrm>
            <a:off x="1103012" y="1280993"/>
            <a:ext cx="830892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Tractor dealer A</a:t>
            </a:r>
          </a:p>
        </p:txBody>
      </p:sp>
      <p:sp>
        <p:nvSpPr>
          <p:cNvPr id="15" name="Rectangle 4"/>
          <p:cNvSpPr txBox="1"/>
          <p:nvPr/>
        </p:nvSpPr>
        <p:spPr>
          <a:xfrm>
            <a:off x="2357250" y="1280994"/>
            <a:ext cx="190116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en-US" sz="1400" i="1" dirty="0"/>
              <a:t>All areas</a:t>
            </a:r>
          </a:p>
        </p:txBody>
      </p:sp>
      <p:cxnSp>
        <p:nvCxnSpPr>
          <p:cNvPr id="18" name="Straight Connector 17"/>
          <p:cNvCxnSpPr/>
          <p:nvPr/>
        </p:nvCxnSpPr>
        <p:spPr>
          <a:xfrm>
            <a:off x="119064" y="1015574"/>
            <a:ext cx="8446867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4"/>
          <p:cNvSpPr txBox="1"/>
          <p:nvPr/>
        </p:nvSpPr>
        <p:spPr>
          <a:xfrm>
            <a:off x="4577487" y="1280994"/>
            <a:ext cx="1901164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Production (mechanization)</a:t>
            </a:r>
          </a:p>
        </p:txBody>
      </p:sp>
      <p:sp>
        <p:nvSpPr>
          <p:cNvPr id="20" name="AutoShape 250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478651" y="771409"/>
            <a:ext cx="2010101" cy="233910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MS PGothic" pitchFamily="34" charset="-128"/>
              </a:defRPr>
            </a:lvl9pPr>
          </a:lstStyle>
          <a:p>
            <a:pPr eaLnBrk="1" hangingPunct="1">
              <a:defRPr/>
            </a:pPr>
            <a:r>
              <a:rPr lang="en-US" sz="1400" b="1" dirty="0"/>
              <a:t>Nature of investment</a:t>
            </a:r>
          </a:p>
        </p:txBody>
      </p:sp>
      <p:sp>
        <p:nvSpPr>
          <p:cNvPr id="21" name="Rectangle 4"/>
          <p:cNvSpPr txBox="1"/>
          <p:nvPr/>
        </p:nvSpPr>
        <p:spPr>
          <a:xfrm>
            <a:off x="6478651" y="1280994"/>
            <a:ext cx="2087280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Discounted leasing of tractors/bulldozers to 5 private associations</a:t>
            </a:r>
          </a:p>
        </p:txBody>
      </p:sp>
      <p:cxnSp>
        <p:nvCxnSpPr>
          <p:cNvPr id="22" name="Straight Connector 21"/>
          <p:cNvCxnSpPr/>
          <p:nvPr/>
        </p:nvCxnSpPr>
        <p:spPr>
          <a:xfrm>
            <a:off x="119063" y="1946012"/>
            <a:ext cx="854784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119063" y="4058592"/>
            <a:ext cx="854784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119063" y="5162178"/>
            <a:ext cx="854784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>
            <a:off x="119063" y="2933985"/>
            <a:ext cx="8547849" cy="0"/>
          </a:xfrm>
          <a:prstGeom prst="line">
            <a:avLst/>
          </a:prstGeom>
          <a:ln w="19050">
            <a:solidFill>
              <a:schemeClr val="accent6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4">
            <a:extLst>
              <a:ext uri="{FF2B5EF4-FFF2-40B4-BE49-F238E27FC236}">
                <a16:creationId xmlns:a16="http://schemas.microsoft.com/office/drawing/2014/main" id="{B6CE6AF2-BB17-AA51-AD49-2FE2A37F7FA3}"/>
              </a:ext>
            </a:extLst>
          </p:cNvPr>
          <p:cNvSpPr txBox="1"/>
          <p:nvPr/>
        </p:nvSpPr>
        <p:spPr>
          <a:xfrm>
            <a:off x="1005245" y="2239943"/>
            <a:ext cx="1254875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400" i="1" dirty="0"/>
              <a:t>Animal traction dealer A</a:t>
            </a:r>
          </a:p>
        </p:txBody>
      </p:sp>
    </p:spTree>
    <p:extLst>
      <p:ext uri="{BB962C8B-B14F-4D97-AF65-F5344CB8AC3E}">
        <p14:creationId xmlns:p14="http://schemas.microsoft.com/office/powerpoint/2010/main" val="332425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0440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360" imgH="360" progId="">
                  <p:embed/>
                </p:oleObj>
              </mc:Choice>
              <mc:Fallback>
                <p:oleObj name="think-cell Slide" r:id="rId24" imgW="360" imgH="360" progId="">
                  <p:embed/>
                  <p:pic>
                    <p:nvPicPr>
                      <p:cNvPr id="0" name="Picture 4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119063" y="144460"/>
            <a:ext cx="8618537" cy="584775"/>
          </a:xfrm>
        </p:spPr>
        <p:txBody>
          <a:bodyPr/>
          <a:lstStyle/>
          <a:p>
            <a:r>
              <a:rPr lang="en-US" dirty="0"/>
              <a:t>Achieving this vision requires a comprehensive and coordinated response from all stakeholders</a:t>
            </a: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gray">
          <a:xfrm>
            <a:off x="4478116" y="729235"/>
            <a:ext cx="4372108" cy="5575770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0" name="Rectangle 89"/>
          <p:cNvSpPr/>
          <p:nvPr>
            <p:custDataLst>
              <p:tags r:id="rId4"/>
            </p:custDataLst>
          </p:nvPr>
        </p:nvSpPr>
        <p:spPr bwMode="gray">
          <a:xfrm>
            <a:off x="119064" y="887236"/>
            <a:ext cx="4265958" cy="5417769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Rectangle 6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72113" y="1363821"/>
            <a:ext cx="4199430" cy="115463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en-US" b="1" dirty="0">
              <a:solidFill>
                <a:schemeClr val="accent4"/>
              </a:solidFill>
            </a:endParaRPr>
          </a:p>
        </p:txBody>
      </p:sp>
      <p:sp>
        <p:nvSpPr>
          <p:cNvPr id="94" name="Rectangle 93"/>
          <p:cNvSpPr/>
          <p:nvPr>
            <p:custDataLst>
              <p:tags r:id="rId6"/>
            </p:custDataLst>
          </p:nvPr>
        </p:nvSpPr>
        <p:spPr bwMode="gray">
          <a:xfrm>
            <a:off x="4471641" y="797138"/>
            <a:ext cx="4372108" cy="517124"/>
          </a:xfrm>
          <a:prstGeom prst="rect">
            <a:avLst/>
          </a:prstGeom>
          <a:solidFill>
            <a:schemeClr val="accent3"/>
          </a:solidFill>
          <a:ln w="19050" cap="rnd" cmpd="sng" algn="ctr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119" name="Rectangle 6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179473" y="1448992"/>
            <a:ext cx="4205549" cy="984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marL="0" lvl="0" indent="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defTabSz="463550"/>
            <a:r>
              <a:rPr lang="en-US" b="1" dirty="0">
                <a:solidFill>
                  <a:schemeClr val="tx2"/>
                </a:solidFill>
              </a:rPr>
              <a:t>	</a:t>
            </a:r>
            <a:r>
              <a:rPr lang="en-US" b="1" dirty="0" err="1">
                <a:solidFill>
                  <a:schemeClr val="tx2"/>
                </a:solidFill>
              </a:rPr>
              <a:t>MAF</a:t>
            </a:r>
            <a:r>
              <a:rPr lang="en-US" b="1" dirty="0">
                <a:solidFill>
                  <a:schemeClr val="tx2"/>
                </a:solidFill>
              </a:rPr>
              <a:t>, State governments, Private sector entrepreneurs, donors, implementing partners, and farmers will follow Paris declaration principles:</a:t>
            </a:r>
          </a:p>
        </p:txBody>
      </p:sp>
      <p:sp>
        <p:nvSpPr>
          <p:cNvPr id="6" name="Right Arrow 5"/>
          <p:cNvSpPr/>
          <p:nvPr>
            <p:custDataLst>
              <p:tags r:id="rId8"/>
            </p:custDataLst>
          </p:nvPr>
        </p:nvSpPr>
        <p:spPr bwMode="gray">
          <a:xfrm>
            <a:off x="3825248" y="852273"/>
            <a:ext cx="546295" cy="423216"/>
          </a:xfrm>
          <a:prstGeom prst="rightArrow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100000">
                <a:schemeClr val="accent3"/>
              </a:gs>
            </a:gsLst>
            <a:lin ang="0" scaled="1"/>
            <a:tileRect/>
          </a:gradFill>
          <a:ln w="9525" cap="rnd" cmpd="sng" algn="ctr">
            <a:noFill/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3" name="Rectangle 92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119063" y="797138"/>
            <a:ext cx="4265959" cy="517124"/>
          </a:xfrm>
          <a:prstGeom prst="rect">
            <a:avLst/>
          </a:prstGeom>
          <a:solidFill>
            <a:schemeClr val="accent1"/>
          </a:solidFill>
          <a:ln w="19050" cap="rnd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4" name="Rectangle 6"/>
          <p:cNvSpPr txBox="1"/>
          <p:nvPr>
            <p:custDataLst>
              <p:tags r:id="rId10"/>
            </p:custDataLst>
          </p:nvPr>
        </p:nvSpPr>
        <p:spPr bwMode="gray">
          <a:xfrm>
            <a:off x="179473" y="827231"/>
            <a:ext cx="409227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b="1" dirty="0">
                <a:solidFill>
                  <a:schemeClr val="accent4"/>
                </a:solidFill>
              </a:rPr>
              <a:t>NEAT is an RSS-led effort with clear roles for all stakeholders:</a:t>
            </a:r>
          </a:p>
        </p:txBody>
      </p:sp>
      <p:pic>
        <p:nvPicPr>
          <p:cNvPr id="33" name="Picture 14" descr="checkmark, tick icon"/>
          <p:cNvPicPr>
            <a:picLocks noChangeAspect="1" noChangeArrowheads="1"/>
          </p:cNvPicPr>
          <p:nvPr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476" y="1334514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Rectangle 13"/>
          <p:cNvSpPr/>
          <p:nvPr/>
        </p:nvSpPr>
        <p:spPr>
          <a:xfrm>
            <a:off x="70290" y="2567834"/>
            <a:ext cx="4400466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500" b="1" dirty="0"/>
              <a:t>Ownership</a:t>
            </a:r>
            <a:r>
              <a:rPr lang="en-US" sz="1500" dirty="0"/>
              <a:t>: Partner countries exercise effective leadership over development strategies and co-ordinate actions</a:t>
            </a:r>
          </a:p>
          <a:p>
            <a:endParaRPr lang="en-US" sz="1500" dirty="0"/>
          </a:p>
          <a:p>
            <a:r>
              <a:rPr lang="en-US" sz="1500" b="1" dirty="0"/>
              <a:t>Alignment</a:t>
            </a:r>
            <a:r>
              <a:rPr lang="en-US" sz="1500" dirty="0"/>
              <a:t>: Donors’ base overall support on partner countries' national strategies, institutions and procedures</a:t>
            </a:r>
          </a:p>
          <a:p>
            <a:endParaRPr lang="en-US" sz="1500" dirty="0"/>
          </a:p>
          <a:p>
            <a:r>
              <a:rPr lang="en-US" sz="1500" b="1" dirty="0"/>
              <a:t>Harmonization</a:t>
            </a:r>
            <a:r>
              <a:rPr lang="en-US" sz="1500" dirty="0"/>
              <a:t>: Donors' actions are more harmonized, transparent and collectively effective</a:t>
            </a:r>
          </a:p>
          <a:p>
            <a:endParaRPr lang="en-US" sz="1500" dirty="0"/>
          </a:p>
          <a:p>
            <a:r>
              <a:rPr lang="en-US" sz="1500" b="1" dirty="0"/>
              <a:t>Managing for Results</a:t>
            </a:r>
            <a:r>
              <a:rPr lang="en-US" sz="1500" dirty="0"/>
              <a:t>: Managing resources and improving decision-making for results</a:t>
            </a:r>
          </a:p>
          <a:p>
            <a:endParaRPr lang="en-US" sz="1500" dirty="0"/>
          </a:p>
          <a:p>
            <a:r>
              <a:rPr lang="en-US" sz="1500" b="1" dirty="0"/>
              <a:t>Mutual Accountability</a:t>
            </a:r>
            <a:r>
              <a:rPr lang="en-US" sz="1500" dirty="0"/>
              <a:t>: Donors and partners are accountable for development results</a:t>
            </a:r>
          </a:p>
        </p:txBody>
      </p:sp>
      <p:grpSp>
        <p:nvGrpSpPr>
          <p:cNvPr id="57" name="Group 56"/>
          <p:cNvGrpSpPr/>
          <p:nvPr/>
        </p:nvGrpSpPr>
        <p:grpSpPr>
          <a:xfrm>
            <a:off x="4556659" y="1768201"/>
            <a:ext cx="4282303" cy="738664"/>
            <a:chOff x="4595121" y="1760930"/>
            <a:chExt cx="4248627" cy="738664"/>
          </a:xfrm>
        </p:grpSpPr>
        <p:sp>
          <p:nvSpPr>
            <p:cNvPr id="36" name="TextBox 35"/>
            <p:cNvSpPr txBox="1"/>
            <p:nvPr>
              <p:custDataLst>
                <p:tags r:id="rId20"/>
              </p:custDataLst>
            </p:nvPr>
          </p:nvSpPr>
          <p:spPr>
            <a:xfrm>
              <a:off x="4595121" y="1760930"/>
              <a:ext cx="309560" cy="3095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1</a:t>
              </a:r>
            </a:p>
          </p:txBody>
        </p:sp>
        <p:sp>
          <p:nvSpPr>
            <p:cNvPr id="41" name="Rectangle 6"/>
            <p:cNvSpPr txBox="1"/>
            <p:nvPr>
              <p:custDataLst>
                <p:tags r:id="rId21"/>
              </p:custDataLst>
            </p:nvPr>
          </p:nvSpPr>
          <p:spPr>
            <a:xfrm>
              <a:off x="5003891" y="1760930"/>
              <a:ext cx="3839857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b="1" dirty="0"/>
                <a:t>Mobilize the private sector to unleash agriculture as the core </a:t>
              </a:r>
            </a:p>
            <a:p>
              <a:r>
                <a:rPr lang="en-US" b="1" dirty="0"/>
                <a:t>driver of future growth and stability</a:t>
              </a:r>
              <a:endParaRPr lang="en-US" b="1" i="1" dirty="0"/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4533381" y="2779383"/>
            <a:ext cx="4056896" cy="738664"/>
            <a:chOff x="4595121" y="2556970"/>
            <a:chExt cx="4056896" cy="738664"/>
          </a:xfrm>
        </p:grpSpPr>
        <p:sp>
          <p:nvSpPr>
            <p:cNvPr id="37" name="TextBox 9"/>
            <p:cNvSpPr txBox="1"/>
            <p:nvPr>
              <p:custDataLst>
                <p:tags r:id="rId18"/>
              </p:custDataLst>
            </p:nvPr>
          </p:nvSpPr>
          <p:spPr>
            <a:xfrm>
              <a:off x="4595121" y="2556970"/>
              <a:ext cx="309560" cy="3095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2" name="Rectangle 6"/>
            <p:cNvSpPr txBox="1"/>
            <p:nvPr>
              <p:custDataLst>
                <p:tags r:id="rId19"/>
              </p:custDataLst>
            </p:nvPr>
          </p:nvSpPr>
          <p:spPr>
            <a:xfrm>
              <a:off x="5003892" y="2556970"/>
              <a:ext cx="3648125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b="1" dirty="0"/>
                <a:t>Employ market-based solutions to activate public and private </a:t>
              </a:r>
            </a:p>
            <a:p>
              <a:r>
                <a:rPr lang="en-US" b="1" dirty="0"/>
                <a:t>investments</a:t>
              </a:r>
              <a:endParaRPr lang="en-US" b="1" i="1" dirty="0"/>
            </a:p>
          </p:txBody>
        </p:sp>
      </p:grpSp>
      <p:grpSp>
        <p:nvGrpSpPr>
          <p:cNvPr id="59" name="Group 58"/>
          <p:cNvGrpSpPr/>
          <p:nvPr/>
        </p:nvGrpSpPr>
        <p:grpSpPr>
          <a:xfrm>
            <a:off x="4533381" y="3790565"/>
            <a:ext cx="4248627" cy="492443"/>
            <a:chOff x="4595121" y="3306394"/>
            <a:chExt cx="4248627" cy="492443"/>
          </a:xfrm>
        </p:grpSpPr>
        <p:sp>
          <p:nvSpPr>
            <p:cNvPr id="38" name="TextBox 9"/>
            <p:cNvSpPr txBox="1"/>
            <p:nvPr>
              <p:custDataLst>
                <p:tags r:id="rId16"/>
              </p:custDataLst>
            </p:nvPr>
          </p:nvSpPr>
          <p:spPr>
            <a:xfrm>
              <a:off x="4595121" y="3306394"/>
              <a:ext cx="309560" cy="3095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3</a:t>
              </a:r>
            </a:p>
          </p:txBody>
        </p:sp>
        <p:sp>
          <p:nvSpPr>
            <p:cNvPr id="44" name="Rectangle 6"/>
            <p:cNvSpPr txBox="1"/>
            <p:nvPr>
              <p:custDataLst>
                <p:tags r:id="rId17"/>
              </p:custDataLst>
            </p:nvPr>
          </p:nvSpPr>
          <p:spPr>
            <a:xfrm>
              <a:off x="5003891" y="3306394"/>
              <a:ext cx="3839857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b="1" dirty="0"/>
                <a:t>Empower farmers and entrepreneurs to reach their full potential</a:t>
              </a:r>
              <a:endParaRPr lang="en-US" b="1" i="1" dirty="0"/>
            </a:p>
          </p:txBody>
        </p:sp>
      </p:grpSp>
      <p:grpSp>
        <p:nvGrpSpPr>
          <p:cNvPr id="60" name="Group 59"/>
          <p:cNvGrpSpPr/>
          <p:nvPr/>
        </p:nvGrpSpPr>
        <p:grpSpPr>
          <a:xfrm>
            <a:off x="4556659" y="4621561"/>
            <a:ext cx="4248627" cy="492443"/>
            <a:chOff x="4595121" y="4082981"/>
            <a:chExt cx="4248627" cy="492443"/>
          </a:xfrm>
        </p:grpSpPr>
        <p:sp>
          <p:nvSpPr>
            <p:cNvPr id="39" name="TextBox 9"/>
            <p:cNvSpPr txBox="1"/>
            <p:nvPr>
              <p:custDataLst>
                <p:tags r:id="rId14"/>
              </p:custDataLst>
            </p:nvPr>
          </p:nvSpPr>
          <p:spPr>
            <a:xfrm>
              <a:off x="4595121" y="4082981"/>
              <a:ext cx="309560" cy="3095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4</a:t>
              </a:r>
            </a:p>
          </p:txBody>
        </p:sp>
        <p:sp>
          <p:nvSpPr>
            <p:cNvPr id="45" name="Rectangle 6"/>
            <p:cNvSpPr txBox="1"/>
            <p:nvPr>
              <p:custDataLst>
                <p:tags r:id="rId15"/>
              </p:custDataLst>
            </p:nvPr>
          </p:nvSpPr>
          <p:spPr>
            <a:xfrm>
              <a:off x="5003891" y="4082981"/>
              <a:ext cx="3839857" cy="4924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b="1" dirty="0"/>
                <a:t>Integrate interventions to achieve momentum and scale</a:t>
              </a:r>
              <a:endParaRPr lang="en-US" b="1" i="1" dirty="0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4501763" y="5249311"/>
            <a:ext cx="4248627" cy="738664"/>
            <a:chOff x="4595121" y="4705212"/>
            <a:chExt cx="4248627" cy="738664"/>
          </a:xfrm>
        </p:grpSpPr>
        <p:sp>
          <p:nvSpPr>
            <p:cNvPr id="46" name="Rectangle 6"/>
            <p:cNvSpPr txBox="1"/>
            <p:nvPr>
              <p:custDataLst>
                <p:tags r:id="rId12"/>
              </p:custDataLst>
            </p:nvPr>
          </p:nvSpPr>
          <p:spPr>
            <a:xfrm>
              <a:off x="5003891" y="4705212"/>
              <a:ext cx="3839857" cy="73866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b="1" dirty="0"/>
                <a:t>Collaborate with diverse stakeholders to build on strengths and distribute risk</a:t>
              </a:r>
              <a:endParaRPr lang="en-US" b="1" i="1" dirty="0"/>
            </a:p>
          </p:txBody>
        </p:sp>
        <p:sp>
          <p:nvSpPr>
            <p:cNvPr id="47" name="TextBox 9"/>
            <p:cNvSpPr txBox="1"/>
            <p:nvPr>
              <p:custDataLst>
                <p:tags r:id="rId13"/>
              </p:custDataLst>
            </p:nvPr>
          </p:nvSpPr>
          <p:spPr>
            <a:xfrm>
              <a:off x="4595121" y="4705212"/>
              <a:ext cx="309560" cy="309560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vert="horz" wrap="square" lIns="3810" tIns="0" rIns="3810" bIns="0" numCol="1" anchor="ctr" anchorCtr="1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b="1" dirty="0">
                  <a:solidFill>
                    <a:schemeClr val="bg1"/>
                  </a:solidFill>
                </a:rPr>
                <a:t>5</a:t>
              </a:r>
            </a:p>
          </p:txBody>
        </p:sp>
      </p:grpSp>
      <p:sp>
        <p:nvSpPr>
          <p:cNvPr id="73" name="Rectangle 6"/>
          <p:cNvSpPr txBox="1"/>
          <p:nvPr>
            <p:custDataLst>
              <p:tags r:id="rId11"/>
            </p:custDataLst>
          </p:nvPr>
        </p:nvSpPr>
        <p:spPr bwMode="gray">
          <a:xfrm>
            <a:off x="4611556" y="901759"/>
            <a:ext cx="4227405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indent="0"/>
            <a:r>
              <a:rPr lang="en-US" b="1" dirty="0">
                <a:solidFill>
                  <a:schemeClr val="bg1"/>
                </a:solidFill>
              </a:rPr>
              <a:t>Fundamental Operating Principles:</a:t>
            </a:r>
          </a:p>
          <a:p>
            <a:pPr marL="0" indent="0"/>
            <a:endParaRPr lang="en-US" b="1" dirty="0">
              <a:solidFill>
                <a:schemeClr val="bg1"/>
              </a:solidFill>
            </a:endParaRPr>
          </a:p>
        </p:txBody>
      </p:sp>
      <p:cxnSp>
        <p:nvCxnSpPr>
          <p:cNvPr id="63" name="Straight Connector 62"/>
          <p:cNvCxnSpPr/>
          <p:nvPr/>
        </p:nvCxnSpPr>
        <p:spPr>
          <a:xfrm>
            <a:off x="4533381" y="1697234"/>
            <a:ext cx="4138834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0765752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759054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60" imgH="360" progId="">
                  <p:embed/>
                </p:oleObj>
              </mc:Choice>
              <mc:Fallback>
                <p:oleObj name="think-cell Slide" r:id="rId26" imgW="360" imgH="360" progId="">
                  <p:embed/>
                  <p:pic>
                    <p:nvPicPr>
                      <p:cNvPr id="0" name="Picture 9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17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4376289" y="932581"/>
            <a:ext cx="4281478" cy="52586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19063" y="123860"/>
            <a:ext cx="7902419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success of the transformation will depend on a creating a dedicated implementation unit</a:t>
            </a:r>
          </a:p>
        </p:txBody>
      </p:sp>
      <p:sp>
        <p:nvSpPr>
          <p:cNvPr id="6" name="Rectangle 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4376289" y="932581"/>
            <a:ext cx="4281478" cy="637867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/>
              </a:gs>
            </a:gsLst>
            <a:lin ang="16200000" scaled="1"/>
            <a:tileRect/>
          </a:gradFill>
          <a:ln w="19050" cap="flat" cmpd="sng">
            <a:solidFill>
              <a:schemeClr val="accent3"/>
            </a:solidFill>
            <a:prstDash val="solid"/>
            <a:round/>
            <a:headEnd/>
            <a:tailEnd/>
          </a:ln>
          <a:effectLst/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… Implementation units help overcome many of these challenges</a:t>
            </a:r>
          </a:p>
        </p:txBody>
      </p:sp>
      <p:sp>
        <p:nvSpPr>
          <p:cNvPr id="15" name="Rectangle 14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313871" y="932581"/>
            <a:ext cx="3380011" cy="525866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dirty="0" err="1"/>
          </a:p>
        </p:txBody>
      </p:sp>
      <p:sp>
        <p:nvSpPr>
          <p:cNvPr id="3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313871" y="932581"/>
            <a:ext cx="3380011" cy="63786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1000"/>
                  <a:lumOff val="29000"/>
                </a:schemeClr>
              </a:gs>
            </a:gsLst>
            <a:lin ang="16200000" scaled="1"/>
            <a:tileRect/>
          </a:gradFill>
          <a:ln w="19050" cap="flat" cmpd="sng">
            <a:solidFill>
              <a:schemeClr val="accent1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5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sz="1600" b="1" dirty="0"/>
              <a:t>National transformations are deeply complex …</a:t>
            </a:r>
          </a:p>
        </p:txBody>
      </p:sp>
      <p:sp>
        <p:nvSpPr>
          <p:cNvPr id="22" name="AutoShape 7"/>
          <p:cNvSpPr>
            <a:spLocks noChangeArrowheads="1"/>
          </p:cNvSpPr>
          <p:nvPr/>
        </p:nvSpPr>
        <p:spPr bwMode="auto">
          <a:xfrm>
            <a:off x="3928753" y="1072920"/>
            <a:ext cx="329713" cy="357188"/>
          </a:xfrm>
          <a:prstGeom prst="chevron">
            <a:avLst>
              <a:gd name="adj" fmla="val 25000"/>
            </a:avLst>
          </a:pr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26" name="AutoShape 8"/>
          <p:cNvSpPr>
            <a:spLocks noChangeArrowheads="1"/>
          </p:cNvSpPr>
          <p:nvPr/>
        </p:nvSpPr>
        <p:spPr bwMode="auto">
          <a:xfrm>
            <a:off x="3758402" y="1127872"/>
            <a:ext cx="217977" cy="252779"/>
          </a:xfrm>
          <a:prstGeom prst="chevron">
            <a:avLst>
              <a:gd name="adj" fmla="val 25000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37" name="Line 9"/>
          <p:cNvSpPr>
            <a:spLocks noChangeShapeType="1"/>
          </p:cNvSpPr>
          <p:nvPr/>
        </p:nvSpPr>
        <p:spPr bwMode="auto">
          <a:xfrm>
            <a:off x="403857" y="2675749"/>
            <a:ext cx="3246120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49" name="Line 9"/>
          <p:cNvSpPr>
            <a:spLocks noChangeShapeType="1"/>
          </p:cNvSpPr>
          <p:nvPr/>
        </p:nvSpPr>
        <p:spPr bwMode="auto">
          <a:xfrm>
            <a:off x="4411976" y="2675749"/>
            <a:ext cx="4137073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1" name="Line 9"/>
          <p:cNvSpPr>
            <a:spLocks noChangeShapeType="1"/>
          </p:cNvSpPr>
          <p:nvPr/>
        </p:nvSpPr>
        <p:spPr bwMode="auto">
          <a:xfrm>
            <a:off x="403857" y="3550844"/>
            <a:ext cx="3246120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2" name="Line 9"/>
          <p:cNvSpPr>
            <a:spLocks noChangeShapeType="1"/>
          </p:cNvSpPr>
          <p:nvPr/>
        </p:nvSpPr>
        <p:spPr bwMode="auto">
          <a:xfrm>
            <a:off x="4411976" y="3550844"/>
            <a:ext cx="4137073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4" name="Line 9"/>
          <p:cNvSpPr>
            <a:spLocks noChangeShapeType="1"/>
          </p:cNvSpPr>
          <p:nvPr/>
        </p:nvSpPr>
        <p:spPr bwMode="auto">
          <a:xfrm>
            <a:off x="403857" y="4948151"/>
            <a:ext cx="3246120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5" name="Line 9"/>
          <p:cNvSpPr>
            <a:spLocks noChangeShapeType="1"/>
          </p:cNvSpPr>
          <p:nvPr/>
        </p:nvSpPr>
        <p:spPr bwMode="auto">
          <a:xfrm>
            <a:off x="4411976" y="4948151"/>
            <a:ext cx="4137073" cy="0"/>
          </a:xfrm>
          <a:prstGeom prst="line">
            <a:avLst/>
          </a:prstGeom>
          <a:noFill/>
          <a:ln w="19050">
            <a:solidFill>
              <a:srgbClr val="B2B2B2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5" name="Rectangle 6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406346" y="1635355"/>
            <a:ext cx="3240733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Size and complexity of the challenge: </a:t>
            </a:r>
            <a:r>
              <a:rPr lang="en-US" dirty="0"/>
              <a:t>NEAT encompasses 7 different zonal strategies across 10 states</a:t>
            </a:r>
          </a:p>
        </p:txBody>
      </p:sp>
      <p:sp>
        <p:nvSpPr>
          <p:cNvPr id="14" name="Rectangle 6"/>
          <p:cNvSpPr txBox="1">
            <a:spLocks/>
          </p:cNvSpPr>
          <p:nvPr>
            <p:custDataLst>
              <p:tags r:id="rId8"/>
            </p:custDataLst>
          </p:nvPr>
        </p:nvSpPr>
        <p:spPr bwMode="gray">
          <a:xfrm>
            <a:off x="4841807" y="1635355"/>
            <a:ext cx="251148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dirty="0"/>
              <a:t>Follow a single, coordinated action and investment plan</a:t>
            </a:r>
          </a:p>
        </p:txBody>
      </p:sp>
      <p:sp>
        <p:nvSpPr>
          <p:cNvPr id="4" name="Rectangle 3"/>
          <p:cNvSpPr/>
          <p:nvPr>
            <p:custDataLst>
              <p:tags r:id="rId9"/>
            </p:custDataLst>
          </p:nvPr>
        </p:nvSpPr>
        <p:spPr>
          <a:xfrm>
            <a:off x="7517603" y="1611191"/>
            <a:ext cx="1022656" cy="888023"/>
          </a:xfrm>
          <a:prstGeom prst="rect">
            <a:avLst/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48" name="Picture 3" descr="people with puzzle, development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2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98501" y="1649291"/>
            <a:ext cx="846008" cy="7969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6"/>
          <p:cNvSpPr txBox="1">
            <a:spLocks/>
          </p:cNvSpPr>
          <p:nvPr>
            <p:custDataLst>
              <p:tags r:id="rId11"/>
            </p:custDataLst>
          </p:nvPr>
        </p:nvSpPr>
        <p:spPr bwMode="gray">
          <a:xfrm>
            <a:off x="406346" y="3680586"/>
            <a:ext cx="3240733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Number of stakeholders: </a:t>
            </a:r>
            <a:r>
              <a:rPr lang="en-US" dirty="0"/>
              <a:t>Transforming agriculture requires multi-sector cooperation as well </a:t>
            </a:r>
            <a:br>
              <a:rPr lang="en-US" dirty="0"/>
            </a:br>
            <a:r>
              <a:rPr lang="en-US" dirty="0"/>
              <a:t>as support from many development partners and the private sector</a:t>
            </a:r>
          </a:p>
        </p:txBody>
      </p:sp>
      <p:sp>
        <p:nvSpPr>
          <p:cNvPr id="17" name="Rectangle 6"/>
          <p:cNvSpPr txBox="1">
            <a:spLocks/>
          </p:cNvSpPr>
          <p:nvPr>
            <p:custDataLst>
              <p:tags r:id="rId12"/>
            </p:custDataLst>
          </p:nvPr>
        </p:nvSpPr>
        <p:spPr bwMode="gray">
          <a:xfrm>
            <a:off x="4841807" y="3680586"/>
            <a:ext cx="251148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dirty="0"/>
              <a:t>Bring together a team </a:t>
            </a:r>
            <a:br>
              <a:rPr lang="en-US" dirty="0"/>
            </a:br>
            <a:r>
              <a:rPr lang="en-US" dirty="0"/>
              <a:t>of high performing leadership</a:t>
            </a:r>
          </a:p>
        </p:txBody>
      </p:sp>
      <p:sp>
        <p:nvSpPr>
          <p:cNvPr id="32" name="Rectangle 31"/>
          <p:cNvSpPr/>
          <p:nvPr/>
        </p:nvSpPr>
        <p:spPr bwMode="gray">
          <a:xfrm>
            <a:off x="4467130" y="3711217"/>
            <a:ext cx="237646" cy="2321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3" name="Rectangle 25"/>
          <p:cNvSpPr txBox="1"/>
          <p:nvPr/>
        </p:nvSpPr>
        <p:spPr bwMode="gray">
          <a:xfrm>
            <a:off x="4460117" y="3530153"/>
            <a:ext cx="352661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500" dirty="0">
                <a:solidFill>
                  <a:schemeClr val="tx2"/>
                </a:solidFill>
                <a:sym typeface="Wingdings"/>
              </a:rPr>
              <a:t></a:t>
            </a:r>
            <a:endParaRPr lang="en-US" sz="3500" dirty="0">
              <a:solidFill>
                <a:schemeClr val="tx2"/>
              </a:solidFill>
            </a:endParaRPr>
          </a:p>
        </p:txBody>
      </p:sp>
      <p:sp>
        <p:nvSpPr>
          <p:cNvPr id="57" name="Rectangle 56"/>
          <p:cNvSpPr/>
          <p:nvPr>
            <p:custDataLst>
              <p:tags r:id="rId13"/>
            </p:custDataLst>
          </p:nvPr>
        </p:nvSpPr>
        <p:spPr>
          <a:xfrm>
            <a:off x="7517603" y="3710767"/>
            <a:ext cx="1022656" cy="7611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77512" name="Picture 8" descr="71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2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7534541" y="3853642"/>
            <a:ext cx="992677" cy="6039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Rectangle 28"/>
          <p:cNvSpPr/>
          <p:nvPr/>
        </p:nvSpPr>
        <p:spPr bwMode="gray">
          <a:xfrm>
            <a:off x="4467130" y="2864697"/>
            <a:ext cx="237646" cy="2321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30" name="Rectangle 25"/>
          <p:cNvSpPr txBox="1"/>
          <p:nvPr/>
        </p:nvSpPr>
        <p:spPr bwMode="gray">
          <a:xfrm>
            <a:off x="4460117" y="2683633"/>
            <a:ext cx="352661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500" dirty="0">
                <a:solidFill>
                  <a:schemeClr val="tx2"/>
                </a:solidFill>
                <a:sym typeface="Wingdings"/>
              </a:rPr>
              <a:t></a:t>
            </a:r>
            <a:endParaRPr lang="en-US" sz="3500" dirty="0">
              <a:solidFill>
                <a:schemeClr val="tx2"/>
              </a:solidFill>
            </a:endParaRPr>
          </a:p>
        </p:txBody>
      </p:sp>
      <p:sp>
        <p:nvSpPr>
          <p:cNvPr id="9" name="Rectangle 6"/>
          <p:cNvSpPr txBox="1">
            <a:spLocks/>
          </p:cNvSpPr>
          <p:nvPr>
            <p:custDataLst>
              <p:tags r:id="rId15"/>
            </p:custDataLst>
          </p:nvPr>
        </p:nvSpPr>
        <p:spPr bwMode="gray">
          <a:xfrm>
            <a:off x="406346" y="2775721"/>
            <a:ext cx="3240733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Speed required: </a:t>
            </a:r>
            <a:r>
              <a:rPr lang="en-US" dirty="0"/>
              <a:t>RSS has established a very near-term food self-sufficiency goal </a:t>
            </a:r>
          </a:p>
        </p:txBody>
      </p:sp>
      <p:sp>
        <p:nvSpPr>
          <p:cNvPr id="16" name="Rectangle 6"/>
          <p:cNvSpPr txBox="1">
            <a:spLocks/>
          </p:cNvSpPr>
          <p:nvPr>
            <p:custDataLst>
              <p:tags r:id="rId16"/>
            </p:custDataLst>
          </p:nvPr>
        </p:nvSpPr>
        <p:spPr bwMode="gray">
          <a:xfrm>
            <a:off x="4841807" y="2775721"/>
            <a:ext cx="251148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100000"/>
              </a:spcBef>
            </a:pPr>
            <a:r>
              <a:rPr lang="en-US" dirty="0"/>
              <a:t>Minimize bureaucracy with </a:t>
            </a:r>
            <a:br>
              <a:rPr lang="en-US" dirty="0"/>
            </a:br>
            <a:r>
              <a:rPr lang="en-US" dirty="0"/>
              <a:t>a fast-acting unit</a:t>
            </a:r>
          </a:p>
        </p:txBody>
      </p:sp>
      <p:sp>
        <p:nvSpPr>
          <p:cNvPr id="56" name="Rectangle 55"/>
          <p:cNvSpPr/>
          <p:nvPr>
            <p:custDataLst>
              <p:tags r:id="rId17"/>
            </p:custDataLst>
          </p:nvPr>
        </p:nvSpPr>
        <p:spPr>
          <a:xfrm>
            <a:off x="7517603" y="2702683"/>
            <a:ext cx="1022656" cy="7611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77510" name="Picture 6" descr="ist2_7384461-the-important-part[1]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 rotWithShape="1"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569310" y="2757846"/>
            <a:ext cx="974725" cy="6796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6"/>
          <p:cNvSpPr txBox="1">
            <a:spLocks/>
          </p:cNvSpPr>
          <p:nvPr>
            <p:custDataLst>
              <p:tags r:id="rId19"/>
            </p:custDataLst>
          </p:nvPr>
        </p:nvSpPr>
        <p:spPr bwMode="gray">
          <a:xfrm>
            <a:off x="406346" y="5077894"/>
            <a:ext cx="3240733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tx2"/>
                </a:solidFill>
              </a:rPr>
              <a:t>Large financial commitments: </a:t>
            </a:r>
            <a:r>
              <a:rPr lang="en-US" dirty="0">
                <a:solidFill>
                  <a:schemeClr val="tx2"/>
                </a:solidFill>
              </a:rPr>
              <a:t>P</a:t>
            </a:r>
            <a:r>
              <a:rPr lang="en-US" dirty="0"/>
              <a:t>ublic sector and donor funding requirements are large and interdependent</a:t>
            </a:r>
          </a:p>
        </p:txBody>
      </p:sp>
      <p:sp>
        <p:nvSpPr>
          <p:cNvPr id="44" name="Rectangle 6"/>
          <p:cNvSpPr txBox="1">
            <a:spLocks/>
          </p:cNvSpPr>
          <p:nvPr>
            <p:custDataLst>
              <p:tags r:id="rId20"/>
            </p:custDataLst>
          </p:nvPr>
        </p:nvSpPr>
        <p:spPr bwMode="gray">
          <a:xfrm>
            <a:off x="4841807" y="5077894"/>
            <a:ext cx="2511489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600"/>
              </a:spcBef>
            </a:pPr>
            <a:r>
              <a:rPr lang="en-US" dirty="0"/>
              <a:t>Develop joint donor/ government monitoring to track progress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4467130" y="5108525"/>
            <a:ext cx="237646" cy="2321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47" name="Rectangle 25"/>
          <p:cNvSpPr txBox="1"/>
          <p:nvPr/>
        </p:nvSpPr>
        <p:spPr bwMode="gray">
          <a:xfrm>
            <a:off x="4460117" y="4927461"/>
            <a:ext cx="352661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500" dirty="0">
                <a:solidFill>
                  <a:schemeClr val="tx2"/>
                </a:solidFill>
                <a:sym typeface="Wingdings"/>
              </a:rPr>
              <a:t></a:t>
            </a:r>
            <a:endParaRPr lang="en-US" sz="3500" dirty="0">
              <a:solidFill>
                <a:schemeClr val="tx2"/>
              </a:solidFill>
            </a:endParaRPr>
          </a:p>
        </p:txBody>
      </p:sp>
      <p:sp>
        <p:nvSpPr>
          <p:cNvPr id="58" name="Rectangle 57"/>
          <p:cNvSpPr/>
          <p:nvPr>
            <p:custDataLst>
              <p:tags r:id="rId21"/>
            </p:custDataLst>
          </p:nvPr>
        </p:nvSpPr>
        <p:spPr>
          <a:xfrm>
            <a:off x="7517603" y="5055399"/>
            <a:ext cx="1022656" cy="761159"/>
          </a:xfrm>
          <a:prstGeom prst="rect">
            <a:avLst/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pic>
        <p:nvPicPr>
          <p:cNvPr id="277507" name="Picture 3" descr="strategy"/>
          <p:cNvPicPr>
            <a:picLocks noChangeAspect="1" noChangeArrowheads="1"/>
          </p:cNvPicPr>
          <p:nvPr>
            <p:custDataLst>
              <p:tags r:id="rId22"/>
            </p:custDataLst>
          </p:nvPr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540999" y="5145886"/>
            <a:ext cx="960966" cy="6177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1" name="Rectangle 60"/>
          <p:cNvSpPr/>
          <p:nvPr>
            <p:custDataLst>
              <p:tags r:id="rId23"/>
            </p:custDataLst>
          </p:nvPr>
        </p:nvSpPr>
        <p:spPr bwMode="gray">
          <a:xfrm>
            <a:off x="4467130" y="1732746"/>
            <a:ext cx="237646" cy="232120"/>
          </a:xfrm>
          <a:prstGeom prst="rect">
            <a:avLst/>
          </a:prstGeom>
          <a:solidFill>
            <a:schemeClr val="bg1"/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62" name="Rectangle 25"/>
          <p:cNvSpPr txBox="1"/>
          <p:nvPr>
            <p:custDataLst>
              <p:tags r:id="rId24"/>
            </p:custDataLst>
          </p:nvPr>
        </p:nvSpPr>
        <p:spPr bwMode="gray">
          <a:xfrm>
            <a:off x="4460117" y="1551682"/>
            <a:ext cx="352661" cy="5386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3500" dirty="0">
                <a:solidFill>
                  <a:schemeClr val="tx2"/>
                </a:solidFill>
                <a:sym typeface="Wingdings"/>
              </a:rPr>
              <a:t></a:t>
            </a:r>
            <a:endParaRPr lang="en-US" sz="35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6534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9871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">
                  <p:embed/>
                </p:oleObj>
              </mc:Choice>
              <mc:Fallback>
                <p:oleObj name="think-cell Slide" r:id="rId12" imgW="360" imgH="360" progId="">
                  <p:embed/>
                  <p:pic>
                    <p:nvPicPr>
                      <p:cNvPr id="0" name="Picture 9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Rectangle 30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57149" y="963216"/>
            <a:ext cx="8810625" cy="5185927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19063" y="145126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unit will be responsible for the execution and management </a:t>
            </a:r>
            <a:br>
              <a:rPr lang="en-US" dirty="0"/>
            </a:br>
            <a:r>
              <a:rPr lang="en-US" dirty="0"/>
              <a:t>of the </a:t>
            </a:r>
            <a:r>
              <a:rPr lang="en-US" dirty="0" err="1"/>
              <a:t>ZEAT</a:t>
            </a:r>
            <a:r>
              <a:rPr lang="en-US" dirty="0"/>
              <a:t> agenda in each zone</a:t>
            </a:r>
            <a:endParaRPr lang="en-ZA" dirty="0"/>
          </a:p>
        </p:txBody>
      </p:sp>
      <p:sp>
        <p:nvSpPr>
          <p:cNvPr id="6" name="TextBox 53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53193" y="1014529"/>
            <a:ext cx="8618537" cy="442816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4300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algn="ctr"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>
              <a:defRPr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b="1" dirty="0"/>
              <a:t>The implementation unit will drive three consecutive processes :</a:t>
            </a:r>
          </a:p>
        </p:txBody>
      </p:sp>
      <p:sp>
        <p:nvSpPr>
          <p:cNvPr id="12" name="Rectangle 12"/>
          <p:cNvSpPr txBox="1">
            <a:spLocks/>
          </p:cNvSpPr>
          <p:nvPr/>
        </p:nvSpPr>
        <p:spPr bwMode="gray">
          <a:xfrm>
            <a:off x="202669" y="3041149"/>
            <a:ext cx="2633927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dirty="0"/>
              <a:t>Design the quick-win strategic opportunity for each zone (focus on incomplete zones)</a:t>
            </a:r>
          </a:p>
        </p:txBody>
      </p:sp>
      <p:sp>
        <p:nvSpPr>
          <p:cNvPr id="17" name="Rectangle 12"/>
          <p:cNvSpPr txBox="1">
            <a:spLocks/>
          </p:cNvSpPr>
          <p:nvPr/>
        </p:nvSpPr>
        <p:spPr bwMode="gray">
          <a:xfrm>
            <a:off x="3220478" y="3041149"/>
            <a:ext cx="2464114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dirty="0"/>
              <a:t>Translate strategic plans into clear, detailed action and investment plans for implementation</a:t>
            </a:r>
          </a:p>
        </p:txBody>
      </p:sp>
      <p:sp>
        <p:nvSpPr>
          <p:cNvPr id="18" name="Rectangle 12"/>
          <p:cNvSpPr txBox="1">
            <a:spLocks/>
          </p:cNvSpPr>
          <p:nvPr/>
        </p:nvSpPr>
        <p:spPr bwMode="gray">
          <a:xfrm>
            <a:off x="6073307" y="3041149"/>
            <a:ext cx="2462283" cy="9848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30000"/>
              </a:spcBef>
            </a:pPr>
            <a:r>
              <a:rPr lang="en-US" dirty="0"/>
              <a:t>Coordinate implementation </a:t>
            </a:r>
            <a:br>
              <a:rPr lang="en-US" dirty="0"/>
            </a:br>
            <a:r>
              <a:rPr lang="en-US" dirty="0"/>
              <a:t>in priority zones—including regular progress reviews to course-correct </a:t>
            </a:r>
          </a:p>
        </p:txBody>
      </p:sp>
      <p:sp>
        <p:nvSpPr>
          <p:cNvPr id="7" name="Freeform 6"/>
          <p:cNvSpPr/>
          <p:nvPr>
            <p:custDataLst>
              <p:tags r:id="rId5"/>
            </p:custDataLst>
          </p:nvPr>
        </p:nvSpPr>
        <p:spPr>
          <a:xfrm>
            <a:off x="153192" y="2348470"/>
            <a:ext cx="2969637" cy="673629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412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  <a:gd name="connsiteX0" fmla="*/ 0 w 1828800"/>
              <a:gd name="connsiteY0" fmla="*/ 0 h 914400"/>
              <a:gd name="connsiteX1" fmla="*/ 1754128 w 1828800"/>
              <a:gd name="connsiteY1" fmla="*/ 0 h 914400"/>
              <a:gd name="connsiteX2" fmla="*/ 1828800 w 1828800"/>
              <a:gd name="connsiteY2" fmla="*/ 457200 h 914400"/>
              <a:gd name="connsiteX3" fmla="*/ 175412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54128" y="0"/>
                </a:lnTo>
                <a:lnTo>
                  <a:pt x="1828800" y="457200"/>
                </a:lnTo>
                <a:lnTo>
                  <a:pt x="1754128" y="914400"/>
                </a:lnTo>
                <a:lnTo>
                  <a:pt x="0" y="914400"/>
                </a:lnTo>
                <a:lnTo>
                  <a:pt x="0" y="457201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1000"/>
                  <a:lumOff val="29000"/>
                </a:schemeClr>
              </a:gs>
            </a:gsLst>
            <a:lin ang="16200000" scaled="1"/>
            <a:tileRect/>
          </a:gradFill>
          <a:ln w="28575" cap="flat" cmpd="sng">
            <a:solidFill>
              <a:srgbClr val="FFFFFF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none" lIns="45720" tIns="0" rIns="4572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chemeClr val="tx2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0" name="Rectangle 8"/>
          <p:cNvSpPr txBox="1"/>
          <p:nvPr>
            <p:custDataLst>
              <p:tags r:id="rId6"/>
            </p:custDataLst>
          </p:nvPr>
        </p:nvSpPr>
        <p:spPr>
          <a:xfrm>
            <a:off x="203992" y="2395250"/>
            <a:ext cx="2797584" cy="580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Strategic design</a:t>
            </a:r>
          </a:p>
        </p:txBody>
      </p:sp>
      <p:sp>
        <p:nvSpPr>
          <p:cNvPr id="22" name="Freeform 21"/>
          <p:cNvSpPr/>
          <p:nvPr>
            <p:custDataLst>
              <p:tags r:id="rId7"/>
            </p:custDataLst>
          </p:nvPr>
        </p:nvSpPr>
        <p:spPr>
          <a:xfrm>
            <a:off x="3010693" y="2348470"/>
            <a:ext cx="2969637" cy="673629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74672 w 1828800"/>
              <a:gd name="connsiteY5" fmla="*/ 457201 h 914400"/>
              <a:gd name="connsiteX0" fmla="*/ 0 w 1828800"/>
              <a:gd name="connsiteY0" fmla="*/ 0 h 914400"/>
              <a:gd name="connsiteX1" fmla="*/ 175412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74672 w 1828800"/>
              <a:gd name="connsiteY5" fmla="*/ 457201 h 914400"/>
              <a:gd name="connsiteX0" fmla="*/ 0 w 1828800"/>
              <a:gd name="connsiteY0" fmla="*/ 0 h 914400"/>
              <a:gd name="connsiteX1" fmla="*/ 1754128 w 1828800"/>
              <a:gd name="connsiteY1" fmla="*/ 0 h 914400"/>
              <a:gd name="connsiteX2" fmla="*/ 1828800 w 1828800"/>
              <a:gd name="connsiteY2" fmla="*/ 457200 h 914400"/>
              <a:gd name="connsiteX3" fmla="*/ 1754128 w 1828800"/>
              <a:gd name="connsiteY3" fmla="*/ 914400 h 914400"/>
              <a:gd name="connsiteX4" fmla="*/ 0 w 1828800"/>
              <a:gd name="connsiteY4" fmla="*/ 914400 h 914400"/>
              <a:gd name="connsiteX5" fmla="*/ 74672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54128" y="0"/>
                </a:lnTo>
                <a:lnTo>
                  <a:pt x="1828800" y="457200"/>
                </a:lnTo>
                <a:lnTo>
                  <a:pt x="1754128" y="914400"/>
                </a:lnTo>
                <a:lnTo>
                  <a:pt x="0" y="914400"/>
                </a:lnTo>
                <a:lnTo>
                  <a:pt x="74672" y="457201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1000"/>
                  <a:lumOff val="29000"/>
                </a:schemeClr>
              </a:gs>
            </a:gsLst>
            <a:lin ang="16200000" scaled="1"/>
            <a:tileRect/>
          </a:gradFill>
          <a:ln w="28575" cap="flat" cmpd="sng">
            <a:solidFill>
              <a:srgbClr val="FFFFFF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none" lIns="45720" tIns="0" rIns="4572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chemeClr val="tx2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3" name="Rectangle 8"/>
          <p:cNvSpPr txBox="1"/>
          <p:nvPr>
            <p:custDataLst>
              <p:tags r:id="rId8"/>
            </p:custDataLst>
          </p:nvPr>
        </p:nvSpPr>
        <p:spPr>
          <a:xfrm>
            <a:off x="3182746" y="2395250"/>
            <a:ext cx="2676330" cy="580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Implementation planning</a:t>
            </a:r>
          </a:p>
        </p:txBody>
      </p:sp>
      <p:sp>
        <p:nvSpPr>
          <p:cNvPr id="25" name="Freeform 24"/>
          <p:cNvSpPr/>
          <p:nvPr>
            <p:custDataLst>
              <p:tags r:id="rId9"/>
            </p:custDataLst>
          </p:nvPr>
        </p:nvSpPr>
        <p:spPr>
          <a:xfrm>
            <a:off x="5868193" y="2348470"/>
            <a:ext cx="2903537" cy="673629"/>
          </a:xfrm>
          <a:custGeom>
            <a:avLst/>
            <a:gdLst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0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164592 w 1828800"/>
              <a:gd name="connsiteY5" fmla="*/ 457200 h 914400"/>
              <a:gd name="connsiteX0" fmla="*/ 0 w 1828800"/>
              <a:gd name="connsiteY0" fmla="*/ 0 h 914400"/>
              <a:gd name="connsiteX1" fmla="*/ 166420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66420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98722 w 1828800"/>
              <a:gd name="connsiteY5" fmla="*/ 457200 h 914400"/>
              <a:gd name="connsiteX0" fmla="*/ 0 w 1828800"/>
              <a:gd name="connsiteY0" fmla="*/ 0 h 914400"/>
              <a:gd name="connsiteX1" fmla="*/ 173007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76372 w 1828800"/>
              <a:gd name="connsiteY5" fmla="*/ 457201 h 914400"/>
              <a:gd name="connsiteX0" fmla="*/ 0 w 1828800"/>
              <a:gd name="connsiteY0" fmla="*/ 0 h 914400"/>
              <a:gd name="connsiteX1" fmla="*/ 1752428 w 1828800"/>
              <a:gd name="connsiteY1" fmla="*/ 0 h 914400"/>
              <a:gd name="connsiteX2" fmla="*/ 1828800 w 1828800"/>
              <a:gd name="connsiteY2" fmla="*/ 457200 h 914400"/>
              <a:gd name="connsiteX3" fmla="*/ 1730078 w 1828800"/>
              <a:gd name="connsiteY3" fmla="*/ 914400 h 914400"/>
              <a:gd name="connsiteX4" fmla="*/ 0 w 1828800"/>
              <a:gd name="connsiteY4" fmla="*/ 914400 h 914400"/>
              <a:gd name="connsiteX5" fmla="*/ 76372 w 1828800"/>
              <a:gd name="connsiteY5" fmla="*/ 457201 h 914400"/>
              <a:gd name="connsiteX0" fmla="*/ 0 w 1828800"/>
              <a:gd name="connsiteY0" fmla="*/ 0 h 914400"/>
              <a:gd name="connsiteX1" fmla="*/ 1752428 w 1828800"/>
              <a:gd name="connsiteY1" fmla="*/ 0 h 914400"/>
              <a:gd name="connsiteX2" fmla="*/ 1828800 w 1828800"/>
              <a:gd name="connsiteY2" fmla="*/ 457200 h 914400"/>
              <a:gd name="connsiteX3" fmla="*/ 1752428 w 1828800"/>
              <a:gd name="connsiteY3" fmla="*/ 914400 h 914400"/>
              <a:gd name="connsiteX4" fmla="*/ 0 w 1828800"/>
              <a:gd name="connsiteY4" fmla="*/ 914400 h 914400"/>
              <a:gd name="connsiteX5" fmla="*/ 76372 w 1828800"/>
              <a:gd name="connsiteY5" fmla="*/ 457201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28800" h="914400">
                <a:moveTo>
                  <a:pt x="0" y="0"/>
                </a:moveTo>
                <a:lnTo>
                  <a:pt x="1752428" y="0"/>
                </a:lnTo>
                <a:lnTo>
                  <a:pt x="1828800" y="457200"/>
                </a:lnTo>
                <a:lnTo>
                  <a:pt x="1752428" y="914400"/>
                </a:lnTo>
                <a:lnTo>
                  <a:pt x="0" y="914400"/>
                </a:lnTo>
                <a:lnTo>
                  <a:pt x="76372" y="457201"/>
                </a:lnTo>
                <a:close/>
              </a:path>
            </a:pathLst>
          </a:custGeom>
          <a:gradFill flip="none" rotWithShape="1">
            <a:gsLst>
              <a:gs pos="0">
                <a:schemeClr val="accent1"/>
              </a:gs>
              <a:gs pos="100000">
                <a:schemeClr val="accent1">
                  <a:lumMod val="71000"/>
                  <a:lumOff val="29000"/>
                </a:schemeClr>
              </a:gs>
            </a:gsLst>
            <a:lin ang="16200000" scaled="1"/>
            <a:tileRect/>
          </a:gradFill>
          <a:ln w="28575" cap="flat" cmpd="sng">
            <a:solidFill>
              <a:srgbClr val="FFFFFF"/>
            </a:solidFill>
            <a:prstDash val="solid"/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25400" dir="54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vert="horz" wrap="none" lIns="45720" tIns="0" rIns="45720" bIns="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 dirty="0" err="1">
              <a:solidFill>
                <a:schemeClr val="tx2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sp>
        <p:nvSpPr>
          <p:cNvPr id="26" name="Rectangle 8"/>
          <p:cNvSpPr txBox="1"/>
          <p:nvPr>
            <p:custDataLst>
              <p:tags r:id="rId10"/>
            </p:custDataLst>
          </p:nvPr>
        </p:nvSpPr>
        <p:spPr>
          <a:xfrm>
            <a:off x="6040246" y="2395250"/>
            <a:ext cx="2610230" cy="5800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Delivery coordination</a:t>
            </a:r>
          </a:p>
        </p:txBody>
      </p:sp>
      <p:pic>
        <p:nvPicPr>
          <p:cNvPr id="282637" name="Picture 13" descr="C:\Users\alexa guevara\Desktop\wip\Images\3D man\12356798_s.jpg"/>
          <p:cNvPicPr>
            <a:picLocks noChangeArrowheads="1"/>
          </p:cNvPicPr>
          <p:nvPr/>
        </p:nvPicPr>
        <p:blipFill>
          <a:blip r:embed="rId14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03155" y="1631769"/>
            <a:ext cx="1098759" cy="8735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2639" name="Picture 15" descr="C:\Users\alexa guevara\Desktop\wip\Images\3D man\15658561_s.jpg"/>
          <p:cNvPicPr>
            <a:picLocks noChangeArrowheads="1"/>
          </p:cNvPicPr>
          <p:nvPr/>
        </p:nvPicPr>
        <p:blipFill>
          <a:blip r:embed="rId15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8631" y="1631769"/>
            <a:ext cx="1098759" cy="8735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2640" name="Picture 16" descr="C:\Users\alexa guevara\Desktop\wip\Images\3D man\16441773_s.jpg"/>
          <p:cNvPicPr>
            <a:picLocks noChangeArrowheads="1"/>
          </p:cNvPicPr>
          <p:nvPr/>
        </p:nvPicPr>
        <p:blipFill rotWithShape="1">
          <a:blip r:embed="rId16" cstate="email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770582" y="1631769"/>
            <a:ext cx="1098759" cy="87351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76233" name="Picture 105" descr="C:\Users\Zach Marks\Pictures\Visit to Yambio\CIMG0256.JPG"/>
          <p:cNvPicPr>
            <a:picLocks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20478" y="4115626"/>
            <a:ext cx="2568921" cy="1926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6235" name="Picture 107"/>
          <p:cNvPicPr>
            <a:picLocks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 flipV="1">
            <a:off x="153193" y="4062199"/>
            <a:ext cx="2568921" cy="1926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6237" name="Picture 109" descr="C:\Users\Zach Marks\Pictures\Field photos\Magwi\IMG_2455.JPG"/>
          <p:cNvPicPr>
            <a:picLocks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81555" y="4115626"/>
            <a:ext cx="2568921" cy="1926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292638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506814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2" imgW="360" imgH="360" progId="">
                  <p:embed/>
                </p:oleObj>
              </mc:Choice>
              <mc:Fallback>
                <p:oleObj name="think-cell Slide" r:id="rId122" imgW="360" imgH="360" progId="">
                  <p:embed/>
                  <p:pic>
                    <p:nvPicPr>
                      <p:cNvPr id="0" name="Picture 10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0" y="165507"/>
            <a:ext cx="8470745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3038">
              <a:tabLst>
                <a:tab pos="173038" algn="l"/>
              </a:tabLst>
            </a:pPr>
            <a:r>
              <a:rPr lang="en-US" dirty="0"/>
              <a:t>In Year 1, the Implementation Unit would support the first 3 zones with ~30 field staff--mostly seconded from existing Ministry employees</a:t>
            </a:r>
            <a:endParaRPr lang="en-ZA" dirty="0"/>
          </a:p>
        </p:txBody>
      </p:sp>
      <p:sp>
        <p:nvSpPr>
          <p:cNvPr id="19" name="Rectangle 18"/>
          <p:cNvSpPr/>
          <p:nvPr>
            <p:custDataLst>
              <p:tags r:id="rId3"/>
            </p:custDataLst>
          </p:nvPr>
        </p:nvSpPr>
        <p:spPr bwMode="gray">
          <a:xfrm>
            <a:off x="189959" y="741808"/>
            <a:ext cx="7901521" cy="560228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236" name="Rectangle 235"/>
          <p:cNvSpPr/>
          <p:nvPr>
            <p:custDataLst>
              <p:tags r:id="rId4"/>
            </p:custDataLst>
          </p:nvPr>
        </p:nvSpPr>
        <p:spPr bwMode="gray">
          <a:xfrm>
            <a:off x="164306" y="739772"/>
            <a:ext cx="7901521" cy="33655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39" name="Freeform 85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2779325" y="2926236"/>
            <a:ext cx="407322" cy="303130"/>
          </a:xfrm>
          <a:custGeom>
            <a:avLst/>
            <a:gdLst>
              <a:gd name="T0" fmla="*/ 24 w 428"/>
              <a:gd name="T1" fmla="*/ 0 h 339"/>
              <a:gd name="T2" fmla="*/ 44 w 428"/>
              <a:gd name="T3" fmla="*/ 56 h 339"/>
              <a:gd name="T4" fmla="*/ 53 w 428"/>
              <a:gd name="T5" fmla="*/ 81 h 339"/>
              <a:gd name="T6" fmla="*/ 58 w 428"/>
              <a:gd name="T7" fmla="*/ 90 h 339"/>
              <a:gd name="T8" fmla="*/ 64 w 428"/>
              <a:gd name="T9" fmla="*/ 97 h 339"/>
              <a:gd name="T10" fmla="*/ 75 w 428"/>
              <a:gd name="T11" fmla="*/ 108 h 339"/>
              <a:gd name="T12" fmla="*/ 86 w 428"/>
              <a:gd name="T13" fmla="*/ 114 h 339"/>
              <a:gd name="T14" fmla="*/ 100 w 428"/>
              <a:gd name="T15" fmla="*/ 118 h 339"/>
              <a:gd name="T16" fmla="*/ 109 w 428"/>
              <a:gd name="T17" fmla="*/ 121 h 339"/>
              <a:gd name="T18" fmla="*/ 126 w 428"/>
              <a:gd name="T19" fmla="*/ 126 h 339"/>
              <a:gd name="T20" fmla="*/ 148 w 428"/>
              <a:gd name="T21" fmla="*/ 132 h 339"/>
              <a:gd name="T22" fmla="*/ 161 w 428"/>
              <a:gd name="T23" fmla="*/ 134 h 339"/>
              <a:gd name="T24" fmla="*/ 171 w 428"/>
              <a:gd name="T25" fmla="*/ 137 h 339"/>
              <a:gd name="T26" fmla="*/ 179 w 428"/>
              <a:gd name="T27" fmla="*/ 138 h 339"/>
              <a:gd name="T28" fmla="*/ 193 w 428"/>
              <a:gd name="T29" fmla="*/ 141 h 339"/>
              <a:gd name="T30" fmla="*/ 208 w 428"/>
              <a:gd name="T31" fmla="*/ 138 h 339"/>
              <a:gd name="T32" fmla="*/ 233 w 428"/>
              <a:gd name="T33" fmla="*/ 129 h 339"/>
              <a:gd name="T34" fmla="*/ 252 w 428"/>
              <a:gd name="T35" fmla="*/ 121 h 339"/>
              <a:gd name="T36" fmla="*/ 287 w 428"/>
              <a:gd name="T37" fmla="*/ 107 h 339"/>
              <a:gd name="T38" fmla="*/ 296 w 428"/>
              <a:gd name="T39" fmla="*/ 104 h 339"/>
              <a:gd name="T40" fmla="*/ 311 w 428"/>
              <a:gd name="T41" fmla="*/ 100 h 339"/>
              <a:gd name="T42" fmla="*/ 343 w 428"/>
              <a:gd name="T43" fmla="*/ 93 h 339"/>
              <a:gd name="T44" fmla="*/ 375 w 428"/>
              <a:gd name="T45" fmla="*/ 93 h 339"/>
              <a:gd name="T46" fmla="*/ 365 w 428"/>
              <a:gd name="T47" fmla="*/ 136 h 339"/>
              <a:gd name="T48" fmla="*/ 368 w 428"/>
              <a:gd name="T49" fmla="*/ 163 h 339"/>
              <a:gd name="T50" fmla="*/ 401 w 428"/>
              <a:gd name="T51" fmla="*/ 221 h 339"/>
              <a:gd name="T52" fmla="*/ 409 w 428"/>
              <a:gd name="T53" fmla="*/ 257 h 339"/>
              <a:gd name="T54" fmla="*/ 428 w 428"/>
              <a:gd name="T55" fmla="*/ 306 h 339"/>
              <a:gd name="T56" fmla="*/ 384 w 428"/>
              <a:gd name="T57" fmla="*/ 321 h 339"/>
              <a:gd name="T58" fmla="*/ 337 w 428"/>
              <a:gd name="T59" fmla="*/ 258 h 339"/>
              <a:gd name="T60" fmla="*/ 331 w 428"/>
              <a:gd name="T61" fmla="*/ 255 h 339"/>
              <a:gd name="T62" fmla="*/ 281 w 428"/>
              <a:gd name="T63" fmla="*/ 261 h 339"/>
              <a:gd name="T64" fmla="*/ 258 w 428"/>
              <a:gd name="T65" fmla="*/ 259 h 339"/>
              <a:gd name="T66" fmla="*/ 196 w 428"/>
              <a:gd name="T67" fmla="*/ 262 h 339"/>
              <a:gd name="T68" fmla="*/ 105 w 428"/>
              <a:gd name="T69" fmla="*/ 276 h 339"/>
              <a:gd name="T70" fmla="*/ 79 w 428"/>
              <a:gd name="T71" fmla="*/ 270 h 339"/>
              <a:gd name="T72" fmla="*/ 0 w 428"/>
              <a:gd name="T73" fmla="*/ 237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428" h="339">
                <a:moveTo>
                  <a:pt x="13" y="118"/>
                </a:moveTo>
                <a:lnTo>
                  <a:pt x="24" y="0"/>
                </a:lnTo>
                <a:lnTo>
                  <a:pt x="42" y="50"/>
                </a:lnTo>
                <a:lnTo>
                  <a:pt x="44" y="56"/>
                </a:lnTo>
                <a:lnTo>
                  <a:pt x="49" y="72"/>
                </a:lnTo>
                <a:lnTo>
                  <a:pt x="53" y="81"/>
                </a:lnTo>
                <a:lnTo>
                  <a:pt x="57" y="89"/>
                </a:lnTo>
                <a:lnTo>
                  <a:pt x="58" y="90"/>
                </a:lnTo>
                <a:lnTo>
                  <a:pt x="60" y="90"/>
                </a:lnTo>
                <a:lnTo>
                  <a:pt x="64" y="97"/>
                </a:lnTo>
                <a:lnTo>
                  <a:pt x="69" y="104"/>
                </a:lnTo>
                <a:lnTo>
                  <a:pt x="75" y="108"/>
                </a:lnTo>
                <a:lnTo>
                  <a:pt x="79" y="110"/>
                </a:lnTo>
                <a:lnTo>
                  <a:pt x="86" y="114"/>
                </a:lnTo>
                <a:lnTo>
                  <a:pt x="91" y="115"/>
                </a:lnTo>
                <a:lnTo>
                  <a:pt x="100" y="118"/>
                </a:lnTo>
                <a:lnTo>
                  <a:pt x="102" y="119"/>
                </a:lnTo>
                <a:lnTo>
                  <a:pt x="109" y="121"/>
                </a:lnTo>
                <a:lnTo>
                  <a:pt x="113" y="123"/>
                </a:lnTo>
                <a:lnTo>
                  <a:pt x="126" y="126"/>
                </a:lnTo>
                <a:lnTo>
                  <a:pt x="144" y="132"/>
                </a:lnTo>
                <a:lnTo>
                  <a:pt x="148" y="132"/>
                </a:lnTo>
                <a:lnTo>
                  <a:pt x="155" y="134"/>
                </a:lnTo>
                <a:lnTo>
                  <a:pt x="161" y="134"/>
                </a:lnTo>
                <a:lnTo>
                  <a:pt x="167" y="136"/>
                </a:lnTo>
                <a:lnTo>
                  <a:pt x="171" y="137"/>
                </a:lnTo>
                <a:lnTo>
                  <a:pt x="175" y="137"/>
                </a:lnTo>
                <a:lnTo>
                  <a:pt x="179" y="138"/>
                </a:lnTo>
                <a:lnTo>
                  <a:pt x="182" y="138"/>
                </a:lnTo>
                <a:lnTo>
                  <a:pt x="193" y="141"/>
                </a:lnTo>
                <a:lnTo>
                  <a:pt x="203" y="138"/>
                </a:lnTo>
                <a:lnTo>
                  <a:pt x="208" y="138"/>
                </a:lnTo>
                <a:lnTo>
                  <a:pt x="222" y="133"/>
                </a:lnTo>
                <a:lnTo>
                  <a:pt x="233" y="129"/>
                </a:lnTo>
                <a:lnTo>
                  <a:pt x="244" y="126"/>
                </a:lnTo>
                <a:lnTo>
                  <a:pt x="252" y="121"/>
                </a:lnTo>
                <a:lnTo>
                  <a:pt x="267" y="114"/>
                </a:lnTo>
                <a:lnTo>
                  <a:pt x="287" y="107"/>
                </a:lnTo>
                <a:lnTo>
                  <a:pt x="293" y="104"/>
                </a:lnTo>
                <a:lnTo>
                  <a:pt x="296" y="104"/>
                </a:lnTo>
                <a:lnTo>
                  <a:pt x="303" y="101"/>
                </a:lnTo>
                <a:lnTo>
                  <a:pt x="311" y="100"/>
                </a:lnTo>
                <a:lnTo>
                  <a:pt x="322" y="97"/>
                </a:lnTo>
                <a:lnTo>
                  <a:pt x="343" y="93"/>
                </a:lnTo>
                <a:lnTo>
                  <a:pt x="359" y="93"/>
                </a:lnTo>
                <a:lnTo>
                  <a:pt x="375" y="93"/>
                </a:lnTo>
                <a:lnTo>
                  <a:pt x="376" y="125"/>
                </a:lnTo>
                <a:lnTo>
                  <a:pt x="365" y="136"/>
                </a:lnTo>
                <a:lnTo>
                  <a:pt x="358" y="155"/>
                </a:lnTo>
                <a:lnTo>
                  <a:pt x="368" y="163"/>
                </a:lnTo>
                <a:lnTo>
                  <a:pt x="376" y="196"/>
                </a:lnTo>
                <a:lnTo>
                  <a:pt x="401" y="221"/>
                </a:lnTo>
                <a:lnTo>
                  <a:pt x="412" y="242"/>
                </a:lnTo>
                <a:lnTo>
                  <a:pt x="409" y="257"/>
                </a:lnTo>
                <a:lnTo>
                  <a:pt x="421" y="276"/>
                </a:lnTo>
                <a:lnTo>
                  <a:pt x="428" y="306"/>
                </a:lnTo>
                <a:lnTo>
                  <a:pt x="420" y="339"/>
                </a:lnTo>
                <a:lnTo>
                  <a:pt x="384" y="321"/>
                </a:lnTo>
                <a:lnTo>
                  <a:pt x="347" y="264"/>
                </a:lnTo>
                <a:lnTo>
                  <a:pt x="337" y="258"/>
                </a:lnTo>
                <a:lnTo>
                  <a:pt x="324" y="268"/>
                </a:lnTo>
                <a:lnTo>
                  <a:pt x="331" y="255"/>
                </a:lnTo>
                <a:lnTo>
                  <a:pt x="289" y="250"/>
                </a:lnTo>
                <a:lnTo>
                  <a:pt x="281" y="261"/>
                </a:lnTo>
                <a:lnTo>
                  <a:pt x="273" y="269"/>
                </a:lnTo>
                <a:lnTo>
                  <a:pt x="258" y="259"/>
                </a:lnTo>
                <a:lnTo>
                  <a:pt x="223" y="269"/>
                </a:lnTo>
                <a:lnTo>
                  <a:pt x="196" y="262"/>
                </a:lnTo>
                <a:lnTo>
                  <a:pt x="148" y="288"/>
                </a:lnTo>
                <a:lnTo>
                  <a:pt x="105" y="276"/>
                </a:lnTo>
                <a:lnTo>
                  <a:pt x="73" y="310"/>
                </a:lnTo>
                <a:lnTo>
                  <a:pt x="79" y="270"/>
                </a:lnTo>
                <a:lnTo>
                  <a:pt x="46" y="250"/>
                </a:lnTo>
                <a:lnTo>
                  <a:pt x="0" y="237"/>
                </a:lnTo>
                <a:lnTo>
                  <a:pt x="13" y="11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0" name="Freeform 86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3120028" y="3009395"/>
            <a:ext cx="282651" cy="277198"/>
          </a:xfrm>
          <a:custGeom>
            <a:avLst/>
            <a:gdLst>
              <a:gd name="T0" fmla="*/ 3 w 297"/>
              <a:gd name="T1" fmla="*/ 51 h 310"/>
              <a:gd name="T2" fmla="*/ 7 w 297"/>
              <a:gd name="T3" fmla="*/ 43 h 310"/>
              <a:gd name="T4" fmla="*/ 18 w 297"/>
              <a:gd name="T5" fmla="*/ 32 h 310"/>
              <a:gd name="T6" fmla="*/ 17 w 297"/>
              <a:gd name="T7" fmla="*/ 0 h 310"/>
              <a:gd name="T8" fmla="*/ 19 w 297"/>
              <a:gd name="T9" fmla="*/ 0 h 310"/>
              <a:gd name="T10" fmla="*/ 51 w 297"/>
              <a:gd name="T11" fmla="*/ 0 h 310"/>
              <a:gd name="T12" fmla="*/ 73 w 297"/>
              <a:gd name="T13" fmla="*/ 1 h 310"/>
              <a:gd name="T14" fmla="*/ 99 w 297"/>
              <a:gd name="T15" fmla="*/ 1 h 310"/>
              <a:gd name="T16" fmla="*/ 102 w 297"/>
              <a:gd name="T17" fmla="*/ 1 h 310"/>
              <a:gd name="T18" fmla="*/ 117 w 297"/>
              <a:gd name="T19" fmla="*/ 3 h 310"/>
              <a:gd name="T20" fmla="*/ 127 w 297"/>
              <a:gd name="T21" fmla="*/ 3 h 310"/>
              <a:gd name="T22" fmla="*/ 144 w 297"/>
              <a:gd name="T23" fmla="*/ 4 h 310"/>
              <a:gd name="T24" fmla="*/ 168 w 297"/>
              <a:gd name="T25" fmla="*/ 6 h 310"/>
              <a:gd name="T26" fmla="*/ 186 w 297"/>
              <a:gd name="T27" fmla="*/ 7 h 310"/>
              <a:gd name="T28" fmla="*/ 201 w 297"/>
              <a:gd name="T29" fmla="*/ 8 h 310"/>
              <a:gd name="T30" fmla="*/ 209 w 297"/>
              <a:gd name="T31" fmla="*/ 8 h 310"/>
              <a:gd name="T32" fmla="*/ 216 w 297"/>
              <a:gd name="T33" fmla="*/ 8 h 310"/>
              <a:gd name="T34" fmla="*/ 224 w 297"/>
              <a:gd name="T35" fmla="*/ 8 h 310"/>
              <a:gd name="T36" fmla="*/ 233 w 297"/>
              <a:gd name="T37" fmla="*/ 7 h 310"/>
              <a:gd name="T38" fmla="*/ 234 w 297"/>
              <a:gd name="T39" fmla="*/ 7 h 310"/>
              <a:gd name="T40" fmla="*/ 238 w 297"/>
              <a:gd name="T41" fmla="*/ 7 h 310"/>
              <a:gd name="T42" fmla="*/ 249 w 297"/>
              <a:gd name="T43" fmla="*/ 6 h 310"/>
              <a:gd name="T44" fmla="*/ 297 w 297"/>
              <a:gd name="T45" fmla="*/ 98 h 310"/>
              <a:gd name="T46" fmla="*/ 237 w 297"/>
              <a:gd name="T47" fmla="*/ 232 h 310"/>
              <a:gd name="T48" fmla="*/ 255 w 297"/>
              <a:gd name="T49" fmla="*/ 246 h 310"/>
              <a:gd name="T50" fmla="*/ 211 w 297"/>
              <a:gd name="T51" fmla="*/ 263 h 310"/>
              <a:gd name="T52" fmla="*/ 211 w 297"/>
              <a:gd name="T53" fmla="*/ 275 h 310"/>
              <a:gd name="T54" fmla="*/ 191 w 297"/>
              <a:gd name="T55" fmla="*/ 288 h 310"/>
              <a:gd name="T56" fmla="*/ 183 w 297"/>
              <a:gd name="T57" fmla="*/ 288 h 310"/>
              <a:gd name="T58" fmla="*/ 184 w 297"/>
              <a:gd name="T59" fmla="*/ 278 h 310"/>
              <a:gd name="T60" fmla="*/ 173 w 297"/>
              <a:gd name="T61" fmla="*/ 275 h 310"/>
              <a:gd name="T62" fmla="*/ 158 w 297"/>
              <a:gd name="T63" fmla="*/ 296 h 310"/>
              <a:gd name="T64" fmla="*/ 118 w 297"/>
              <a:gd name="T65" fmla="*/ 310 h 310"/>
              <a:gd name="T66" fmla="*/ 100 w 297"/>
              <a:gd name="T67" fmla="*/ 310 h 310"/>
              <a:gd name="T68" fmla="*/ 84 w 297"/>
              <a:gd name="T69" fmla="*/ 301 h 310"/>
              <a:gd name="T70" fmla="*/ 87 w 297"/>
              <a:gd name="T71" fmla="*/ 268 h 310"/>
              <a:gd name="T72" fmla="*/ 74 w 297"/>
              <a:gd name="T73" fmla="*/ 272 h 310"/>
              <a:gd name="T74" fmla="*/ 74 w 297"/>
              <a:gd name="T75" fmla="*/ 249 h 310"/>
              <a:gd name="T76" fmla="*/ 63 w 297"/>
              <a:gd name="T77" fmla="*/ 250 h 310"/>
              <a:gd name="T78" fmla="*/ 61 w 297"/>
              <a:gd name="T79" fmla="*/ 246 h 310"/>
              <a:gd name="T80" fmla="*/ 62 w 297"/>
              <a:gd name="T81" fmla="*/ 246 h 310"/>
              <a:gd name="T82" fmla="*/ 70 w 297"/>
              <a:gd name="T83" fmla="*/ 213 h 310"/>
              <a:gd name="T84" fmla="*/ 63 w 297"/>
              <a:gd name="T85" fmla="*/ 183 h 310"/>
              <a:gd name="T86" fmla="*/ 51 w 297"/>
              <a:gd name="T87" fmla="*/ 164 h 310"/>
              <a:gd name="T88" fmla="*/ 54 w 297"/>
              <a:gd name="T89" fmla="*/ 149 h 310"/>
              <a:gd name="T90" fmla="*/ 43 w 297"/>
              <a:gd name="T91" fmla="*/ 128 h 310"/>
              <a:gd name="T92" fmla="*/ 18 w 297"/>
              <a:gd name="T93" fmla="*/ 103 h 310"/>
              <a:gd name="T94" fmla="*/ 10 w 297"/>
              <a:gd name="T95" fmla="*/ 70 h 310"/>
              <a:gd name="T96" fmla="*/ 0 w 297"/>
              <a:gd name="T97" fmla="*/ 62 h 310"/>
              <a:gd name="T98" fmla="*/ 3 w 297"/>
              <a:gd name="T99" fmla="*/ 51 h 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297" h="310">
                <a:moveTo>
                  <a:pt x="3" y="51"/>
                </a:moveTo>
                <a:lnTo>
                  <a:pt x="7" y="43"/>
                </a:lnTo>
                <a:lnTo>
                  <a:pt x="18" y="32"/>
                </a:lnTo>
                <a:lnTo>
                  <a:pt x="17" y="0"/>
                </a:lnTo>
                <a:lnTo>
                  <a:pt x="19" y="0"/>
                </a:lnTo>
                <a:lnTo>
                  <a:pt x="51" y="0"/>
                </a:lnTo>
                <a:lnTo>
                  <a:pt x="73" y="1"/>
                </a:lnTo>
                <a:lnTo>
                  <a:pt x="99" y="1"/>
                </a:lnTo>
                <a:lnTo>
                  <a:pt x="102" y="1"/>
                </a:lnTo>
                <a:lnTo>
                  <a:pt x="117" y="3"/>
                </a:lnTo>
                <a:lnTo>
                  <a:pt x="127" y="3"/>
                </a:lnTo>
                <a:lnTo>
                  <a:pt x="144" y="4"/>
                </a:lnTo>
                <a:lnTo>
                  <a:pt x="168" y="6"/>
                </a:lnTo>
                <a:lnTo>
                  <a:pt x="186" y="7"/>
                </a:lnTo>
                <a:lnTo>
                  <a:pt x="201" y="8"/>
                </a:lnTo>
                <a:lnTo>
                  <a:pt x="209" y="8"/>
                </a:lnTo>
                <a:lnTo>
                  <a:pt x="216" y="8"/>
                </a:lnTo>
                <a:lnTo>
                  <a:pt x="224" y="8"/>
                </a:lnTo>
                <a:lnTo>
                  <a:pt x="233" y="7"/>
                </a:lnTo>
                <a:lnTo>
                  <a:pt x="234" y="7"/>
                </a:lnTo>
                <a:lnTo>
                  <a:pt x="238" y="7"/>
                </a:lnTo>
                <a:lnTo>
                  <a:pt x="249" y="6"/>
                </a:lnTo>
                <a:lnTo>
                  <a:pt x="297" y="98"/>
                </a:lnTo>
                <a:lnTo>
                  <a:pt x="237" y="232"/>
                </a:lnTo>
                <a:lnTo>
                  <a:pt x="255" y="246"/>
                </a:lnTo>
                <a:lnTo>
                  <a:pt x="211" y="263"/>
                </a:lnTo>
                <a:lnTo>
                  <a:pt x="211" y="275"/>
                </a:lnTo>
                <a:lnTo>
                  <a:pt x="191" y="288"/>
                </a:lnTo>
                <a:lnTo>
                  <a:pt x="183" y="288"/>
                </a:lnTo>
                <a:lnTo>
                  <a:pt x="184" y="278"/>
                </a:lnTo>
                <a:lnTo>
                  <a:pt x="173" y="275"/>
                </a:lnTo>
                <a:lnTo>
                  <a:pt x="158" y="296"/>
                </a:lnTo>
                <a:lnTo>
                  <a:pt x="118" y="310"/>
                </a:lnTo>
                <a:lnTo>
                  <a:pt x="100" y="310"/>
                </a:lnTo>
                <a:lnTo>
                  <a:pt x="84" y="301"/>
                </a:lnTo>
                <a:lnTo>
                  <a:pt x="87" y="268"/>
                </a:lnTo>
                <a:lnTo>
                  <a:pt x="74" y="272"/>
                </a:lnTo>
                <a:lnTo>
                  <a:pt x="74" y="249"/>
                </a:lnTo>
                <a:lnTo>
                  <a:pt x="63" y="250"/>
                </a:lnTo>
                <a:lnTo>
                  <a:pt x="61" y="246"/>
                </a:lnTo>
                <a:lnTo>
                  <a:pt x="62" y="246"/>
                </a:lnTo>
                <a:lnTo>
                  <a:pt x="70" y="213"/>
                </a:lnTo>
                <a:lnTo>
                  <a:pt x="63" y="183"/>
                </a:lnTo>
                <a:lnTo>
                  <a:pt x="51" y="164"/>
                </a:lnTo>
                <a:lnTo>
                  <a:pt x="54" y="149"/>
                </a:lnTo>
                <a:lnTo>
                  <a:pt x="43" y="128"/>
                </a:lnTo>
                <a:lnTo>
                  <a:pt x="18" y="103"/>
                </a:lnTo>
                <a:lnTo>
                  <a:pt x="10" y="70"/>
                </a:lnTo>
                <a:lnTo>
                  <a:pt x="0" y="62"/>
                </a:lnTo>
                <a:lnTo>
                  <a:pt x="3" y="5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1" name="Freeform 87"/>
          <p:cNvSpPr>
            <a:spLocks/>
          </p:cNvSpPr>
          <p:nvPr>
            <p:custDataLst>
              <p:tags r:id="rId7"/>
            </p:custDataLst>
          </p:nvPr>
        </p:nvSpPr>
        <p:spPr bwMode="gray">
          <a:xfrm>
            <a:off x="2775519" y="3138158"/>
            <a:ext cx="427307" cy="187779"/>
          </a:xfrm>
          <a:custGeom>
            <a:avLst/>
            <a:gdLst>
              <a:gd name="T0" fmla="*/ 3 w 449"/>
              <a:gd name="T1" fmla="*/ 25 h 210"/>
              <a:gd name="T2" fmla="*/ 4 w 449"/>
              <a:gd name="T3" fmla="*/ 0 h 210"/>
              <a:gd name="T4" fmla="*/ 50 w 449"/>
              <a:gd name="T5" fmla="*/ 13 h 210"/>
              <a:gd name="T6" fmla="*/ 83 w 449"/>
              <a:gd name="T7" fmla="*/ 33 h 210"/>
              <a:gd name="T8" fmla="*/ 77 w 449"/>
              <a:gd name="T9" fmla="*/ 73 h 210"/>
              <a:gd name="T10" fmla="*/ 109 w 449"/>
              <a:gd name="T11" fmla="*/ 39 h 210"/>
              <a:gd name="T12" fmla="*/ 152 w 449"/>
              <a:gd name="T13" fmla="*/ 51 h 210"/>
              <a:gd name="T14" fmla="*/ 200 w 449"/>
              <a:gd name="T15" fmla="*/ 25 h 210"/>
              <a:gd name="T16" fmla="*/ 227 w 449"/>
              <a:gd name="T17" fmla="*/ 32 h 210"/>
              <a:gd name="T18" fmla="*/ 262 w 449"/>
              <a:gd name="T19" fmla="*/ 22 h 210"/>
              <a:gd name="T20" fmla="*/ 277 w 449"/>
              <a:gd name="T21" fmla="*/ 32 h 210"/>
              <a:gd name="T22" fmla="*/ 285 w 449"/>
              <a:gd name="T23" fmla="*/ 24 h 210"/>
              <a:gd name="T24" fmla="*/ 293 w 449"/>
              <a:gd name="T25" fmla="*/ 13 h 210"/>
              <a:gd name="T26" fmla="*/ 335 w 449"/>
              <a:gd name="T27" fmla="*/ 18 h 210"/>
              <a:gd name="T28" fmla="*/ 328 w 449"/>
              <a:gd name="T29" fmla="*/ 31 h 210"/>
              <a:gd name="T30" fmla="*/ 341 w 449"/>
              <a:gd name="T31" fmla="*/ 21 h 210"/>
              <a:gd name="T32" fmla="*/ 351 w 449"/>
              <a:gd name="T33" fmla="*/ 27 h 210"/>
              <a:gd name="T34" fmla="*/ 388 w 449"/>
              <a:gd name="T35" fmla="*/ 84 h 210"/>
              <a:gd name="T36" fmla="*/ 423 w 449"/>
              <a:gd name="T37" fmla="*/ 102 h 210"/>
              <a:gd name="T38" fmla="*/ 425 w 449"/>
              <a:gd name="T39" fmla="*/ 106 h 210"/>
              <a:gd name="T40" fmla="*/ 436 w 449"/>
              <a:gd name="T41" fmla="*/ 105 h 210"/>
              <a:gd name="T42" fmla="*/ 436 w 449"/>
              <a:gd name="T43" fmla="*/ 128 h 210"/>
              <a:gd name="T44" fmla="*/ 449 w 449"/>
              <a:gd name="T45" fmla="*/ 124 h 210"/>
              <a:gd name="T46" fmla="*/ 446 w 449"/>
              <a:gd name="T47" fmla="*/ 157 h 210"/>
              <a:gd name="T48" fmla="*/ 428 w 449"/>
              <a:gd name="T49" fmla="*/ 168 h 210"/>
              <a:gd name="T50" fmla="*/ 421 w 449"/>
              <a:gd name="T51" fmla="*/ 164 h 210"/>
              <a:gd name="T52" fmla="*/ 416 w 449"/>
              <a:gd name="T53" fmla="*/ 166 h 210"/>
              <a:gd name="T54" fmla="*/ 417 w 449"/>
              <a:gd name="T55" fmla="*/ 171 h 210"/>
              <a:gd name="T56" fmla="*/ 413 w 449"/>
              <a:gd name="T57" fmla="*/ 175 h 210"/>
              <a:gd name="T58" fmla="*/ 410 w 449"/>
              <a:gd name="T59" fmla="*/ 170 h 210"/>
              <a:gd name="T60" fmla="*/ 373 w 449"/>
              <a:gd name="T61" fmla="*/ 167 h 210"/>
              <a:gd name="T62" fmla="*/ 365 w 449"/>
              <a:gd name="T63" fmla="*/ 157 h 210"/>
              <a:gd name="T64" fmla="*/ 347 w 449"/>
              <a:gd name="T65" fmla="*/ 183 h 210"/>
              <a:gd name="T66" fmla="*/ 297 w 449"/>
              <a:gd name="T67" fmla="*/ 160 h 210"/>
              <a:gd name="T68" fmla="*/ 281 w 449"/>
              <a:gd name="T69" fmla="*/ 139 h 210"/>
              <a:gd name="T70" fmla="*/ 277 w 449"/>
              <a:gd name="T71" fmla="*/ 115 h 210"/>
              <a:gd name="T72" fmla="*/ 256 w 449"/>
              <a:gd name="T73" fmla="*/ 88 h 210"/>
              <a:gd name="T74" fmla="*/ 248 w 449"/>
              <a:gd name="T75" fmla="*/ 86 h 210"/>
              <a:gd name="T76" fmla="*/ 247 w 449"/>
              <a:gd name="T77" fmla="*/ 117 h 210"/>
              <a:gd name="T78" fmla="*/ 211 w 449"/>
              <a:gd name="T79" fmla="*/ 112 h 210"/>
              <a:gd name="T80" fmla="*/ 200 w 449"/>
              <a:gd name="T81" fmla="*/ 120 h 210"/>
              <a:gd name="T82" fmla="*/ 190 w 449"/>
              <a:gd name="T83" fmla="*/ 116 h 210"/>
              <a:gd name="T84" fmla="*/ 182 w 449"/>
              <a:gd name="T85" fmla="*/ 106 h 210"/>
              <a:gd name="T86" fmla="*/ 172 w 449"/>
              <a:gd name="T87" fmla="*/ 105 h 210"/>
              <a:gd name="T88" fmla="*/ 156 w 449"/>
              <a:gd name="T89" fmla="*/ 138 h 210"/>
              <a:gd name="T90" fmla="*/ 117 w 449"/>
              <a:gd name="T91" fmla="*/ 148 h 210"/>
              <a:gd name="T92" fmla="*/ 68 w 449"/>
              <a:gd name="T93" fmla="*/ 199 h 210"/>
              <a:gd name="T94" fmla="*/ 26 w 449"/>
              <a:gd name="T95" fmla="*/ 210 h 210"/>
              <a:gd name="T96" fmla="*/ 0 w 449"/>
              <a:gd name="T97" fmla="*/ 49 h 210"/>
              <a:gd name="T98" fmla="*/ 3 w 449"/>
              <a:gd name="T99" fmla="*/ 25 h 2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49" h="210">
                <a:moveTo>
                  <a:pt x="3" y="25"/>
                </a:moveTo>
                <a:lnTo>
                  <a:pt x="4" y="0"/>
                </a:lnTo>
                <a:lnTo>
                  <a:pt x="50" y="13"/>
                </a:lnTo>
                <a:lnTo>
                  <a:pt x="83" y="33"/>
                </a:lnTo>
                <a:lnTo>
                  <a:pt x="77" y="73"/>
                </a:lnTo>
                <a:lnTo>
                  <a:pt x="109" y="39"/>
                </a:lnTo>
                <a:lnTo>
                  <a:pt x="152" y="51"/>
                </a:lnTo>
                <a:lnTo>
                  <a:pt x="200" y="25"/>
                </a:lnTo>
                <a:lnTo>
                  <a:pt x="227" y="32"/>
                </a:lnTo>
                <a:lnTo>
                  <a:pt x="262" y="22"/>
                </a:lnTo>
                <a:lnTo>
                  <a:pt x="277" y="32"/>
                </a:lnTo>
                <a:lnTo>
                  <a:pt x="285" y="24"/>
                </a:lnTo>
                <a:lnTo>
                  <a:pt x="293" y="13"/>
                </a:lnTo>
                <a:lnTo>
                  <a:pt x="335" y="18"/>
                </a:lnTo>
                <a:lnTo>
                  <a:pt x="328" y="31"/>
                </a:lnTo>
                <a:lnTo>
                  <a:pt x="341" y="21"/>
                </a:lnTo>
                <a:lnTo>
                  <a:pt x="351" y="27"/>
                </a:lnTo>
                <a:lnTo>
                  <a:pt x="388" y="84"/>
                </a:lnTo>
                <a:lnTo>
                  <a:pt x="423" y="102"/>
                </a:lnTo>
                <a:lnTo>
                  <a:pt x="425" y="106"/>
                </a:lnTo>
                <a:lnTo>
                  <a:pt x="436" y="105"/>
                </a:lnTo>
                <a:lnTo>
                  <a:pt x="436" y="128"/>
                </a:lnTo>
                <a:lnTo>
                  <a:pt x="449" y="124"/>
                </a:lnTo>
                <a:lnTo>
                  <a:pt x="446" y="157"/>
                </a:lnTo>
                <a:lnTo>
                  <a:pt x="428" y="168"/>
                </a:lnTo>
                <a:lnTo>
                  <a:pt x="421" y="164"/>
                </a:lnTo>
                <a:lnTo>
                  <a:pt x="416" y="166"/>
                </a:lnTo>
                <a:lnTo>
                  <a:pt x="417" y="171"/>
                </a:lnTo>
                <a:lnTo>
                  <a:pt x="413" y="175"/>
                </a:lnTo>
                <a:lnTo>
                  <a:pt x="410" y="170"/>
                </a:lnTo>
                <a:lnTo>
                  <a:pt x="373" y="167"/>
                </a:lnTo>
                <a:lnTo>
                  <a:pt x="365" y="157"/>
                </a:lnTo>
                <a:lnTo>
                  <a:pt x="347" y="183"/>
                </a:lnTo>
                <a:lnTo>
                  <a:pt x="297" y="160"/>
                </a:lnTo>
                <a:lnTo>
                  <a:pt x="281" y="139"/>
                </a:lnTo>
                <a:lnTo>
                  <a:pt x="277" y="115"/>
                </a:lnTo>
                <a:lnTo>
                  <a:pt x="256" y="88"/>
                </a:lnTo>
                <a:lnTo>
                  <a:pt x="248" y="86"/>
                </a:lnTo>
                <a:lnTo>
                  <a:pt x="247" y="117"/>
                </a:lnTo>
                <a:lnTo>
                  <a:pt x="211" y="112"/>
                </a:lnTo>
                <a:lnTo>
                  <a:pt x="200" y="120"/>
                </a:lnTo>
                <a:lnTo>
                  <a:pt x="190" y="116"/>
                </a:lnTo>
                <a:lnTo>
                  <a:pt x="182" y="106"/>
                </a:lnTo>
                <a:lnTo>
                  <a:pt x="172" y="105"/>
                </a:lnTo>
                <a:lnTo>
                  <a:pt x="156" y="138"/>
                </a:lnTo>
                <a:lnTo>
                  <a:pt x="117" y="148"/>
                </a:lnTo>
                <a:lnTo>
                  <a:pt x="68" y="199"/>
                </a:lnTo>
                <a:lnTo>
                  <a:pt x="26" y="210"/>
                </a:lnTo>
                <a:lnTo>
                  <a:pt x="0" y="49"/>
                </a:lnTo>
                <a:lnTo>
                  <a:pt x="3" y="2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2" name="Freeform 88"/>
          <p:cNvSpPr>
            <a:spLocks/>
          </p:cNvSpPr>
          <p:nvPr>
            <p:custDataLst>
              <p:tags r:id="rId8"/>
            </p:custDataLst>
          </p:nvPr>
        </p:nvSpPr>
        <p:spPr bwMode="gray">
          <a:xfrm>
            <a:off x="2800263" y="3215058"/>
            <a:ext cx="525330" cy="331743"/>
          </a:xfrm>
          <a:custGeom>
            <a:avLst/>
            <a:gdLst>
              <a:gd name="T0" fmla="*/ 22 w 552"/>
              <a:gd name="T1" fmla="*/ 118 h 371"/>
              <a:gd name="T2" fmla="*/ 42 w 552"/>
              <a:gd name="T3" fmla="*/ 113 h 371"/>
              <a:gd name="T4" fmla="*/ 91 w 552"/>
              <a:gd name="T5" fmla="*/ 62 h 371"/>
              <a:gd name="T6" fmla="*/ 130 w 552"/>
              <a:gd name="T7" fmla="*/ 52 h 371"/>
              <a:gd name="T8" fmla="*/ 146 w 552"/>
              <a:gd name="T9" fmla="*/ 19 h 371"/>
              <a:gd name="T10" fmla="*/ 156 w 552"/>
              <a:gd name="T11" fmla="*/ 20 h 371"/>
              <a:gd name="T12" fmla="*/ 164 w 552"/>
              <a:gd name="T13" fmla="*/ 30 h 371"/>
              <a:gd name="T14" fmla="*/ 174 w 552"/>
              <a:gd name="T15" fmla="*/ 34 h 371"/>
              <a:gd name="T16" fmla="*/ 185 w 552"/>
              <a:gd name="T17" fmla="*/ 26 h 371"/>
              <a:gd name="T18" fmla="*/ 221 w 552"/>
              <a:gd name="T19" fmla="*/ 31 h 371"/>
              <a:gd name="T20" fmla="*/ 222 w 552"/>
              <a:gd name="T21" fmla="*/ 0 h 371"/>
              <a:gd name="T22" fmla="*/ 230 w 552"/>
              <a:gd name="T23" fmla="*/ 2 h 371"/>
              <a:gd name="T24" fmla="*/ 251 w 552"/>
              <a:gd name="T25" fmla="*/ 29 h 371"/>
              <a:gd name="T26" fmla="*/ 255 w 552"/>
              <a:gd name="T27" fmla="*/ 53 h 371"/>
              <a:gd name="T28" fmla="*/ 271 w 552"/>
              <a:gd name="T29" fmla="*/ 74 h 371"/>
              <a:gd name="T30" fmla="*/ 321 w 552"/>
              <a:gd name="T31" fmla="*/ 97 h 371"/>
              <a:gd name="T32" fmla="*/ 339 w 552"/>
              <a:gd name="T33" fmla="*/ 71 h 371"/>
              <a:gd name="T34" fmla="*/ 347 w 552"/>
              <a:gd name="T35" fmla="*/ 81 h 371"/>
              <a:gd name="T36" fmla="*/ 384 w 552"/>
              <a:gd name="T37" fmla="*/ 84 h 371"/>
              <a:gd name="T38" fmla="*/ 387 w 552"/>
              <a:gd name="T39" fmla="*/ 89 h 371"/>
              <a:gd name="T40" fmla="*/ 391 w 552"/>
              <a:gd name="T41" fmla="*/ 85 h 371"/>
              <a:gd name="T42" fmla="*/ 390 w 552"/>
              <a:gd name="T43" fmla="*/ 80 h 371"/>
              <a:gd name="T44" fmla="*/ 395 w 552"/>
              <a:gd name="T45" fmla="*/ 78 h 371"/>
              <a:gd name="T46" fmla="*/ 402 w 552"/>
              <a:gd name="T47" fmla="*/ 82 h 371"/>
              <a:gd name="T48" fmla="*/ 420 w 552"/>
              <a:gd name="T49" fmla="*/ 71 h 371"/>
              <a:gd name="T50" fmla="*/ 424 w 552"/>
              <a:gd name="T51" fmla="*/ 74 h 371"/>
              <a:gd name="T52" fmla="*/ 416 w 552"/>
              <a:gd name="T53" fmla="*/ 82 h 371"/>
              <a:gd name="T54" fmla="*/ 412 w 552"/>
              <a:gd name="T55" fmla="*/ 96 h 371"/>
              <a:gd name="T56" fmla="*/ 432 w 552"/>
              <a:gd name="T57" fmla="*/ 117 h 371"/>
              <a:gd name="T58" fmla="*/ 452 w 552"/>
              <a:gd name="T59" fmla="*/ 122 h 371"/>
              <a:gd name="T60" fmla="*/ 461 w 552"/>
              <a:gd name="T61" fmla="*/ 155 h 371"/>
              <a:gd name="T62" fmla="*/ 456 w 552"/>
              <a:gd name="T63" fmla="*/ 161 h 371"/>
              <a:gd name="T64" fmla="*/ 460 w 552"/>
              <a:gd name="T65" fmla="*/ 184 h 371"/>
              <a:gd name="T66" fmla="*/ 471 w 552"/>
              <a:gd name="T67" fmla="*/ 188 h 371"/>
              <a:gd name="T68" fmla="*/ 482 w 552"/>
              <a:gd name="T69" fmla="*/ 170 h 371"/>
              <a:gd name="T70" fmla="*/ 512 w 552"/>
              <a:gd name="T71" fmla="*/ 163 h 371"/>
              <a:gd name="T72" fmla="*/ 519 w 552"/>
              <a:gd name="T73" fmla="*/ 155 h 371"/>
              <a:gd name="T74" fmla="*/ 526 w 552"/>
              <a:gd name="T75" fmla="*/ 155 h 371"/>
              <a:gd name="T76" fmla="*/ 541 w 552"/>
              <a:gd name="T77" fmla="*/ 165 h 371"/>
              <a:gd name="T78" fmla="*/ 552 w 552"/>
              <a:gd name="T79" fmla="*/ 165 h 371"/>
              <a:gd name="T80" fmla="*/ 525 w 552"/>
              <a:gd name="T81" fmla="*/ 218 h 371"/>
              <a:gd name="T82" fmla="*/ 390 w 552"/>
              <a:gd name="T83" fmla="*/ 267 h 371"/>
              <a:gd name="T84" fmla="*/ 203 w 552"/>
              <a:gd name="T85" fmla="*/ 371 h 371"/>
              <a:gd name="T86" fmla="*/ 24 w 552"/>
              <a:gd name="T87" fmla="*/ 260 h 371"/>
              <a:gd name="T88" fmla="*/ 0 w 552"/>
              <a:gd name="T89" fmla="*/ 124 h 371"/>
              <a:gd name="T90" fmla="*/ 22 w 552"/>
              <a:gd name="T91" fmla="*/ 118 h 3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52" h="371">
                <a:moveTo>
                  <a:pt x="22" y="118"/>
                </a:moveTo>
                <a:lnTo>
                  <a:pt x="42" y="113"/>
                </a:lnTo>
                <a:lnTo>
                  <a:pt x="91" y="62"/>
                </a:lnTo>
                <a:lnTo>
                  <a:pt x="130" y="52"/>
                </a:lnTo>
                <a:lnTo>
                  <a:pt x="146" y="19"/>
                </a:lnTo>
                <a:lnTo>
                  <a:pt x="156" y="20"/>
                </a:lnTo>
                <a:lnTo>
                  <a:pt x="164" y="30"/>
                </a:lnTo>
                <a:lnTo>
                  <a:pt x="174" y="34"/>
                </a:lnTo>
                <a:lnTo>
                  <a:pt x="185" y="26"/>
                </a:lnTo>
                <a:lnTo>
                  <a:pt x="221" y="31"/>
                </a:lnTo>
                <a:lnTo>
                  <a:pt x="222" y="0"/>
                </a:lnTo>
                <a:lnTo>
                  <a:pt x="230" y="2"/>
                </a:lnTo>
                <a:lnTo>
                  <a:pt x="251" y="29"/>
                </a:lnTo>
                <a:lnTo>
                  <a:pt x="255" y="53"/>
                </a:lnTo>
                <a:lnTo>
                  <a:pt x="271" y="74"/>
                </a:lnTo>
                <a:lnTo>
                  <a:pt x="321" y="97"/>
                </a:lnTo>
                <a:lnTo>
                  <a:pt x="339" y="71"/>
                </a:lnTo>
                <a:lnTo>
                  <a:pt x="347" y="81"/>
                </a:lnTo>
                <a:lnTo>
                  <a:pt x="384" y="84"/>
                </a:lnTo>
                <a:lnTo>
                  <a:pt x="387" y="89"/>
                </a:lnTo>
                <a:lnTo>
                  <a:pt x="391" y="85"/>
                </a:lnTo>
                <a:lnTo>
                  <a:pt x="390" y="80"/>
                </a:lnTo>
                <a:lnTo>
                  <a:pt x="395" y="78"/>
                </a:lnTo>
                <a:lnTo>
                  <a:pt x="402" y="82"/>
                </a:lnTo>
                <a:lnTo>
                  <a:pt x="420" y="71"/>
                </a:lnTo>
                <a:lnTo>
                  <a:pt x="424" y="74"/>
                </a:lnTo>
                <a:lnTo>
                  <a:pt x="416" y="82"/>
                </a:lnTo>
                <a:lnTo>
                  <a:pt x="412" y="96"/>
                </a:lnTo>
                <a:lnTo>
                  <a:pt x="432" y="117"/>
                </a:lnTo>
                <a:lnTo>
                  <a:pt x="452" y="122"/>
                </a:lnTo>
                <a:lnTo>
                  <a:pt x="461" y="155"/>
                </a:lnTo>
                <a:lnTo>
                  <a:pt x="456" y="161"/>
                </a:lnTo>
                <a:lnTo>
                  <a:pt x="460" y="184"/>
                </a:lnTo>
                <a:lnTo>
                  <a:pt x="471" y="188"/>
                </a:lnTo>
                <a:lnTo>
                  <a:pt x="482" y="170"/>
                </a:lnTo>
                <a:lnTo>
                  <a:pt x="512" y="163"/>
                </a:lnTo>
                <a:lnTo>
                  <a:pt x="519" y="155"/>
                </a:lnTo>
                <a:lnTo>
                  <a:pt x="526" y="155"/>
                </a:lnTo>
                <a:lnTo>
                  <a:pt x="541" y="165"/>
                </a:lnTo>
                <a:lnTo>
                  <a:pt x="552" y="165"/>
                </a:lnTo>
                <a:lnTo>
                  <a:pt x="525" y="218"/>
                </a:lnTo>
                <a:lnTo>
                  <a:pt x="390" y="267"/>
                </a:lnTo>
                <a:lnTo>
                  <a:pt x="203" y="371"/>
                </a:lnTo>
                <a:lnTo>
                  <a:pt x="24" y="260"/>
                </a:lnTo>
                <a:lnTo>
                  <a:pt x="0" y="124"/>
                </a:lnTo>
                <a:lnTo>
                  <a:pt x="22" y="11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3" name="Freeform 89"/>
          <p:cNvSpPr>
            <a:spLocks/>
          </p:cNvSpPr>
          <p:nvPr>
            <p:custDataLst>
              <p:tags r:id="rId9"/>
            </p:custDataLst>
          </p:nvPr>
        </p:nvSpPr>
        <p:spPr bwMode="gray">
          <a:xfrm>
            <a:off x="3335110" y="2842182"/>
            <a:ext cx="385433" cy="252160"/>
          </a:xfrm>
          <a:custGeom>
            <a:avLst/>
            <a:gdLst>
              <a:gd name="T0" fmla="*/ 0 w 405"/>
              <a:gd name="T1" fmla="*/ 70 h 282"/>
              <a:gd name="T2" fmla="*/ 0 w 405"/>
              <a:gd name="T3" fmla="*/ 0 h 282"/>
              <a:gd name="T4" fmla="*/ 405 w 405"/>
              <a:gd name="T5" fmla="*/ 0 h 282"/>
              <a:gd name="T6" fmla="*/ 405 w 405"/>
              <a:gd name="T7" fmla="*/ 169 h 282"/>
              <a:gd name="T8" fmla="*/ 342 w 405"/>
              <a:gd name="T9" fmla="*/ 231 h 282"/>
              <a:gd name="T10" fmla="*/ 324 w 405"/>
              <a:gd name="T11" fmla="*/ 259 h 282"/>
              <a:gd name="T12" fmla="*/ 324 w 405"/>
              <a:gd name="T13" fmla="*/ 281 h 282"/>
              <a:gd name="T14" fmla="*/ 70 w 405"/>
              <a:gd name="T15" fmla="*/ 282 h 282"/>
              <a:gd name="T16" fmla="*/ 23 w 405"/>
              <a:gd name="T17" fmla="*/ 193 h 282"/>
              <a:gd name="T18" fmla="*/ 26 w 405"/>
              <a:gd name="T19" fmla="*/ 193 h 282"/>
              <a:gd name="T20" fmla="*/ 0 w 405"/>
              <a:gd name="T21" fmla="*/ 139 h 282"/>
              <a:gd name="T22" fmla="*/ 0 w 405"/>
              <a:gd name="T23" fmla="*/ 70 h 2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5" h="282">
                <a:moveTo>
                  <a:pt x="0" y="70"/>
                </a:moveTo>
                <a:lnTo>
                  <a:pt x="0" y="0"/>
                </a:lnTo>
                <a:lnTo>
                  <a:pt x="405" y="0"/>
                </a:lnTo>
                <a:lnTo>
                  <a:pt x="405" y="169"/>
                </a:lnTo>
                <a:lnTo>
                  <a:pt x="342" y="231"/>
                </a:lnTo>
                <a:lnTo>
                  <a:pt x="324" y="259"/>
                </a:lnTo>
                <a:lnTo>
                  <a:pt x="324" y="281"/>
                </a:lnTo>
                <a:lnTo>
                  <a:pt x="70" y="282"/>
                </a:lnTo>
                <a:lnTo>
                  <a:pt x="23" y="193"/>
                </a:lnTo>
                <a:lnTo>
                  <a:pt x="26" y="193"/>
                </a:lnTo>
                <a:lnTo>
                  <a:pt x="0" y="139"/>
                </a:lnTo>
                <a:lnTo>
                  <a:pt x="0" y="7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4" name="Freeform 90"/>
          <p:cNvSpPr>
            <a:spLocks/>
          </p:cNvSpPr>
          <p:nvPr>
            <p:custDataLst>
              <p:tags r:id="rId10"/>
            </p:custDataLst>
          </p:nvPr>
        </p:nvSpPr>
        <p:spPr bwMode="gray">
          <a:xfrm>
            <a:off x="3370322" y="3093448"/>
            <a:ext cx="286457" cy="180626"/>
          </a:xfrm>
          <a:custGeom>
            <a:avLst/>
            <a:gdLst>
              <a:gd name="T0" fmla="*/ 18 w 301"/>
              <a:gd name="T1" fmla="*/ 41 h 202"/>
              <a:gd name="T2" fmla="*/ 34 w 301"/>
              <a:gd name="T3" fmla="*/ 4 h 202"/>
              <a:gd name="T4" fmla="*/ 33 w 301"/>
              <a:gd name="T5" fmla="*/ 1 h 202"/>
              <a:gd name="T6" fmla="*/ 287 w 301"/>
              <a:gd name="T7" fmla="*/ 0 h 202"/>
              <a:gd name="T8" fmla="*/ 287 w 301"/>
              <a:gd name="T9" fmla="*/ 1 h 202"/>
              <a:gd name="T10" fmla="*/ 301 w 301"/>
              <a:gd name="T11" fmla="*/ 17 h 202"/>
              <a:gd name="T12" fmla="*/ 294 w 301"/>
              <a:gd name="T13" fmla="*/ 88 h 202"/>
              <a:gd name="T14" fmla="*/ 262 w 301"/>
              <a:gd name="T15" fmla="*/ 114 h 202"/>
              <a:gd name="T16" fmla="*/ 242 w 301"/>
              <a:gd name="T17" fmla="*/ 119 h 202"/>
              <a:gd name="T18" fmla="*/ 232 w 301"/>
              <a:gd name="T19" fmla="*/ 126 h 202"/>
              <a:gd name="T20" fmla="*/ 236 w 301"/>
              <a:gd name="T21" fmla="*/ 147 h 202"/>
              <a:gd name="T22" fmla="*/ 224 w 301"/>
              <a:gd name="T23" fmla="*/ 154 h 202"/>
              <a:gd name="T24" fmla="*/ 221 w 301"/>
              <a:gd name="T25" fmla="*/ 167 h 202"/>
              <a:gd name="T26" fmla="*/ 205 w 301"/>
              <a:gd name="T27" fmla="*/ 183 h 202"/>
              <a:gd name="T28" fmla="*/ 206 w 301"/>
              <a:gd name="T29" fmla="*/ 195 h 202"/>
              <a:gd name="T30" fmla="*/ 181 w 301"/>
              <a:gd name="T31" fmla="*/ 202 h 202"/>
              <a:gd name="T32" fmla="*/ 179 w 301"/>
              <a:gd name="T33" fmla="*/ 194 h 202"/>
              <a:gd name="T34" fmla="*/ 180 w 301"/>
              <a:gd name="T35" fmla="*/ 169 h 202"/>
              <a:gd name="T36" fmla="*/ 158 w 301"/>
              <a:gd name="T37" fmla="*/ 162 h 202"/>
              <a:gd name="T38" fmla="*/ 151 w 301"/>
              <a:gd name="T39" fmla="*/ 173 h 202"/>
              <a:gd name="T40" fmla="*/ 147 w 301"/>
              <a:gd name="T41" fmla="*/ 173 h 202"/>
              <a:gd name="T42" fmla="*/ 132 w 301"/>
              <a:gd name="T43" fmla="*/ 163 h 202"/>
              <a:gd name="T44" fmla="*/ 128 w 301"/>
              <a:gd name="T45" fmla="*/ 150 h 202"/>
              <a:gd name="T46" fmla="*/ 122 w 301"/>
              <a:gd name="T47" fmla="*/ 150 h 202"/>
              <a:gd name="T48" fmla="*/ 122 w 301"/>
              <a:gd name="T49" fmla="*/ 154 h 202"/>
              <a:gd name="T50" fmla="*/ 117 w 301"/>
              <a:gd name="T51" fmla="*/ 155 h 202"/>
              <a:gd name="T52" fmla="*/ 110 w 301"/>
              <a:gd name="T53" fmla="*/ 143 h 202"/>
              <a:gd name="T54" fmla="*/ 84 w 301"/>
              <a:gd name="T55" fmla="*/ 140 h 202"/>
              <a:gd name="T56" fmla="*/ 66 w 301"/>
              <a:gd name="T57" fmla="*/ 133 h 202"/>
              <a:gd name="T58" fmla="*/ 51 w 301"/>
              <a:gd name="T59" fmla="*/ 115 h 202"/>
              <a:gd name="T60" fmla="*/ 51 w 301"/>
              <a:gd name="T61" fmla="*/ 105 h 202"/>
              <a:gd name="T62" fmla="*/ 38 w 301"/>
              <a:gd name="T63" fmla="*/ 97 h 202"/>
              <a:gd name="T64" fmla="*/ 25 w 301"/>
              <a:gd name="T65" fmla="*/ 107 h 202"/>
              <a:gd name="T66" fmla="*/ 8 w 301"/>
              <a:gd name="T67" fmla="*/ 103 h 202"/>
              <a:gd name="T68" fmla="*/ 9 w 301"/>
              <a:gd name="T69" fmla="*/ 85 h 202"/>
              <a:gd name="T70" fmla="*/ 4 w 301"/>
              <a:gd name="T71" fmla="*/ 86 h 202"/>
              <a:gd name="T72" fmla="*/ 0 w 301"/>
              <a:gd name="T73" fmla="*/ 78 h 202"/>
              <a:gd name="T74" fmla="*/ 18 w 301"/>
              <a:gd name="T75" fmla="*/ 41 h 2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01" h="202">
                <a:moveTo>
                  <a:pt x="18" y="41"/>
                </a:moveTo>
                <a:lnTo>
                  <a:pt x="34" y="4"/>
                </a:lnTo>
                <a:lnTo>
                  <a:pt x="33" y="1"/>
                </a:lnTo>
                <a:lnTo>
                  <a:pt x="287" y="0"/>
                </a:lnTo>
                <a:lnTo>
                  <a:pt x="287" y="1"/>
                </a:lnTo>
                <a:lnTo>
                  <a:pt x="301" y="17"/>
                </a:lnTo>
                <a:lnTo>
                  <a:pt x="294" y="88"/>
                </a:lnTo>
                <a:lnTo>
                  <a:pt x="262" y="114"/>
                </a:lnTo>
                <a:lnTo>
                  <a:pt x="242" y="119"/>
                </a:lnTo>
                <a:lnTo>
                  <a:pt x="232" y="126"/>
                </a:lnTo>
                <a:lnTo>
                  <a:pt x="236" y="147"/>
                </a:lnTo>
                <a:lnTo>
                  <a:pt x="224" y="154"/>
                </a:lnTo>
                <a:lnTo>
                  <a:pt x="221" y="167"/>
                </a:lnTo>
                <a:lnTo>
                  <a:pt x="205" y="183"/>
                </a:lnTo>
                <a:lnTo>
                  <a:pt x="206" y="195"/>
                </a:lnTo>
                <a:lnTo>
                  <a:pt x="181" y="202"/>
                </a:lnTo>
                <a:lnTo>
                  <a:pt x="179" y="194"/>
                </a:lnTo>
                <a:lnTo>
                  <a:pt x="180" y="169"/>
                </a:lnTo>
                <a:lnTo>
                  <a:pt x="158" y="162"/>
                </a:lnTo>
                <a:lnTo>
                  <a:pt x="151" y="173"/>
                </a:lnTo>
                <a:lnTo>
                  <a:pt x="147" y="173"/>
                </a:lnTo>
                <a:lnTo>
                  <a:pt x="132" y="163"/>
                </a:lnTo>
                <a:lnTo>
                  <a:pt x="128" y="150"/>
                </a:lnTo>
                <a:lnTo>
                  <a:pt x="122" y="150"/>
                </a:lnTo>
                <a:lnTo>
                  <a:pt x="122" y="154"/>
                </a:lnTo>
                <a:lnTo>
                  <a:pt x="117" y="155"/>
                </a:lnTo>
                <a:lnTo>
                  <a:pt x="110" y="143"/>
                </a:lnTo>
                <a:lnTo>
                  <a:pt x="84" y="140"/>
                </a:lnTo>
                <a:lnTo>
                  <a:pt x="66" y="133"/>
                </a:lnTo>
                <a:lnTo>
                  <a:pt x="51" y="115"/>
                </a:lnTo>
                <a:lnTo>
                  <a:pt x="51" y="105"/>
                </a:lnTo>
                <a:lnTo>
                  <a:pt x="38" y="97"/>
                </a:lnTo>
                <a:lnTo>
                  <a:pt x="25" y="107"/>
                </a:lnTo>
                <a:lnTo>
                  <a:pt x="8" y="103"/>
                </a:lnTo>
                <a:lnTo>
                  <a:pt x="9" y="85"/>
                </a:lnTo>
                <a:lnTo>
                  <a:pt x="4" y="86"/>
                </a:lnTo>
                <a:lnTo>
                  <a:pt x="0" y="78"/>
                </a:lnTo>
                <a:lnTo>
                  <a:pt x="18" y="4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5" name="Freeform 91"/>
          <p:cNvSpPr>
            <a:spLocks/>
          </p:cNvSpPr>
          <p:nvPr>
            <p:custDataLst>
              <p:tags r:id="rId11"/>
            </p:custDataLst>
          </p:nvPr>
        </p:nvSpPr>
        <p:spPr bwMode="gray">
          <a:xfrm>
            <a:off x="3345578" y="3163194"/>
            <a:ext cx="196047" cy="343368"/>
          </a:xfrm>
          <a:custGeom>
            <a:avLst/>
            <a:gdLst>
              <a:gd name="T0" fmla="*/ 2 w 206"/>
              <a:gd name="T1" fmla="*/ 329 h 384"/>
              <a:gd name="T2" fmla="*/ 5 w 206"/>
              <a:gd name="T3" fmla="*/ 296 h 384"/>
              <a:gd name="T4" fmla="*/ 18 w 206"/>
              <a:gd name="T5" fmla="*/ 276 h 384"/>
              <a:gd name="T6" fmla="*/ 12 w 206"/>
              <a:gd name="T7" fmla="*/ 216 h 384"/>
              <a:gd name="T8" fmla="*/ 34 w 206"/>
              <a:gd name="T9" fmla="*/ 197 h 384"/>
              <a:gd name="T10" fmla="*/ 20 w 206"/>
              <a:gd name="T11" fmla="*/ 166 h 384"/>
              <a:gd name="T12" fmla="*/ 46 w 206"/>
              <a:gd name="T13" fmla="*/ 149 h 384"/>
              <a:gd name="T14" fmla="*/ 35 w 206"/>
              <a:gd name="T15" fmla="*/ 87 h 384"/>
              <a:gd name="T16" fmla="*/ 0 w 206"/>
              <a:gd name="T17" fmla="*/ 60 h 384"/>
              <a:gd name="T18" fmla="*/ 26 w 206"/>
              <a:gd name="T19" fmla="*/ 0 h 384"/>
              <a:gd name="T20" fmla="*/ 30 w 206"/>
              <a:gd name="T21" fmla="*/ 8 h 384"/>
              <a:gd name="T22" fmla="*/ 35 w 206"/>
              <a:gd name="T23" fmla="*/ 7 h 384"/>
              <a:gd name="T24" fmla="*/ 34 w 206"/>
              <a:gd name="T25" fmla="*/ 25 h 384"/>
              <a:gd name="T26" fmla="*/ 51 w 206"/>
              <a:gd name="T27" fmla="*/ 29 h 384"/>
              <a:gd name="T28" fmla="*/ 64 w 206"/>
              <a:gd name="T29" fmla="*/ 19 h 384"/>
              <a:gd name="T30" fmla="*/ 77 w 206"/>
              <a:gd name="T31" fmla="*/ 27 h 384"/>
              <a:gd name="T32" fmla="*/ 77 w 206"/>
              <a:gd name="T33" fmla="*/ 37 h 384"/>
              <a:gd name="T34" fmla="*/ 92 w 206"/>
              <a:gd name="T35" fmla="*/ 55 h 384"/>
              <a:gd name="T36" fmla="*/ 110 w 206"/>
              <a:gd name="T37" fmla="*/ 62 h 384"/>
              <a:gd name="T38" fmla="*/ 136 w 206"/>
              <a:gd name="T39" fmla="*/ 65 h 384"/>
              <a:gd name="T40" fmla="*/ 143 w 206"/>
              <a:gd name="T41" fmla="*/ 77 h 384"/>
              <a:gd name="T42" fmla="*/ 148 w 206"/>
              <a:gd name="T43" fmla="*/ 76 h 384"/>
              <a:gd name="T44" fmla="*/ 148 w 206"/>
              <a:gd name="T45" fmla="*/ 72 h 384"/>
              <a:gd name="T46" fmla="*/ 154 w 206"/>
              <a:gd name="T47" fmla="*/ 72 h 384"/>
              <a:gd name="T48" fmla="*/ 158 w 206"/>
              <a:gd name="T49" fmla="*/ 85 h 384"/>
              <a:gd name="T50" fmla="*/ 173 w 206"/>
              <a:gd name="T51" fmla="*/ 95 h 384"/>
              <a:gd name="T52" fmla="*/ 177 w 206"/>
              <a:gd name="T53" fmla="*/ 95 h 384"/>
              <a:gd name="T54" fmla="*/ 184 w 206"/>
              <a:gd name="T55" fmla="*/ 84 h 384"/>
              <a:gd name="T56" fmla="*/ 206 w 206"/>
              <a:gd name="T57" fmla="*/ 91 h 384"/>
              <a:gd name="T58" fmla="*/ 205 w 206"/>
              <a:gd name="T59" fmla="*/ 116 h 384"/>
              <a:gd name="T60" fmla="*/ 206 w 206"/>
              <a:gd name="T61" fmla="*/ 122 h 384"/>
              <a:gd name="T62" fmla="*/ 192 w 206"/>
              <a:gd name="T63" fmla="*/ 133 h 384"/>
              <a:gd name="T64" fmla="*/ 189 w 206"/>
              <a:gd name="T65" fmla="*/ 162 h 384"/>
              <a:gd name="T66" fmla="*/ 174 w 206"/>
              <a:gd name="T67" fmla="*/ 172 h 384"/>
              <a:gd name="T68" fmla="*/ 162 w 206"/>
              <a:gd name="T69" fmla="*/ 201 h 384"/>
              <a:gd name="T70" fmla="*/ 158 w 206"/>
              <a:gd name="T71" fmla="*/ 221 h 384"/>
              <a:gd name="T72" fmla="*/ 126 w 206"/>
              <a:gd name="T73" fmla="*/ 232 h 384"/>
              <a:gd name="T74" fmla="*/ 112 w 206"/>
              <a:gd name="T75" fmla="*/ 245 h 384"/>
              <a:gd name="T76" fmla="*/ 126 w 206"/>
              <a:gd name="T77" fmla="*/ 272 h 384"/>
              <a:gd name="T78" fmla="*/ 119 w 206"/>
              <a:gd name="T79" fmla="*/ 285 h 384"/>
              <a:gd name="T80" fmla="*/ 117 w 206"/>
              <a:gd name="T81" fmla="*/ 341 h 384"/>
              <a:gd name="T82" fmla="*/ 106 w 206"/>
              <a:gd name="T83" fmla="*/ 351 h 384"/>
              <a:gd name="T84" fmla="*/ 106 w 206"/>
              <a:gd name="T85" fmla="*/ 359 h 384"/>
              <a:gd name="T86" fmla="*/ 110 w 206"/>
              <a:gd name="T87" fmla="*/ 367 h 384"/>
              <a:gd name="T88" fmla="*/ 100 w 206"/>
              <a:gd name="T89" fmla="*/ 384 h 384"/>
              <a:gd name="T90" fmla="*/ 0 w 206"/>
              <a:gd name="T91" fmla="*/ 363 h 384"/>
              <a:gd name="T92" fmla="*/ 2 w 206"/>
              <a:gd name="T93" fmla="*/ 329 h 3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06" h="384">
                <a:moveTo>
                  <a:pt x="2" y="329"/>
                </a:moveTo>
                <a:lnTo>
                  <a:pt x="5" y="296"/>
                </a:lnTo>
                <a:lnTo>
                  <a:pt x="18" y="276"/>
                </a:lnTo>
                <a:lnTo>
                  <a:pt x="12" y="216"/>
                </a:lnTo>
                <a:lnTo>
                  <a:pt x="34" y="197"/>
                </a:lnTo>
                <a:lnTo>
                  <a:pt x="20" y="166"/>
                </a:lnTo>
                <a:lnTo>
                  <a:pt x="46" y="149"/>
                </a:lnTo>
                <a:lnTo>
                  <a:pt x="35" y="87"/>
                </a:lnTo>
                <a:lnTo>
                  <a:pt x="0" y="60"/>
                </a:lnTo>
                <a:lnTo>
                  <a:pt x="26" y="0"/>
                </a:lnTo>
                <a:lnTo>
                  <a:pt x="30" y="8"/>
                </a:lnTo>
                <a:lnTo>
                  <a:pt x="35" y="7"/>
                </a:lnTo>
                <a:lnTo>
                  <a:pt x="34" y="25"/>
                </a:lnTo>
                <a:lnTo>
                  <a:pt x="51" y="29"/>
                </a:lnTo>
                <a:lnTo>
                  <a:pt x="64" y="19"/>
                </a:lnTo>
                <a:lnTo>
                  <a:pt x="77" y="27"/>
                </a:lnTo>
                <a:lnTo>
                  <a:pt x="77" y="37"/>
                </a:lnTo>
                <a:lnTo>
                  <a:pt x="92" y="55"/>
                </a:lnTo>
                <a:lnTo>
                  <a:pt x="110" y="62"/>
                </a:lnTo>
                <a:lnTo>
                  <a:pt x="136" y="65"/>
                </a:lnTo>
                <a:lnTo>
                  <a:pt x="143" y="77"/>
                </a:lnTo>
                <a:lnTo>
                  <a:pt x="148" y="76"/>
                </a:lnTo>
                <a:lnTo>
                  <a:pt x="148" y="72"/>
                </a:lnTo>
                <a:lnTo>
                  <a:pt x="154" y="72"/>
                </a:lnTo>
                <a:lnTo>
                  <a:pt x="158" y="85"/>
                </a:lnTo>
                <a:lnTo>
                  <a:pt x="173" y="95"/>
                </a:lnTo>
                <a:lnTo>
                  <a:pt x="177" y="95"/>
                </a:lnTo>
                <a:lnTo>
                  <a:pt x="184" y="84"/>
                </a:lnTo>
                <a:lnTo>
                  <a:pt x="206" y="91"/>
                </a:lnTo>
                <a:lnTo>
                  <a:pt x="205" y="116"/>
                </a:lnTo>
                <a:lnTo>
                  <a:pt x="206" y="122"/>
                </a:lnTo>
                <a:lnTo>
                  <a:pt x="192" y="133"/>
                </a:lnTo>
                <a:lnTo>
                  <a:pt x="189" y="162"/>
                </a:lnTo>
                <a:lnTo>
                  <a:pt x="174" y="172"/>
                </a:lnTo>
                <a:lnTo>
                  <a:pt x="162" y="201"/>
                </a:lnTo>
                <a:lnTo>
                  <a:pt x="158" y="221"/>
                </a:lnTo>
                <a:lnTo>
                  <a:pt x="126" y="232"/>
                </a:lnTo>
                <a:lnTo>
                  <a:pt x="112" y="245"/>
                </a:lnTo>
                <a:lnTo>
                  <a:pt x="126" y="272"/>
                </a:lnTo>
                <a:lnTo>
                  <a:pt x="119" y="285"/>
                </a:lnTo>
                <a:lnTo>
                  <a:pt x="117" y="341"/>
                </a:lnTo>
                <a:lnTo>
                  <a:pt x="106" y="351"/>
                </a:lnTo>
                <a:lnTo>
                  <a:pt x="106" y="359"/>
                </a:lnTo>
                <a:lnTo>
                  <a:pt x="110" y="367"/>
                </a:lnTo>
                <a:lnTo>
                  <a:pt x="100" y="384"/>
                </a:lnTo>
                <a:lnTo>
                  <a:pt x="0" y="363"/>
                </a:lnTo>
                <a:lnTo>
                  <a:pt x="2" y="32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6" name="Freeform 92"/>
          <p:cNvSpPr>
            <a:spLocks/>
          </p:cNvSpPr>
          <p:nvPr>
            <p:custDataLst>
              <p:tags r:id="rId12"/>
            </p:custDataLst>
          </p:nvPr>
        </p:nvSpPr>
        <p:spPr bwMode="gray">
          <a:xfrm>
            <a:off x="3897555" y="2803731"/>
            <a:ext cx="432065" cy="279880"/>
          </a:xfrm>
          <a:custGeom>
            <a:avLst/>
            <a:gdLst>
              <a:gd name="T0" fmla="*/ 0 w 454"/>
              <a:gd name="T1" fmla="*/ 142 h 313"/>
              <a:gd name="T2" fmla="*/ 0 w 454"/>
              <a:gd name="T3" fmla="*/ 99 h 313"/>
              <a:gd name="T4" fmla="*/ 0 w 454"/>
              <a:gd name="T5" fmla="*/ 72 h 313"/>
              <a:gd name="T6" fmla="*/ 43 w 454"/>
              <a:gd name="T7" fmla="*/ 50 h 313"/>
              <a:gd name="T8" fmla="*/ 85 w 454"/>
              <a:gd name="T9" fmla="*/ 28 h 313"/>
              <a:gd name="T10" fmla="*/ 110 w 454"/>
              <a:gd name="T11" fmla="*/ 15 h 313"/>
              <a:gd name="T12" fmla="*/ 139 w 454"/>
              <a:gd name="T13" fmla="*/ 0 h 313"/>
              <a:gd name="T14" fmla="*/ 160 w 454"/>
              <a:gd name="T15" fmla="*/ 0 h 313"/>
              <a:gd name="T16" fmla="*/ 184 w 454"/>
              <a:gd name="T17" fmla="*/ 14 h 313"/>
              <a:gd name="T18" fmla="*/ 213 w 454"/>
              <a:gd name="T19" fmla="*/ 33 h 313"/>
              <a:gd name="T20" fmla="*/ 323 w 454"/>
              <a:gd name="T21" fmla="*/ 99 h 313"/>
              <a:gd name="T22" fmla="*/ 325 w 454"/>
              <a:gd name="T23" fmla="*/ 104 h 313"/>
              <a:gd name="T24" fmla="*/ 345 w 454"/>
              <a:gd name="T25" fmla="*/ 113 h 313"/>
              <a:gd name="T26" fmla="*/ 381 w 454"/>
              <a:gd name="T27" fmla="*/ 145 h 313"/>
              <a:gd name="T28" fmla="*/ 425 w 454"/>
              <a:gd name="T29" fmla="*/ 181 h 313"/>
              <a:gd name="T30" fmla="*/ 428 w 454"/>
              <a:gd name="T31" fmla="*/ 182 h 313"/>
              <a:gd name="T32" fmla="*/ 447 w 454"/>
              <a:gd name="T33" fmla="*/ 196 h 313"/>
              <a:gd name="T34" fmla="*/ 447 w 454"/>
              <a:gd name="T35" fmla="*/ 197 h 313"/>
              <a:gd name="T36" fmla="*/ 450 w 454"/>
              <a:gd name="T37" fmla="*/ 197 h 313"/>
              <a:gd name="T38" fmla="*/ 454 w 454"/>
              <a:gd name="T39" fmla="*/ 220 h 313"/>
              <a:gd name="T40" fmla="*/ 424 w 454"/>
              <a:gd name="T41" fmla="*/ 236 h 313"/>
              <a:gd name="T42" fmla="*/ 424 w 454"/>
              <a:gd name="T43" fmla="*/ 277 h 313"/>
              <a:gd name="T44" fmla="*/ 336 w 454"/>
              <a:gd name="T45" fmla="*/ 267 h 313"/>
              <a:gd name="T46" fmla="*/ 297 w 454"/>
              <a:gd name="T47" fmla="*/ 313 h 313"/>
              <a:gd name="T48" fmla="*/ 270 w 454"/>
              <a:gd name="T49" fmla="*/ 310 h 313"/>
              <a:gd name="T50" fmla="*/ 211 w 454"/>
              <a:gd name="T51" fmla="*/ 278 h 313"/>
              <a:gd name="T52" fmla="*/ 160 w 454"/>
              <a:gd name="T53" fmla="*/ 277 h 313"/>
              <a:gd name="T54" fmla="*/ 143 w 454"/>
              <a:gd name="T55" fmla="*/ 280 h 313"/>
              <a:gd name="T56" fmla="*/ 127 w 454"/>
              <a:gd name="T57" fmla="*/ 263 h 313"/>
              <a:gd name="T58" fmla="*/ 129 w 454"/>
              <a:gd name="T59" fmla="*/ 252 h 313"/>
              <a:gd name="T60" fmla="*/ 65 w 454"/>
              <a:gd name="T61" fmla="*/ 264 h 313"/>
              <a:gd name="T62" fmla="*/ 47 w 454"/>
              <a:gd name="T63" fmla="*/ 251 h 313"/>
              <a:gd name="T64" fmla="*/ 0 w 454"/>
              <a:gd name="T65" fmla="*/ 185 h 313"/>
              <a:gd name="T66" fmla="*/ 0 w 454"/>
              <a:gd name="T67" fmla="*/ 142 h 3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454" h="313">
                <a:moveTo>
                  <a:pt x="0" y="142"/>
                </a:moveTo>
                <a:lnTo>
                  <a:pt x="0" y="99"/>
                </a:lnTo>
                <a:lnTo>
                  <a:pt x="0" y="72"/>
                </a:lnTo>
                <a:lnTo>
                  <a:pt x="43" y="50"/>
                </a:lnTo>
                <a:lnTo>
                  <a:pt x="85" y="28"/>
                </a:lnTo>
                <a:lnTo>
                  <a:pt x="110" y="15"/>
                </a:lnTo>
                <a:lnTo>
                  <a:pt x="139" y="0"/>
                </a:lnTo>
                <a:lnTo>
                  <a:pt x="160" y="0"/>
                </a:lnTo>
                <a:lnTo>
                  <a:pt x="184" y="14"/>
                </a:lnTo>
                <a:lnTo>
                  <a:pt x="213" y="33"/>
                </a:lnTo>
                <a:lnTo>
                  <a:pt x="323" y="99"/>
                </a:lnTo>
                <a:lnTo>
                  <a:pt x="325" y="104"/>
                </a:lnTo>
                <a:lnTo>
                  <a:pt x="345" y="113"/>
                </a:lnTo>
                <a:lnTo>
                  <a:pt x="381" y="145"/>
                </a:lnTo>
                <a:lnTo>
                  <a:pt x="425" y="181"/>
                </a:lnTo>
                <a:lnTo>
                  <a:pt x="428" y="182"/>
                </a:lnTo>
                <a:lnTo>
                  <a:pt x="447" y="196"/>
                </a:lnTo>
                <a:lnTo>
                  <a:pt x="447" y="197"/>
                </a:lnTo>
                <a:lnTo>
                  <a:pt x="450" y="197"/>
                </a:lnTo>
                <a:lnTo>
                  <a:pt x="454" y="220"/>
                </a:lnTo>
                <a:lnTo>
                  <a:pt x="424" y="236"/>
                </a:lnTo>
                <a:lnTo>
                  <a:pt x="424" y="277"/>
                </a:lnTo>
                <a:lnTo>
                  <a:pt x="336" y="267"/>
                </a:lnTo>
                <a:lnTo>
                  <a:pt x="297" y="313"/>
                </a:lnTo>
                <a:lnTo>
                  <a:pt x="270" y="310"/>
                </a:lnTo>
                <a:lnTo>
                  <a:pt x="211" y="278"/>
                </a:lnTo>
                <a:lnTo>
                  <a:pt x="160" y="277"/>
                </a:lnTo>
                <a:lnTo>
                  <a:pt x="143" y="280"/>
                </a:lnTo>
                <a:lnTo>
                  <a:pt x="127" y="263"/>
                </a:lnTo>
                <a:lnTo>
                  <a:pt x="129" y="252"/>
                </a:lnTo>
                <a:lnTo>
                  <a:pt x="65" y="264"/>
                </a:lnTo>
                <a:lnTo>
                  <a:pt x="47" y="251"/>
                </a:lnTo>
                <a:lnTo>
                  <a:pt x="0" y="185"/>
                </a:lnTo>
                <a:lnTo>
                  <a:pt x="0" y="14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7" name="Freeform 93"/>
          <p:cNvSpPr>
            <a:spLocks noEditPoints="1"/>
          </p:cNvSpPr>
          <p:nvPr>
            <p:custDataLst>
              <p:tags r:id="rId13"/>
            </p:custDataLst>
          </p:nvPr>
        </p:nvSpPr>
        <p:spPr bwMode="gray">
          <a:xfrm>
            <a:off x="3643455" y="2969156"/>
            <a:ext cx="254100" cy="139493"/>
          </a:xfrm>
          <a:custGeom>
            <a:avLst/>
            <a:gdLst>
              <a:gd name="T0" fmla="*/ 267 w 267"/>
              <a:gd name="T1" fmla="*/ 0 h 156"/>
              <a:gd name="T2" fmla="*/ 267 w 267"/>
              <a:gd name="T3" fmla="*/ 1 h 156"/>
              <a:gd name="T4" fmla="*/ 267 w 267"/>
              <a:gd name="T5" fmla="*/ 0 h 156"/>
              <a:gd name="T6" fmla="*/ 0 w 267"/>
              <a:gd name="T7" fmla="*/ 128 h 156"/>
              <a:gd name="T8" fmla="*/ 0 w 267"/>
              <a:gd name="T9" fmla="*/ 117 h 156"/>
              <a:gd name="T10" fmla="*/ 18 w 267"/>
              <a:gd name="T11" fmla="*/ 89 h 156"/>
              <a:gd name="T12" fmla="*/ 81 w 267"/>
              <a:gd name="T13" fmla="*/ 27 h 156"/>
              <a:gd name="T14" fmla="*/ 81 w 267"/>
              <a:gd name="T15" fmla="*/ 29 h 156"/>
              <a:gd name="T16" fmla="*/ 84 w 267"/>
              <a:gd name="T17" fmla="*/ 26 h 156"/>
              <a:gd name="T18" fmla="*/ 86 w 267"/>
              <a:gd name="T19" fmla="*/ 23 h 156"/>
              <a:gd name="T20" fmla="*/ 87 w 267"/>
              <a:gd name="T21" fmla="*/ 20 h 156"/>
              <a:gd name="T22" fmla="*/ 88 w 267"/>
              <a:gd name="T23" fmla="*/ 19 h 156"/>
              <a:gd name="T24" fmla="*/ 90 w 267"/>
              <a:gd name="T25" fmla="*/ 18 h 156"/>
              <a:gd name="T26" fmla="*/ 90 w 267"/>
              <a:gd name="T27" fmla="*/ 16 h 156"/>
              <a:gd name="T28" fmla="*/ 92 w 267"/>
              <a:gd name="T29" fmla="*/ 16 h 156"/>
              <a:gd name="T30" fmla="*/ 94 w 267"/>
              <a:gd name="T31" fmla="*/ 16 h 156"/>
              <a:gd name="T32" fmla="*/ 97 w 267"/>
              <a:gd name="T33" fmla="*/ 13 h 156"/>
              <a:gd name="T34" fmla="*/ 97 w 267"/>
              <a:gd name="T35" fmla="*/ 12 h 156"/>
              <a:gd name="T36" fmla="*/ 97 w 267"/>
              <a:gd name="T37" fmla="*/ 9 h 156"/>
              <a:gd name="T38" fmla="*/ 98 w 267"/>
              <a:gd name="T39" fmla="*/ 9 h 156"/>
              <a:gd name="T40" fmla="*/ 101 w 267"/>
              <a:gd name="T41" fmla="*/ 8 h 156"/>
              <a:gd name="T42" fmla="*/ 102 w 267"/>
              <a:gd name="T43" fmla="*/ 8 h 156"/>
              <a:gd name="T44" fmla="*/ 105 w 267"/>
              <a:gd name="T45" fmla="*/ 7 h 156"/>
              <a:gd name="T46" fmla="*/ 106 w 267"/>
              <a:gd name="T47" fmla="*/ 4 h 156"/>
              <a:gd name="T48" fmla="*/ 108 w 267"/>
              <a:gd name="T49" fmla="*/ 1 h 156"/>
              <a:gd name="T50" fmla="*/ 109 w 267"/>
              <a:gd name="T51" fmla="*/ 1 h 156"/>
              <a:gd name="T52" fmla="*/ 110 w 267"/>
              <a:gd name="T53" fmla="*/ 0 h 156"/>
              <a:gd name="T54" fmla="*/ 112 w 267"/>
              <a:gd name="T55" fmla="*/ 1 h 156"/>
              <a:gd name="T56" fmla="*/ 113 w 267"/>
              <a:gd name="T57" fmla="*/ 0 h 156"/>
              <a:gd name="T58" fmla="*/ 114 w 267"/>
              <a:gd name="T59" fmla="*/ 0 h 156"/>
              <a:gd name="T60" fmla="*/ 116 w 267"/>
              <a:gd name="T61" fmla="*/ 0 h 156"/>
              <a:gd name="T62" fmla="*/ 117 w 267"/>
              <a:gd name="T63" fmla="*/ 0 h 156"/>
              <a:gd name="T64" fmla="*/ 120 w 267"/>
              <a:gd name="T65" fmla="*/ 1 h 156"/>
              <a:gd name="T66" fmla="*/ 121 w 267"/>
              <a:gd name="T67" fmla="*/ 1 h 156"/>
              <a:gd name="T68" fmla="*/ 123 w 267"/>
              <a:gd name="T69" fmla="*/ 1 h 156"/>
              <a:gd name="T70" fmla="*/ 141 w 267"/>
              <a:gd name="T71" fmla="*/ 2 h 156"/>
              <a:gd name="T72" fmla="*/ 161 w 267"/>
              <a:gd name="T73" fmla="*/ 1 h 156"/>
              <a:gd name="T74" fmla="*/ 267 w 267"/>
              <a:gd name="T75" fmla="*/ 1 h 156"/>
              <a:gd name="T76" fmla="*/ 200 w 267"/>
              <a:gd name="T77" fmla="*/ 108 h 156"/>
              <a:gd name="T78" fmla="*/ 190 w 267"/>
              <a:gd name="T79" fmla="*/ 104 h 156"/>
              <a:gd name="T80" fmla="*/ 141 w 267"/>
              <a:gd name="T81" fmla="*/ 114 h 156"/>
              <a:gd name="T82" fmla="*/ 142 w 267"/>
              <a:gd name="T83" fmla="*/ 119 h 156"/>
              <a:gd name="T84" fmla="*/ 132 w 267"/>
              <a:gd name="T85" fmla="*/ 126 h 156"/>
              <a:gd name="T86" fmla="*/ 102 w 267"/>
              <a:gd name="T87" fmla="*/ 126 h 156"/>
              <a:gd name="T88" fmla="*/ 94 w 267"/>
              <a:gd name="T89" fmla="*/ 136 h 156"/>
              <a:gd name="T90" fmla="*/ 62 w 267"/>
              <a:gd name="T91" fmla="*/ 152 h 156"/>
              <a:gd name="T92" fmla="*/ 14 w 267"/>
              <a:gd name="T93" fmla="*/ 156 h 156"/>
              <a:gd name="T94" fmla="*/ 0 w 267"/>
              <a:gd name="T95" fmla="*/ 140 h 156"/>
              <a:gd name="T96" fmla="*/ 0 w 267"/>
              <a:gd name="T97" fmla="*/ 128 h 1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267" h="156">
                <a:moveTo>
                  <a:pt x="267" y="0"/>
                </a:moveTo>
                <a:lnTo>
                  <a:pt x="267" y="1"/>
                </a:lnTo>
                <a:lnTo>
                  <a:pt x="267" y="0"/>
                </a:lnTo>
                <a:moveTo>
                  <a:pt x="0" y="128"/>
                </a:moveTo>
                <a:lnTo>
                  <a:pt x="0" y="117"/>
                </a:lnTo>
                <a:lnTo>
                  <a:pt x="18" y="89"/>
                </a:lnTo>
                <a:lnTo>
                  <a:pt x="81" y="27"/>
                </a:lnTo>
                <a:lnTo>
                  <a:pt x="81" y="29"/>
                </a:lnTo>
                <a:lnTo>
                  <a:pt x="84" y="26"/>
                </a:lnTo>
                <a:lnTo>
                  <a:pt x="86" y="23"/>
                </a:lnTo>
                <a:lnTo>
                  <a:pt x="87" y="20"/>
                </a:lnTo>
                <a:lnTo>
                  <a:pt x="88" y="19"/>
                </a:lnTo>
                <a:lnTo>
                  <a:pt x="90" y="18"/>
                </a:lnTo>
                <a:lnTo>
                  <a:pt x="90" y="16"/>
                </a:lnTo>
                <a:lnTo>
                  <a:pt x="92" y="16"/>
                </a:lnTo>
                <a:lnTo>
                  <a:pt x="94" y="16"/>
                </a:lnTo>
                <a:lnTo>
                  <a:pt x="97" y="13"/>
                </a:lnTo>
                <a:lnTo>
                  <a:pt x="97" y="12"/>
                </a:lnTo>
                <a:lnTo>
                  <a:pt x="97" y="9"/>
                </a:lnTo>
                <a:lnTo>
                  <a:pt x="98" y="9"/>
                </a:lnTo>
                <a:lnTo>
                  <a:pt x="101" y="8"/>
                </a:lnTo>
                <a:lnTo>
                  <a:pt x="102" y="8"/>
                </a:lnTo>
                <a:lnTo>
                  <a:pt x="105" y="7"/>
                </a:lnTo>
                <a:lnTo>
                  <a:pt x="106" y="4"/>
                </a:lnTo>
                <a:lnTo>
                  <a:pt x="108" y="1"/>
                </a:lnTo>
                <a:lnTo>
                  <a:pt x="109" y="1"/>
                </a:lnTo>
                <a:lnTo>
                  <a:pt x="110" y="0"/>
                </a:lnTo>
                <a:lnTo>
                  <a:pt x="112" y="1"/>
                </a:lnTo>
                <a:lnTo>
                  <a:pt x="113" y="0"/>
                </a:lnTo>
                <a:lnTo>
                  <a:pt x="114" y="0"/>
                </a:lnTo>
                <a:lnTo>
                  <a:pt x="116" y="0"/>
                </a:lnTo>
                <a:lnTo>
                  <a:pt x="117" y="0"/>
                </a:lnTo>
                <a:lnTo>
                  <a:pt x="120" y="1"/>
                </a:lnTo>
                <a:lnTo>
                  <a:pt x="121" y="1"/>
                </a:lnTo>
                <a:lnTo>
                  <a:pt x="123" y="1"/>
                </a:lnTo>
                <a:lnTo>
                  <a:pt x="141" y="2"/>
                </a:lnTo>
                <a:lnTo>
                  <a:pt x="161" y="1"/>
                </a:lnTo>
                <a:lnTo>
                  <a:pt x="267" y="1"/>
                </a:lnTo>
                <a:lnTo>
                  <a:pt x="200" y="108"/>
                </a:lnTo>
                <a:lnTo>
                  <a:pt x="190" y="104"/>
                </a:lnTo>
                <a:lnTo>
                  <a:pt x="141" y="114"/>
                </a:lnTo>
                <a:lnTo>
                  <a:pt x="142" y="119"/>
                </a:lnTo>
                <a:lnTo>
                  <a:pt x="132" y="126"/>
                </a:lnTo>
                <a:lnTo>
                  <a:pt x="102" y="126"/>
                </a:lnTo>
                <a:lnTo>
                  <a:pt x="94" y="136"/>
                </a:lnTo>
                <a:lnTo>
                  <a:pt x="62" y="152"/>
                </a:lnTo>
                <a:lnTo>
                  <a:pt x="14" y="156"/>
                </a:lnTo>
                <a:lnTo>
                  <a:pt x="0" y="140"/>
                </a:lnTo>
                <a:lnTo>
                  <a:pt x="0" y="12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8" name="Freeform 94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3834744" y="2969156"/>
            <a:ext cx="188434" cy="278092"/>
          </a:xfrm>
          <a:custGeom>
            <a:avLst/>
            <a:gdLst>
              <a:gd name="T0" fmla="*/ 33 w 198"/>
              <a:gd name="T1" fmla="*/ 55 h 311"/>
              <a:gd name="T2" fmla="*/ 66 w 198"/>
              <a:gd name="T3" fmla="*/ 1 h 311"/>
              <a:gd name="T4" fmla="*/ 66 w 198"/>
              <a:gd name="T5" fmla="*/ 0 h 311"/>
              <a:gd name="T6" fmla="*/ 113 w 198"/>
              <a:gd name="T7" fmla="*/ 66 h 311"/>
              <a:gd name="T8" fmla="*/ 131 w 198"/>
              <a:gd name="T9" fmla="*/ 79 h 311"/>
              <a:gd name="T10" fmla="*/ 184 w 198"/>
              <a:gd name="T11" fmla="*/ 70 h 311"/>
              <a:gd name="T12" fmla="*/ 171 w 198"/>
              <a:gd name="T13" fmla="*/ 100 h 311"/>
              <a:gd name="T14" fmla="*/ 162 w 198"/>
              <a:gd name="T15" fmla="*/ 150 h 311"/>
              <a:gd name="T16" fmla="*/ 175 w 198"/>
              <a:gd name="T17" fmla="*/ 177 h 311"/>
              <a:gd name="T18" fmla="*/ 169 w 198"/>
              <a:gd name="T19" fmla="*/ 185 h 311"/>
              <a:gd name="T20" fmla="*/ 168 w 198"/>
              <a:gd name="T21" fmla="*/ 205 h 311"/>
              <a:gd name="T22" fmla="*/ 198 w 198"/>
              <a:gd name="T23" fmla="*/ 255 h 311"/>
              <a:gd name="T24" fmla="*/ 184 w 198"/>
              <a:gd name="T25" fmla="*/ 271 h 311"/>
              <a:gd name="T26" fmla="*/ 161 w 198"/>
              <a:gd name="T27" fmla="*/ 272 h 311"/>
              <a:gd name="T28" fmla="*/ 162 w 198"/>
              <a:gd name="T29" fmla="*/ 290 h 311"/>
              <a:gd name="T30" fmla="*/ 165 w 198"/>
              <a:gd name="T31" fmla="*/ 291 h 311"/>
              <a:gd name="T32" fmla="*/ 161 w 198"/>
              <a:gd name="T33" fmla="*/ 304 h 311"/>
              <a:gd name="T34" fmla="*/ 138 w 198"/>
              <a:gd name="T35" fmla="*/ 311 h 311"/>
              <a:gd name="T36" fmla="*/ 125 w 198"/>
              <a:gd name="T37" fmla="*/ 304 h 311"/>
              <a:gd name="T38" fmla="*/ 114 w 198"/>
              <a:gd name="T39" fmla="*/ 308 h 311"/>
              <a:gd name="T40" fmla="*/ 91 w 198"/>
              <a:gd name="T41" fmla="*/ 306 h 311"/>
              <a:gd name="T42" fmla="*/ 91 w 198"/>
              <a:gd name="T43" fmla="*/ 305 h 311"/>
              <a:gd name="T44" fmla="*/ 72 w 198"/>
              <a:gd name="T45" fmla="*/ 304 h 311"/>
              <a:gd name="T46" fmla="*/ 48 w 198"/>
              <a:gd name="T47" fmla="*/ 264 h 311"/>
              <a:gd name="T48" fmla="*/ 52 w 198"/>
              <a:gd name="T49" fmla="*/ 218 h 311"/>
              <a:gd name="T50" fmla="*/ 47 w 198"/>
              <a:gd name="T51" fmla="*/ 191 h 311"/>
              <a:gd name="T52" fmla="*/ 0 w 198"/>
              <a:gd name="T53" fmla="*/ 107 h 311"/>
              <a:gd name="T54" fmla="*/ 33 w 198"/>
              <a:gd name="T55" fmla="*/ 5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8" h="311">
                <a:moveTo>
                  <a:pt x="33" y="55"/>
                </a:moveTo>
                <a:lnTo>
                  <a:pt x="66" y="1"/>
                </a:lnTo>
                <a:lnTo>
                  <a:pt x="66" y="0"/>
                </a:lnTo>
                <a:lnTo>
                  <a:pt x="113" y="66"/>
                </a:lnTo>
                <a:lnTo>
                  <a:pt x="131" y="79"/>
                </a:lnTo>
                <a:lnTo>
                  <a:pt x="184" y="70"/>
                </a:lnTo>
                <a:lnTo>
                  <a:pt x="171" y="100"/>
                </a:lnTo>
                <a:lnTo>
                  <a:pt x="162" y="150"/>
                </a:lnTo>
                <a:lnTo>
                  <a:pt x="175" y="177"/>
                </a:lnTo>
                <a:lnTo>
                  <a:pt x="169" y="185"/>
                </a:lnTo>
                <a:lnTo>
                  <a:pt x="168" y="205"/>
                </a:lnTo>
                <a:lnTo>
                  <a:pt x="198" y="255"/>
                </a:lnTo>
                <a:lnTo>
                  <a:pt x="184" y="271"/>
                </a:lnTo>
                <a:lnTo>
                  <a:pt x="161" y="272"/>
                </a:lnTo>
                <a:lnTo>
                  <a:pt x="162" y="290"/>
                </a:lnTo>
                <a:lnTo>
                  <a:pt x="165" y="291"/>
                </a:lnTo>
                <a:lnTo>
                  <a:pt x="161" y="304"/>
                </a:lnTo>
                <a:lnTo>
                  <a:pt x="138" y="311"/>
                </a:lnTo>
                <a:lnTo>
                  <a:pt x="125" y="304"/>
                </a:lnTo>
                <a:lnTo>
                  <a:pt x="114" y="308"/>
                </a:lnTo>
                <a:lnTo>
                  <a:pt x="91" y="306"/>
                </a:lnTo>
                <a:lnTo>
                  <a:pt x="91" y="305"/>
                </a:lnTo>
                <a:lnTo>
                  <a:pt x="72" y="304"/>
                </a:lnTo>
                <a:lnTo>
                  <a:pt x="48" y="264"/>
                </a:lnTo>
                <a:lnTo>
                  <a:pt x="52" y="218"/>
                </a:lnTo>
                <a:lnTo>
                  <a:pt x="47" y="191"/>
                </a:lnTo>
                <a:lnTo>
                  <a:pt x="0" y="107"/>
                </a:lnTo>
                <a:lnTo>
                  <a:pt x="33" y="5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9" name="Freeform 95"/>
          <p:cNvSpPr>
            <a:spLocks/>
          </p:cNvSpPr>
          <p:nvPr>
            <p:custDataLst>
              <p:tags r:id="rId15"/>
            </p:custDataLst>
          </p:nvPr>
        </p:nvSpPr>
        <p:spPr bwMode="gray">
          <a:xfrm>
            <a:off x="3619664" y="3062151"/>
            <a:ext cx="301684" cy="237854"/>
          </a:xfrm>
          <a:custGeom>
            <a:avLst/>
            <a:gdLst>
              <a:gd name="T0" fmla="*/ 17 w 317"/>
              <a:gd name="T1" fmla="*/ 135 h 266"/>
              <a:gd name="T2" fmla="*/ 32 w 317"/>
              <a:gd name="T3" fmla="*/ 123 h 266"/>
              <a:gd name="T4" fmla="*/ 39 w 317"/>
              <a:gd name="T5" fmla="*/ 52 h 266"/>
              <a:gd name="T6" fmla="*/ 87 w 317"/>
              <a:gd name="T7" fmla="*/ 48 h 266"/>
              <a:gd name="T8" fmla="*/ 119 w 317"/>
              <a:gd name="T9" fmla="*/ 32 h 266"/>
              <a:gd name="T10" fmla="*/ 127 w 317"/>
              <a:gd name="T11" fmla="*/ 22 h 266"/>
              <a:gd name="T12" fmla="*/ 157 w 317"/>
              <a:gd name="T13" fmla="*/ 22 h 266"/>
              <a:gd name="T14" fmla="*/ 167 w 317"/>
              <a:gd name="T15" fmla="*/ 15 h 266"/>
              <a:gd name="T16" fmla="*/ 166 w 317"/>
              <a:gd name="T17" fmla="*/ 10 h 266"/>
              <a:gd name="T18" fmla="*/ 215 w 317"/>
              <a:gd name="T19" fmla="*/ 0 h 266"/>
              <a:gd name="T20" fmla="*/ 225 w 317"/>
              <a:gd name="T21" fmla="*/ 4 h 266"/>
              <a:gd name="T22" fmla="*/ 226 w 317"/>
              <a:gd name="T23" fmla="*/ 3 h 266"/>
              <a:gd name="T24" fmla="*/ 273 w 317"/>
              <a:gd name="T25" fmla="*/ 87 h 266"/>
              <a:gd name="T26" fmla="*/ 278 w 317"/>
              <a:gd name="T27" fmla="*/ 114 h 266"/>
              <a:gd name="T28" fmla="*/ 274 w 317"/>
              <a:gd name="T29" fmla="*/ 160 h 266"/>
              <a:gd name="T30" fmla="*/ 298 w 317"/>
              <a:gd name="T31" fmla="*/ 200 h 266"/>
              <a:gd name="T32" fmla="*/ 317 w 317"/>
              <a:gd name="T33" fmla="*/ 201 h 266"/>
              <a:gd name="T34" fmla="*/ 315 w 317"/>
              <a:gd name="T35" fmla="*/ 227 h 266"/>
              <a:gd name="T36" fmla="*/ 306 w 317"/>
              <a:gd name="T37" fmla="*/ 245 h 266"/>
              <a:gd name="T38" fmla="*/ 205 w 317"/>
              <a:gd name="T39" fmla="*/ 266 h 266"/>
              <a:gd name="T40" fmla="*/ 201 w 317"/>
              <a:gd name="T41" fmla="*/ 263 h 266"/>
              <a:gd name="T42" fmla="*/ 139 w 317"/>
              <a:gd name="T43" fmla="*/ 145 h 266"/>
              <a:gd name="T44" fmla="*/ 0 w 317"/>
              <a:gd name="T45" fmla="*/ 149 h 266"/>
              <a:gd name="T46" fmla="*/ 17 w 317"/>
              <a:gd name="T47" fmla="*/ 135 h 2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17" h="266">
                <a:moveTo>
                  <a:pt x="17" y="135"/>
                </a:moveTo>
                <a:lnTo>
                  <a:pt x="32" y="123"/>
                </a:lnTo>
                <a:lnTo>
                  <a:pt x="39" y="52"/>
                </a:lnTo>
                <a:lnTo>
                  <a:pt x="87" y="48"/>
                </a:lnTo>
                <a:lnTo>
                  <a:pt x="119" y="32"/>
                </a:lnTo>
                <a:lnTo>
                  <a:pt x="127" y="22"/>
                </a:lnTo>
                <a:lnTo>
                  <a:pt x="157" y="22"/>
                </a:lnTo>
                <a:lnTo>
                  <a:pt x="167" y="15"/>
                </a:lnTo>
                <a:lnTo>
                  <a:pt x="166" y="10"/>
                </a:lnTo>
                <a:lnTo>
                  <a:pt x="215" y="0"/>
                </a:lnTo>
                <a:lnTo>
                  <a:pt x="225" y="4"/>
                </a:lnTo>
                <a:lnTo>
                  <a:pt x="226" y="3"/>
                </a:lnTo>
                <a:lnTo>
                  <a:pt x="273" y="87"/>
                </a:lnTo>
                <a:lnTo>
                  <a:pt x="278" y="114"/>
                </a:lnTo>
                <a:lnTo>
                  <a:pt x="274" y="160"/>
                </a:lnTo>
                <a:lnTo>
                  <a:pt x="298" y="200"/>
                </a:lnTo>
                <a:lnTo>
                  <a:pt x="317" y="201"/>
                </a:lnTo>
                <a:lnTo>
                  <a:pt x="315" y="227"/>
                </a:lnTo>
                <a:lnTo>
                  <a:pt x="306" y="245"/>
                </a:lnTo>
                <a:lnTo>
                  <a:pt x="205" y="266"/>
                </a:lnTo>
                <a:lnTo>
                  <a:pt x="201" y="263"/>
                </a:lnTo>
                <a:lnTo>
                  <a:pt x="139" y="145"/>
                </a:lnTo>
                <a:lnTo>
                  <a:pt x="0" y="149"/>
                </a:lnTo>
                <a:lnTo>
                  <a:pt x="17" y="13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0" name="Freeform 96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4903487" y="2010587"/>
            <a:ext cx="242680" cy="312071"/>
          </a:xfrm>
          <a:custGeom>
            <a:avLst/>
            <a:gdLst>
              <a:gd name="T0" fmla="*/ 51 w 255"/>
              <a:gd name="T1" fmla="*/ 349 h 349"/>
              <a:gd name="T2" fmla="*/ 0 w 255"/>
              <a:gd name="T3" fmla="*/ 231 h 349"/>
              <a:gd name="T4" fmla="*/ 33 w 255"/>
              <a:gd name="T5" fmla="*/ 184 h 349"/>
              <a:gd name="T6" fmla="*/ 29 w 255"/>
              <a:gd name="T7" fmla="*/ 157 h 349"/>
              <a:gd name="T8" fmla="*/ 10 w 255"/>
              <a:gd name="T9" fmla="*/ 124 h 349"/>
              <a:gd name="T10" fmla="*/ 10 w 255"/>
              <a:gd name="T11" fmla="*/ 100 h 349"/>
              <a:gd name="T12" fmla="*/ 14 w 255"/>
              <a:gd name="T13" fmla="*/ 100 h 349"/>
              <a:gd name="T14" fmla="*/ 14 w 255"/>
              <a:gd name="T15" fmla="*/ 98 h 349"/>
              <a:gd name="T16" fmla="*/ 17 w 255"/>
              <a:gd name="T17" fmla="*/ 95 h 349"/>
              <a:gd name="T18" fmla="*/ 19 w 255"/>
              <a:gd name="T19" fmla="*/ 91 h 349"/>
              <a:gd name="T20" fmla="*/ 19 w 255"/>
              <a:gd name="T21" fmla="*/ 88 h 349"/>
              <a:gd name="T22" fmla="*/ 19 w 255"/>
              <a:gd name="T23" fmla="*/ 83 h 349"/>
              <a:gd name="T24" fmla="*/ 20 w 255"/>
              <a:gd name="T25" fmla="*/ 77 h 349"/>
              <a:gd name="T26" fmla="*/ 20 w 255"/>
              <a:gd name="T27" fmla="*/ 72 h 349"/>
              <a:gd name="T28" fmla="*/ 19 w 255"/>
              <a:gd name="T29" fmla="*/ 69 h 349"/>
              <a:gd name="T30" fmla="*/ 17 w 255"/>
              <a:gd name="T31" fmla="*/ 67 h 349"/>
              <a:gd name="T32" fmla="*/ 17 w 255"/>
              <a:gd name="T33" fmla="*/ 66 h 349"/>
              <a:gd name="T34" fmla="*/ 17 w 255"/>
              <a:gd name="T35" fmla="*/ 62 h 349"/>
              <a:gd name="T36" fmla="*/ 19 w 255"/>
              <a:gd name="T37" fmla="*/ 59 h 349"/>
              <a:gd name="T38" fmla="*/ 17 w 255"/>
              <a:gd name="T39" fmla="*/ 52 h 349"/>
              <a:gd name="T40" fmla="*/ 17 w 255"/>
              <a:gd name="T41" fmla="*/ 47 h 349"/>
              <a:gd name="T42" fmla="*/ 15 w 255"/>
              <a:gd name="T43" fmla="*/ 41 h 349"/>
              <a:gd name="T44" fmla="*/ 12 w 255"/>
              <a:gd name="T45" fmla="*/ 34 h 349"/>
              <a:gd name="T46" fmla="*/ 12 w 255"/>
              <a:gd name="T47" fmla="*/ 32 h 349"/>
              <a:gd name="T48" fmla="*/ 12 w 255"/>
              <a:gd name="T49" fmla="*/ 28 h 349"/>
              <a:gd name="T50" fmla="*/ 12 w 255"/>
              <a:gd name="T51" fmla="*/ 25 h 349"/>
              <a:gd name="T52" fmla="*/ 14 w 255"/>
              <a:gd name="T53" fmla="*/ 22 h 349"/>
              <a:gd name="T54" fmla="*/ 14 w 255"/>
              <a:gd name="T55" fmla="*/ 15 h 349"/>
              <a:gd name="T56" fmla="*/ 14 w 255"/>
              <a:gd name="T57" fmla="*/ 11 h 349"/>
              <a:gd name="T58" fmla="*/ 12 w 255"/>
              <a:gd name="T59" fmla="*/ 7 h 349"/>
              <a:gd name="T60" fmla="*/ 8 w 255"/>
              <a:gd name="T61" fmla="*/ 4 h 349"/>
              <a:gd name="T62" fmla="*/ 8 w 255"/>
              <a:gd name="T63" fmla="*/ 0 h 349"/>
              <a:gd name="T64" fmla="*/ 80 w 255"/>
              <a:gd name="T65" fmla="*/ 3 h 349"/>
              <a:gd name="T66" fmla="*/ 135 w 255"/>
              <a:gd name="T67" fmla="*/ 4 h 349"/>
              <a:gd name="T68" fmla="*/ 236 w 255"/>
              <a:gd name="T69" fmla="*/ 7 h 349"/>
              <a:gd name="T70" fmla="*/ 255 w 255"/>
              <a:gd name="T71" fmla="*/ 8 h 349"/>
              <a:gd name="T72" fmla="*/ 252 w 255"/>
              <a:gd name="T73" fmla="*/ 12 h 349"/>
              <a:gd name="T74" fmla="*/ 251 w 255"/>
              <a:gd name="T75" fmla="*/ 14 h 349"/>
              <a:gd name="T76" fmla="*/ 247 w 255"/>
              <a:gd name="T77" fmla="*/ 15 h 349"/>
              <a:gd name="T78" fmla="*/ 244 w 255"/>
              <a:gd name="T79" fmla="*/ 18 h 349"/>
              <a:gd name="T80" fmla="*/ 241 w 255"/>
              <a:gd name="T81" fmla="*/ 22 h 349"/>
              <a:gd name="T82" fmla="*/ 237 w 255"/>
              <a:gd name="T83" fmla="*/ 25 h 349"/>
              <a:gd name="T84" fmla="*/ 237 w 255"/>
              <a:gd name="T85" fmla="*/ 29 h 349"/>
              <a:gd name="T86" fmla="*/ 234 w 255"/>
              <a:gd name="T87" fmla="*/ 40 h 349"/>
              <a:gd name="T88" fmla="*/ 230 w 255"/>
              <a:gd name="T89" fmla="*/ 61 h 349"/>
              <a:gd name="T90" fmla="*/ 227 w 255"/>
              <a:gd name="T91" fmla="*/ 72 h 349"/>
              <a:gd name="T92" fmla="*/ 227 w 255"/>
              <a:gd name="T93" fmla="*/ 73 h 349"/>
              <a:gd name="T94" fmla="*/ 223 w 255"/>
              <a:gd name="T95" fmla="*/ 84 h 349"/>
              <a:gd name="T96" fmla="*/ 205 w 255"/>
              <a:gd name="T97" fmla="*/ 158 h 349"/>
              <a:gd name="T98" fmla="*/ 202 w 255"/>
              <a:gd name="T99" fmla="*/ 165 h 349"/>
              <a:gd name="T100" fmla="*/ 201 w 255"/>
              <a:gd name="T101" fmla="*/ 172 h 349"/>
              <a:gd name="T102" fmla="*/ 201 w 255"/>
              <a:gd name="T103" fmla="*/ 172 h 349"/>
              <a:gd name="T104" fmla="*/ 186 w 255"/>
              <a:gd name="T105" fmla="*/ 212 h 349"/>
              <a:gd name="T106" fmla="*/ 188 w 255"/>
              <a:gd name="T107" fmla="*/ 227 h 349"/>
              <a:gd name="T108" fmla="*/ 191 w 255"/>
              <a:gd name="T109" fmla="*/ 241 h 349"/>
              <a:gd name="T110" fmla="*/ 192 w 255"/>
              <a:gd name="T111" fmla="*/ 260 h 349"/>
              <a:gd name="T112" fmla="*/ 211 w 255"/>
              <a:gd name="T113" fmla="*/ 343 h 349"/>
              <a:gd name="T114" fmla="*/ 213 w 255"/>
              <a:gd name="T115" fmla="*/ 347 h 3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55" h="349">
                <a:moveTo>
                  <a:pt x="51" y="349"/>
                </a:moveTo>
                <a:lnTo>
                  <a:pt x="0" y="231"/>
                </a:lnTo>
                <a:lnTo>
                  <a:pt x="33" y="184"/>
                </a:lnTo>
                <a:lnTo>
                  <a:pt x="29" y="157"/>
                </a:lnTo>
                <a:lnTo>
                  <a:pt x="10" y="124"/>
                </a:lnTo>
                <a:lnTo>
                  <a:pt x="10" y="100"/>
                </a:lnTo>
                <a:lnTo>
                  <a:pt x="14" y="100"/>
                </a:lnTo>
                <a:lnTo>
                  <a:pt x="14" y="98"/>
                </a:lnTo>
                <a:lnTo>
                  <a:pt x="17" y="95"/>
                </a:lnTo>
                <a:lnTo>
                  <a:pt x="19" y="91"/>
                </a:lnTo>
                <a:lnTo>
                  <a:pt x="19" y="88"/>
                </a:lnTo>
                <a:lnTo>
                  <a:pt x="19" y="83"/>
                </a:lnTo>
                <a:lnTo>
                  <a:pt x="20" y="77"/>
                </a:lnTo>
                <a:lnTo>
                  <a:pt x="20" y="72"/>
                </a:lnTo>
                <a:lnTo>
                  <a:pt x="19" y="69"/>
                </a:lnTo>
                <a:lnTo>
                  <a:pt x="17" y="67"/>
                </a:lnTo>
                <a:lnTo>
                  <a:pt x="17" y="66"/>
                </a:lnTo>
                <a:lnTo>
                  <a:pt x="17" y="62"/>
                </a:lnTo>
                <a:lnTo>
                  <a:pt x="19" y="59"/>
                </a:lnTo>
                <a:lnTo>
                  <a:pt x="17" y="52"/>
                </a:lnTo>
                <a:lnTo>
                  <a:pt x="17" y="47"/>
                </a:lnTo>
                <a:lnTo>
                  <a:pt x="15" y="41"/>
                </a:lnTo>
                <a:lnTo>
                  <a:pt x="12" y="34"/>
                </a:lnTo>
                <a:lnTo>
                  <a:pt x="12" y="32"/>
                </a:lnTo>
                <a:lnTo>
                  <a:pt x="12" y="28"/>
                </a:lnTo>
                <a:lnTo>
                  <a:pt x="12" y="25"/>
                </a:lnTo>
                <a:lnTo>
                  <a:pt x="14" y="22"/>
                </a:lnTo>
                <a:lnTo>
                  <a:pt x="14" y="15"/>
                </a:lnTo>
                <a:lnTo>
                  <a:pt x="14" y="11"/>
                </a:lnTo>
                <a:lnTo>
                  <a:pt x="12" y="7"/>
                </a:lnTo>
                <a:lnTo>
                  <a:pt x="8" y="4"/>
                </a:lnTo>
                <a:lnTo>
                  <a:pt x="8" y="0"/>
                </a:lnTo>
                <a:lnTo>
                  <a:pt x="80" y="3"/>
                </a:lnTo>
                <a:lnTo>
                  <a:pt x="135" y="4"/>
                </a:lnTo>
                <a:lnTo>
                  <a:pt x="236" y="7"/>
                </a:lnTo>
                <a:lnTo>
                  <a:pt x="255" y="8"/>
                </a:lnTo>
                <a:lnTo>
                  <a:pt x="252" y="12"/>
                </a:lnTo>
                <a:lnTo>
                  <a:pt x="251" y="14"/>
                </a:lnTo>
                <a:lnTo>
                  <a:pt x="247" y="15"/>
                </a:lnTo>
                <a:lnTo>
                  <a:pt x="244" y="18"/>
                </a:lnTo>
                <a:lnTo>
                  <a:pt x="241" y="22"/>
                </a:lnTo>
                <a:lnTo>
                  <a:pt x="237" y="25"/>
                </a:lnTo>
                <a:lnTo>
                  <a:pt x="237" y="29"/>
                </a:lnTo>
                <a:lnTo>
                  <a:pt x="234" y="40"/>
                </a:lnTo>
                <a:lnTo>
                  <a:pt x="230" y="61"/>
                </a:lnTo>
                <a:lnTo>
                  <a:pt x="227" y="72"/>
                </a:lnTo>
                <a:lnTo>
                  <a:pt x="227" y="73"/>
                </a:lnTo>
                <a:lnTo>
                  <a:pt x="223" y="84"/>
                </a:lnTo>
                <a:lnTo>
                  <a:pt x="205" y="158"/>
                </a:lnTo>
                <a:lnTo>
                  <a:pt x="202" y="165"/>
                </a:lnTo>
                <a:lnTo>
                  <a:pt x="201" y="172"/>
                </a:lnTo>
                <a:lnTo>
                  <a:pt x="201" y="172"/>
                </a:lnTo>
                <a:lnTo>
                  <a:pt x="186" y="212"/>
                </a:lnTo>
                <a:lnTo>
                  <a:pt x="188" y="227"/>
                </a:lnTo>
                <a:lnTo>
                  <a:pt x="191" y="241"/>
                </a:lnTo>
                <a:lnTo>
                  <a:pt x="192" y="260"/>
                </a:lnTo>
                <a:lnTo>
                  <a:pt x="211" y="343"/>
                </a:lnTo>
                <a:lnTo>
                  <a:pt x="213" y="347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1" name="Freeform 97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5026254" y="2677652"/>
            <a:ext cx="342607" cy="420268"/>
          </a:xfrm>
          <a:custGeom>
            <a:avLst/>
            <a:gdLst>
              <a:gd name="T0" fmla="*/ 0 w 360"/>
              <a:gd name="T1" fmla="*/ 122 h 470"/>
              <a:gd name="T2" fmla="*/ 172 w 360"/>
              <a:gd name="T3" fmla="*/ 11 h 470"/>
              <a:gd name="T4" fmla="*/ 247 w 360"/>
              <a:gd name="T5" fmla="*/ 89 h 470"/>
              <a:gd name="T6" fmla="*/ 290 w 360"/>
              <a:gd name="T7" fmla="*/ 122 h 470"/>
              <a:gd name="T8" fmla="*/ 315 w 360"/>
              <a:gd name="T9" fmla="*/ 163 h 470"/>
              <a:gd name="T10" fmla="*/ 326 w 360"/>
              <a:gd name="T11" fmla="*/ 183 h 470"/>
              <a:gd name="T12" fmla="*/ 328 w 360"/>
              <a:gd name="T13" fmla="*/ 185 h 470"/>
              <a:gd name="T14" fmla="*/ 338 w 360"/>
              <a:gd name="T15" fmla="*/ 185 h 470"/>
              <a:gd name="T16" fmla="*/ 348 w 360"/>
              <a:gd name="T17" fmla="*/ 187 h 470"/>
              <a:gd name="T18" fmla="*/ 352 w 360"/>
              <a:gd name="T19" fmla="*/ 192 h 470"/>
              <a:gd name="T20" fmla="*/ 350 w 360"/>
              <a:gd name="T21" fmla="*/ 199 h 470"/>
              <a:gd name="T22" fmla="*/ 352 w 360"/>
              <a:gd name="T23" fmla="*/ 209 h 470"/>
              <a:gd name="T24" fmla="*/ 359 w 360"/>
              <a:gd name="T25" fmla="*/ 216 h 470"/>
              <a:gd name="T26" fmla="*/ 360 w 360"/>
              <a:gd name="T27" fmla="*/ 224 h 470"/>
              <a:gd name="T28" fmla="*/ 360 w 360"/>
              <a:gd name="T29" fmla="*/ 234 h 470"/>
              <a:gd name="T30" fmla="*/ 360 w 360"/>
              <a:gd name="T31" fmla="*/ 243 h 470"/>
              <a:gd name="T32" fmla="*/ 359 w 360"/>
              <a:gd name="T33" fmla="*/ 251 h 470"/>
              <a:gd name="T34" fmla="*/ 359 w 360"/>
              <a:gd name="T35" fmla="*/ 256 h 470"/>
              <a:gd name="T36" fmla="*/ 359 w 360"/>
              <a:gd name="T37" fmla="*/ 264 h 470"/>
              <a:gd name="T38" fmla="*/ 360 w 360"/>
              <a:gd name="T39" fmla="*/ 272 h 470"/>
              <a:gd name="T40" fmla="*/ 355 w 360"/>
              <a:gd name="T41" fmla="*/ 282 h 470"/>
              <a:gd name="T42" fmla="*/ 355 w 360"/>
              <a:gd name="T43" fmla="*/ 287 h 470"/>
              <a:gd name="T44" fmla="*/ 352 w 360"/>
              <a:gd name="T45" fmla="*/ 294 h 470"/>
              <a:gd name="T46" fmla="*/ 350 w 360"/>
              <a:gd name="T47" fmla="*/ 302 h 470"/>
              <a:gd name="T48" fmla="*/ 348 w 360"/>
              <a:gd name="T49" fmla="*/ 311 h 470"/>
              <a:gd name="T50" fmla="*/ 345 w 360"/>
              <a:gd name="T51" fmla="*/ 316 h 470"/>
              <a:gd name="T52" fmla="*/ 341 w 360"/>
              <a:gd name="T53" fmla="*/ 320 h 470"/>
              <a:gd name="T54" fmla="*/ 335 w 360"/>
              <a:gd name="T55" fmla="*/ 322 h 470"/>
              <a:gd name="T56" fmla="*/ 333 w 360"/>
              <a:gd name="T57" fmla="*/ 324 h 470"/>
              <a:gd name="T58" fmla="*/ 331 w 360"/>
              <a:gd name="T59" fmla="*/ 331 h 470"/>
              <a:gd name="T60" fmla="*/ 330 w 360"/>
              <a:gd name="T61" fmla="*/ 341 h 470"/>
              <a:gd name="T62" fmla="*/ 327 w 360"/>
              <a:gd name="T63" fmla="*/ 350 h 470"/>
              <a:gd name="T64" fmla="*/ 326 w 360"/>
              <a:gd name="T65" fmla="*/ 359 h 470"/>
              <a:gd name="T66" fmla="*/ 324 w 360"/>
              <a:gd name="T67" fmla="*/ 370 h 470"/>
              <a:gd name="T68" fmla="*/ 323 w 360"/>
              <a:gd name="T69" fmla="*/ 379 h 470"/>
              <a:gd name="T70" fmla="*/ 323 w 360"/>
              <a:gd name="T71" fmla="*/ 389 h 470"/>
              <a:gd name="T72" fmla="*/ 326 w 360"/>
              <a:gd name="T73" fmla="*/ 410 h 470"/>
              <a:gd name="T74" fmla="*/ 311 w 360"/>
              <a:gd name="T75" fmla="*/ 411 h 470"/>
              <a:gd name="T76" fmla="*/ 306 w 360"/>
              <a:gd name="T77" fmla="*/ 465 h 470"/>
              <a:gd name="T78" fmla="*/ 223 w 360"/>
              <a:gd name="T79" fmla="*/ 426 h 470"/>
              <a:gd name="T80" fmla="*/ 119 w 360"/>
              <a:gd name="T81" fmla="*/ 399 h 470"/>
              <a:gd name="T82" fmla="*/ 9 w 360"/>
              <a:gd name="T83" fmla="*/ 322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360" h="470">
                <a:moveTo>
                  <a:pt x="0" y="221"/>
                </a:moveTo>
                <a:lnTo>
                  <a:pt x="16" y="184"/>
                </a:lnTo>
                <a:lnTo>
                  <a:pt x="0" y="122"/>
                </a:lnTo>
                <a:lnTo>
                  <a:pt x="42" y="33"/>
                </a:lnTo>
                <a:lnTo>
                  <a:pt x="140" y="0"/>
                </a:lnTo>
                <a:lnTo>
                  <a:pt x="172" y="11"/>
                </a:lnTo>
                <a:lnTo>
                  <a:pt x="183" y="13"/>
                </a:lnTo>
                <a:lnTo>
                  <a:pt x="200" y="34"/>
                </a:lnTo>
                <a:lnTo>
                  <a:pt x="247" y="89"/>
                </a:lnTo>
                <a:lnTo>
                  <a:pt x="267" y="106"/>
                </a:lnTo>
                <a:lnTo>
                  <a:pt x="282" y="117"/>
                </a:lnTo>
                <a:lnTo>
                  <a:pt x="290" y="122"/>
                </a:lnTo>
                <a:lnTo>
                  <a:pt x="294" y="130"/>
                </a:lnTo>
                <a:lnTo>
                  <a:pt x="312" y="159"/>
                </a:lnTo>
                <a:lnTo>
                  <a:pt x="315" y="163"/>
                </a:lnTo>
                <a:lnTo>
                  <a:pt x="322" y="176"/>
                </a:lnTo>
                <a:lnTo>
                  <a:pt x="324" y="181"/>
                </a:lnTo>
                <a:lnTo>
                  <a:pt x="326" y="183"/>
                </a:lnTo>
                <a:lnTo>
                  <a:pt x="327" y="184"/>
                </a:lnTo>
                <a:lnTo>
                  <a:pt x="327" y="185"/>
                </a:lnTo>
                <a:lnTo>
                  <a:pt x="328" y="185"/>
                </a:lnTo>
                <a:lnTo>
                  <a:pt x="331" y="185"/>
                </a:lnTo>
                <a:lnTo>
                  <a:pt x="335" y="185"/>
                </a:lnTo>
                <a:lnTo>
                  <a:pt x="338" y="185"/>
                </a:lnTo>
                <a:lnTo>
                  <a:pt x="341" y="185"/>
                </a:lnTo>
                <a:lnTo>
                  <a:pt x="345" y="185"/>
                </a:lnTo>
                <a:lnTo>
                  <a:pt x="348" y="187"/>
                </a:lnTo>
                <a:lnTo>
                  <a:pt x="350" y="188"/>
                </a:lnTo>
                <a:lnTo>
                  <a:pt x="352" y="189"/>
                </a:lnTo>
                <a:lnTo>
                  <a:pt x="352" y="192"/>
                </a:lnTo>
                <a:lnTo>
                  <a:pt x="352" y="194"/>
                </a:lnTo>
                <a:lnTo>
                  <a:pt x="350" y="196"/>
                </a:lnTo>
                <a:lnTo>
                  <a:pt x="350" y="199"/>
                </a:lnTo>
                <a:lnTo>
                  <a:pt x="352" y="202"/>
                </a:lnTo>
                <a:lnTo>
                  <a:pt x="352" y="207"/>
                </a:lnTo>
                <a:lnTo>
                  <a:pt x="352" y="209"/>
                </a:lnTo>
                <a:lnTo>
                  <a:pt x="353" y="211"/>
                </a:lnTo>
                <a:lnTo>
                  <a:pt x="356" y="214"/>
                </a:lnTo>
                <a:lnTo>
                  <a:pt x="359" y="216"/>
                </a:lnTo>
                <a:lnTo>
                  <a:pt x="360" y="220"/>
                </a:lnTo>
                <a:lnTo>
                  <a:pt x="360" y="221"/>
                </a:lnTo>
                <a:lnTo>
                  <a:pt x="360" y="224"/>
                </a:lnTo>
                <a:lnTo>
                  <a:pt x="360" y="225"/>
                </a:lnTo>
                <a:lnTo>
                  <a:pt x="360" y="229"/>
                </a:lnTo>
                <a:lnTo>
                  <a:pt x="360" y="234"/>
                </a:lnTo>
                <a:lnTo>
                  <a:pt x="360" y="239"/>
                </a:lnTo>
                <a:lnTo>
                  <a:pt x="360" y="242"/>
                </a:lnTo>
                <a:lnTo>
                  <a:pt x="360" y="243"/>
                </a:lnTo>
                <a:lnTo>
                  <a:pt x="360" y="246"/>
                </a:lnTo>
                <a:lnTo>
                  <a:pt x="359" y="250"/>
                </a:lnTo>
                <a:lnTo>
                  <a:pt x="359" y="251"/>
                </a:lnTo>
                <a:lnTo>
                  <a:pt x="359" y="254"/>
                </a:lnTo>
                <a:lnTo>
                  <a:pt x="357" y="254"/>
                </a:lnTo>
                <a:lnTo>
                  <a:pt x="359" y="256"/>
                </a:lnTo>
                <a:lnTo>
                  <a:pt x="359" y="258"/>
                </a:lnTo>
                <a:lnTo>
                  <a:pt x="359" y="261"/>
                </a:lnTo>
                <a:lnTo>
                  <a:pt x="359" y="264"/>
                </a:lnTo>
                <a:lnTo>
                  <a:pt x="360" y="265"/>
                </a:lnTo>
                <a:lnTo>
                  <a:pt x="360" y="268"/>
                </a:lnTo>
                <a:lnTo>
                  <a:pt x="360" y="272"/>
                </a:lnTo>
                <a:lnTo>
                  <a:pt x="359" y="276"/>
                </a:lnTo>
                <a:lnTo>
                  <a:pt x="356" y="280"/>
                </a:lnTo>
                <a:lnTo>
                  <a:pt x="355" y="282"/>
                </a:lnTo>
                <a:lnTo>
                  <a:pt x="355" y="283"/>
                </a:lnTo>
                <a:lnTo>
                  <a:pt x="353" y="284"/>
                </a:lnTo>
                <a:lnTo>
                  <a:pt x="355" y="287"/>
                </a:lnTo>
                <a:lnTo>
                  <a:pt x="353" y="289"/>
                </a:lnTo>
                <a:lnTo>
                  <a:pt x="353" y="291"/>
                </a:lnTo>
                <a:lnTo>
                  <a:pt x="352" y="294"/>
                </a:lnTo>
                <a:lnTo>
                  <a:pt x="350" y="297"/>
                </a:lnTo>
                <a:lnTo>
                  <a:pt x="350" y="300"/>
                </a:lnTo>
                <a:lnTo>
                  <a:pt x="350" y="302"/>
                </a:lnTo>
                <a:lnTo>
                  <a:pt x="350" y="306"/>
                </a:lnTo>
                <a:lnTo>
                  <a:pt x="350" y="308"/>
                </a:lnTo>
                <a:lnTo>
                  <a:pt x="348" y="311"/>
                </a:lnTo>
                <a:lnTo>
                  <a:pt x="346" y="313"/>
                </a:lnTo>
                <a:lnTo>
                  <a:pt x="346" y="315"/>
                </a:lnTo>
                <a:lnTo>
                  <a:pt x="345" y="316"/>
                </a:lnTo>
                <a:lnTo>
                  <a:pt x="344" y="317"/>
                </a:lnTo>
                <a:lnTo>
                  <a:pt x="342" y="320"/>
                </a:lnTo>
                <a:lnTo>
                  <a:pt x="341" y="320"/>
                </a:lnTo>
                <a:lnTo>
                  <a:pt x="338" y="322"/>
                </a:lnTo>
                <a:lnTo>
                  <a:pt x="337" y="322"/>
                </a:lnTo>
                <a:lnTo>
                  <a:pt x="335" y="322"/>
                </a:lnTo>
                <a:lnTo>
                  <a:pt x="334" y="322"/>
                </a:lnTo>
                <a:lnTo>
                  <a:pt x="334" y="323"/>
                </a:lnTo>
                <a:lnTo>
                  <a:pt x="333" y="324"/>
                </a:lnTo>
                <a:lnTo>
                  <a:pt x="333" y="327"/>
                </a:lnTo>
                <a:lnTo>
                  <a:pt x="333" y="328"/>
                </a:lnTo>
                <a:lnTo>
                  <a:pt x="331" y="331"/>
                </a:lnTo>
                <a:lnTo>
                  <a:pt x="331" y="335"/>
                </a:lnTo>
                <a:lnTo>
                  <a:pt x="330" y="338"/>
                </a:lnTo>
                <a:lnTo>
                  <a:pt x="330" y="341"/>
                </a:lnTo>
                <a:lnTo>
                  <a:pt x="328" y="344"/>
                </a:lnTo>
                <a:lnTo>
                  <a:pt x="328" y="346"/>
                </a:lnTo>
                <a:lnTo>
                  <a:pt x="327" y="350"/>
                </a:lnTo>
                <a:lnTo>
                  <a:pt x="327" y="353"/>
                </a:lnTo>
                <a:lnTo>
                  <a:pt x="327" y="355"/>
                </a:lnTo>
                <a:lnTo>
                  <a:pt x="326" y="359"/>
                </a:lnTo>
                <a:lnTo>
                  <a:pt x="326" y="364"/>
                </a:lnTo>
                <a:lnTo>
                  <a:pt x="324" y="367"/>
                </a:lnTo>
                <a:lnTo>
                  <a:pt x="324" y="370"/>
                </a:lnTo>
                <a:lnTo>
                  <a:pt x="323" y="371"/>
                </a:lnTo>
                <a:lnTo>
                  <a:pt x="323" y="375"/>
                </a:lnTo>
                <a:lnTo>
                  <a:pt x="323" y="379"/>
                </a:lnTo>
                <a:lnTo>
                  <a:pt x="323" y="381"/>
                </a:lnTo>
                <a:lnTo>
                  <a:pt x="323" y="386"/>
                </a:lnTo>
                <a:lnTo>
                  <a:pt x="323" y="389"/>
                </a:lnTo>
                <a:lnTo>
                  <a:pt x="323" y="396"/>
                </a:lnTo>
                <a:lnTo>
                  <a:pt x="323" y="399"/>
                </a:lnTo>
                <a:lnTo>
                  <a:pt x="326" y="410"/>
                </a:lnTo>
                <a:lnTo>
                  <a:pt x="327" y="414"/>
                </a:lnTo>
                <a:lnTo>
                  <a:pt x="313" y="407"/>
                </a:lnTo>
                <a:lnTo>
                  <a:pt x="311" y="411"/>
                </a:lnTo>
                <a:lnTo>
                  <a:pt x="337" y="441"/>
                </a:lnTo>
                <a:lnTo>
                  <a:pt x="319" y="445"/>
                </a:lnTo>
                <a:lnTo>
                  <a:pt x="306" y="465"/>
                </a:lnTo>
                <a:lnTo>
                  <a:pt x="245" y="470"/>
                </a:lnTo>
                <a:lnTo>
                  <a:pt x="227" y="455"/>
                </a:lnTo>
                <a:lnTo>
                  <a:pt x="223" y="426"/>
                </a:lnTo>
                <a:lnTo>
                  <a:pt x="189" y="403"/>
                </a:lnTo>
                <a:lnTo>
                  <a:pt x="145" y="410"/>
                </a:lnTo>
                <a:lnTo>
                  <a:pt x="119" y="399"/>
                </a:lnTo>
                <a:lnTo>
                  <a:pt x="73" y="368"/>
                </a:lnTo>
                <a:lnTo>
                  <a:pt x="15" y="346"/>
                </a:lnTo>
                <a:lnTo>
                  <a:pt x="9" y="322"/>
                </a:lnTo>
                <a:lnTo>
                  <a:pt x="15" y="322"/>
                </a:lnTo>
                <a:lnTo>
                  <a:pt x="0" y="22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2" name="Freeform 98"/>
          <p:cNvSpPr>
            <a:spLocks/>
          </p:cNvSpPr>
          <p:nvPr>
            <p:custDataLst>
              <p:tags r:id="rId18"/>
            </p:custDataLst>
          </p:nvPr>
        </p:nvSpPr>
        <p:spPr bwMode="gray">
          <a:xfrm>
            <a:off x="4747410" y="2629365"/>
            <a:ext cx="294071" cy="297764"/>
          </a:xfrm>
          <a:custGeom>
            <a:avLst/>
            <a:gdLst>
              <a:gd name="T0" fmla="*/ 0 w 309"/>
              <a:gd name="T1" fmla="*/ 121 h 333"/>
              <a:gd name="T2" fmla="*/ 0 w 309"/>
              <a:gd name="T3" fmla="*/ 109 h 333"/>
              <a:gd name="T4" fmla="*/ 73 w 309"/>
              <a:gd name="T5" fmla="*/ 45 h 333"/>
              <a:gd name="T6" fmla="*/ 74 w 309"/>
              <a:gd name="T7" fmla="*/ 32 h 333"/>
              <a:gd name="T8" fmla="*/ 90 w 309"/>
              <a:gd name="T9" fmla="*/ 18 h 333"/>
              <a:gd name="T10" fmla="*/ 102 w 309"/>
              <a:gd name="T11" fmla="*/ 15 h 333"/>
              <a:gd name="T12" fmla="*/ 118 w 309"/>
              <a:gd name="T13" fmla="*/ 3 h 333"/>
              <a:gd name="T14" fmla="*/ 125 w 309"/>
              <a:gd name="T15" fmla="*/ 0 h 333"/>
              <a:gd name="T16" fmla="*/ 124 w 309"/>
              <a:gd name="T17" fmla="*/ 1 h 333"/>
              <a:gd name="T18" fmla="*/ 147 w 309"/>
              <a:gd name="T19" fmla="*/ 3 h 333"/>
              <a:gd name="T20" fmla="*/ 220 w 309"/>
              <a:gd name="T21" fmla="*/ 17 h 333"/>
              <a:gd name="T22" fmla="*/ 256 w 309"/>
              <a:gd name="T23" fmla="*/ 29 h 333"/>
              <a:gd name="T24" fmla="*/ 272 w 309"/>
              <a:gd name="T25" fmla="*/ 44 h 333"/>
              <a:gd name="T26" fmla="*/ 275 w 309"/>
              <a:gd name="T27" fmla="*/ 70 h 333"/>
              <a:gd name="T28" fmla="*/ 262 w 309"/>
              <a:gd name="T29" fmla="*/ 83 h 333"/>
              <a:gd name="T30" fmla="*/ 280 w 309"/>
              <a:gd name="T31" fmla="*/ 113 h 333"/>
              <a:gd name="T32" fmla="*/ 278 w 309"/>
              <a:gd name="T33" fmla="*/ 133 h 333"/>
              <a:gd name="T34" fmla="*/ 260 w 309"/>
              <a:gd name="T35" fmla="*/ 129 h 333"/>
              <a:gd name="T36" fmla="*/ 260 w 309"/>
              <a:gd name="T37" fmla="*/ 149 h 333"/>
              <a:gd name="T38" fmla="*/ 293 w 309"/>
              <a:gd name="T39" fmla="*/ 176 h 333"/>
              <a:gd name="T40" fmla="*/ 309 w 309"/>
              <a:gd name="T41" fmla="*/ 238 h 333"/>
              <a:gd name="T42" fmla="*/ 293 w 309"/>
              <a:gd name="T43" fmla="*/ 275 h 333"/>
              <a:gd name="T44" fmla="*/ 253 w 309"/>
              <a:gd name="T45" fmla="*/ 274 h 333"/>
              <a:gd name="T46" fmla="*/ 238 w 309"/>
              <a:gd name="T47" fmla="*/ 260 h 333"/>
              <a:gd name="T48" fmla="*/ 223 w 309"/>
              <a:gd name="T49" fmla="*/ 271 h 333"/>
              <a:gd name="T50" fmla="*/ 229 w 309"/>
              <a:gd name="T51" fmla="*/ 275 h 333"/>
              <a:gd name="T52" fmla="*/ 225 w 309"/>
              <a:gd name="T53" fmla="*/ 299 h 333"/>
              <a:gd name="T54" fmla="*/ 199 w 309"/>
              <a:gd name="T55" fmla="*/ 312 h 333"/>
              <a:gd name="T56" fmla="*/ 185 w 309"/>
              <a:gd name="T57" fmla="*/ 289 h 333"/>
              <a:gd name="T58" fmla="*/ 168 w 309"/>
              <a:gd name="T59" fmla="*/ 293 h 333"/>
              <a:gd name="T60" fmla="*/ 151 w 309"/>
              <a:gd name="T61" fmla="*/ 327 h 333"/>
              <a:gd name="T62" fmla="*/ 95 w 309"/>
              <a:gd name="T63" fmla="*/ 333 h 333"/>
              <a:gd name="T64" fmla="*/ 74 w 309"/>
              <a:gd name="T65" fmla="*/ 308 h 333"/>
              <a:gd name="T66" fmla="*/ 24 w 309"/>
              <a:gd name="T67" fmla="*/ 303 h 333"/>
              <a:gd name="T68" fmla="*/ 55 w 309"/>
              <a:gd name="T69" fmla="*/ 268 h 333"/>
              <a:gd name="T70" fmla="*/ 59 w 309"/>
              <a:gd name="T71" fmla="*/ 250 h 333"/>
              <a:gd name="T72" fmla="*/ 60 w 309"/>
              <a:gd name="T73" fmla="*/ 252 h 333"/>
              <a:gd name="T74" fmla="*/ 64 w 309"/>
              <a:gd name="T75" fmla="*/ 245 h 333"/>
              <a:gd name="T76" fmla="*/ 49 w 309"/>
              <a:gd name="T77" fmla="*/ 199 h 333"/>
              <a:gd name="T78" fmla="*/ 52 w 309"/>
              <a:gd name="T79" fmla="*/ 161 h 333"/>
              <a:gd name="T80" fmla="*/ 41 w 309"/>
              <a:gd name="T81" fmla="*/ 143 h 333"/>
              <a:gd name="T82" fmla="*/ 22 w 309"/>
              <a:gd name="T83" fmla="*/ 147 h 333"/>
              <a:gd name="T84" fmla="*/ 8 w 309"/>
              <a:gd name="T85" fmla="*/ 144 h 333"/>
              <a:gd name="T86" fmla="*/ 0 w 309"/>
              <a:gd name="T87" fmla="*/ 133 h 333"/>
              <a:gd name="T88" fmla="*/ 0 w 309"/>
              <a:gd name="T89" fmla="*/ 121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09" h="333">
                <a:moveTo>
                  <a:pt x="0" y="121"/>
                </a:moveTo>
                <a:lnTo>
                  <a:pt x="0" y="109"/>
                </a:lnTo>
                <a:lnTo>
                  <a:pt x="73" y="45"/>
                </a:lnTo>
                <a:lnTo>
                  <a:pt x="74" y="32"/>
                </a:lnTo>
                <a:lnTo>
                  <a:pt x="90" y="18"/>
                </a:lnTo>
                <a:lnTo>
                  <a:pt x="102" y="15"/>
                </a:lnTo>
                <a:lnTo>
                  <a:pt x="118" y="3"/>
                </a:lnTo>
                <a:lnTo>
                  <a:pt x="125" y="0"/>
                </a:lnTo>
                <a:lnTo>
                  <a:pt x="124" y="1"/>
                </a:lnTo>
                <a:lnTo>
                  <a:pt x="147" y="3"/>
                </a:lnTo>
                <a:lnTo>
                  <a:pt x="220" y="17"/>
                </a:lnTo>
                <a:lnTo>
                  <a:pt x="256" y="29"/>
                </a:lnTo>
                <a:lnTo>
                  <a:pt x="272" y="44"/>
                </a:lnTo>
                <a:lnTo>
                  <a:pt x="275" y="70"/>
                </a:lnTo>
                <a:lnTo>
                  <a:pt x="262" y="83"/>
                </a:lnTo>
                <a:lnTo>
                  <a:pt x="280" y="113"/>
                </a:lnTo>
                <a:lnTo>
                  <a:pt x="278" y="133"/>
                </a:lnTo>
                <a:lnTo>
                  <a:pt x="260" y="129"/>
                </a:lnTo>
                <a:lnTo>
                  <a:pt x="260" y="149"/>
                </a:lnTo>
                <a:lnTo>
                  <a:pt x="293" y="176"/>
                </a:lnTo>
                <a:lnTo>
                  <a:pt x="309" y="238"/>
                </a:lnTo>
                <a:lnTo>
                  <a:pt x="293" y="275"/>
                </a:lnTo>
                <a:lnTo>
                  <a:pt x="253" y="274"/>
                </a:lnTo>
                <a:lnTo>
                  <a:pt x="238" y="260"/>
                </a:lnTo>
                <a:lnTo>
                  <a:pt x="223" y="271"/>
                </a:lnTo>
                <a:lnTo>
                  <a:pt x="229" y="275"/>
                </a:lnTo>
                <a:lnTo>
                  <a:pt x="225" y="299"/>
                </a:lnTo>
                <a:lnTo>
                  <a:pt x="199" y="312"/>
                </a:lnTo>
                <a:lnTo>
                  <a:pt x="185" y="289"/>
                </a:lnTo>
                <a:lnTo>
                  <a:pt x="168" y="293"/>
                </a:lnTo>
                <a:lnTo>
                  <a:pt x="151" y="327"/>
                </a:lnTo>
                <a:lnTo>
                  <a:pt x="95" y="333"/>
                </a:lnTo>
                <a:lnTo>
                  <a:pt x="74" y="308"/>
                </a:lnTo>
                <a:lnTo>
                  <a:pt x="24" y="303"/>
                </a:lnTo>
                <a:lnTo>
                  <a:pt x="55" y="268"/>
                </a:lnTo>
                <a:lnTo>
                  <a:pt x="59" y="250"/>
                </a:lnTo>
                <a:lnTo>
                  <a:pt x="60" y="252"/>
                </a:lnTo>
                <a:lnTo>
                  <a:pt x="64" y="245"/>
                </a:lnTo>
                <a:lnTo>
                  <a:pt x="49" y="199"/>
                </a:lnTo>
                <a:lnTo>
                  <a:pt x="52" y="161"/>
                </a:lnTo>
                <a:lnTo>
                  <a:pt x="41" y="143"/>
                </a:lnTo>
                <a:lnTo>
                  <a:pt x="22" y="147"/>
                </a:lnTo>
                <a:lnTo>
                  <a:pt x="8" y="144"/>
                </a:lnTo>
                <a:lnTo>
                  <a:pt x="0" y="133"/>
                </a:lnTo>
                <a:lnTo>
                  <a:pt x="0" y="12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3" name="Freeform 99"/>
          <p:cNvSpPr>
            <a:spLocks/>
          </p:cNvSpPr>
          <p:nvPr>
            <p:custDataLst>
              <p:tags r:id="rId19"/>
            </p:custDataLst>
          </p:nvPr>
        </p:nvSpPr>
        <p:spPr bwMode="gray">
          <a:xfrm>
            <a:off x="4613223" y="2861854"/>
            <a:ext cx="427307" cy="429210"/>
          </a:xfrm>
          <a:custGeom>
            <a:avLst/>
            <a:gdLst>
              <a:gd name="T0" fmla="*/ 3 w 449"/>
              <a:gd name="T1" fmla="*/ 215 h 480"/>
              <a:gd name="T2" fmla="*/ 7 w 449"/>
              <a:gd name="T3" fmla="*/ 215 h 480"/>
              <a:gd name="T4" fmla="*/ 10 w 449"/>
              <a:gd name="T5" fmla="*/ 182 h 480"/>
              <a:gd name="T6" fmla="*/ 55 w 449"/>
              <a:gd name="T7" fmla="*/ 155 h 480"/>
              <a:gd name="T8" fmla="*/ 55 w 449"/>
              <a:gd name="T9" fmla="*/ 149 h 480"/>
              <a:gd name="T10" fmla="*/ 57 w 449"/>
              <a:gd name="T11" fmla="*/ 149 h 480"/>
              <a:gd name="T12" fmla="*/ 61 w 449"/>
              <a:gd name="T13" fmla="*/ 135 h 480"/>
              <a:gd name="T14" fmla="*/ 68 w 449"/>
              <a:gd name="T15" fmla="*/ 127 h 480"/>
              <a:gd name="T16" fmla="*/ 75 w 449"/>
              <a:gd name="T17" fmla="*/ 135 h 480"/>
              <a:gd name="T18" fmla="*/ 91 w 449"/>
              <a:gd name="T19" fmla="*/ 135 h 480"/>
              <a:gd name="T20" fmla="*/ 90 w 449"/>
              <a:gd name="T21" fmla="*/ 118 h 480"/>
              <a:gd name="T22" fmla="*/ 119 w 449"/>
              <a:gd name="T23" fmla="*/ 87 h 480"/>
              <a:gd name="T24" fmla="*/ 138 w 449"/>
              <a:gd name="T25" fmla="*/ 81 h 480"/>
              <a:gd name="T26" fmla="*/ 170 w 449"/>
              <a:gd name="T27" fmla="*/ 43 h 480"/>
              <a:gd name="T28" fmla="*/ 215 w 449"/>
              <a:gd name="T29" fmla="*/ 48 h 480"/>
              <a:gd name="T30" fmla="*/ 236 w 449"/>
              <a:gd name="T31" fmla="*/ 73 h 480"/>
              <a:gd name="T32" fmla="*/ 292 w 449"/>
              <a:gd name="T33" fmla="*/ 67 h 480"/>
              <a:gd name="T34" fmla="*/ 309 w 449"/>
              <a:gd name="T35" fmla="*/ 33 h 480"/>
              <a:gd name="T36" fmla="*/ 326 w 449"/>
              <a:gd name="T37" fmla="*/ 29 h 480"/>
              <a:gd name="T38" fmla="*/ 340 w 449"/>
              <a:gd name="T39" fmla="*/ 52 h 480"/>
              <a:gd name="T40" fmla="*/ 366 w 449"/>
              <a:gd name="T41" fmla="*/ 39 h 480"/>
              <a:gd name="T42" fmla="*/ 370 w 449"/>
              <a:gd name="T43" fmla="*/ 15 h 480"/>
              <a:gd name="T44" fmla="*/ 364 w 449"/>
              <a:gd name="T45" fmla="*/ 11 h 480"/>
              <a:gd name="T46" fmla="*/ 379 w 449"/>
              <a:gd name="T47" fmla="*/ 0 h 480"/>
              <a:gd name="T48" fmla="*/ 394 w 449"/>
              <a:gd name="T49" fmla="*/ 14 h 480"/>
              <a:gd name="T50" fmla="*/ 434 w 449"/>
              <a:gd name="T51" fmla="*/ 15 h 480"/>
              <a:gd name="T52" fmla="*/ 449 w 449"/>
              <a:gd name="T53" fmla="*/ 116 h 480"/>
              <a:gd name="T54" fmla="*/ 434 w 449"/>
              <a:gd name="T55" fmla="*/ 116 h 480"/>
              <a:gd name="T56" fmla="*/ 423 w 449"/>
              <a:gd name="T57" fmla="*/ 129 h 480"/>
              <a:gd name="T58" fmla="*/ 419 w 449"/>
              <a:gd name="T59" fmla="*/ 146 h 480"/>
              <a:gd name="T60" fmla="*/ 436 w 449"/>
              <a:gd name="T61" fmla="*/ 177 h 480"/>
              <a:gd name="T62" fmla="*/ 436 w 449"/>
              <a:gd name="T63" fmla="*/ 197 h 480"/>
              <a:gd name="T64" fmla="*/ 430 w 449"/>
              <a:gd name="T65" fmla="*/ 217 h 480"/>
              <a:gd name="T66" fmla="*/ 442 w 449"/>
              <a:gd name="T67" fmla="*/ 238 h 480"/>
              <a:gd name="T68" fmla="*/ 434 w 449"/>
              <a:gd name="T69" fmla="*/ 250 h 480"/>
              <a:gd name="T70" fmla="*/ 405 w 449"/>
              <a:gd name="T71" fmla="*/ 263 h 480"/>
              <a:gd name="T72" fmla="*/ 392 w 449"/>
              <a:gd name="T73" fmla="*/ 314 h 480"/>
              <a:gd name="T74" fmla="*/ 392 w 449"/>
              <a:gd name="T75" fmla="*/ 341 h 480"/>
              <a:gd name="T76" fmla="*/ 251 w 449"/>
              <a:gd name="T77" fmla="*/ 351 h 480"/>
              <a:gd name="T78" fmla="*/ 248 w 449"/>
              <a:gd name="T79" fmla="*/ 371 h 480"/>
              <a:gd name="T80" fmla="*/ 237 w 449"/>
              <a:gd name="T81" fmla="*/ 348 h 480"/>
              <a:gd name="T82" fmla="*/ 192 w 449"/>
              <a:gd name="T83" fmla="*/ 407 h 480"/>
              <a:gd name="T84" fmla="*/ 134 w 449"/>
              <a:gd name="T85" fmla="*/ 440 h 480"/>
              <a:gd name="T86" fmla="*/ 95 w 449"/>
              <a:gd name="T87" fmla="*/ 480 h 480"/>
              <a:gd name="T88" fmla="*/ 50 w 449"/>
              <a:gd name="T89" fmla="*/ 443 h 480"/>
              <a:gd name="T90" fmla="*/ 44 w 449"/>
              <a:gd name="T91" fmla="*/ 428 h 480"/>
              <a:gd name="T92" fmla="*/ 87 w 449"/>
              <a:gd name="T93" fmla="*/ 424 h 480"/>
              <a:gd name="T94" fmla="*/ 126 w 449"/>
              <a:gd name="T95" fmla="*/ 399 h 480"/>
              <a:gd name="T96" fmla="*/ 105 w 449"/>
              <a:gd name="T97" fmla="*/ 347 h 480"/>
              <a:gd name="T98" fmla="*/ 105 w 449"/>
              <a:gd name="T99" fmla="*/ 315 h 480"/>
              <a:gd name="T100" fmla="*/ 130 w 449"/>
              <a:gd name="T101" fmla="*/ 294 h 480"/>
              <a:gd name="T102" fmla="*/ 128 w 449"/>
              <a:gd name="T103" fmla="*/ 286 h 480"/>
              <a:gd name="T104" fmla="*/ 55 w 449"/>
              <a:gd name="T105" fmla="*/ 264 h 480"/>
              <a:gd name="T106" fmla="*/ 58 w 449"/>
              <a:gd name="T107" fmla="*/ 254 h 480"/>
              <a:gd name="T108" fmla="*/ 0 w 449"/>
              <a:gd name="T109" fmla="*/ 217 h 480"/>
              <a:gd name="T110" fmla="*/ 3 w 449"/>
              <a:gd name="T111" fmla="*/ 215 h 4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49" h="480">
                <a:moveTo>
                  <a:pt x="3" y="215"/>
                </a:moveTo>
                <a:lnTo>
                  <a:pt x="7" y="215"/>
                </a:lnTo>
                <a:lnTo>
                  <a:pt x="10" y="182"/>
                </a:lnTo>
                <a:lnTo>
                  <a:pt x="55" y="155"/>
                </a:lnTo>
                <a:lnTo>
                  <a:pt x="55" y="149"/>
                </a:lnTo>
                <a:lnTo>
                  <a:pt x="57" y="149"/>
                </a:lnTo>
                <a:lnTo>
                  <a:pt x="61" y="135"/>
                </a:lnTo>
                <a:lnTo>
                  <a:pt x="68" y="127"/>
                </a:lnTo>
                <a:lnTo>
                  <a:pt x="75" y="135"/>
                </a:lnTo>
                <a:lnTo>
                  <a:pt x="91" y="135"/>
                </a:lnTo>
                <a:lnTo>
                  <a:pt x="90" y="118"/>
                </a:lnTo>
                <a:lnTo>
                  <a:pt x="119" y="87"/>
                </a:lnTo>
                <a:lnTo>
                  <a:pt x="138" y="81"/>
                </a:lnTo>
                <a:lnTo>
                  <a:pt x="170" y="43"/>
                </a:lnTo>
                <a:lnTo>
                  <a:pt x="215" y="48"/>
                </a:lnTo>
                <a:lnTo>
                  <a:pt x="236" y="73"/>
                </a:lnTo>
                <a:lnTo>
                  <a:pt x="292" y="67"/>
                </a:lnTo>
                <a:lnTo>
                  <a:pt x="309" y="33"/>
                </a:lnTo>
                <a:lnTo>
                  <a:pt x="326" y="29"/>
                </a:lnTo>
                <a:lnTo>
                  <a:pt x="340" y="52"/>
                </a:lnTo>
                <a:lnTo>
                  <a:pt x="366" y="39"/>
                </a:lnTo>
                <a:lnTo>
                  <a:pt x="370" y="15"/>
                </a:lnTo>
                <a:lnTo>
                  <a:pt x="364" y="11"/>
                </a:lnTo>
                <a:lnTo>
                  <a:pt x="379" y="0"/>
                </a:lnTo>
                <a:lnTo>
                  <a:pt x="394" y="14"/>
                </a:lnTo>
                <a:lnTo>
                  <a:pt x="434" y="15"/>
                </a:lnTo>
                <a:lnTo>
                  <a:pt x="449" y="116"/>
                </a:lnTo>
                <a:lnTo>
                  <a:pt x="434" y="116"/>
                </a:lnTo>
                <a:lnTo>
                  <a:pt x="423" y="129"/>
                </a:lnTo>
                <a:lnTo>
                  <a:pt x="419" y="146"/>
                </a:lnTo>
                <a:lnTo>
                  <a:pt x="436" y="177"/>
                </a:lnTo>
                <a:lnTo>
                  <a:pt x="436" y="197"/>
                </a:lnTo>
                <a:lnTo>
                  <a:pt x="430" y="217"/>
                </a:lnTo>
                <a:lnTo>
                  <a:pt x="442" y="238"/>
                </a:lnTo>
                <a:lnTo>
                  <a:pt x="434" y="250"/>
                </a:lnTo>
                <a:lnTo>
                  <a:pt x="405" y="263"/>
                </a:lnTo>
                <a:lnTo>
                  <a:pt x="392" y="314"/>
                </a:lnTo>
                <a:lnTo>
                  <a:pt x="392" y="341"/>
                </a:lnTo>
                <a:lnTo>
                  <a:pt x="251" y="351"/>
                </a:lnTo>
                <a:lnTo>
                  <a:pt x="248" y="371"/>
                </a:lnTo>
                <a:lnTo>
                  <a:pt x="237" y="348"/>
                </a:lnTo>
                <a:lnTo>
                  <a:pt x="192" y="407"/>
                </a:lnTo>
                <a:lnTo>
                  <a:pt x="134" y="440"/>
                </a:lnTo>
                <a:lnTo>
                  <a:pt x="95" y="480"/>
                </a:lnTo>
                <a:lnTo>
                  <a:pt x="50" y="443"/>
                </a:lnTo>
                <a:lnTo>
                  <a:pt x="44" y="428"/>
                </a:lnTo>
                <a:lnTo>
                  <a:pt x="87" y="424"/>
                </a:lnTo>
                <a:lnTo>
                  <a:pt x="126" y="399"/>
                </a:lnTo>
                <a:lnTo>
                  <a:pt x="105" y="347"/>
                </a:lnTo>
                <a:lnTo>
                  <a:pt x="105" y="315"/>
                </a:lnTo>
                <a:lnTo>
                  <a:pt x="130" y="294"/>
                </a:lnTo>
                <a:lnTo>
                  <a:pt x="128" y="286"/>
                </a:lnTo>
                <a:lnTo>
                  <a:pt x="55" y="264"/>
                </a:lnTo>
                <a:lnTo>
                  <a:pt x="58" y="254"/>
                </a:lnTo>
                <a:lnTo>
                  <a:pt x="0" y="217"/>
                </a:lnTo>
                <a:lnTo>
                  <a:pt x="3" y="21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4" name="Freeform 100"/>
          <p:cNvSpPr>
            <a:spLocks/>
          </p:cNvSpPr>
          <p:nvPr>
            <p:custDataLst>
              <p:tags r:id="rId20"/>
            </p:custDataLst>
          </p:nvPr>
        </p:nvSpPr>
        <p:spPr bwMode="gray">
          <a:xfrm>
            <a:off x="4968201" y="3083612"/>
            <a:ext cx="285505" cy="296870"/>
          </a:xfrm>
          <a:custGeom>
            <a:avLst/>
            <a:gdLst>
              <a:gd name="T0" fmla="*/ 32 w 300"/>
              <a:gd name="T1" fmla="*/ 15 h 332"/>
              <a:gd name="T2" fmla="*/ 109 w 300"/>
              <a:gd name="T3" fmla="*/ 44 h 332"/>
              <a:gd name="T4" fmla="*/ 202 w 300"/>
              <a:gd name="T5" fmla="*/ 152 h 332"/>
              <a:gd name="T6" fmla="*/ 249 w 300"/>
              <a:gd name="T7" fmla="*/ 202 h 332"/>
              <a:gd name="T8" fmla="*/ 289 w 300"/>
              <a:gd name="T9" fmla="*/ 293 h 332"/>
              <a:gd name="T10" fmla="*/ 295 w 300"/>
              <a:gd name="T11" fmla="*/ 319 h 332"/>
              <a:gd name="T12" fmla="*/ 290 w 300"/>
              <a:gd name="T13" fmla="*/ 317 h 332"/>
              <a:gd name="T14" fmla="*/ 288 w 300"/>
              <a:gd name="T15" fmla="*/ 320 h 332"/>
              <a:gd name="T16" fmla="*/ 285 w 300"/>
              <a:gd name="T17" fmla="*/ 324 h 332"/>
              <a:gd name="T18" fmla="*/ 282 w 300"/>
              <a:gd name="T19" fmla="*/ 327 h 332"/>
              <a:gd name="T20" fmla="*/ 278 w 300"/>
              <a:gd name="T21" fmla="*/ 326 h 332"/>
              <a:gd name="T22" fmla="*/ 272 w 300"/>
              <a:gd name="T23" fmla="*/ 324 h 332"/>
              <a:gd name="T24" fmla="*/ 271 w 300"/>
              <a:gd name="T25" fmla="*/ 320 h 332"/>
              <a:gd name="T26" fmla="*/ 270 w 300"/>
              <a:gd name="T27" fmla="*/ 316 h 332"/>
              <a:gd name="T28" fmla="*/ 266 w 300"/>
              <a:gd name="T29" fmla="*/ 319 h 332"/>
              <a:gd name="T30" fmla="*/ 261 w 300"/>
              <a:gd name="T31" fmla="*/ 317 h 332"/>
              <a:gd name="T32" fmla="*/ 256 w 300"/>
              <a:gd name="T33" fmla="*/ 319 h 332"/>
              <a:gd name="T34" fmla="*/ 253 w 300"/>
              <a:gd name="T35" fmla="*/ 316 h 332"/>
              <a:gd name="T36" fmla="*/ 250 w 300"/>
              <a:gd name="T37" fmla="*/ 316 h 332"/>
              <a:gd name="T38" fmla="*/ 246 w 300"/>
              <a:gd name="T39" fmla="*/ 315 h 332"/>
              <a:gd name="T40" fmla="*/ 246 w 300"/>
              <a:gd name="T41" fmla="*/ 317 h 332"/>
              <a:gd name="T42" fmla="*/ 244 w 300"/>
              <a:gd name="T43" fmla="*/ 321 h 332"/>
              <a:gd name="T44" fmla="*/ 239 w 300"/>
              <a:gd name="T45" fmla="*/ 323 h 332"/>
              <a:gd name="T46" fmla="*/ 237 w 300"/>
              <a:gd name="T47" fmla="*/ 323 h 332"/>
              <a:gd name="T48" fmla="*/ 231 w 300"/>
              <a:gd name="T49" fmla="*/ 326 h 332"/>
              <a:gd name="T50" fmla="*/ 227 w 300"/>
              <a:gd name="T51" fmla="*/ 327 h 332"/>
              <a:gd name="T52" fmla="*/ 223 w 300"/>
              <a:gd name="T53" fmla="*/ 324 h 332"/>
              <a:gd name="T54" fmla="*/ 219 w 300"/>
              <a:gd name="T55" fmla="*/ 327 h 332"/>
              <a:gd name="T56" fmla="*/ 216 w 300"/>
              <a:gd name="T57" fmla="*/ 330 h 332"/>
              <a:gd name="T58" fmla="*/ 213 w 300"/>
              <a:gd name="T59" fmla="*/ 332 h 332"/>
              <a:gd name="T60" fmla="*/ 209 w 300"/>
              <a:gd name="T61" fmla="*/ 331 h 332"/>
              <a:gd name="T62" fmla="*/ 204 w 300"/>
              <a:gd name="T63" fmla="*/ 328 h 332"/>
              <a:gd name="T64" fmla="*/ 200 w 300"/>
              <a:gd name="T65" fmla="*/ 326 h 332"/>
              <a:gd name="T66" fmla="*/ 193 w 300"/>
              <a:gd name="T67" fmla="*/ 326 h 332"/>
              <a:gd name="T68" fmla="*/ 190 w 300"/>
              <a:gd name="T69" fmla="*/ 324 h 332"/>
              <a:gd name="T70" fmla="*/ 187 w 300"/>
              <a:gd name="T71" fmla="*/ 320 h 332"/>
              <a:gd name="T72" fmla="*/ 183 w 300"/>
              <a:gd name="T73" fmla="*/ 320 h 332"/>
              <a:gd name="T74" fmla="*/ 180 w 300"/>
              <a:gd name="T75" fmla="*/ 326 h 332"/>
              <a:gd name="T76" fmla="*/ 178 w 300"/>
              <a:gd name="T77" fmla="*/ 328 h 332"/>
              <a:gd name="T78" fmla="*/ 173 w 300"/>
              <a:gd name="T79" fmla="*/ 326 h 332"/>
              <a:gd name="T80" fmla="*/ 171 w 300"/>
              <a:gd name="T81" fmla="*/ 320 h 332"/>
              <a:gd name="T82" fmla="*/ 168 w 300"/>
              <a:gd name="T83" fmla="*/ 323 h 332"/>
              <a:gd name="T84" fmla="*/ 165 w 300"/>
              <a:gd name="T85" fmla="*/ 326 h 332"/>
              <a:gd name="T86" fmla="*/ 160 w 300"/>
              <a:gd name="T87" fmla="*/ 326 h 332"/>
              <a:gd name="T88" fmla="*/ 161 w 300"/>
              <a:gd name="T89" fmla="*/ 328 h 332"/>
              <a:gd name="T90" fmla="*/ 158 w 300"/>
              <a:gd name="T91" fmla="*/ 331 h 332"/>
              <a:gd name="T92" fmla="*/ 157 w 300"/>
              <a:gd name="T93" fmla="*/ 332 h 332"/>
              <a:gd name="T94" fmla="*/ 153 w 300"/>
              <a:gd name="T95" fmla="*/ 331 h 332"/>
              <a:gd name="T96" fmla="*/ 80 w 300"/>
              <a:gd name="T97" fmla="*/ 295 h 332"/>
              <a:gd name="T98" fmla="*/ 72 w 300"/>
              <a:gd name="T99" fmla="*/ 247 h 332"/>
              <a:gd name="T100" fmla="*/ 14 w 300"/>
              <a:gd name="T101" fmla="*/ 138 h 3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00" h="332">
                <a:moveTo>
                  <a:pt x="10" y="93"/>
                </a:moveTo>
                <a:lnTo>
                  <a:pt x="19" y="93"/>
                </a:lnTo>
                <a:lnTo>
                  <a:pt x="19" y="66"/>
                </a:lnTo>
                <a:lnTo>
                  <a:pt x="32" y="15"/>
                </a:lnTo>
                <a:lnTo>
                  <a:pt x="61" y="2"/>
                </a:lnTo>
                <a:lnTo>
                  <a:pt x="62" y="0"/>
                </a:lnTo>
                <a:lnTo>
                  <a:pt x="79" y="2"/>
                </a:lnTo>
                <a:lnTo>
                  <a:pt x="109" y="44"/>
                </a:lnTo>
                <a:lnTo>
                  <a:pt x="124" y="86"/>
                </a:lnTo>
                <a:lnTo>
                  <a:pt x="151" y="93"/>
                </a:lnTo>
                <a:lnTo>
                  <a:pt x="175" y="130"/>
                </a:lnTo>
                <a:lnTo>
                  <a:pt x="202" y="152"/>
                </a:lnTo>
                <a:lnTo>
                  <a:pt x="223" y="185"/>
                </a:lnTo>
                <a:lnTo>
                  <a:pt x="245" y="180"/>
                </a:lnTo>
                <a:lnTo>
                  <a:pt x="255" y="198"/>
                </a:lnTo>
                <a:lnTo>
                  <a:pt x="249" y="202"/>
                </a:lnTo>
                <a:lnTo>
                  <a:pt x="261" y="239"/>
                </a:lnTo>
                <a:lnTo>
                  <a:pt x="256" y="275"/>
                </a:lnTo>
                <a:lnTo>
                  <a:pt x="272" y="291"/>
                </a:lnTo>
                <a:lnTo>
                  <a:pt x="289" y="293"/>
                </a:lnTo>
                <a:lnTo>
                  <a:pt x="300" y="301"/>
                </a:lnTo>
                <a:lnTo>
                  <a:pt x="297" y="320"/>
                </a:lnTo>
                <a:lnTo>
                  <a:pt x="296" y="320"/>
                </a:lnTo>
                <a:lnTo>
                  <a:pt x="295" y="319"/>
                </a:lnTo>
                <a:lnTo>
                  <a:pt x="295" y="320"/>
                </a:lnTo>
                <a:lnTo>
                  <a:pt x="293" y="320"/>
                </a:lnTo>
                <a:lnTo>
                  <a:pt x="292" y="319"/>
                </a:lnTo>
                <a:lnTo>
                  <a:pt x="290" y="317"/>
                </a:lnTo>
                <a:lnTo>
                  <a:pt x="289" y="317"/>
                </a:lnTo>
                <a:lnTo>
                  <a:pt x="289" y="319"/>
                </a:lnTo>
                <a:lnTo>
                  <a:pt x="289" y="320"/>
                </a:lnTo>
                <a:lnTo>
                  <a:pt x="288" y="320"/>
                </a:lnTo>
                <a:lnTo>
                  <a:pt x="286" y="321"/>
                </a:lnTo>
                <a:lnTo>
                  <a:pt x="286" y="323"/>
                </a:lnTo>
                <a:lnTo>
                  <a:pt x="285" y="323"/>
                </a:lnTo>
                <a:lnTo>
                  <a:pt x="285" y="324"/>
                </a:lnTo>
                <a:lnTo>
                  <a:pt x="285" y="326"/>
                </a:lnTo>
                <a:lnTo>
                  <a:pt x="285" y="327"/>
                </a:lnTo>
                <a:lnTo>
                  <a:pt x="284" y="327"/>
                </a:lnTo>
                <a:lnTo>
                  <a:pt x="282" y="327"/>
                </a:lnTo>
                <a:lnTo>
                  <a:pt x="282" y="326"/>
                </a:lnTo>
                <a:lnTo>
                  <a:pt x="281" y="326"/>
                </a:lnTo>
                <a:lnTo>
                  <a:pt x="279" y="326"/>
                </a:lnTo>
                <a:lnTo>
                  <a:pt x="278" y="326"/>
                </a:lnTo>
                <a:lnTo>
                  <a:pt x="277" y="326"/>
                </a:lnTo>
                <a:lnTo>
                  <a:pt x="275" y="326"/>
                </a:lnTo>
                <a:lnTo>
                  <a:pt x="274" y="324"/>
                </a:lnTo>
                <a:lnTo>
                  <a:pt x="272" y="324"/>
                </a:lnTo>
                <a:lnTo>
                  <a:pt x="272" y="323"/>
                </a:lnTo>
                <a:lnTo>
                  <a:pt x="272" y="321"/>
                </a:lnTo>
                <a:lnTo>
                  <a:pt x="272" y="320"/>
                </a:lnTo>
                <a:lnTo>
                  <a:pt x="271" y="320"/>
                </a:lnTo>
                <a:lnTo>
                  <a:pt x="270" y="320"/>
                </a:lnTo>
                <a:lnTo>
                  <a:pt x="271" y="319"/>
                </a:lnTo>
                <a:lnTo>
                  <a:pt x="271" y="317"/>
                </a:lnTo>
                <a:lnTo>
                  <a:pt x="270" y="316"/>
                </a:lnTo>
                <a:lnTo>
                  <a:pt x="268" y="316"/>
                </a:lnTo>
                <a:lnTo>
                  <a:pt x="268" y="317"/>
                </a:lnTo>
                <a:lnTo>
                  <a:pt x="267" y="317"/>
                </a:lnTo>
                <a:lnTo>
                  <a:pt x="266" y="319"/>
                </a:lnTo>
                <a:lnTo>
                  <a:pt x="264" y="319"/>
                </a:lnTo>
                <a:lnTo>
                  <a:pt x="263" y="319"/>
                </a:lnTo>
                <a:lnTo>
                  <a:pt x="263" y="317"/>
                </a:lnTo>
                <a:lnTo>
                  <a:pt x="261" y="317"/>
                </a:lnTo>
                <a:lnTo>
                  <a:pt x="260" y="317"/>
                </a:lnTo>
                <a:lnTo>
                  <a:pt x="259" y="317"/>
                </a:lnTo>
                <a:lnTo>
                  <a:pt x="257" y="319"/>
                </a:lnTo>
                <a:lnTo>
                  <a:pt x="256" y="319"/>
                </a:lnTo>
                <a:lnTo>
                  <a:pt x="256" y="317"/>
                </a:lnTo>
                <a:lnTo>
                  <a:pt x="255" y="317"/>
                </a:lnTo>
                <a:lnTo>
                  <a:pt x="255" y="316"/>
                </a:lnTo>
                <a:lnTo>
                  <a:pt x="253" y="316"/>
                </a:lnTo>
                <a:lnTo>
                  <a:pt x="253" y="317"/>
                </a:lnTo>
                <a:lnTo>
                  <a:pt x="252" y="317"/>
                </a:lnTo>
                <a:lnTo>
                  <a:pt x="252" y="316"/>
                </a:lnTo>
                <a:lnTo>
                  <a:pt x="250" y="316"/>
                </a:lnTo>
                <a:lnTo>
                  <a:pt x="249" y="315"/>
                </a:lnTo>
                <a:lnTo>
                  <a:pt x="249" y="313"/>
                </a:lnTo>
                <a:lnTo>
                  <a:pt x="248" y="315"/>
                </a:lnTo>
                <a:lnTo>
                  <a:pt x="246" y="315"/>
                </a:lnTo>
                <a:lnTo>
                  <a:pt x="245" y="315"/>
                </a:lnTo>
                <a:lnTo>
                  <a:pt x="245" y="316"/>
                </a:lnTo>
                <a:lnTo>
                  <a:pt x="246" y="316"/>
                </a:lnTo>
                <a:lnTo>
                  <a:pt x="246" y="317"/>
                </a:lnTo>
                <a:lnTo>
                  <a:pt x="246" y="319"/>
                </a:lnTo>
                <a:lnTo>
                  <a:pt x="245" y="319"/>
                </a:lnTo>
                <a:lnTo>
                  <a:pt x="245" y="320"/>
                </a:lnTo>
                <a:lnTo>
                  <a:pt x="244" y="321"/>
                </a:lnTo>
                <a:lnTo>
                  <a:pt x="242" y="321"/>
                </a:lnTo>
                <a:lnTo>
                  <a:pt x="242" y="323"/>
                </a:lnTo>
                <a:lnTo>
                  <a:pt x="241" y="323"/>
                </a:lnTo>
                <a:lnTo>
                  <a:pt x="239" y="323"/>
                </a:lnTo>
                <a:lnTo>
                  <a:pt x="239" y="321"/>
                </a:lnTo>
                <a:lnTo>
                  <a:pt x="238" y="321"/>
                </a:lnTo>
                <a:lnTo>
                  <a:pt x="238" y="323"/>
                </a:lnTo>
                <a:lnTo>
                  <a:pt x="237" y="323"/>
                </a:lnTo>
                <a:lnTo>
                  <a:pt x="235" y="323"/>
                </a:lnTo>
                <a:lnTo>
                  <a:pt x="234" y="324"/>
                </a:lnTo>
                <a:lnTo>
                  <a:pt x="233" y="326"/>
                </a:lnTo>
                <a:lnTo>
                  <a:pt x="231" y="326"/>
                </a:lnTo>
                <a:lnTo>
                  <a:pt x="231" y="327"/>
                </a:lnTo>
                <a:lnTo>
                  <a:pt x="230" y="327"/>
                </a:lnTo>
                <a:lnTo>
                  <a:pt x="228" y="327"/>
                </a:lnTo>
                <a:lnTo>
                  <a:pt x="227" y="327"/>
                </a:lnTo>
                <a:lnTo>
                  <a:pt x="226" y="326"/>
                </a:lnTo>
                <a:lnTo>
                  <a:pt x="224" y="326"/>
                </a:lnTo>
                <a:lnTo>
                  <a:pt x="224" y="324"/>
                </a:lnTo>
                <a:lnTo>
                  <a:pt x="223" y="324"/>
                </a:lnTo>
                <a:lnTo>
                  <a:pt x="223" y="324"/>
                </a:lnTo>
                <a:lnTo>
                  <a:pt x="222" y="326"/>
                </a:lnTo>
                <a:lnTo>
                  <a:pt x="220" y="327"/>
                </a:lnTo>
                <a:lnTo>
                  <a:pt x="219" y="327"/>
                </a:lnTo>
                <a:lnTo>
                  <a:pt x="217" y="327"/>
                </a:lnTo>
                <a:lnTo>
                  <a:pt x="217" y="328"/>
                </a:lnTo>
                <a:lnTo>
                  <a:pt x="216" y="328"/>
                </a:lnTo>
                <a:lnTo>
                  <a:pt x="216" y="330"/>
                </a:lnTo>
                <a:lnTo>
                  <a:pt x="215" y="331"/>
                </a:lnTo>
                <a:lnTo>
                  <a:pt x="215" y="331"/>
                </a:lnTo>
                <a:lnTo>
                  <a:pt x="215" y="332"/>
                </a:lnTo>
                <a:lnTo>
                  <a:pt x="213" y="332"/>
                </a:lnTo>
                <a:lnTo>
                  <a:pt x="212" y="332"/>
                </a:lnTo>
                <a:lnTo>
                  <a:pt x="211" y="331"/>
                </a:lnTo>
                <a:lnTo>
                  <a:pt x="209" y="331"/>
                </a:lnTo>
                <a:lnTo>
                  <a:pt x="209" y="331"/>
                </a:lnTo>
                <a:lnTo>
                  <a:pt x="208" y="330"/>
                </a:lnTo>
                <a:lnTo>
                  <a:pt x="206" y="330"/>
                </a:lnTo>
                <a:lnTo>
                  <a:pt x="205" y="330"/>
                </a:lnTo>
                <a:lnTo>
                  <a:pt x="204" y="328"/>
                </a:lnTo>
                <a:lnTo>
                  <a:pt x="204" y="327"/>
                </a:lnTo>
                <a:lnTo>
                  <a:pt x="202" y="326"/>
                </a:lnTo>
                <a:lnTo>
                  <a:pt x="201" y="326"/>
                </a:lnTo>
                <a:lnTo>
                  <a:pt x="200" y="326"/>
                </a:lnTo>
                <a:lnTo>
                  <a:pt x="198" y="326"/>
                </a:lnTo>
                <a:lnTo>
                  <a:pt x="197" y="326"/>
                </a:lnTo>
                <a:lnTo>
                  <a:pt x="195" y="326"/>
                </a:lnTo>
                <a:lnTo>
                  <a:pt x="193" y="326"/>
                </a:lnTo>
                <a:lnTo>
                  <a:pt x="191" y="326"/>
                </a:lnTo>
                <a:lnTo>
                  <a:pt x="190" y="326"/>
                </a:lnTo>
                <a:lnTo>
                  <a:pt x="190" y="324"/>
                </a:lnTo>
                <a:lnTo>
                  <a:pt x="190" y="324"/>
                </a:lnTo>
                <a:lnTo>
                  <a:pt x="189" y="323"/>
                </a:lnTo>
                <a:lnTo>
                  <a:pt x="187" y="323"/>
                </a:lnTo>
                <a:lnTo>
                  <a:pt x="187" y="321"/>
                </a:lnTo>
                <a:lnTo>
                  <a:pt x="187" y="320"/>
                </a:lnTo>
                <a:lnTo>
                  <a:pt x="186" y="319"/>
                </a:lnTo>
                <a:lnTo>
                  <a:pt x="184" y="319"/>
                </a:lnTo>
                <a:lnTo>
                  <a:pt x="183" y="319"/>
                </a:lnTo>
                <a:lnTo>
                  <a:pt x="183" y="320"/>
                </a:lnTo>
                <a:lnTo>
                  <a:pt x="183" y="321"/>
                </a:lnTo>
                <a:lnTo>
                  <a:pt x="182" y="323"/>
                </a:lnTo>
                <a:lnTo>
                  <a:pt x="180" y="324"/>
                </a:lnTo>
                <a:lnTo>
                  <a:pt x="180" y="326"/>
                </a:lnTo>
                <a:lnTo>
                  <a:pt x="180" y="327"/>
                </a:lnTo>
                <a:lnTo>
                  <a:pt x="179" y="327"/>
                </a:lnTo>
                <a:lnTo>
                  <a:pt x="179" y="328"/>
                </a:lnTo>
                <a:lnTo>
                  <a:pt x="178" y="328"/>
                </a:lnTo>
                <a:lnTo>
                  <a:pt x="176" y="328"/>
                </a:lnTo>
                <a:lnTo>
                  <a:pt x="175" y="328"/>
                </a:lnTo>
                <a:lnTo>
                  <a:pt x="175" y="327"/>
                </a:lnTo>
                <a:lnTo>
                  <a:pt x="173" y="326"/>
                </a:lnTo>
                <a:lnTo>
                  <a:pt x="173" y="324"/>
                </a:lnTo>
                <a:lnTo>
                  <a:pt x="173" y="323"/>
                </a:lnTo>
                <a:lnTo>
                  <a:pt x="172" y="321"/>
                </a:lnTo>
                <a:lnTo>
                  <a:pt x="171" y="320"/>
                </a:lnTo>
                <a:lnTo>
                  <a:pt x="169" y="320"/>
                </a:lnTo>
                <a:lnTo>
                  <a:pt x="169" y="321"/>
                </a:lnTo>
                <a:lnTo>
                  <a:pt x="169" y="323"/>
                </a:lnTo>
                <a:lnTo>
                  <a:pt x="168" y="323"/>
                </a:lnTo>
                <a:lnTo>
                  <a:pt x="167" y="323"/>
                </a:lnTo>
                <a:lnTo>
                  <a:pt x="167" y="324"/>
                </a:lnTo>
                <a:lnTo>
                  <a:pt x="165" y="324"/>
                </a:lnTo>
                <a:lnTo>
                  <a:pt x="165" y="326"/>
                </a:lnTo>
                <a:lnTo>
                  <a:pt x="164" y="326"/>
                </a:lnTo>
                <a:lnTo>
                  <a:pt x="162" y="326"/>
                </a:lnTo>
                <a:lnTo>
                  <a:pt x="161" y="326"/>
                </a:lnTo>
                <a:lnTo>
                  <a:pt x="160" y="326"/>
                </a:lnTo>
                <a:lnTo>
                  <a:pt x="160" y="327"/>
                </a:lnTo>
                <a:lnTo>
                  <a:pt x="161" y="328"/>
                </a:lnTo>
                <a:lnTo>
                  <a:pt x="162" y="328"/>
                </a:lnTo>
                <a:lnTo>
                  <a:pt x="161" y="328"/>
                </a:lnTo>
                <a:lnTo>
                  <a:pt x="161" y="330"/>
                </a:lnTo>
                <a:lnTo>
                  <a:pt x="160" y="330"/>
                </a:lnTo>
                <a:lnTo>
                  <a:pt x="158" y="330"/>
                </a:lnTo>
                <a:lnTo>
                  <a:pt x="158" y="331"/>
                </a:lnTo>
                <a:lnTo>
                  <a:pt x="158" y="331"/>
                </a:lnTo>
                <a:lnTo>
                  <a:pt x="157" y="331"/>
                </a:lnTo>
                <a:lnTo>
                  <a:pt x="157" y="332"/>
                </a:lnTo>
                <a:lnTo>
                  <a:pt x="157" y="332"/>
                </a:lnTo>
                <a:lnTo>
                  <a:pt x="156" y="332"/>
                </a:lnTo>
                <a:lnTo>
                  <a:pt x="154" y="331"/>
                </a:lnTo>
                <a:lnTo>
                  <a:pt x="154" y="331"/>
                </a:lnTo>
                <a:lnTo>
                  <a:pt x="153" y="331"/>
                </a:lnTo>
                <a:lnTo>
                  <a:pt x="151" y="326"/>
                </a:lnTo>
                <a:lnTo>
                  <a:pt x="88" y="326"/>
                </a:lnTo>
                <a:lnTo>
                  <a:pt x="87" y="297"/>
                </a:lnTo>
                <a:lnTo>
                  <a:pt x="80" y="295"/>
                </a:lnTo>
                <a:lnTo>
                  <a:pt x="80" y="275"/>
                </a:lnTo>
                <a:lnTo>
                  <a:pt x="72" y="277"/>
                </a:lnTo>
                <a:lnTo>
                  <a:pt x="65" y="258"/>
                </a:lnTo>
                <a:lnTo>
                  <a:pt x="72" y="247"/>
                </a:lnTo>
                <a:lnTo>
                  <a:pt x="54" y="227"/>
                </a:lnTo>
                <a:lnTo>
                  <a:pt x="21" y="173"/>
                </a:lnTo>
                <a:lnTo>
                  <a:pt x="32" y="165"/>
                </a:lnTo>
                <a:lnTo>
                  <a:pt x="14" y="138"/>
                </a:lnTo>
                <a:lnTo>
                  <a:pt x="0" y="94"/>
                </a:lnTo>
                <a:lnTo>
                  <a:pt x="10" y="9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5" name="Freeform 101"/>
          <p:cNvSpPr>
            <a:spLocks/>
          </p:cNvSpPr>
          <p:nvPr>
            <p:custDataLst>
              <p:tags r:id="rId21"/>
            </p:custDataLst>
          </p:nvPr>
        </p:nvSpPr>
        <p:spPr bwMode="gray">
          <a:xfrm>
            <a:off x="5011979" y="2965580"/>
            <a:ext cx="402563" cy="288822"/>
          </a:xfrm>
          <a:custGeom>
            <a:avLst/>
            <a:gdLst>
              <a:gd name="T0" fmla="*/ 2 w 423"/>
              <a:gd name="T1" fmla="*/ 22 h 323"/>
              <a:gd name="T2" fmla="*/ 4 w 423"/>
              <a:gd name="T3" fmla="*/ 13 h 323"/>
              <a:gd name="T4" fmla="*/ 15 w 423"/>
              <a:gd name="T5" fmla="*/ 0 h 323"/>
              <a:gd name="T6" fmla="*/ 24 w 423"/>
              <a:gd name="T7" fmla="*/ 0 h 323"/>
              <a:gd name="T8" fmla="*/ 30 w 423"/>
              <a:gd name="T9" fmla="*/ 24 h 323"/>
              <a:gd name="T10" fmla="*/ 88 w 423"/>
              <a:gd name="T11" fmla="*/ 46 h 323"/>
              <a:gd name="T12" fmla="*/ 134 w 423"/>
              <a:gd name="T13" fmla="*/ 77 h 323"/>
              <a:gd name="T14" fmla="*/ 160 w 423"/>
              <a:gd name="T15" fmla="*/ 88 h 323"/>
              <a:gd name="T16" fmla="*/ 204 w 423"/>
              <a:gd name="T17" fmla="*/ 81 h 323"/>
              <a:gd name="T18" fmla="*/ 238 w 423"/>
              <a:gd name="T19" fmla="*/ 104 h 323"/>
              <a:gd name="T20" fmla="*/ 242 w 423"/>
              <a:gd name="T21" fmla="*/ 133 h 323"/>
              <a:gd name="T22" fmla="*/ 260 w 423"/>
              <a:gd name="T23" fmla="*/ 148 h 323"/>
              <a:gd name="T24" fmla="*/ 321 w 423"/>
              <a:gd name="T25" fmla="*/ 143 h 323"/>
              <a:gd name="T26" fmla="*/ 334 w 423"/>
              <a:gd name="T27" fmla="*/ 123 h 323"/>
              <a:gd name="T28" fmla="*/ 352 w 423"/>
              <a:gd name="T29" fmla="*/ 119 h 323"/>
              <a:gd name="T30" fmla="*/ 326 w 423"/>
              <a:gd name="T31" fmla="*/ 89 h 323"/>
              <a:gd name="T32" fmla="*/ 328 w 423"/>
              <a:gd name="T33" fmla="*/ 85 h 323"/>
              <a:gd name="T34" fmla="*/ 342 w 423"/>
              <a:gd name="T35" fmla="*/ 92 h 323"/>
              <a:gd name="T36" fmla="*/ 342 w 423"/>
              <a:gd name="T37" fmla="*/ 93 h 323"/>
              <a:gd name="T38" fmla="*/ 348 w 423"/>
              <a:gd name="T39" fmla="*/ 93 h 323"/>
              <a:gd name="T40" fmla="*/ 363 w 423"/>
              <a:gd name="T41" fmla="*/ 93 h 323"/>
              <a:gd name="T42" fmla="*/ 382 w 423"/>
              <a:gd name="T43" fmla="*/ 93 h 323"/>
              <a:gd name="T44" fmla="*/ 414 w 423"/>
              <a:gd name="T45" fmla="*/ 93 h 323"/>
              <a:gd name="T46" fmla="*/ 420 w 423"/>
              <a:gd name="T47" fmla="*/ 152 h 323"/>
              <a:gd name="T48" fmla="*/ 423 w 423"/>
              <a:gd name="T49" fmla="*/ 198 h 323"/>
              <a:gd name="T50" fmla="*/ 364 w 423"/>
              <a:gd name="T51" fmla="*/ 196 h 323"/>
              <a:gd name="T52" fmla="*/ 378 w 423"/>
              <a:gd name="T53" fmla="*/ 275 h 323"/>
              <a:gd name="T54" fmla="*/ 334 w 423"/>
              <a:gd name="T55" fmla="*/ 301 h 323"/>
              <a:gd name="T56" fmla="*/ 271 w 423"/>
              <a:gd name="T57" fmla="*/ 305 h 323"/>
              <a:gd name="T58" fmla="*/ 260 w 423"/>
              <a:gd name="T59" fmla="*/ 321 h 323"/>
              <a:gd name="T60" fmla="*/ 242 w 423"/>
              <a:gd name="T61" fmla="*/ 323 h 323"/>
              <a:gd name="T62" fmla="*/ 229 w 423"/>
              <a:gd name="T63" fmla="*/ 304 h 323"/>
              <a:gd name="T64" fmla="*/ 193 w 423"/>
              <a:gd name="T65" fmla="*/ 281 h 323"/>
              <a:gd name="T66" fmla="*/ 189 w 423"/>
              <a:gd name="T67" fmla="*/ 295 h 323"/>
              <a:gd name="T68" fmla="*/ 199 w 423"/>
              <a:gd name="T69" fmla="*/ 312 h 323"/>
              <a:gd name="T70" fmla="*/ 177 w 423"/>
              <a:gd name="T71" fmla="*/ 317 h 323"/>
              <a:gd name="T72" fmla="*/ 156 w 423"/>
              <a:gd name="T73" fmla="*/ 284 h 323"/>
              <a:gd name="T74" fmla="*/ 129 w 423"/>
              <a:gd name="T75" fmla="*/ 262 h 323"/>
              <a:gd name="T76" fmla="*/ 105 w 423"/>
              <a:gd name="T77" fmla="*/ 225 h 323"/>
              <a:gd name="T78" fmla="*/ 78 w 423"/>
              <a:gd name="T79" fmla="*/ 218 h 323"/>
              <a:gd name="T80" fmla="*/ 63 w 423"/>
              <a:gd name="T81" fmla="*/ 176 h 323"/>
              <a:gd name="T82" fmla="*/ 33 w 423"/>
              <a:gd name="T83" fmla="*/ 134 h 323"/>
              <a:gd name="T84" fmla="*/ 16 w 423"/>
              <a:gd name="T85" fmla="*/ 132 h 323"/>
              <a:gd name="T86" fmla="*/ 23 w 423"/>
              <a:gd name="T87" fmla="*/ 122 h 323"/>
              <a:gd name="T88" fmla="*/ 11 w 423"/>
              <a:gd name="T89" fmla="*/ 101 h 323"/>
              <a:gd name="T90" fmla="*/ 17 w 423"/>
              <a:gd name="T91" fmla="*/ 81 h 323"/>
              <a:gd name="T92" fmla="*/ 17 w 423"/>
              <a:gd name="T93" fmla="*/ 61 h 323"/>
              <a:gd name="T94" fmla="*/ 0 w 423"/>
              <a:gd name="T95" fmla="*/ 30 h 323"/>
              <a:gd name="T96" fmla="*/ 2 w 423"/>
              <a:gd name="T97" fmla="*/ 22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23" h="323">
                <a:moveTo>
                  <a:pt x="2" y="22"/>
                </a:moveTo>
                <a:lnTo>
                  <a:pt x="4" y="13"/>
                </a:lnTo>
                <a:lnTo>
                  <a:pt x="15" y="0"/>
                </a:lnTo>
                <a:lnTo>
                  <a:pt x="24" y="0"/>
                </a:lnTo>
                <a:lnTo>
                  <a:pt x="30" y="24"/>
                </a:lnTo>
                <a:lnTo>
                  <a:pt x="88" y="46"/>
                </a:lnTo>
                <a:lnTo>
                  <a:pt x="134" y="77"/>
                </a:lnTo>
                <a:lnTo>
                  <a:pt x="160" y="88"/>
                </a:lnTo>
                <a:lnTo>
                  <a:pt x="204" y="81"/>
                </a:lnTo>
                <a:lnTo>
                  <a:pt x="238" y="104"/>
                </a:lnTo>
                <a:lnTo>
                  <a:pt x="242" y="133"/>
                </a:lnTo>
                <a:lnTo>
                  <a:pt x="260" y="148"/>
                </a:lnTo>
                <a:lnTo>
                  <a:pt x="321" y="143"/>
                </a:lnTo>
                <a:lnTo>
                  <a:pt x="334" y="123"/>
                </a:lnTo>
                <a:lnTo>
                  <a:pt x="352" y="119"/>
                </a:lnTo>
                <a:lnTo>
                  <a:pt x="326" y="89"/>
                </a:lnTo>
                <a:lnTo>
                  <a:pt x="328" y="85"/>
                </a:lnTo>
                <a:lnTo>
                  <a:pt x="342" y="92"/>
                </a:lnTo>
                <a:lnTo>
                  <a:pt x="342" y="93"/>
                </a:lnTo>
                <a:lnTo>
                  <a:pt x="348" y="93"/>
                </a:lnTo>
                <a:lnTo>
                  <a:pt x="363" y="93"/>
                </a:lnTo>
                <a:lnTo>
                  <a:pt x="382" y="93"/>
                </a:lnTo>
                <a:lnTo>
                  <a:pt x="414" y="93"/>
                </a:lnTo>
                <a:lnTo>
                  <a:pt x="420" y="152"/>
                </a:lnTo>
                <a:lnTo>
                  <a:pt x="423" y="198"/>
                </a:lnTo>
                <a:lnTo>
                  <a:pt x="364" y="196"/>
                </a:lnTo>
                <a:lnTo>
                  <a:pt x="378" y="275"/>
                </a:lnTo>
                <a:lnTo>
                  <a:pt x="334" y="301"/>
                </a:lnTo>
                <a:lnTo>
                  <a:pt x="271" y="305"/>
                </a:lnTo>
                <a:lnTo>
                  <a:pt x="260" y="321"/>
                </a:lnTo>
                <a:lnTo>
                  <a:pt x="242" y="323"/>
                </a:lnTo>
                <a:lnTo>
                  <a:pt x="229" y="304"/>
                </a:lnTo>
                <a:lnTo>
                  <a:pt x="193" y="281"/>
                </a:lnTo>
                <a:lnTo>
                  <a:pt x="189" y="295"/>
                </a:lnTo>
                <a:lnTo>
                  <a:pt x="199" y="312"/>
                </a:lnTo>
                <a:lnTo>
                  <a:pt x="177" y="317"/>
                </a:lnTo>
                <a:lnTo>
                  <a:pt x="156" y="284"/>
                </a:lnTo>
                <a:lnTo>
                  <a:pt x="129" y="262"/>
                </a:lnTo>
                <a:lnTo>
                  <a:pt x="105" y="225"/>
                </a:lnTo>
                <a:lnTo>
                  <a:pt x="78" y="218"/>
                </a:lnTo>
                <a:lnTo>
                  <a:pt x="63" y="176"/>
                </a:lnTo>
                <a:lnTo>
                  <a:pt x="33" y="134"/>
                </a:lnTo>
                <a:lnTo>
                  <a:pt x="16" y="132"/>
                </a:lnTo>
                <a:lnTo>
                  <a:pt x="23" y="122"/>
                </a:lnTo>
                <a:lnTo>
                  <a:pt x="11" y="101"/>
                </a:lnTo>
                <a:lnTo>
                  <a:pt x="17" y="81"/>
                </a:lnTo>
                <a:lnTo>
                  <a:pt x="17" y="61"/>
                </a:lnTo>
                <a:lnTo>
                  <a:pt x="0" y="30"/>
                </a:lnTo>
                <a:lnTo>
                  <a:pt x="2" y="2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6" name="Freeform 102"/>
          <p:cNvSpPr>
            <a:spLocks/>
          </p:cNvSpPr>
          <p:nvPr>
            <p:custDataLst>
              <p:tags r:id="rId22"/>
            </p:custDataLst>
          </p:nvPr>
        </p:nvSpPr>
        <p:spPr bwMode="gray">
          <a:xfrm>
            <a:off x="4520909" y="2799261"/>
            <a:ext cx="282651" cy="195827"/>
          </a:xfrm>
          <a:custGeom>
            <a:avLst/>
            <a:gdLst>
              <a:gd name="T0" fmla="*/ 4 w 297"/>
              <a:gd name="T1" fmla="*/ 135 h 219"/>
              <a:gd name="T2" fmla="*/ 7 w 297"/>
              <a:gd name="T3" fmla="*/ 131 h 219"/>
              <a:gd name="T4" fmla="*/ 30 w 297"/>
              <a:gd name="T5" fmla="*/ 104 h 219"/>
              <a:gd name="T6" fmla="*/ 42 w 297"/>
              <a:gd name="T7" fmla="*/ 89 h 219"/>
              <a:gd name="T8" fmla="*/ 96 w 297"/>
              <a:gd name="T9" fmla="*/ 29 h 219"/>
              <a:gd name="T10" fmla="*/ 106 w 297"/>
              <a:gd name="T11" fmla="*/ 19 h 219"/>
              <a:gd name="T12" fmla="*/ 108 w 297"/>
              <a:gd name="T13" fmla="*/ 16 h 219"/>
              <a:gd name="T14" fmla="*/ 114 w 297"/>
              <a:gd name="T15" fmla="*/ 12 h 219"/>
              <a:gd name="T16" fmla="*/ 121 w 297"/>
              <a:gd name="T17" fmla="*/ 5 h 219"/>
              <a:gd name="T18" fmla="*/ 126 w 297"/>
              <a:gd name="T19" fmla="*/ 0 h 219"/>
              <a:gd name="T20" fmla="*/ 136 w 297"/>
              <a:gd name="T21" fmla="*/ 18 h 219"/>
              <a:gd name="T22" fmla="*/ 187 w 297"/>
              <a:gd name="T23" fmla="*/ 27 h 219"/>
              <a:gd name="T24" fmla="*/ 228 w 297"/>
              <a:gd name="T25" fmla="*/ 53 h 219"/>
              <a:gd name="T26" fmla="*/ 232 w 297"/>
              <a:gd name="T27" fmla="*/ 42 h 219"/>
              <a:gd name="T28" fmla="*/ 297 w 297"/>
              <a:gd name="T29" fmla="*/ 60 h 219"/>
              <a:gd name="T30" fmla="*/ 293 w 297"/>
              <a:gd name="T31" fmla="*/ 78 h 219"/>
              <a:gd name="T32" fmla="*/ 262 w 297"/>
              <a:gd name="T33" fmla="*/ 113 h 219"/>
              <a:gd name="T34" fmla="*/ 267 w 297"/>
              <a:gd name="T35" fmla="*/ 113 h 219"/>
              <a:gd name="T36" fmla="*/ 235 w 297"/>
              <a:gd name="T37" fmla="*/ 151 h 219"/>
              <a:gd name="T38" fmla="*/ 216 w 297"/>
              <a:gd name="T39" fmla="*/ 157 h 219"/>
              <a:gd name="T40" fmla="*/ 187 w 297"/>
              <a:gd name="T41" fmla="*/ 188 h 219"/>
              <a:gd name="T42" fmla="*/ 188 w 297"/>
              <a:gd name="T43" fmla="*/ 205 h 219"/>
              <a:gd name="T44" fmla="*/ 172 w 297"/>
              <a:gd name="T45" fmla="*/ 205 h 219"/>
              <a:gd name="T46" fmla="*/ 165 w 297"/>
              <a:gd name="T47" fmla="*/ 197 h 219"/>
              <a:gd name="T48" fmla="*/ 158 w 297"/>
              <a:gd name="T49" fmla="*/ 205 h 219"/>
              <a:gd name="T50" fmla="*/ 154 w 297"/>
              <a:gd name="T51" fmla="*/ 219 h 219"/>
              <a:gd name="T52" fmla="*/ 106 w 297"/>
              <a:gd name="T53" fmla="*/ 209 h 219"/>
              <a:gd name="T54" fmla="*/ 63 w 297"/>
              <a:gd name="T55" fmla="*/ 179 h 219"/>
              <a:gd name="T56" fmla="*/ 15 w 297"/>
              <a:gd name="T57" fmla="*/ 162 h 219"/>
              <a:gd name="T58" fmla="*/ 0 w 297"/>
              <a:gd name="T59" fmla="*/ 140 h 219"/>
              <a:gd name="T60" fmla="*/ 4 w 297"/>
              <a:gd name="T61" fmla="*/ 135 h 2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297" h="219">
                <a:moveTo>
                  <a:pt x="4" y="135"/>
                </a:moveTo>
                <a:lnTo>
                  <a:pt x="7" y="131"/>
                </a:lnTo>
                <a:lnTo>
                  <a:pt x="30" y="104"/>
                </a:lnTo>
                <a:lnTo>
                  <a:pt x="42" y="89"/>
                </a:lnTo>
                <a:lnTo>
                  <a:pt x="96" y="29"/>
                </a:lnTo>
                <a:lnTo>
                  <a:pt x="106" y="19"/>
                </a:lnTo>
                <a:lnTo>
                  <a:pt x="108" y="16"/>
                </a:lnTo>
                <a:lnTo>
                  <a:pt x="114" y="12"/>
                </a:lnTo>
                <a:lnTo>
                  <a:pt x="121" y="5"/>
                </a:lnTo>
                <a:lnTo>
                  <a:pt x="126" y="0"/>
                </a:lnTo>
                <a:lnTo>
                  <a:pt x="136" y="18"/>
                </a:lnTo>
                <a:lnTo>
                  <a:pt x="187" y="27"/>
                </a:lnTo>
                <a:lnTo>
                  <a:pt x="228" y="53"/>
                </a:lnTo>
                <a:lnTo>
                  <a:pt x="232" y="42"/>
                </a:lnTo>
                <a:lnTo>
                  <a:pt x="297" y="60"/>
                </a:lnTo>
                <a:lnTo>
                  <a:pt x="293" y="78"/>
                </a:lnTo>
                <a:lnTo>
                  <a:pt x="262" y="113"/>
                </a:lnTo>
                <a:lnTo>
                  <a:pt x="267" y="113"/>
                </a:lnTo>
                <a:lnTo>
                  <a:pt x="235" y="151"/>
                </a:lnTo>
                <a:lnTo>
                  <a:pt x="216" y="157"/>
                </a:lnTo>
                <a:lnTo>
                  <a:pt x="187" y="188"/>
                </a:lnTo>
                <a:lnTo>
                  <a:pt x="188" y="205"/>
                </a:lnTo>
                <a:lnTo>
                  <a:pt x="172" y="205"/>
                </a:lnTo>
                <a:lnTo>
                  <a:pt x="165" y="197"/>
                </a:lnTo>
                <a:lnTo>
                  <a:pt x="158" y="205"/>
                </a:lnTo>
                <a:lnTo>
                  <a:pt x="154" y="219"/>
                </a:lnTo>
                <a:lnTo>
                  <a:pt x="106" y="209"/>
                </a:lnTo>
                <a:lnTo>
                  <a:pt x="63" y="179"/>
                </a:lnTo>
                <a:lnTo>
                  <a:pt x="15" y="162"/>
                </a:lnTo>
                <a:lnTo>
                  <a:pt x="0" y="140"/>
                </a:lnTo>
                <a:lnTo>
                  <a:pt x="4" y="13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7" name="Freeform 103"/>
          <p:cNvSpPr>
            <a:spLocks/>
          </p:cNvSpPr>
          <p:nvPr>
            <p:custDataLst>
              <p:tags r:id="rId23"/>
            </p:custDataLst>
          </p:nvPr>
        </p:nvSpPr>
        <p:spPr bwMode="gray">
          <a:xfrm>
            <a:off x="4500923" y="2924447"/>
            <a:ext cx="164642" cy="140387"/>
          </a:xfrm>
          <a:custGeom>
            <a:avLst/>
            <a:gdLst>
              <a:gd name="T0" fmla="*/ 0 w 173"/>
              <a:gd name="T1" fmla="*/ 26 h 157"/>
              <a:gd name="T2" fmla="*/ 2 w 173"/>
              <a:gd name="T3" fmla="*/ 26 h 157"/>
              <a:gd name="T4" fmla="*/ 8 w 173"/>
              <a:gd name="T5" fmla="*/ 17 h 157"/>
              <a:gd name="T6" fmla="*/ 14 w 173"/>
              <a:gd name="T7" fmla="*/ 10 h 157"/>
              <a:gd name="T8" fmla="*/ 21 w 173"/>
              <a:gd name="T9" fmla="*/ 2 h 157"/>
              <a:gd name="T10" fmla="*/ 21 w 173"/>
              <a:gd name="T11" fmla="*/ 0 h 157"/>
              <a:gd name="T12" fmla="*/ 36 w 173"/>
              <a:gd name="T13" fmla="*/ 22 h 157"/>
              <a:gd name="T14" fmla="*/ 84 w 173"/>
              <a:gd name="T15" fmla="*/ 39 h 157"/>
              <a:gd name="T16" fmla="*/ 127 w 173"/>
              <a:gd name="T17" fmla="*/ 69 h 157"/>
              <a:gd name="T18" fmla="*/ 173 w 173"/>
              <a:gd name="T19" fmla="*/ 79 h 157"/>
              <a:gd name="T20" fmla="*/ 173 w 173"/>
              <a:gd name="T21" fmla="*/ 85 h 157"/>
              <a:gd name="T22" fmla="*/ 128 w 173"/>
              <a:gd name="T23" fmla="*/ 112 h 157"/>
              <a:gd name="T24" fmla="*/ 125 w 173"/>
              <a:gd name="T25" fmla="*/ 145 h 157"/>
              <a:gd name="T26" fmla="*/ 96 w 173"/>
              <a:gd name="T27" fmla="*/ 157 h 157"/>
              <a:gd name="T28" fmla="*/ 77 w 173"/>
              <a:gd name="T29" fmla="*/ 128 h 157"/>
              <a:gd name="T30" fmla="*/ 85 w 173"/>
              <a:gd name="T31" fmla="*/ 114 h 157"/>
              <a:gd name="T32" fmla="*/ 80 w 173"/>
              <a:gd name="T33" fmla="*/ 106 h 157"/>
              <a:gd name="T34" fmla="*/ 70 w 173"/>
              <a:gd name="T35" fmla="*/ 107 h 157"/>
              <a:gd name="T36" fmla="*/ 65 w 173"/>
              <a:gd name="T37" fmla="*/ 102 h 157"/>
              <a:gd name="T38" fmla="*/ 80 w 173"/>
              <a:gd name="T39" fmla="*/ 90 h 157"/>
              <a:gd name="T40" fmla="*/ 79 w 173"/>
              <a:gd name="T41" fmla="*/ 69 h 157"/>
              <a:gd name="T42" fmla="*/ 51 w 173"/>
              <a:gd name="T43" fmla="*/ 41 h 157"/>
              <a:gd name="T44" fmla="*/ 0 w 173"/>
              <a:gd name="T45" fmla="*/ 28 h 157"/>
              <a:gd name="T46" fmla="*/ 0 w 173"/>
              <a:gd name="T47" fmla="*/ 26 h 1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73" h="157">
                <a:moveTo>
                  <a:pt x="0" y="26"/>
                </a:moveTo>
                <a:lnTo>
                  <a:pt x="2" y="26"/>
                </a:lnTo>
                <a:lnTo>
                  <a:pt x="8" y="17"/>
                </a:lnTo>
                <a:lnTo>
                  <a:pt x="14" y="10"/>
                </a:lnTo>
                <a:lnTo>
                  <a:pt x="21" y="2"/>
                </a:lnTo>
                <a:lnTo>
                  <a:pt x="21" y="0"/>
                </a:lnTo>
                <a:lnTo>
                  <a:pt x="36" y="22"/>
                </a:lnTo>
                <a:lnTo>
                  <a:pt x="84" y="39"/>
                </a:lnTo>
                <a:lnTo>
                  <a:pt x="127" y="69"/>
                </a:lnTo>
                <a:lnTo>
                  <a:pt x="173" y="79"/>
                </a:lnTo>
                <a:lnTo>
                  <a:pt x="173" y="85"/>
                </a:lnTo>
                <a:lnTo>
                  <a:pt x="128" y="112"/>
                </a:lnTo>
                <a:lnTo>
                  <a:pt x="125" y="145"/>
                </a:lnTo>
                <a:lnTo>
                  <a:pt x="96" y="157"/>
                </a:lnTo>
                <a:lnTo>
                  <a:pt x="77" y="128"/>
                </a:lnTo>
                <a:lnTo>
                  <a:pt x="85" y="114"/>
                </a:lnTo>
                <a:lnTo>
                  <a:pt x="80" y="106"/>
                </a:lnTo>
                <a:lnTo>
                  <a:pt x="70" y="107"/>
                </a:lnTo>
                <a:lnTo>
                  <a:pt x="65" y="102"/>
                </a:lnTo>
                <a:lnTo>
                  <a:pt x="80" y="90"/>
                </a:lnTo>
                <a:lnTo>
                  <a:pt x="79" y="69"/>
                </a:lnTo>
                <a:lnTo>
                  <a:pt x="51" y="41"/>
                </a:lnTo>
                <a:lnTo>
                  <a:pt x="0" y="28"/>
                </a:lnTo>
                <a:lnTo>
                  <a:pt x="0" y="26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8" name="Freeform 104"/>
          <p:cNvSpPr>
            <a:spLocks/>
          </p:cNvSpPr>
          <p:nvPr>
            <p:custDataLst>
              <p:tags r:id="rId24"/>
            </p:custDataLst>
          </p:nvPr>
        </p:nvSpPr>
        <p:spPr bwMode="gray">
          <a:xfrm>
            <a:off x="4299166" y="2949484"/>
            <a:ext cx="437776" cy="295082"/>
          </a:xfrm>
          <a:custGeom>
            <a:avLst/>
            <a:gdLst>
              <a:gd name="T0" fmla="*/ 2 w 460"/>
              <a:gd name="T1" fmla="*/ 96 h 330"/>
              <a:gd name="T2" fmla="*/ 2 w 460"/>
              <a:gd name="T3" fmla="*/ 73 h 330"/>
              <a:gd name="T4" fmla="*/ 32 w 460"/>
              <a:gd name="T5" fmla="*/ 57 h 330"/>
              <a:gd name="T6" fmla="*/ 28 w 460"/>
              <a:gd name="T7" fmla="*/ 34 h 330"/>
              <a:gd name="T8" fmla="*/ 29 w 460"/>
              <a:gd name="T9" fmla="*/ 33 h 330"/>
              <a:gd name="T10" fmla="*/ 33 w 460"/>
              <a:gd name="T11" fmla="*/ 31 h 330"/>
              <a:gd name="T12" fmla="*/ 36 w 460"/>
              <a:gd name="T13" fmla="*/ 30 h 330"/>
              <a:gd name="T14" fmla="*/ 43 w 460"/>
              <a:gd name="T15" fmla="*/ 27 h 330"/>
              <a:gd name="T16" fmla="*/ 46 w 460"/>
              <a:gd name="T17" fmla="*/ 26 h 330"/>
              <a:gd name="T18" fmla="*/ 48 w 460"/>
              <a:gd name="T19" fmla="*/ 24 h 330"/>
              <a:gd name="T20" fmla="*/ 130 w 460"/>
              <a:gd name="T21" fmla="*/ 23 h 330"/>
              <a:gd name="T22" fmla="*/ 147 w 460"/>
              <a:gd name="T23" fmla="*/ 23 h 330"/>
              <a:gd name="T24" fmla="*/ 156 w 460"/>
              <a:gd name="T25" fmla="*/ 23 h 330"/>
              <a:gd name="T26" fmla="*/ 163 w 460"/>
              <a:gd name="T27" fmla="*/ 22 h 330"/>
              <a:gd name="T28" fmla="*/ 168 w 460"/>
              <a:gd name="T29" fmla="*/ 22 h 330"/>
              <a:gd name="T30" fmla="*/ 175 w 460"/>
              <a:gd name="T31" fmla="*/ 22 h 330"/>
              <a:gd name="T32" fmla="*/ 181 w 460"/>
              <a:gd name="T33" fmla="*/ 20 h 330"/>
              <a:gd name="T34" fmla="*/ 186 w 460"/>
              <a:gd name="T35" fmla="*/ 19 h 330"/>
              <a:gd name="T36" fmla="*/ 192 w 460"/>
              <a:gd name="T37" fmla="*/ 18 h 330"/>
              <a:gd name="T38" fmla="*/ 194 w 460"/>
              <a:gd name="T39" fmla="*/ 16 h 330"/>
              <a:gd name="T40" fmla="*/ 198 w 460"/>
              <a:gd name="T41" fmla="*/ 15 h 330"/>
              <a:gd name="T42" fmla="*/ 203 w 460"/>
              <a:gd name="T43" fmla="*/ 9 h 330"/>
              <a:gd name="T44" fmla="*/ 207 w 460"/>
              <a:gd name="T45" fmla="*/ 5 h 330"/>
              <a:gd name="T46" fmla="*/ 212 w 460"/>
              <a:gd name="T47" fmla="*/ 0 h 330"/>
              <a:gd name="T48" fmla="*/ 263 w 460"/>
              <a:gd name="T49" fmla="*/ 13 h 330"/>
              <a:gd name="T50" fmla="*/ 291 w 460"/>
              <a:gd name="T51" fmla="*/ 41 h 330"/>
              <a:gd name="T52" fmla="*/ 292 w 460"/>
              <a:gd name="T53" fmla="*/ 62 h 330"/>
              <a:gd name="T54" fmla="*/ 277 w 460"/>
              <a:gd name="T55" fmla="*/ 74 h 330"/>
              <a:gd name="T56" fmla="*/ 282 w 460"/>
              <a:gd name="T57" fmla="*/ 79 h 330"/>
              <a:gd name="T58" fmla="*/ 292 w 460"/>
              <a:gd name="T59" fmla="*/ 78 h 330"/>
              <a:gd name="T60" fmla="*/ 297 w 460"/>
              <a:gd name="T61" fmla="*/ 86 h 330"/>
              <a:gd name="T62" fmla="*/ 289 w 460"/>
              <a:gd name="T63" fmla="*/ 100 h 330"/>
              <a:gd name="T64" fmla="*/ 308 w 460"/>
              <a:gd name="T65" fmla="*/ 129 h 330"/>
              <a:gd name="T66" fmla="*/ 330 w 460"/>
              <a:gd name="T67" fmla="*/ 119 h 330"/>
              <a:gd name="T68" fmla="*/ 388 w 460"/>
              <a:gd name="T69" fmla="*/ 156 h 330"/>
              <a:gd name="T70" fmla="*/ 385 w 460"/>
              <a:gd name="T71" fmla="*/ 166 h 330"/>
              <a:gd name="T72" fmla="*/ 458 w 460"/>
              <a:gd name="T73" fmla="*/ 188 h 330"/>
              <a:gd name="T74" fmla="*/ 460 w 460"/>
              <a:gd name="T75" fmla="*/ 196 h 330"/>
              <a:gd name="T76" fmla="*/ 435 w 460"/>
              <a:gd name="T77" fmla="*/ 217 h 330"/>
              <a:gd name="T78" fmla="*/ 435 w 460"/>
              <a:gd name="T79" fmla="*/ 249 h 330"/>
              <a:gd name="T80" fmla="*/ 456 w 460"/>
              <a:gd name="T81" fmla="*/ 301 h 330"/>
              <a:gd name="T82" fmla="*/ 417 w 460"/>
              <a:gd name="T83" fmla="*/ 326 h 330"/>
              <a:gd name="T84" fmla="*/ 374 w 460"/>
              <a:gd name="T85" fmla="*/ 330 h 330"/>
              <a:gd name="T86" fmla="*/ 348 w 460"/>
              <a:gd name="T87" fmla="*/ 254 h 330"/>
              <a:gd name="T88" fmla="*/ 368 w 460"/>
              <a:gd name="T89" fmla="*/ 233 h 330"/>
              <a:gd name="T90" fmla="*/ 357 w 460"/>
              <a:gd name="T91" fmla="*/ 188 h 330"/>
              <a:gd name="T92" fmla="*/ 300 w 460"/>
              <a:gd name="T93" fmla="*/ 183 h 330"/>
              <a:gd name="T94" fmla="*/ 274 w 460"/>
              <a:gd name="T95" fmla="*/ 150 h 330"/>
              <a:gd name="T96" fmla="*/ 244 w 460"/>
              <a:gd name="T97" fmla="*/ 166 h 330"/>
              <a:gd name="T98" fmla="*/ 64 w 460"/>
              <a:gd name="T99" fmla="*/ 112 h 330"/>
              <a:gd name="T100" fmla="*/ 0 w 460"/>
              <a:gd name="T101" fmla="*/ 119 h 330"/>
              <a:gd name="T102" fmla="*/ 2 w 460"/>
              <a:gd name="T103" fmla="*/ 96 h 3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460" h="330">
                <a:moveTo>
                  <a:pt x="2" y="96"/>
                </a:moveTo>
                <a:lnTo>
                  <a:pt x="2" y="73"/>
                </a:lnTo>
                <a:lnTo>
                  <a:pt x="32" y="57"/>
                </a:lnTo>
                <a:lnTo>
                  <a:pt x="28" y="34"/>
                </a:lnTo>
                <a:lnTo>
                  <a:pt x="29" y="33"/>
                </a:lnTo>
                <a:lnTo>
                  <a:pt x="33" y="31"/>
                </a:lnTo>
                <a:lnTo>
                  <a:pt x="36" y="30"/>
                </a:lnTo>
                <a:lnTo>
                  <a:pt x="43" y="27"/>
                </a:lnTo>
                <a:lnTo>
                  <a:pt x="46" y="26"/>
                </a:lnTo>
                <a:lnTo>
                  <a:pt x="48" y="24"/>
                </a:lnTo>
                <a:lnTo>
                  <a:pt x="130" y="23"/>
                </a:lnTo>
                <a:lnTo>
                  <a:pt x="147" y="23"/>
                </a:lnTo>
                <a:lnTo>
                  <a:pt x="156" y="23"/>
                </a:lnTo>
                <a:lnTo>
                  <a:pt x="163" y="22"/>
                </a:lnTo>
                <a:lnTo>
                  <a:pt x="168" y="22"/>
                </a:lnTo>
                <a:lnTo>
                  <a:pt x="175" y="22"/>
                </a:lnTo>
                <a:lnTo>
                  <a:pt x="181" y="20"/>
                </a:lnTo>
                <a:lnTo>
                  <a:pt x="186" y="19"/>
                </a:lnTo>
                <a:lnTo>
                  <a:pt x="192" y="18"/>
                </a:lnTo>
                <a:lnTo>
                  <a:pt x="194" y="16"/>
                </a:lnTo>
                <a:lnTo>
                  <a:pt x="198" y="15"/>
                </a:lnTo>
                <a:lnTo>
                  <a:pt x="203" y="9"/>
                </a:lnTo>
                <a:lnTo>
                  <a:pt x="207" y="5"/>
                </a:lnTo>
                <a:lnTo>
                  <a:pt x="212" y="0"/>
                </a:lnTo>
                <a:lnTo>
                  <a:pt x="263" y="13"/>
                </a:lnTo>
                <a:lnTo>
                  <a:pt x="291" y="41"/>
                </a:lnTo>
                <a:lnTo>
                  <a:pt x="292" y="62"/>
                </a:lnTo>
                <a:lnTo>
                  <a:pt x="277" y="74"/>
                </a:lnTo>
                <a:lnTo>
                  <a:pt x="282" y="79"/>
                </a:lnTo>
                <a:lnTo>
                  <a:pt x="292" y="78"/>
                </a:lnTo>
                <a:lnTo>
                  <a:pt x="297" y="86"/>
                </a:lnTo>
                <a:lnTo>
                  <a:pt x="289" y="100"/>
                </a:lnTo>
                <a:lnTo>
                  <a:pt x="308" y="129"/>
                </a:lnTo>
                <a:lnTo>
                  <a:pt x="330" y="119"/>
                </a:lnTo>
                <a:lnTo>
                  <a:pt x="388" y="156"/>
                </a:lnTo>
                <a:lnTo>
                  <a:pt x="385" y="166"/>
                </a:lnTo>
                <a:lnTo>
                  <a:pt x="458" y="188"/>
                </a:lnTo>
                <a:lnTo>
                  <a:pt x="460" y="196"/>
                </a:lnTo>
                <a:lnTo>
                  <a:pt x="435" y="217"/>
                </a:lnTo>
                <a:lnTo>
                  <a:pt x="435" y="249"/>
                </a:lnTo>
                <a:lnTo>
                  <a:pt x="456" y="301"/>
                </a:lnTo>
                <a:lnTo>
                  <a:pt x="417" y="326"/>
                </a:lnTo>
                <a:lnTo>
                  <a:pt x="374" y="330"/>
                </a:lnTo>
                <a:lnTo>
                  <a:pt x="348" y="254"/>
                </a:lnTo>
                <a:lnTo>
                  <a:pt x="368" y="233"/>
                </a:lnTo>
                <a:lnTo>
                  <a:pt x="357" y="188"/>
                </a:lnTo>
                <a:lnTo>
                  <a:pt x="300" y="183"/>
                </a:lnTo>
                <a:lnTo>
                  <a:pt x="274" y="150"/>
                </a:lnTo>
                <a:lnTo>
                  <a:pt x="244" y="166"/>
                </a:lnTo>
                <a:lnTo>
                  <a:pt x="64" y="112"/>
                </a:lnTo>
                <a:lnTo>
                  <a:pt x="0" y="119"/>
                </a:lnTo>
                <a:lnTo>
                  <a:pt x="2" y="96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59" name="Freeform 105"/>
          <p:cNvSpPr>
            <a:spLocks/>
          </p:cNvSpPr>
          <p:nvPr>
            <p:custDataLst>
              <p:tags r:id="rId25"/>
            </p:custDataLst>
          </p:nvPr>
        </p:nvSpPr>
        <p:spPr bwMode="gray">
          <a:xfrm>
            <a:off x="4405755" y="3071988"/>
            <a:ext cx="248390" cy="202980"/>
          </a:xfrm>
          <a:custGeom>
            <a:avLst/>
            <a:gdLst>
              <a:gd name="T0" fmla="*/ 16 w 261"/>
              <a:gd name="T1" fmla="*/ 19 h 227"/>
              <a:gd name="T2" fmla="*/ 31 w 261"/>
              <a:gd name="T3" fmla="*/ 11 h 227"/>
              <a:gd name="T4" fmla="*/ 35 w 261"/>
              <a:gd name="T5" fmla="*/ 0 h 227"/>
              <a:gd name="T6" fmla="*/ 132 w 261"/>
              <a:gd name="T7" fmla="*/ 29 h 227"/>
              <a:gd name="T8" fmla="*/ 162 w 261"/>
              <a:gd name="T9" fmla="*/ 13 h 227"/>
              <a:gd name="T10" fmla="*/ 188 w 261"/>
              <a:gd name="T11" fmla="*/ 46 h 227"/>
              <a:gd name="T12" fmla="*/ 245 w 261"/>
              <a:gd name="T13" fmla="*/ 51 h 227"/>
              <a:gd name="T14" fmla="*/ 256 w 261"/>
              <a:gd name="T15" fmla="*/ 96 h 227"/>
              <a:gd name="T16" fmla="*/ 236 w 261"/>
              <a:gd name="T17" fmla="*/ 117 h 227"/>
              <a:gd name="T18" fmla="*/ 261 w 261"/>
              <a:gd name="T19" fmla="*/ 190 h 227"/>
              <a:gd name="T20" fmla="*/ 159 w 261"/>
              <a:gd name="T21" fmla="*/ 227 h 227"/>
              <a:gd name="T22" fmla="*/ 150 w 261"/>
              <a:gd name="T23" fmla="*/ 223 h 227"/>
              <a:gd name="T24" fmla="*/ 150 w 261"/>
              <a:gd name="T25" fmla="*/ 224 h 227"/>
              <a:gd name="T26" fmla="*/ 12 w 261"/>
              <a:gd name="T27" fmla="*/ 202 h 227"/>
              <a:gd name="T28" fmla="*/ 34 w 261"/>
              <a:gd name="T29" fmla="*/ 179 h 227"/>
              <a:gd name="T30" fmla="*/ 5 w 261"/>
              <a:gd name="T31" fmla="*/ 142 h 227"/>
              <a:gd name="T32" fmla="*/ 22 w 261"/>
              <a:gd name="T33" fmla="*/ 107 h 227"/>
              <a:gd name="T34" fmla="*/ 0 w 261"/>
              <a:gd name="T35" fmla="*/ 28 h 227"/>
              <a:gd name="T36" fmla="*/ 16 w 261"/>
              <a:gd name="T37" fmla="*/ 19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61" h="227">
                <a:moveTo>
                  <a:pt x="16" y="19"/>
                </a:moveTo>
                <a:lnTo>
                  <a:pt x="31" y="11"/>
                </a:lnTo>
                <a:lnTo>
                  <a:pt x="35" y="0"/>
                </a:lnTo>
                <a:lnTo>
                  <a:pt x="132" y="29"/>
                </a:lnTo>
                <a:lnTo>
                  <a:pt x="162" y="13"/>
                </a:lnTo>
                <a:lnTo>
                  <a:pt x="188" y="46"/>
                </a:lnTo>
                <a:lnTo>
                  <a:pt x="245" y="51"/>
                </a:lnTo>
                <a:lnTo>
                  <a:pt x="256" y="96"/>
                </a:lnTo>
                <a:lnTo>
                  <a:pt x="236" y="117"/>
                </a:lnTo>
                <a:lnTo>
                  <a:pt x="261" y="190"/>
                </a:lnTo>
                <a:lnTo>
                  <a:pt x="159" y="227"/>
                </a:lnTo>
                <a:lnTo>
                  <a:pt x="150" y="223"/>
                </a:lnTo>
                <a:lnTo>
                  <a:pt x="150" y="224"/>
                </a:lnTo>
                <a:lnTo>
                  <a:pt x="12" y="202"/>
                </a:lnTo>
                <a:lnTo>
                  <a:pt x="34" y="179"/>
                </a:lnTo>
                <a:lnTo>
                  <a:pt x="5" y="142"/>
                </a:lnTo>
                <a:lnTo>
                  <a:pt x="22" y="107"/>
                </a:lnTo>
                <a:lnTo>
                  <a:pt x="0" y="28"/>
                </a:lnTo>
                <a:lnTo>
                  <a:pt x="16" y="1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0" name="Freeform 106"/>
          <p:cNvSpPr>
            <a:spLocks/>
          </p:cNvSpPr>
          <p:nvPr>
            <p:custDataLst>
              <p:tags r:id="rId26"/>
            </p:custDataLst>
          </p:nvPr>
        </p:nvSpPr>
        <p:spPr bwMode="gray">
          <a:xfrm>
            <a:off x="4119298" y="3042479"/>
            <a:ext cx="319766" cy="294188"/>
          </a:xfrm>
          <a:custGeom>
            <a:avLst/>
            <a:gdLst>
              <a:gd name="T0" fmla="*/ 31 w 336"/>
              <a:gd name="T1" fmla="*/ 153 h 329"/>
              <a:gd name="T2" fmla="*/ 63 w 336"/>
              <a:gd name="T3" fmla="*/ 114 h 329"/>
              <a:gd name="T4" fmla="*/ 50 w 336"/>
              <a:gd name="T5" fmla="*/ 62 h 329"/>
              <a:gd name="T6" fmla="*/ 103 w 336"/>
              <a:gd name="T7" fmla="*/ 0 h 329"/>
              <a:gd name="T8" fmla="*/ 191 w 336"/>
              <a:gd name="T9" fmla="*/ 10 h 329"/>
              <a:gd name="T10" fmla="*/ 189 w 336"/>
              <a:gd name="T11" fmla="*/ 15 h 329"/>
              <a:gd name="T12" fmla="*/ 253 w 336"/>
              <a:gd name="T13" fmla="*/ 8 h 329"/>
              <a:gd name="T14" fmla="*/ 336 w 336"/>
              <a:gd name="T15" fmla="*/ 33 h 329"/>
              <a:gd name="T16" fmla="*/ 332 w 336"/>
              <a:gd name="T17" fmla="*/ 44 h 329"/>
              <a:gd name="T18" fmla="*/ 301 w 336"/>
              <a:gd name="T19" fmla="*/ 61 h 329"/>
              <a:gd name="T20" fmla="*/ 323 w 336"/>
              <a:gd name="T21" fmla="*/ 140 h 329"/>
              <a:gd name="T22" fmla="*/ 306 w 336"/>
              <a:gd name="T23" fmla="*/ 175 h 329"/>
              <a:gd name="T24" fmla="*/ 335 w 336"/>
              <a:gd name="T25" fmla="*/ 212 h 329"/>
              <a:gd name="T26" fmla="*/ 316 w 336"/>
              <a:gd name="T27" fmla="*/ 233 h 329"/>
              <a:gd name="T28" fmla="*/ 290 w 336"/>
              <a:gd name="T29" fmla="*/ 233 h 329"/>
              <a:gd name="T30" fmla="*/ 203 w 336"/>
              <a:gd name="T31" fmla="*/ 284 h 329"/>
              <a:gd name="T32" fmla="*/ 125 w 336"/>
              <a:gd name="T33" fmla="*/ 297 h 329"/>
              <a:gd name="T34" fmla="*/ 44 w 336"/>
              <a:gd name="T35" fmla="*/ 329 h 329"/>
              <a:gd name="T36" fmla="*/ 30 w 336"/>
              <a:gd name="T37" fmla="*/ 325 h 329"/>
              <a:gd name="T38" fmla="*/ 39 w 336"/>
              <a:gd name="T39" fmla="*/ 308 h 329"/>
              <a:gd name="T40" fmla="*/ 9 w 336"/>
              <a:gd name="T41" fmla="*/ 281 h 329"/>
              <a:gd name="T42" fmla="*/ 19 w 336"/>
              <a:gd name="T43" fmla="*/ 270 h 329"/>
              <a:gd name="T44" fmla="*/ 0 w 336"/>
              <a:gd name="T45" fmla="*/ 191 h 329"/>
              <a:gd name="T46" fmla="*/ 31 w 336"/>
              <a:gd name="T47" fmla="*/ 153 h 3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336" h="329">
                <a:moveTo>
                  <a:pt x="31" y="153"/>
                </a:moveTo>
                <a:lnTo>
                  <a:pt x="63" y="114"/>
                </a:lnTo>
                <a:lnTo>
                  <a:pt x="50" y="62"/>
                </a:lnTo>
                <a:lnTo>
                  <a:pt x="103" y="0"/>
                </a:lnTo>
                <a:lnTo>
                  <a:pt x="191" y="10"/>
                </a:lnTo>
                <a:lnTo>
                  <a:pt x="189" y="15"/>
                </a:lnTo>
                <a:lnTo>
                  <a:pt x="253" y="8"/>
                </a:lnTo>
                <a:lnTo>
                  <a:pt x="336" y="33"/>
                </a:lnTo>
                <a:lnTo>
                  <a:pt x="332" y="44"/>
                </a:lnTo>
                <a:lnTo>
                  <a:pt x="301" y="61"/>
                </a:lnTo>
                <a:lnTo>
                  <a:pt x="323" y="140"/>
                </a:lnTo>
                <a:lnTo>
                  <a:pt x="306" y="175"/>
                </a:lnTo>
                <a:lnTo>
                  <a:pt x="335" y="212"/>
                </a:lnTo>
                <a:lnTo>
                  <a:pt x="316" y="233"/>
                </a:lnTo>
                <a:lnTo>
                  <a:pt x="290" y="233"/>
                </a:lnTo>
                <a:lnTo>
                  <a:pt x="203" y="284"/>
                </a:lnTo>
                <a:lnTo>
                  <a:pt x="125" y="297"/>
                </a:lnTo>
                <a:lnTo>
                  <a:pt x="44" y="329"/>
                </a:lnTo>
                <a:lnTo>
                  <a:pt x="30" y="325"/>
                </a:lnTo>
                <a:lnTo>
                  <a:pt x="39" y="308"/>
                </a:lnTo>
                <a:lnTo>
                  <a:pt x="9" y="281"/>
                </a:lnTo>
                <a:lnTo>
                  <a:pt x="19" y="270"/>
                </a:lnTo>
                <a:lnTo>
                  <a:pt x="0" y="191"/>
                </a:lnTo>
                <a:lnTo>
                  <a:pt x="31" y="15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Freeform 107"/>
          <p:cNvSpPr>
            <a:spLocks/>
          </p:cNvSpPr>
          <p:nvPr>
            <p:custDataLst>
              <p:tags r:id="rId27"/>
            </p:custDataLst>
          </p:nvPr>
        </p:nvSpPr>
        <p:spPr bwMode="gray">
          <a:xfrm>
            <a:off x="3987966" y="3029067"/>
            <a:ext cx="192240" cy="222652"/>
          </a:xfrm>
          <a:custGeom>
            <a:avLst/>
            <a:gdLst>
              <a:gd name="T0" fmla="*/ 11 w 202"/>
              <a:gd name="T1" fmla="*/ 204 h 249"/>
              <a:gd name="T2" fmla="*/ 23 w 202"/>
              <a:gd name="T3" fmla="*/ 204 h 249"/>
              <a:gd name="T4" fmla="*/ 37 w 202"/>
              <a:gd name="T5" fmla="*/ 188 h 249"/>
              <a:gd name="T6" fmla="*/ 7 w 202"/>
              <a:gd name="T7" fmla="*/ 138 h 249"/>
              <a:gd name="T8" fmla="*/ 8 w 202"/>
              <a:gd name="T9" fmla="*/ 118 h 249"/>
              <a:gd name="T10" fmla="*/ 14 w 202"/>
              <a:gd name="T11" fmla="*/ 110 h 249"/>
              <a:gd name="T12" fmla="*/ 1 w 202"/>
              <a:gd name="T13" fmla="*/ 83 h 249"/>
              <a:gd name="T14" fmla="*/ 10 w 202"/>
              <a:gd name="T15" fmla="*/ 33 h 249"/>
              <a:gd name="T16" fmla="*/ 23 w 202"/>
              <a:gd name="T17" fmla="*/ 3 h 249"/>
              <a:gd name="T18" fmla="*/ 34 w 202"/>
              <a:gd name="T19" fmla="*/ 0 h 249"/>
              <a:gd name="T20" fmla="*/ 32 w 202"/>
              <a:gd name="T21" fmla="*/ 11 h 249"/>
              <a:gd name="T22" fmla="*/ 48 w 202"/>
              <a:gd name="T23" fmla="*/ 28 h 249"/>
              <a:gd name="T24" fmla="*/ 65 w 202"/>
              <a:gd name="T25" fmla="*/ 25 h 249"/>
              <a:gd name="T26" fmla="*/ 116 w 202"/>
              <a:gd name="T27" fmla="*/ 26 h 249"/>
              <a:gd name="T28" fmla="*/ 175 w 202"/>
              <a:gd name="T29" fmla="*/ 58 h 249"/>
              <a:gd name="T30" fmla="*/ 202 w 202"/>
              <a:gd name="T31" fmla="*/ 61 h 249"/>
              <a:gd name="T32" fmla="*/ 188 w 202"/>
              <a:gd name="T33" fmla="*/ 77 h 249"/>
              <a:gd name="T34" fmla="*/ 201 w 202"/>
              <a:gd name="T35" fmla="*/ 129 h 249"/>
              <a:gd name="T36" fmla="*/ 138 w 202"/>
              <a:gd name="T37" fmla="*/ 206 h 249"/>
              <a:gd name="T38" fmla="*/ 142 w 202"/>
              <a:gd name="T39" fmla="*/ 224 h 249"/>
              <a:gd name="T40" fmla="*/ 116 w 202"/>
              <a:gd name="T41" fmla="*/ 239 h 249"/>
              <a:gd name="T42" fmla="*/ 96 w 202"/>
              <a:gd name="T43" fmla="*/ 238 h 249"/>
              <a:gd name="T44" fmla="*/ 73 w 202"/>
              <a:gd name="T45" fmla="*/ 228 h 249"/>
              <a:gd name="T46" fmla="*/ 62 w 202"/>
              <a:gd name="T47" fmla="*/ 249 h 249"/>
              <a:gd name="T48" fmla="*/ 36 w 202"/>
              <a:gd name="T49" fmla="*/ 249 h 249"/>
              <a:gd name="T50" fmla="*/ 1 w 202"/>
              <a:gd name="T51" fmla="*/ 223 h 249"/>
              <a:gd name="T52" fmla="*/ 0 w 202"/>
              <a:gd name="T53" fmla="*/ 205 h 249"/>
              <a:gd name="T54" fmla="*/ 11 w 202"/>
              <a:gd name="T55" fmla="*/ 204 h 2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02" h="249">
                <a:moveTo>
                  <a:pt x="11" y="204"/>
                </a:moveTo>
                <a:lnTo>
                  <a:pt x="23" y="204"/>
                </a:lnTo>
                <a:lnTo>
                  <a:pt x="37" y="188"/>
                </a:lnTo>
                <a:lnTo>
                  <a:pt x="7" y="138"/>
                </a:lnTo>
                <a:lnTo>
                  <a:pt x="8" y="118"/>
                </a:lnTo>
                <a:lnTo>
                  <a:pt x="14" y="110"/>
                </a:lnTo>
                <a:lnTo>
                  <a:pt x="1" y="83"/>
                </a:lnTo>
                <a:lnTo>
                  <a:pt x="10" y="33"/>
                </a:lnTo>
                <a:lnTo>
                  <a:pt x="23" y="3"/>
                </a:lnTo>
                <a:lnTo>
                  <a:pt x="34" y="0"/>
                </a:lnTo>
                <a:lnTo>
                  <a:pt x="32" y="11"/>
                </a:lnTo>
                <a:lnTo>
                  <a:pt x="48" y="28"/>
                </a:lnTo>
                <a:lnTo>
                  <a:pt x="65" y="25"/>
                </a:lnTo>
                <a:lnTo>
                  <a:pt x="116" y="26"/>
                </a:lnTo>
                <a:lnTo>
                  <a:pt x="175" y="58"/>
                </a:lnTo>
                <a:lnTo>
                  <a:pt x="202" y="61"/>
                </a:lnTo>
                <a:lnTo>
                  <a:pt x="188" y="77"/>
                </a:lnTo>
                <a:lnTo>
                  <a:pt x="201" y="129"/>
                </a:lnTo>
                <a:lnTo>
                  <a:pt x="138" y="206"/>
                </a:lnTo>
                <a:lnTo>
                  <a:pt x="142" y="224"/>
                </a:lnTo>
                <a:lnTo>
                  <a:pt x="116" y="239"/>
                </a:lnTo>
                <a:lnTo>
                  <a:pt x="96" y="238"/>
                </a:lnTo>
                <a:lnTo>
                  <a:pt x="73" y="228"/>
                </a:lnTo>
                <a:lnTo>
                  <a:pt x="62" y="249"/>
                </a:lnTo>
                <a:lnTo>
                  <a:pt x="36" y="249"/>
                </a:lnTo>
                <a:lnTo>
                  <a:pt x="1" y="223"/>
                </a:lnTo>
                <a:lnTo>
                  <a:pt x="0" y="205"/>
                </a:lnTo>
                <a:lnTo>
                  <a:pt x="11" y="20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2" name="Freeform 108"/>
          <p:cNvSpPr>
            <a:spLocks/>
          </p:cNvSpPr>
          <p:nvPr>
            <p:custDataLst>
              <p:tags r:id="rId28"/>
            </p:custDataLst>
          </p:nvPr>
        </p:nvSpPr>
        <p:spPr bwMode="gray">
          <a:xfrm>
            <a:off x="4845434" y="3167666"/>
            <a:ext cx="268375" cy="349627"/>
          </a:xfrm>
          <a:custGeom>
            <a:avLst/>
            <a:gdLst>
              <a:gd name="T0" fmla="*/ 7 w 282"/>
              <a:gd name="T1" fmla="*/ 9 h 391"/>
              <a:gd name="T2" fmla="*/ 150 w 282"/>
              <a:gd name="T3" fmla="*/ 79 h 391"/>
              <a:gd name="T4" fmla="*/ 201 w 282"/>
              <a:gd name="T5" fmla="*/ 183 h 391"/>
              <a:gd name="T6" fmla="*/ 217 w 282"/>
              <a:gd name="T7" fmla="*/ 232 h 391"/>
              <a:gd name="T8" fmla="*/ 280 w 282"/>
              <a:gd name="T9" fmla="*/ 237 h 391"/>
              <a:gd name="T10" fmla="*/ 280 w 282"/>
              <a:gd name="T11" fmla="*/ 240 h 391"/>
              <a:gd name="T12" fmla="*/ 280 w 282"/>
              <a:gd name="T13" fmla="*/ 245 h 391"/>
              <a:gd name="T14" fmla="*/ 275 w 282"/>
              <a:gd name="T15" fmla="*/ 244 h 391"/>
              <a:gd name="T16" fmla="*/ 271 w 282"/>
              <a:gd name="T17" fmla="*/ 247 h 391"/>
              <a:gd name="T18" fmla="*/ 271 w 282"/>
              <a:gd name="T19" fmla="*/ 251 h 391"/>
              <a:gd name="T20" fmla="*/ 271 w 282"/>
              <a:gd name="T21" fmla="*/ 256 h 391"/>
              <a:gd name="T22" fmla="*/ 271 w 282"/>
              <a:gd name="T23" fmla="*/ 262 h 391"/>
              <a:gd name="T24" fmla="*/ 275 w 282"/>
              <a:gd name="T25" fmla="*/ 265 h 391"/>
              <a:gd name="T26" fmla="*/ 280 w 282"/>
              <a:gd name="T27" fmla="*/ 262 h 391"/>
              <a:gd name="T28" fmla="*/ 280 w 282"/>
              <a:gd name="T29" fmla="*/ 267 h 391"/>
              <a:gd name="T30" fmla="*/ 276 w 282"/>
              <a:gd name="T31" fmla="*/ 270 h 391"/>
              <a:gd name="T32" fmla="*/ 272 w 282"/>
              <a:gd name="T33" fmla="*/ 270 h 391"/>
              <a:gd name="T34" fmla="*/ 275 w 282"/>
              <a:gd name="T35" fmla="*/ 277 h 391"/>
              <a:gd name="T36" fmla="*/ 274 w 282"/>
              <a:gd name="T37" fmla="*/ 281 h 391"/>
              <a:gd name="T38" fmla="*/ 269 w 282"/>
              <a:gd name="T39" fmla="*/ 282 h 391"/>
              <a:gd name="T40" fmla="*/ 264 w 282"/>
              <a:gd name="T41" fmla="*/ 282 h 391"/>
              <a:gd name="T42" fmla="*/ 265 w 282"/>
              <a:gd name="T43" fmla="*/ 287 h 391"/>
              <a:gd name="T44" fmla="*/ 264 w 282"/>
              <a:gd name="T45" fmla="*/ 292 h 391"/>
              <a:gd name="T46" fmla="*/ 267 w 282"/>
              <a:gd name="T47" fmla="*/ 299 h 391"/>
              <a:gd name="T48" fmla="*/ 271 w 282"/>
              <a:gd name="T49" fmla="*/ 300 h 391"/>
              <a:gd name="T50" fmla="*/ 276 w 282"/>
              <a:gd name="T51" fmla="*/ 303 h 391"/>
              <a:gd name="T52" fmla="*/ 275 w 282"/>
              <a:gd name="T53" fmla="*/ 310 h 391"/>
              <a:gd name="T54" fmla="*/ 269 w 282"/>
              <a:gd name="T55" fmla="*/ 313 h 391"/>
              <a:gd name="T56" fmla="*/ 264 w 282"/>
              <a:gd name="T57" fmla="*/ 315 h 391"/>
              <a:gd name="T58" fmla="*/ 264 w 282"/>
              <a:gd name="T59" fmla="*/ 320 h 391"/>
              <a:gd name="T60" fmla="*/ 267 w 282"/>
              <a:gd name="T61" fmla="*/ 322 h 391"/>
              <a:gd name="T62" fmla="*/ 268 w 282"/>
              <a:gd name="T63" fmla="*/ 326 h 391"/>
              <a:gd name="T64" fmla="*/ 269 w 282"/>
              <a:gd name="T65" fmla="*/ 331 h 391"/>
              <a:gd name="T66" fmla="*/ 269 w 282"/>
              <a:gd name="T67" fmla="*/ 335 h 391"/>
              <a:gd name="T68" fmla="*/ 271 w 282"/>
              <a:gd name="T69" fmla="*/ 337 h 391"/>
              <a:gd name="T70" fmla="*/ 271 w 282"/>
              <a:gd name="T71" fmla="*/ 342 h 391"/>
              <a:gd name="T72" fmla="*/ 265 w 282"/>
              <a:gd name="T73" fmla="*/ 342 h 391"/>
              <a:gd name="T74" fmla="*/ 263 w 282"/>
              <a:gd name="T75" fmla="*/ 343 h 391"/>
              <a:gd name="T76" fmla="*/ 260 w 282"/>
              <a:gd name="T77" fmla="*/ 347 h 391"/>
              <a:gd name="T78" fmla="*/ 254 w 282"/>
              <a:gd name="T79" fmla="*/ 346 h 391"/>
              <a:gd name="T80" fmla="*/ 249 w 282"/>
              <a:gd name="T81" fmla="*/ 347 h 391"/>
              <a:gd name="T82" fmla="*/ 246 w 282"/>
              <a:gd name="T83" fmla="*/ 353 h 391"/>
              <a:gd name="T84" fmla="*/ 247 w 282"/>
              <a:gd name="T85" fmla="*/ 361 h 391"/>
              <a:gd name="T86" fmla="*/ 246 w 282"/>
              <a:gd name="T87" fmla="*/ 366 h 391"/>
              <a:gd name="T88" fmla="*/ 241 w 282"/>
              <a:gd name="T89" fmla="*/ 361 h 391"/>
              <a:gd name="T90" fmla="*/ 234 w 282"/>
              <a:gd name="T91" fmla="*/ 361 h 391"/>
              <a:gd name="T92" fmla="*/ 235 w 282"/>
              <a:gd name="T93" fmla="*/ 365 h 391"/>
              <a:gd name="T94" fmla="*/ 232 w 282"/>
              <a:gd name="T95" fmla="*/ 368 h 391"/>
              <a:gd name="T96" fmla="*/ 232 w 282"/>
              <a:gd name="T97" fmla="*/ 372 h 391"/>
              <a:gd name="T98" fmla="*/ 232 w 282"/>
              <a:gd name="T99" fmla="*/ 377 h 391"/>
              <a:gd name="T100" fmla="*/ 227 w 282"/>
              <a:gd name="T101" fmla="*/ 379 h 391"/>
              <a:gd name="T102" fmla="*/ 221 w 282"/>
              <a:gd name="T103" fmla="*/ 380 h 391"/>
              <a:gd name="T104" fmla="*/ 219 w 282"/>
              <a:gd name="T105" fmla="*/ 384 h 391"/>
              <a:gd name="T106" fmla="*/ 217 w 282"/>
              <a:gd name="T107" fmla="*/ 388 h 391"/>
              <a:gd name="T108" fmla="*/ 82 w 282"/>
              <a:gd name="T109" fmla="*/ 236 h 3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82" h="391">
                <a:moveTo>
                  <a:pt x="3" y="49"/>
                </a:moveTo>
                <a:lnTo>
                  <a:pt x="5" y="32"/>
                </a:lnTo>
                <a:lnTo>
                  <a:pt x="4" y="29"/>
                </a:lnTo>
                <a:lnTo>
                  <a:pt x="7" y="9"/>
                </a:lnTo>
                <a:lnTo>
                  <a:pt x="129" y="0"/>
                </a:lnTo>
                <a:lnTo>
                  <a:pt x="143" y="44"/>
                </a:lnTo>
                <a:lnTo>
                  <a:pt x="161" y="71"/>
                </a:lnTo>
                <a:lnTo>
                  <a:pt x="150" y="79"/>
                </a:lnTo>
                <a:lnTo>
                  <a:pt x="183" y="133"/>
                </a:lnTo>
                <a:lnTo>
                  <a:pt x="201" y="153"/>
                </a:lnTo>
                <a:lnTo>
                  <a:pt x="194" y="164"/>
                </a:lnTo>
                <a:lnTo>
                  <a:pt x="201" y="183"/>
                </a:lnTo>
                <a:lnTo>
                  <a:pt x="209" y="181"/>
                </a:lnTo>
                <a:lnTo>
                  <a:pt x="209" y="201"/>
                </a:lnTo>
                <a:lnTo>
                  <a:pt x="216" y="203"/>
                </a:lnTo>
                <a:lnTo>
                  <a:pt x="217" y="232"/>
                </a:lnTo>
                <a:lnTo>
                  <a:pt x="280" y="232"/>
                </a:lnTo>
                <a:lnTo>
                  <a:pt x="282" y="237"/>
                </a:lnTo>
                <a:lnTo>
                  <a:pt x="282" y="236"/>
                </a:lnTo>
                <a:lnTo>
                  <a:pt x="280" y="237"/>
                </a:lnTo>
                <a:lnTo>
                  <a:pt x="280" y="237"/>
                </a:lnTo>
                <a:lnTo>
                  <a:pt x="279" y="237"/>
                </a:lnTo>
                <a:lnTo>
                  <a:pt x="279" y="238"/>
                </a:lnTo>
                <a:lnTo>
                  <a:pt x="280" y="240"/>
                </a:lnTo>
                <a:lnTo>
                  <a:pt x="280" y="241"/>
                </a:lnTo>
                <a:lnTo>
                  <a:pt x="280" y="243"/>
                </a:lnTo>
                <a:lnTo>
                  <a:pt x="280" y="244"/>
                </a:lnTo>
                <a:lnTo>
                  <a:pt x="280" y="245"/>
                </a:lnTo>
                <a:lnTo>
                  <a:pt x="279" y="245"/>
                </a:lnTo>
                <a:lnTo>
                  <a:pt x="278" y="245"/>
                </a:lnTo>
                <a:lnTo>
                  <a:pt x="276" y="245"/>
                </a:lnTo>
                <a:lnTo>
                  <a:pt x="275" y="244"/>
                </a:lnTo>
                <a:lnTo>
                  <a:pt x="274" y="244"/>
                </a:lnTo>
                <a:lnTo>
                  <a:pt x="272" y="244"/>
                </a:lnTo>
                <a:lnTo>
                  <a:pt x="271" y="245"/>
                </a:lnTo>
                <a:lnTo>
                  <a:pt x="271" y="247"/>
                </a:lnTo>
                <a:lnTo>
                  <a:pt x="271" y="248"/>
                </a:lnTo>
                <a:lnTo>
                  <a:pt x="272" y="248"/>
                </a:lnTo>
                <a:lnTo>
                  <a:pt x="272" y="249"/>
                </a:lnTo>
                <a:lnTo>
                  <a:pt x="271" y="251"/>
                </a:lnTo>
                <a:lnTo>
                  <a:pt x="269" y="252"/>
                </a:lnTo>
                <a:lnTo>
                  <a:pt x="269" y="254"/>
                </a:lnTo>
                <a:lnTo>
                  <a:pt x="269" y="255"/>
                </a:lnTo>
                <a:lnTo>
                  <a:pt x="271" y="256"/>
                </a:lnTo>
                <a:lnTo>
                  <a:pt x="271" y="258"/>
                </a:lnTo>
                <a:lnTo>
                  <a:pt x="271" y="259"/>
                </a:lnTo>
                <a:lnTo>
                  <a:pt x="271" y="260"/>
                </a:lnTo>
                <a:lnTo>
                  <a:pt x="271" y="262"/>
                </a:lnTo>
                <a:lnTo>
                  <a:pt x="272" y="263"/>
                </a:lnTo>
                <a:lnTo>
                  <a:pt x="272" y="265"/>
                </a:lnTo>
                <a:lnTo>
                  <a:pt x="274" y="265"/>
                </a:lnTo>
                <a:lnTo>
                  <a:pt x="275" y="265"/>
                </a:lnTo>
                <a:lnTo>
                  <a:pt x="276" y="263"/>
                </a:lnTo>
                <a:lnTo>
                  <a:pt x="278" y="263"/>
                </a:lnTo>
                <a:lnTo>
                  <a:pt x="279" y="262"/>
                </a:lnTo>
                <a:lnTo>
                  <a:pt x="280" y="262"/>
                </a:lnTo>
                <a:lnTo>
                  <a:pt x="280" y="263"/>
                </a:lnTo>
                <a:lnTo>
                  <a:pt x="280" y="265"/>
                </a:lnTo>
                <a:lnTo>
                  <a:pt x="280" y="266"/>
                </a:lnTo>
                <a:lnTo>
                  <a:pt x="280" y="267"/>
                </a:lnTo>
                <a:lnTo>
                  <a:pt x="280" y="269"/>
                </a:lnTo>
                <a:lnTo>
                  <a:pt x="279" y="270"/>
                </a:lnTo>
                <a:lnTo>
                  <a:pt x="278" y="270"/>
                </a:lnTo>
                <a:lnTo>
                  <a:pt x="276" y="270"/>
                </a:lnTo>
                <a:lnTo>
                  <a:pt x="275" y="271"/>
                </a:lnTo>
                <a:lnTo>
                  <a:pt x="275" y="270"/>
                </a:lnTo>
                <a:lnTo>
                  <a:pt x="274" y="270"/>
                </a:lnTo>
                <a:lnTo>
                  <a:pt x="272" y="270"/>
                </a:lnTo>
                <a:lnTo>
                  <a:pt x="271" y="270"/>
                </a:lnTo>
                <a:lnTo>
                  <a:pt x="271" y="271"/>
                </a:lnTo>
                <a:lnTo>
                  <a:pt x="274" y="274"/>
                </a:lnTo>
                <a:lnTo>
                  <a:pt x="275" y="277"/>
                </a:lnTo>
                <a:lnTo>
                  <a:pt x="275" y="278"/>
                </a:lnTo>
                <a:lnTo>
                  <a:pt x="275" y="280"/>
                </a:lnTo>
                <a:lnTo>
                  <a:pt x="275" y="281"/>
                </a:lnTo>
                <a:lnTo>
                  <a:pt x="274" y="281"/>
                </a:lnTo>
                <a:lnTo>
                  <a:pt x="274" y="282"/>
                </a:lnTo>
                <a:lnTo>
                  <a:pt x="272" y="282"/>
                </a:lnTo>
                <a:lnTo>
                  <a:pt x="271" y="282"/>
                </a:lnTo>
                <a:lnTo>
                  <a:pt x="269" y="282"/>
                </a:lnTo>
                <a:lnTo>
                  <a:pt x="268" y="282"/>
                </a:lnTo>
                <a:lnTo>
                  <a:pt x="267" y="282"/>
                </a:lnTo>
                <a:lnTo>
                  <a:pt x="265" y="282"/>
                </a:lnTo>
                <a:lnTo>
                  <a:pt x="264" y="282"/>
                </a:lnTo>
                <a:lnTo>
                  <a:pt x="264" y="284"/>
                </a:lnTo>
                <a:lnTo>
                  <a:pt x="264" y="285"/>
                </a:lnTo>
                <a:lnTo>
                  <a:pt x="265" y="285"/>
                </a:lnTo>
                <a:lnTo>
                  <a:pt x="265" y="287"/>
                </a:lnTo>
                <a:lnTo>
                  <a:pt x="265" y="288"/>
                </a:lnTo>
                <a:lnTo>
                  <a:pt x="265" y="289"/>
                </a:lnTo>
                <a:lnTo>
                  <a:pt x="264" y="291"/>
                </a:lnTo>
                <a:lnTo>
                  <a:pt x="264" y="292"/>
                </a:lnTo>
                <a:lnTo>
                  <a:pt x="264" y="293"/>
                </a:lnTo>
                <a:lnTo>
                  <a:pt x="264" y="296"/>
                </a:lnTo>
                <a:lnTo>
                  <a:pt x="265" y="298"/>
                </a:lnTo>
                <a:lnTo>
                  <a:pt x="267" y="299"/>
                </a:lnTo>
                <a:lnTo>
                  <a:pt x="267" y="300"/>
                </a:lnTo>
                <a:lnTo>
                  <a:pt x="268" y="300"/>
                </a:lnTo>
                <a:lnTo>
                  <a:pt x="269" y="300"/>
                </a:lnTo>
                <a:lnTo>
                  <a:pt x="271" y="300"/>
                </a:lnTo>
                <a:lnTo>
                  <a:pt x="272" y="300"/>
                </a:lnTo>
                <a:lnTo>
                  <a:pt x="274" y="302"/>
                </a:lnTo>
                <a:lnTo>
                  <a:pt x="275" y="302"/>
                </a:lnTo>
                <a:lnTo>
                  <a:pt x="276" y="303"/>
                </a:lnTo>
                <a:lnTo>
                  <a:pt x="276" y="304"/>
                </a:lnTo>
                <a:lnTo>
                  <a:pt x="276" y="306"/>
                </a:lnTo>
                <a:lnTo>
                  <a:pt x="275" y="307"/>
                </a:lnTo>
                <a:lnTo>
                  <a:pt x="275" y="310"/>
                </a:lnTo>
                <a:lnTo>
                  <a:pt x="274" y="311"/>
                </a:lnTo>
                <a:lnTo>
                  <a:pt x="272" y="311"/>
                </a:lnTo>
                <a:lnTo>
                  <a:pt x="271" y="313"/>
                </a:lnTo>
                <a:lnTo>
                  <a:pt x="269" y="313"/>
                </a:lnTo>
                <a:lnTo>
                  <a:pt x="268" y="314"/>
                </a:lnTo>
                <a:lnTo>
                  <a:pt x="267" y="314"/>
                </a:lnTo>
                <a:lnTo>
                  <a:pt x="265" y="315"/>
                </a:lnTo>
                <a:lnTo>
                  <a:pt x="264" y="315"/>
                </a:lnTo>
                <a:lnTo>
                  <a:pt x="263" y="317"/>
                </a:lnTo>
                <a:lnTo>
                  <a:pt x="263" y="318"/>
                </a:lnTo>
                <a:lnTo>
                  <a:pt x="263" y="320"/>
                </a:lnTo>
                <a:lnTo>
                  <a:pt x="264" y="320"/>
                </a:lnTo>
                <a:lnTo>
                  <a:pt x="265" y="320"/>
                </a:lnTo>
                <a:lnTo>
                  <a:pt x="265" y="321"/>
                </a:lnTo>
                <a:lnTo>
                  <a:pt x="267" y="321"/>
                </a:lnTo>
                <a:lnTo>
                  <a:pt x="267" y="322"/>
                </a:lnTo>
                <a:lnTo>
                  <a:pt x="265" y="324"/>
                </a:lnTo>
                <a:lnTo>
                  <a:pt x="265" y="325"/>
                </a:lnTo>
                <a:lnTo>
                  <a:pt x="267" y="326"/>
                </a:lnTo>
                <a:lnTo>
                  <a:pt x="268" y="326"/>
                </a:lnTo>
                <a:lnTo>
                  <a:pt x="269" y="328"/>
                </a:lnTo>
                <a:lnTo>
                  <a:pt x="271" y="328"/>
                </a:lnTo>
                <a:lnTo>
                  <a:pt x="271" y="329"/>
                </a:lnTo>
                <a:lnTo>
                  <a:pt x="269" y="331"/>
                </a:lnTo>
                <a:lnTo>
                  <a:pt x="268" y="331"/>
                </a:lnTo>
                <a:lnTo>
                  <a:pt x="268" y="332"/>
                </a:lnTo>
                <a:lnTo>
                  <a:pt x="269" y="333"/>
                </a:lnTo>
                <a:lnTo>
                  <a:pt x="269" y="335"/>
                </a:lnTo>
                <a:lnTo>
                  <a:pt x="269" y="336"/>
                </a:lnTo>
                <a:lnTo>
                  <a:pt x="269" y="336"/>
                </a:lnTo>
                <a:lnTo>
                  <a:pt x="271" y="336"/>
                </a:lnTo>
                <a:lnTo>
                  <a:pt x="271" y="337"/>
                </a:lnTo>
                <a:lnTo>
                  <a:pt x="272" y="337"/>
                </a:lnTo>
                <a:lnTo>
                  <a:pt x="272" y="339"/>
                </a:lnTo>
                <a:lnTo>
                  <a:pt x="272" y="340"/>
                </a:lnTo>
                <a:lnTo>
                  <a:pt x="271" y="342"/>
                </a:lnTo>
                <a:lnTo>
                  <a:pt x="269" y="342"/>
                </a:lnTo>
                <a:lnTo>
                  <a:pt x="269" y="343"/>
                </a:lnTo>
                <a:lnTo>
                  <a:pt x="268" y="342"/>
                </a:lnTo>
                <a:lnTo>
                  <a:pt x="265" y="342"/>
                </a:lnTo>
                <a:lnTo>
                  <a:pt x="265" y="340"/>
                </a:lnTo>
                <a:lnTo>
                  <a:pt x="264" y="342"/>
                </a:lnTo>
                <a:lnTo>
                  <a:pt x="263" y="342"/>
                </a:lnTo>
                <a:lnTo>
                  <a:pt x="263" y="343"/>
                </a:lnTo>
                <a:lnTo>
                  <a:pt x="263" y="344"/>
                </a:lnTo>
                <a:lnTo>
                  <a:pt x="263" y="346"/>
                </a:lnTo>
                <a:lnTo>
                  <a:pt x="261" y="347"/>
                </a:lnTo>
                <a:lnTo>
                  <a:pt x="260" y="347"/>
                </a:lnTo>
                <a:lnTo>
                  <a:pt x="258" y="347"/>
                </a:lnTo>
                <a:lnTo>
                  <a:pt x="257" y="347"/>
                </a:lnTo>
                <a:lnTo>
                  <a:pt x="256" y="346"/>
                </a:lnTo>
                <a:lnTo>
                  <a:pt x="254" y="346"/>
                </a:lnTo>
                <a:lnTo>
                  <a:pt x="253" y="347"/>
                </a:lnTo>
                <a:lnTo>
                  <a:pt x="253" y="347"/>
                </a:lnTo>
                <a:lnTo>
                  <a:pt x="252" y="347"/>
                </a:lnTo>
                <a:lnTo>
                  <a:pt x="249" y="347"/>
                </a:lnTo>
                <a:lnTo>
                  <a:pt x="247" y="347"/>
                </a:lnTo>
                <a:lnTo>
                  <a:pt x="246" y="348"/>
                </a:lnTo>
                <a:lnTo>
                  <a:pt x="246" y="350"/>
                </a:lnTo>
                <a:lnTo>
                  <a:pt x="246" y="353"/>
                </a:lnTo>
                <a:lnTo>
                  <a:pt x="246" y="354"/>
                </a:lnTo>
                <a:lnTo>
                  <a:pt x="247" y="357"/>
                </a:lnTo>
                <a:lnTo>
                  <a:pt x="247" y="358"/>
                </a:lnTo>
                <a:lnTo>
                  <a:pt x="247" y="361"/>
                </a:lnTo>
                <a:lnTo>
                  <a:pt x="247" y="362"/>
                </a:lnTo>
                <a:lnTo>
                  <a:pt x="247" y="364"/>
                </a:lnTo>
                <a:lnTo>
                  <a:pt x="247" y="365"/>
                </a:lnTo>
                <a:lnTo>
                  <a:pt x="246" y="366"/>
                </a:lnTo>
                <a:lnTo>
                  <a:pt x="245" y="365"/>
                </a:lnTo>
                <a:lnTo>
                  <a:pt x="243" y="362"/>
                </a:lnTo>
                <a:lnTo>
                  <a:pt x="242" y="361"/>
                </a:lnTo>
                <a:lnTo>
                  <a:pt x="241" y="361"/>
                </a:lnTo>
                <a:lnTo>
                  <a:pt x="238" y="361"/>
                </a:lnTo>
                <a:lnTo>
                  <a:pt x="236" y="361"/>
                </a:lnTo>
                <a:lnTo>
                  <a:pt x="235" y="361"/>
                </a:lnTo>
                <a:lnTo>
                  <a:pt x="234" y="361"/>
                </a:lnTo>
                <a:lnTo>
                  <a:pt x="234" y="362"/>
                </a:lnTo>
                <a:lnTo>
                  <a:pt x="234" y="364"/>
                </a:lnTo>
                <a:lnTo>
                  <a:pt x="235" y="364"/>
                </a:lnTo>
                <a:lnTo>
                  <a:pt x="235" y="365"/>
                </a:lnTo>
                <a:lnTo>
                  <a:pt x="235" y="366"/>
                </a:lnTo>
                <a:lnTo>
                  <a:pt x="235" y="368"/>
                </a:lnTo>
                <a:lnTo>
                  <a:pt x="234" y="368"/>
                </a:lnTo>
                <a:lnTo>
                  <a:pt x="232" y="368"/>
                </a:lnTo>
                <a:lnTo>
                  <a:pt x="232" y="369"/>
                </a:lnTo>
                <a:lnTo>
                  <a:pt x="232" y="369"/>
                </a:lnTo>
                <a:lnTo>
                  <a:pt x="234" y="370"/>
                </a:lnTo>
                <a:lnTo>
                  <a:pt x="232" y="372"/>
                </a:lnTo>
                <a:lnTo>
                  <a:pt x="232" y="373"/>
                </a:lnTo>
                <a:lnTo>
                  <a:pt x="232" y="375"/>
                </a:lnTo>
                <a:lnTo>
                  <a:pt x="232" y="376"/>
                </a:lnTo>
                <a:lnTo>
                  <a:pt x="232" y="377"/>
                </a:lnTo>
                <a:lnTo>
                  <a:pt x="231" y="379"/>
                </a:lnTo>
                <a:lnTo>
                  <a:pt x="230" y="379"/>
                </a:lnTo>
                <a:lnTo>
                  <a:pt x="228" y="379"/>
                </a:lnTo>
                <a:lnTo>
                  <a:pt x="227" y="379"/>
                </a:lnTo>
                <a:lnTo>
                  <a:pt x="227" y="380"/>
                </a:lnTo>
                <a:lnTo>
                  <a:pt x="225" y="380"/>
                </a:lnTo>
                <a:lnTo>
                  <a:pt x="224" y="380"/>
                </a:lnTo>
                <a:lnTo>
                  <a:pt x="221" y="380"/>
                </a:lnTo>
                <a:lnTo>
                  <a:pt x="220" y="381"/>
                </a:lnTo>
                <a:lnTo>
                  <a:pt x="220" y="383"/>
                </a:lnTo>
                <a:lnTo>
                  <a:pt x="219" y="383"/>
                </a:lnTo>
                <a:lnTo>
                  <a:pt x="219" y="384"/>
                </a:lnTo>
                <a:lnTo>
                  <a:pt x="219" y="386"/>
                </a:lnTo>
                <a:lnTo>
                  <a:pt x="219" y="387"/>
                </a:lnTo>
                <a:lnTo>
                  <a:pt x="219" y="388"/>
                </a:lnTo>
                <a:lnTo>
                  <a:pt x="217" y="388"/>
                </a:lnTo>
                <a:lnTo>
                  <a:pt x="217" y="391"/>
                </a:lnTo>
                <a:lnTo>
                  <a:pt x="146" y="391"/>
                </a:lnTo>
                <a:lnTo>
                  <a:pt x="180" y="291"/>
                </a:lnTo>
                <a:lnTo>
                  <a:pt x="82" y="236"/>
                </a:lnTo>
                <a:lnTo>
                  <a:pt x="38" y="73"/>
                </a:lnTo>
                <a:lnTo>
                  <a:pt x="0" y="65"/>
                </a:lnTo>
                <a:lnTo>
                  <a:pt x="3" y="4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3" name="Freeform 109"/>
          <p:cNvSpPr>
            <a:spLocks/>
          </p:cNvSpPr>
          <p:nvPr>
            <p:custDataLst>
              <p:tags r:id="rId29"/>
            </p:custDataLst>
          </p:nvPr>
        </p:nvSpPr>
        <p:spPr bwMode="gray">
          <a:xfrm>
            <a:off x="5111905" y="3593299"/>
            <a:ext cx="437776" cy="330849"/>
          </a:xfrm>
          <a:custGeom>
            <a:avLst/>
            <a:gdLst>
              <a:gd name="T0" fmla="*/ 97 w 460"/>
              <a:gd name="T1" fmla="*/ 0 h 370"/>
              <a:gd name="T2" fmla="*/ 104 w 460"/>
              <a:gd name="T3" fmla="*/ 2 h 370"/>
              <a:gd name="T4" fmla="*/ 106 w 460"/>
              <a:gd name="T5" fmla="*/ 9 h 370"/>
              <a:gd name="T6" fmla="*/ 112 w 460"/>
              <a:gd name="T7" fmla="*/ 13 h 370"/>
              <a:gd name="T8" fmla="*/ 119 w 460"/>
              <a:gd name="T9" fmla="*/ 14 h 370"/>
              <a:gd name="T10" fmla="*/ 130 w 460"/>
              <a:gd name="T11" fmla="*/ 17 h 370"/>
              <a:gd name="T12" fmla="*/ 142 w 460"/>
              <a:gd name="T13" fmla="*/ 13 h 370"/>
              <a:gd name="T14" fmla="*/ 152 w 460"/>
              <a:gd name="T15" fmla="*/ 16 h 370"/>
              <a:gd name="T16" fmla="*/ 161 w 460"/>
              <a:gd name="T17" fmla="*/ 18 h 370"/>
              <a:gd name="T18" fmla="*/ 164 w 460"/>
              <a:gd name="T19" fmla="*/ 25 h 370"/>
              <a:gd name="T20" fmla="*/ 175 w 460"/>
              <a:gd name="T21" fmla="*/ 28 h 370"/>
              <a:gd name="T22" fmla="*/ 182 w 460"/>
              <a:gd name="T23" fmla="*/ 32 h 370"/>
              <a:gd name="T24" fmla="*/ 185 w 460"/>
              <a:gd name="T25" fmla="*/ 40 h 370"/>
              <a:gd name="T26" fmla="*/ 194 w 460"/>
              <a:gd name="T27" fmla="*/ 47 h 370"/>
              <a:gd name="T28" fmla="*/ 204 w 460"/>
              <a:gd name="T29" fmla="*/ 51 h 370"/>
              <a:gd name="T30" fmla="*/ 212 w 460"/>
              <a:gd name="T31" fmla="*/ 55 h 370"/>
              <a:gd name="T32" fmla="*/ 218 w 460"/>
              <a:gd name="T33" fmla="*/ 66 h 370"/>
              <a:gd name="T34" fmla="*/ 226 w 460"/>
              <a:gd name="T35" fmla="*/ 77 h 370"/>
              <a:gd name="T36" fmla="*/ 240 w 460"/>
              <a:gd name="T37" fmla="*/ 79 h 370"/>
              <a:gd name="T38" fmla="*/ 252 w 460"/>
              <a:gd name="T39" fmla="*/ 80 h 370"/>
              <a:gd name="T40" fmla="*/ 254 w 460"/>
              <a:gd name="T41" fmla="*/ 94 h 370"/>
              <a:gd name="T42" fmla="*/ 265 w 460"/>
              <a:gd name="T43" fmla="*/ 104 h 370"/>
              <a:gd name="T44" fmla="*/ 274 w 460"/>
              <a:gd name="T45" fmla="*/ 119 h 370"/>
              <a:gd name="T46" fmla="*/ 280 w 460"/>
              <a:gd name="T47" fmla="*/ 128 h 370"/>
              <a:gd name="T48" fmla="*/ 284 w 460"/>
              <a:gd name="T49" fmla="*/ 153 h 370"/>
              <a:gd name="T50" fmla="*/ 276 w 460"/>
              <a:gd name="T51" fmla="*/ 163 h 370"/>
              <a:gd name="T52" fmla="*/ 282 w 460"/>
              <a:gd name="T53" fmla="*/ 175 h 370"/>
              <a:gd name="T54" fmla="*/ 295 w 460"/>
              <a:gd name="T55" fmla="*/ 183 h 370"/>
              <a:gd name="T56" fmla="*/ 303 w 460"/>
              <a:gd name="T57" fmla="*/ 189 h 370"/>
              <a:gd name="T58" fmla="*/ 307 w 460"/>
              <a:gd name="T59" fmla="*/ 198 h 370"/>
              <a:gd name="T60" fmla="*/ 321 w 460"/>
              <a:gd name="T61" fmla="*/ 205 h 370"/>
              <a:gd name="T62" fmla="*/ 335 w 460"/>
              <a:gd name="T63" fmla="*/ 211 h 370"/>
              <a:gd name="T64" fmla="*/ 336 w 460"/>
              <a:gd name="T65" fmla="*/ 219 h 370"/>
              <a:gd name="T66" fmla="*/ 336 w 460"/>
              <a:gd name="T67" fmla="*/ 229 h 370"/>
              <a:gd name="T68" fmla="*/ 337 w 460"/>
              <a:gd name="T69" fmla="*/ 237 h 370"/>
              <a:gd name="T70" fmla="*/ 346 w 460"/>
              <a:gd name="T71" fmla="*/ 245 h 370"/>
              <a:gd name="T72" fmla="*/ 347 w 460"/>
              <a:gd name="T73" fmla="*/ 251 h 370"/>
              <a:gd name="T74" fmla="*/ 354 w 460"/>
              <a:gd name="T75" fmla="*/ 258 h 370"/>
              <a:gd name="T76" fmla="*/ 365 w 460"/>
              <a:gd name="T77" fmla="*/ 258 h 370"/>
              <a:gd name="T78" fmla="*/ 369 w 460"/>
              <a:gd name="T79" fmla="*/ 259 h 370"/>
              <a:gd name="T80" fmla="*/ 375 w 460"/>
              <a:gd name="T81" fmla="*/ 270 h 370"/>
              <a:gd name="T82" fmla="*/ 373 w 460"/>
              <a:gd name="T83" fmla="*/ 275 h 370"/>
              <a:gd name="T84" fmla="*/ 381 w 460"/>
              <a:gd name="T85" fmla="*/ 280 h 370"/>
              <a:gd name="T86" fmla="*/ 390 w 460"/>
              <a:gd name="T87" fmla="*/ 284 h 370"/>
              <a:gd name="T88" fmla="*/ 399 w 460"/>
              <a:gd name="T89" fmla="*/ 285 h 370"/>
              <a:gd name="T90" fmla="*/ 408 w 460"/>
              <a:gd name="T91" fmla="*/ 282 h 370"/>
              <a:gd name="T92" fmla="*/ 417 w 460"/>
              <a:gd name="T93" fmla="*/ 285 h 370"/>
              <a:gd name="T94" fmla="*/ 421 w 460"/>
              <a:gd name="T95" fmla="*/ 288 h 370"/>
              <a:gd name="T96" fmla="*/ 428 w 460"/>
              <a:gd name="T97" fmla="*/ 286 h 370"/>
              <a:gd name="T98" fmla="*/ 434 w 460"/>
              <a:gd name="T99" fmla="*/ 288 h 370"/>
              <a:gd name="T100" fmla="*/ 439 w 460"/>
              <a:gd name="T101" fmla="*/ 291 h 370"/>
              <a:gd name="T102" fmla="*/ 446 w 460"/>
              <a:gd name="T103" fmla="*/ 299 h 370"/>
              <a:gd name="T104" fmla="*/ 449 w 460"/>
              <a:gd name="T105" fmla="*/ 306 h 370"/>
              <a:gd name="T106" fmla="*/ 454 w 460"/>
              <a:gd name="T107" fmla="*/ 311 h 370"/>
              <a:gd name="T108" fmla="*/ 458 w 460"/>
              <a:gd name="T109" fmla="*/ 319 h 370"/>
              <a:gd name="T110" fmla="*/ 457 w 460"/>
              <a:gd name="T111" fmla="*/ 326 h 370"/>
              <a:gd name="T112" fmla="*/ 457 w 460"/>
              <a:gd name="T113" fmla="*/ 335 h 370"/>
              <a:gd name="T114" fmla="*/ 138 w 460"/>
              <a:gd name="T115" fmla="*/ 352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60" h="370">
                <a:moveTo>
                  <a:pt x="6" y="190"/>
                </a:moveTo>
                <a:lnTo>
                  <a:pt x="14" y="190"/>
                </a:lnTo>
                <a:lnTo>
                  <a:pt x="25" y="175"/>
                </a:lnTo>
                <a:lnTo>
                  <a:pt x="14" y="163"/>
                </a:lnTo>
                <a:lnTo>
                  <a:pt x="53" y="154"/>
                </a:lnTo>
                <a:lnTo>
                  <a:pt x="66" y="128"/>
                </a:lnTo>
                <a:lnTo>
                  <a:pt x="84" y="128"/>
                </a:lnTo>
                <a:lnTo>
                  <a:pt x="94" y="123"/>
                </a:lnTo>
                <a:lnTo>
                  <a:pt x="87" y="108"/>
                </a:lnTo>
                <a:lnTo>
                  <a:pt x="108" y="54"/>
                </a:lnTo>
                <a:lnTo>
                  <a:pt x="97" y="2"/>
                </a:lnTo>
                <a:lnTo>
                  <a:pt x="97" y="0"/>
                </a:lnTo>
                <a:lnTo>
                  <a:pt x="98" y="0"/>
                </a:lnTo>
                <a:lnTo>
                  <a:pt x="98" y="2"/>
                </a:lnTo>
                <a:lnTo>
                  <a:pt x="98" y="3"/>
                </a:lnTo>
                <a:lnTo>
                  <a:pt x="99" y="5"/>
                </a:lnTo>
                <a:lnTo>
                  <a:pt x="99" y="3"/>
                </a:lnTo>
                <a:lnTo>
                  <a:pt x="99" y="2"/>
                </a:lnTo>
                <a:lnTo>
                  <a:pt x="99" y="0"/>
                </a:lnTo>
                <a:lnTo>
                  <a:pt x="101" y="0"/>
                </a:lnTo>
                <a:lnTo>
                  <a:pt x="101" y="2"/>
                </a:lnTo>
                <a:lnTo>
                  <a:pt x="102" y="3"/>
                </a:lnTo>
                <a:lnTo>
                  <a:pt x="102" y="2"/>
                </a:lnTo>
                <a:lnTo>
                  <a:pt x="104" y="2"/>
                </a:lnTo>
                <a:lnTo>
                  <a:pt x="105" y="2"/>
                </a:lnTo>
                <a:lnTo>
                  <a:pt x="105" y="3"/>
                </a:lnTo>
                <a:lnTo>
                  <a:pt x="104" y="3"/>
                </a:lnTo>
                <a:lnTo>
                  <a:pt x="104" y="5"/>
                </a:lnTo>
                <a:lnTo>
                  <a:pt x="105" y="5"/>
                </a:lnTo>
                <a:lnTo>
                  <a:pt x="105" y="5"/>
                </a:lnTo>
                <a:lnTo>
                  <a:pt x="106" y="5"/>
                </a:lnTo>
                <a:lnTo>
                  <a:pt x="105" y="6"/>
                </a:lnTo>
                <a:lnTo>
                  <a:pt x="106" y="7"/>
                </a:lnTo>
                <a:lnTo>
                  <a:pt x="105" y="9"/>
                </a:lnTo>
                <a:lnTo>
                  <a:pt x="105" y="10"/>
                </a:lnTo>
                <a:lnTo>
                  <a:pt x="106" y="9"/>
                </a:lnTo>
                <a:lnTo>
                  <a:pt x="108" y="7"/>
                </a:lnTo>
                <a:lnTo>
                  <a:pt x="109" y="9"/>
                </a:lnTo>
                <a:lnTo>
                  <a:pt x="109" y="10"/>
                </a:lnTo>
                <a:lnTo>
                  <a:pt x="108" y="11"/>
                </a:lnTo>
                <a:lnTo>
                  <a:pt x="110" y="11"/>
                </a:lnTo>
                <a:lnTo>
                  <a:pt x="110" y="10"/>
                </a:lnTo>
                <a:lnTo>
                  <a:pt x="110" y="9"/>
                </a:lnTo>
                <a:lnTo>
                  <a:pt x="112" y="9"/>
                </a:lnTo>
                <a:lnTo>
                  <a:pt x="112" y="10"/>
                </a:lnTo>
                <a:lnTo>
                  <a:pt x="110" y="11"/>
                </a:lnTo>
                <a:lnTo>
                  <a:pt x="110" y="13"/>
                </a:lnTo>
                <a:lnTo>
                  <a:pt x="112" y="13"/>
                </a:lnTo>
                <a:lnTo>
                  <a:pt x="112" y="11"/>
                </a:lnTo>
                <a:lnTo>
                  <a:pt x="113" y="13"/>
                </a:lnTo>
                <a:lnTo>
                  <a:pt x="115" y="11"/>
                </a:lnTo>
                <a:lnTo>
                  <a:pt x="116" y="13"/>
                </a:lnTo>
                <a:lnTo>
                  <a:pt x="117" y="13"/>
                </a:lnTo>
                <a:lnTo>
                  <a:pt x="116" y="14"/>
                </a:lnTo>
                <a:lnTo>
                  <a:pt x="117" y="13"/>
                </a:lnTo>
                <a:lnTo>
                  <a:pt x="120" y="11"/>
                </a:lnTo>
                <a:lnTo>
                  <a:pt x="120" y="13"/>
                </a:lnTo>
                <a:lnTo>
                  <a:pt x="119" y="13"/>
                </a:lnTo>
                <a:lnTo>
                  <a:pt x="120" y="14"/>
                </a:lnTo>
                <a:lnTo>
                  <a:pt x="119" y="14"/>
                </a:lnTo>
                <a:lnTo>
                  <a:pt x="117" y="14"/>
                </a:lnTo>
                <a:lnTo>
                  <a:pt x="117" y="16"/>
                </a:lnTo>
                <a:lnTo>
                  <a:pt x="119" y="16"/>
                </a:lnTo>
                <a:lnTo>
                  <a:pt x="120" y="16"/>
                </a:lnTo>
                <a:lnTo>
                  <a:pt x="121" y="16"/>
                </a:lnTo>
                <a:lnTo>
                  <a:pt x="121" y="17"/>
                </a:lnTo>
                <a:lnTo>
                  <a:pt x="123" y="16"/>
                </a:lnTo>
                <a:lnTo>
                  <a:pt x="124" y="17"/>
                </a:lnTo>
                <a:lnTo>
                  <a:pt x="126" y="18"/>
                </a:lnTo>
                <a:lnTo>
                  <a:pt x="127" y="18"/>
                </a:lnTo>
                <a:lnTo>
                  <a:pt x="128" y="18"/>
                </a:lnTo>
                <a:lnTo>
                  <a:pt x="130" y="17"/>
                </a:lnTo>
                <a:lnTo>
                  <a:pt x="133" y="17"/>
                </a:lnTo>
                <a:lnTo>
                  <a:pt x="134" y="18"/>
                </a:lnTo>
                <a:lnTo>
                  <a:pt x="135" y="17"/>
                </a:lnTo>
                <a:lnTo>
                  <a:pt x="137" y="17"/>
                </a:lnTo>
                <a:lnTo>
                  <a:pt x="138" y="17"/>
                </a:lnTo>
                <a:lnTo>
                  <a:pt x="138" y="16"/>
                </a:lnTo>
                <a:lnTo>
                  <a:pt x="139" y="16"/>
                </a:lnTo>
                <a:lnTo>
                  <a:pt x="141" y="16"/>
                </a:lnTo>
                <a:lnTo>
                  <a:pt x="141" y="14"/>
                </a:lnTo>
                <a:lnTo>
                  <a:pt x="141" y="13"/>
                </a:lnTo>
                <a:lnTo>
                  <a:pt x="142" y="11"/>
                </a:lnTo>
                <a:lnTo>
                  <a:pt x="142" y="13"/>
                </a:lnTo>
                <a:lnTo>
                  <a:pt x="144" y="11"/>
                </a:lnTo>
                <a:lnTo>
                  <a:pt x="144" y="13"/>
                </a:lnTo>
                <a:lnTo>
                  <a:pt x="144" y="14"/>
                </a:lnTo>
                <a:lnTo>
                  <a:pt x="145" y="16"/>
                </a:lnTo>
                <a:lnTo>
                  <a:pt x="144" y="16"/>
                </a:lnTo>
                <a:lnTo>
                  <a:pt x="145" y="17"/>
                </a:lnTo>
                <a:lnTo>
                  <a:pt x="145" y="16"/>
                </a:lnTo>
                <a:lnTo>
                  <a:pt x="146" y="16"/>
                </a:lnTo>
                <a:lnTo>
                  <a:pt x="148" y="16"/>
                </a:lnTo>
                <a:lnTo>
                  <a:pt x="149" y="16"/>
                </a:lnTo>
                <a:lnTo>
                  <a:pt x="150" y="16"/>
                </a:lnTo>
                <a:lnTo>
                  <a:pt x="152" y="16"/>
                </a:lnTo>
                <a:lnTo>
                  <a:pt x="152" y="17"/>
                </a:lnTo>
                <a:lnTo>
                  <a:pt x="155" y="18"/>
                </a:lnTo>
                <a:lnTo>
                  <a:pt x="153" y="17"/>
                </a:lnTo>
                <a:lnTo>
                  <a:pt x="153" y="16"/>
                </a:lnTo>
                <a:lnTo>
                  <a:pt x="155" y="17"/>
                </a:lnTo>
                <a:lnTo>
                  <a:pt x="156" y="16"/>
                </a:lnTo>
                <a:lnTo>
                  <a:pt x="157" y="14"/>
                </a:lnTo>
                <a:lnTo>
                  <a:pt x="159" y="16"/>
                </a:lnTo>
                <a:lnTo>
                  <a:pt x="159" y="17"/>
                </a:lnTo>
                <a:lnTo>
                  <a:pt x="160" y="20"/>
                </a:lnTo>
                <a:lnTo>
                  <a:pt x="161" y="20"/>
                </a:lnTo>
                <a:lnTo>
                  <a:pt x="161" y="18"/>
                </a:lnTo>
                <a:lnTo>
                  <a:pt x="163" y="18"/>
                </a:lnTo>
                <a:lnTo>
                  <a:pt x="164" y="20"/>
                </a:lnTo>
                <a:lnTo>
                  <a:pt x="164" y="21"/>
                </a:lnTo>
                <a:lnTo>
                  <a:pt x="163" y="21"/>
                </a:lnTo>
                <a:lnTo>
                  <a:pt x="161" y="21"/>
                </a:lnTo>
                <a:lnTo>
                  <a:pt x="161" y="22"/>
                </a:lnTo>
                <a:lnTo>
                  <a:pt x="163" y="24"/>
                </a:lnTo>
                <a:lnTo>
                  <a:pt x="163" y="22"/>
                </a:lnTo>
                <a:lnTo>
                  <a:pt x="166" y="22"/>
                </a:lnTo>
                <a:lnTo>
                  <a:pt x="164" y="24"/>
                </a:lnTo>
                <a:lnTo>
                  <a:pt x="164" y="25"/>
                </a:lnTo>
                <a:lnTo>
                  <a:pt x="164" y="25"/>
                </a:lnTo>
                <a:lnTo>
                  <a:pt x="166" y="25"/>
                </a:lnTo>
                <a:lnTo>
                  <a:pt x="167" y="25"/>
                </a:lnTo>
                <a:lnTo>
                  <a:pt x="167" y="27"/>
                </a:lnTo>
                <a:lnTo>
                  <a:pt x="168" y="28"/>
                </a:lnTo>
                <a:lnTo>
                  <a:pt x="170" y="27"/>
                </a:lnTo>
                <a:lnTo>
                  <a:pt x="171" y="27"/>
                </a:lnTo>
                <a:lnTo>
                  <a:pt x="171" y="27"/>
                </a:lnTo>
                <a:lnTo>
                  <a:pt x="172" y="27"/>
                </a:lnTo>
                <a:lnTo>
                  <a:pt x="172" y="28"/>
                </a:lnTo>
                <a:lnTo>
                  <a:pt x="172" y="29"/>
                </a:lnTo>
                <a:lnTo>
                  <a:pt x="174" y="29"/>
                </a:lnTo>
                <a:lnTo>
                  <a:pt x="175" y="28"/>
                </a:lnTo>
                <a:lnTo>
                  <a:pt x="175" y="29"/>
                </a:lnTo>
                <a:lnTo>
                  <a:pt x="175" y="31"/>
                </a:lnTo>
                <a:lnTo>
                  <a:pt x="174" y="32"/>
                </a:lnTo>
                <a:lnTo>
                  <a:pt x="175" y="32"/>
                </a:lnTo>
                <a:lnTo>
                  <a:pt x="177" y="32"/>
                </a:lnTo>
                <a:lnTo>
                  <a:pt x="178" y="32"/>
                </a:lnTo>
                <a:lnTo>
                  <a:pt x="177" y="32"/>
                </a:lnTo>
                <a:lnTo>
                  <a:pt x="177" y="31"/>
                </a:lnTo>
                <a:lnTo>
                  <a:pt x="178" y="31"/>
                </a:lnTo>
                <a:lnTo>
                  <a:pt x="179" y="31"/>
                </a:lnTo>
                <a:lnTo>
                  <a:pt x="181" y="32"/>
                </a:lnTo>
                <a:lnTo>
                  <a:pt x="182" y="32"/>
                </a:lnTo>
                <a:lnTo>
                  <a:pt x="181" y="33"/>
                </a:lnTo>
                <a:lnTo>
                  <a:pt x="179" y="33"/>
                </a:lnTo>
                <a:lnTo>
                  <a:pt x="178" y="33"/>
                </a:lnTo>
                <a:lnTo>
                  <a:pt x="178" y="35"/>
                </a:lnTo>
                <a:lnTo>
                  <a:pt x="179" y="35"/>
                </a:lnTo>
                <a:lnTo>
                  <a:pt x="179" y="36"/>
                </a:lnTo>
                <a:lnTo>
                  <a:pt x="178" y="38"/>
                </a:lnTo>
                <a:lnTo>
                  <a:pt x="179" y="38"/>
                </a:lnTo>
                <a:lnTo>
                  <a:pt x="179" y="39"/>
                </a:lnTo>
                <a:lnTo>
                  <a:pt x="182" y="39"/>
                </a:lnTo>
                <a:lnTo>
                  <a:pt x="183" y="40"/>
                </a:lnTo>
                <a:lnTo>
                  <a:pt x="185" y="40"/>
                </a:lnTo>
                <a:lnTo>
                  <a:pt x="186" y="40"/>
                </a:lnTo>
                <a:lnTo>
                  <a:pt x="188" y="40"/>
                </a:lnTo>
                <a:lnTo>
                  <a:pt x="188" y="42"/>
                </a:lnTo>
                <a:lnTo>
                  <a:pt x="188" y="43"/>
                </a:lnTo>
                <a:lnTo>
                  <a:pt x="189" y="43"/>
                </a:lnTo>
                <a:lnTo>
                  <a:pt x="190" y="44"/>
                </a:lnTo>
                <a:lnTo>
                  <a:pt x="192" y="44"/>
                </a:lnTo>
                <a:lnTo>
                  <a:pt x="193" y="43"/>
                </a:lnTo>
                <a:lnTo>
                  <a:pt x="194" y="44"/>
                </a:lnTo>
                <a:lnTo>
                  <a:pt x="194" y="46"/>
                </a:lnTo>
                <a:lnTo>
                  <a:pt x="193" y="46"/>
                </a:lnTo>
                <a:lnTo>
                  <a:pt x="194" y="47"/>
                </a:lnTo>
                <a:lnTo>
                  <a:pt x="196" y="46"/>
                </a:lnTo>
                <a:lnTo>
                  <a:pt x="197" y="46"/>
                </a:lnTo>
                <a:lnTo>
                  <a:pt x="199" y="46"/>
                </a:lnTo>
                <a:lnTo>
                  <a:pt x="200" y="46"/>
                </a:lnTo>
                <a:lnTo>
                  <a:pt x="201" y="46"/>
                </a:lnTo>
                <a:lnTo>
                  <a:pt x="201" y="44"/>
                </a:lnTo>
                <a:lnTo>
                  <a:pt x="203" y="46"/>
                </a:lnTo>
                <a:lnTo>
                  <a:pt x="203" y="47"/>
                </a:lnTo>
                <a:lnTo>
                  <a:pt x="203" y="49"/>
                </a:lnTo>
                <a:lnTo>
                  <a:pt x="203" y="50"/>
                </a:lnTo>
                <a:lnTo>
                  <a:pt x="204" y="51"/>
                </a:lnTo>
                <a:lnTo>
                  <a:pt x="204" y="51"/>
                </a:lnTo>
                <a:lnTo>
                  <a:pt x="204" y="50"/>
                </a:lnTo>
                <a:lnTo>
                  <a:pt x="205" y="50"/>
                </a:lnTo>
                <a:lnTo>
                  <a:pt x="204" y="51"/>
                </a:lnTo>
                <a:lnTo>
                  <a:pt x="205" y="51"/>
                </a:lnTo>
                <a:lnTo>
                  <a:pt x="207" y="51"/>
                </a:lnTo>
                <a:lnTo>
                  <a:pt x="207" y="53"/>
                </a:lnTo>
                <a:lnTo>
                  <a:pt x="207" y="54"/>
                </a:lnTo>
                <a:lnTo>
                  <a:pt x="208" y="54"/>
                </a:lnTo>
                <a:lnTo>
                  <a:pt x="210" y="54"/>
                </a:lnTo>
                <a:lnTo>
                  <a:pt x="210" y="55"/>
                </a:lnTo>
                <a:lnTo>
                  <a:pt x="211" y="57"/>
                </a:lnTo>
                <a:lnTo>
                  <a:pt x="212" y="55"/>
                </a:lnTo>
                <a:lnTo>
                  <a:pt x="214" y="57"/>
                </a:lnTo>
                <a:lnTo>
                  <a:pt x="212" y="58"/>
                </a:lnTo>
                <a:lnTo>
                  <a:pt x="212" y="58"/>
                </a:lnTo>
                <a:lnTo>
                  <a:pt x="212" y="60"/>
                </a:lnTo>
                <a:lnTo>
                  <a:pt x="212" y="61"/>
                </a:lnTo>
                <a:lnTo>
                  <a:pt x="214" y="62"/>
                </a:lnTo>
                <a:lnTo>
                  <a:pt x="215" y="62"/>
                </a:lnTo>
                <a:lnTo>
                  <a:pt x="216" y="62"/>
                </a:lnTo>
                <a:lnTo>
                  <a:pt x="216" y="64"/>
                </a:lnTo>
                <a:lnTo>
                  <a:pt x="218" y="64"/>
                </a:lnTo>
                <a:lnTo>
                  <a:pt x="218" y="65"/>
                </a:lnTo>
                <a:lnTo>
                  <a:pt x="218" y="66"/>
                </a:lnTo>
                <a:lnTo>
                  <a:pt x="218" y="68"/>
                </a:lnTo>
                <a:lnTo>
                  <a:pt x="219" y="68"/>
                </a:lnTo>
                <a:lnTo>
                  <a:pt x="222" y="68"/>
                </a:lnTo>
                <a:lnTo>
                  <a:pt x="222" y="69"/>
                </a:lnTo>
                <a:lnTo>
                  <a:pt x="223" y="71"/>
                </a:lnTo>
                <a:lnTo>
                  <a:pt x="225" y="72"/>
                </a:lnTo>
                <a:lnTo>
                  <a:pt x="223" y="73"/>
                </a:lnTo>
                <a:lnTo>
                  <a:pt x="225" y="73"/>
                </a:lnTo>
                <a:lnTo>
                  <a:pt x="225" y="75"/>
                </a:lnTo>
                <a:lnTo>
                  <a:pt x="226" y="75"/>
                </a:lnTo>
                <a:lnTo>
                  <a:pt x="226" y="76"/>
                </a:lnTo>
                <a:lnTo>
                  <a:pt x="226" y="77"/>
                </a:lnTo>
                <a:lnTo>
                  <a:pt x="227" y="77"/>
                </a:lnTo>
                <a:lnTo>
                  <a:pt x="229" y="76"/>
                </a:lnTo>
                <a:lnTo>
                  <a:pt x="230" y="77"/>
                </a:lnTo>
                <a:lnTo>
                  <a:pt x="232" y="79"/>
                </a:lnTo>
                <a:lnTo>
                  <a:pt x="233" y="79"/>
                </a:lnTo>
                <a:lnTo>
                  <a:pt x="234" y="79"/>
                </a:lnTo>
                <a:lnTo>
                  <a:pt x="237" y="79"/>
                </a:lnTo>
                <a:lnTo>
                  <a:pt x="237" y="77"/>
                </a:lnTo>
                <a:lnTo>
                  <a:pt x="237" y="76"/>
                </a:lnTo>
                <a:lnTo>
                  <a:pt x="238" y="76"/>
                </a:lnTo>
                <a:lnTo>
                  <a:pt x="238" y="77"/>
                </a:lnTo>
                <a:lnTo>
                  <a:pt x="240" y="79"/>
                </a:lnTo>
                <a:lnTo>
                  <a:pt x="240" y="80"/>
                </a:lnTo>
                <a:lnTo>
                  <a:pt x="241" y="79"/>
                </a:lnTo>
                <a:lnTo>
                  <a:pt x="243" y="77"/>
                </a:lnTo>
                <a:lnTo>
                  <a:pt x="244" y="79"/>
                </a:lnTo>
                <a:lnTo>
                  <a:pt x="244" y="77"/>
                </a:lnTo>
                <a:lnTo>
                  <a:pt x="245" y="77"/>
                </a:lnTo>
                <a:lnTo>
                  <a:pt x="247" y="79"/>
                </a:lnTo>
                <a:lnTo>
                  <a:pt x="248" y="79"/>
                </a:lnTo>
                <a:lnTo>
                  <a:pt x="249" y="79"/>
                </a:lnTo>
                <a:lnTo>
                  <a:pt x="249" y="80"/>
                </a:lnTo>
                <a:lnTo>
                  <a:pt x="251" y="80"/>
                </a:lnTo>
                <a:lnTo>
                  <a:pt x="252" y="80"/>
                </a:lnTo>
                <a:lnTo>
                  <a:pt x="254" y="80"/>
                </a:lnTo>
                <a:lnTo>
                  <a:pt x="255" y="82"/>
                </a:lnTo>
                <a:lnTo>
                  <a:pt x="255" y="83"/>
                </a:lnTo>
                <a:lnTo>
                  <a:pt x="254" y="83"/>
                </a:lnTo>
                <a:lnTo>
                  <a:pt x="254" y="86"/>
                </a:lnTo>
                <a:lnTo>
                  <a:pt x="252" y="87"/>
                </a:lnTo>
                <a:lnTo>
                  <a:pt x="254" y="87"/>
                </a:lnTo>
                <a:lnTo>
                  <a:pt x="252" y="88"/>
                </a:lnTo>
                <a:lnTo>
                  <a:pt x="251" y="90"/>
                </a:lnTo>
                <a:lnTo>
                  <a:pt x="251" y="91"/>
                </a:lnTo>
                <a:lnTo>
                  <a:pt x="252" y="93"/>
                </a:lnTo>
                <a:lnTo>
                  <a:pt x="254" y="94"/>
                </a:lnTo>
                <a:lnTo>
                  <a:pt x="255" y="94"/>
                </a:lnTo>
                <a:lnTo>
                  <a:pt x="256" y="94"/>
                </a:lnTo>
                <a:lnTo>
                  <a:pt x="256" y="97"/>
                </a:lnTo>
                <a:lnTo>
                  <a:pt x="258" y="98"/>
                </a:lnTo>
                <a:lnTo>
                  <a:pt x="256" y="99"/>
                </a:lnTo>
                <a:lnTo>
                  <a:pt x="256" y="101"/>
                </a:lnTo>
                <a:lnTo>
                  <a:pt x="258" y="101"/>
                </a:lnTo>
                <a:lnTo>
                  <a:pt x="259" y="101"/>
                </a:lnTo>
                <a:lnTo>
                  <a:pt x="260" y="102"/>
                </a:lnTo>
                <a:lnTo>
                  <a:pt x="262" y="102"/>
                </a:lnTo>
                <a:lnTo>
                  <a:pt x="263" y="104"/>
                </a:lnTo>
                <a:lnTo>
                  <a:pt x="265" y="104"/>
                </a:lnTo>
                <a:lnTo>
                  <a:pt x="266" y="105"/>
                </a:lnTo>
                <a:lnTo>
                  <a:pt x="267" y="106"/>
                </a:lnTo>
                <a:lnTo>
                  <a:pt x="269" y="108"/>
                </a:lnTo>
                <a:lnTo>
                  <a:pt x="270" y="109"/>
                </a:lnTo>
                <a:lnTo>
                  <a:pt x="270" y="110"/>
                </a:lnTo>
                <a:lnTo>
                  <a:pt x="271" y="110"/>
                </a:lnTo>
                <a:lnTo>
                  <a:pt x="271" y="112"/>
                </a:lnTo>
                <a:lnTo>
                  <a:pt x="273" y="113"/>
                </a:lnTo>
                <a:lnTo>
                  <a:pt x="273" y="115"/>
                </a:lnTo>
                <a:lnTo>
                  <a:pt x="273" y="116"/>
                </a:lnTo>
                <a:lnTo>
                  <a:pt x="274" y="117"/>
                </a:lnTo>
                <a:lnTo>
                  <a:pt x="274" y="119"/>
                </a:lnTo>
                <a:lnTo>
                  <a:pt x="273" y="119"/>
                </a:lnTo>
                <a:lnTo>
                  <a:pt x="274" y="120"/>
                </a:lnTo>
                <a:lnTo>
                  <a:pt x="273" y="121"/>
                </a:lnTo>
                <a:lnTo>
                  <a:pt x="273" y="123"/>
                </a:lnTo>
                <a:lnTo>
                  <a:pt x="273" y="124"/>
                </a:lnTo>
                <a:lnTo>
                  <a:pt x="273" y="124"/>
                </a:lnTo>
                <a:lnTo>
                  <a:pt x="274" y="124"/>
                </a:lnTo>
                <a:lnTo>
                  <a:pt x="276" y="126"/>
                </a:lnTo>
                <a:lnTo>
                  <a:pt x="277" y="126"/>
                </a:lnTo>
                <a:lnTo>
                  <a:pt x="278" y="126"/>
                </a:lnTo>
                <a:lnTo>
                  <a:pt x="278" y="127"/>
                </a:lnTo>
                <a:lnTo>
                  <a:pt x="280" y="128"/>
                </a:lnTo>
                <a:lnTo>
                  <a:pt x="281" y="130"/>
                </a:lnTo>
                <a:lnTo>
                  <a:pt x="281" y="131"/>
                </a:lnTo>
                <a:lnTo>
                  <a:pt x="282" y="131"/>
                </a:lnTo>
                <a:lnTo>
                  <a:pt x="284" y="132"/>
                </a:lnTo>
                <a:lnTo>
                  <a:pt x="284" y="134"/>
                </a:lnTo>
                <a:lnTo>
                  <a:pt x="284" y="137"/>
                </a:lnTo>
                <a:lnTo>
                  <a:pt x="282" y="139"/>
                </a:lnTo>
                <a:lnTo>
                  <a:pt x="282" y="141"/>
                </a:lnTo>
                <a:lnTo>
                  <a:pt x="281" y="143"/>
                </a:lnTo>
                <a:lnTo>
                  <a:pt x="282" y="145"/>
                </a:lnTo>
                <a:lnTo>
                  <a:pt x="284" y="152"/>
                </a:lnTo>
                <a:lnTo>
                  <a:pt x="284" y="153"/>
                </a:lnTo>
                <a:lnTo>
                  <a:pt x="284" y="156"/>
                </a:lnTo>
                <a:lnTo>
                  <a:pt x="284" y="157"/>
                </a:lnTo>
                <a:lnTo>
                  <a:pt x="285" y="160"/>
                </a:lnTo>
                <a:lnTo>
                  <a:pt x="287" y="161"/>
                </a:lnTo>
                <a:lnTo>
                  <a:pt x="285" y="163"/>
                </a:lnTo>
                <a:lnTo>
                  <a:pt x="284" y="163"/>
                </a:lnTo>
                <a:lnTo>
                  <a:pt x="282" y="163"/>
                </a:lnTo>
                <a:lnTo>
                  <a:pt x="281" y="164"/>
                </a:lnTo>
                <a:lnTo>
                  <a:pt x="280" y="165"/>
                </a:lnTo>
                <a:lnTo>
                  <a:pt x="278" y="164"/>
                </a:lnTo>
                <a:lnTo>
                  <a:pt x="277" y="163"/>
                </a:lnTo>
                <a:lnTo>
                  <a:pt x="276" y="163"/>
                </a:lnTo>
                <a:lnTo>
                  <a:pt x="276" y="164"/>
                </a:lnTo>
                <a:lnTo>
                  <a:pt x="276" y="165"/>
                </a:lnTo>
                <a:lnTo>
                  <a:pt x="276" y="167"/>
                </a:lnTo>
                <a:lnTo>
                  <a:pt x="277" y="168"/>
                </a:lnTo>
                <a:lnTo>
                  <a:pt x="278" y="170"/>
                </a:lnTo>
                <a:lnTo>
                  <a:pt x="278" y="172"/>
                </a:lnTo>
                <a:lnTo>
                  <a:pt x="280" y="172"/>
                </a:lnTo>
                <a:lnTo>
                  <a:pt x="281" y="172"/>
                </a:lnTo>
                <a:lnTo>
                  <a:pt x="282" y="172"/>
                </a:lnTo>
                <a:lnTo>
                  <a:pt x="284" y="172"/>
                </a:lnTo>
                <a:lnTo>
                  <a:pt x="282" y="174"/>
                </a:lnTo>
                <a:lnTo>
                  <a:pt x="282" y="175"/>
                </a:lnTo>
                <a:lnTo>
                  <a:pt x="284" y="175"/>
                </a:lnTo>
                <a:lnTo>
                  <a:pt x="285" y="176"/>
                </a:lnTo>
                <a:lnTo>
                  <a:pt x="285" y="178"/>
                </a:lnTo>
                <a:lnTo>
                  <a:pt x="285" y="179"/>
                </a:lnTo>
                <a:lnTo>
                  <a:pt x="285" y="181"/>
                </a:lnTo>
                <a:lnTo>
                  <a:pt x="288" y="181"/>
                </a:lnTo>
                <a:lnTo>
                  <a:pt x="289" y="179"/>
                </a:lnTo>
                <a:lnTo>
                  <a:pt x="291" y="181"/>
                </a:lnTo>
                <a:lnTo>
                  <a:pt x="292" y="181"/>
                </a:lnTo>
                <a:lnTo>
                  <a:pt x="293" y="182"/>
                </a:lnTo>
                <a:lnTo>
                  <a:pt x="293" y="183"/>
                </a:lnTo>
                <a:lnTo>
                  <a:pt x="295" y="183"/>
                </a:lnTo>
                <a:lnTo>
                  <a:pt x="296" y="182"/>
                </a:lnTo>
                <a:lnTo>
                  <a:pt x="295" y="182"/>
                </a:lnTo>
                <a:lnTo>
                  <a:pt x="293" y="181"/>
                </a:lnTo>
                <a:lnTo>
                  <a:pt x="295" y="181"/>
                </a:lnTo>
                <a:lnTo>
                  <a:pt x="298" y="182"/>
                </a:lnTo>
                <a:lnTo>
                  <a:pt x="298" y="183"/>
                </a:lnTo>
                <a:lnTo>
                  <a:pt x="299" y="185"/>
                </a:lnTo>
                <a:lnTo>
                  <a:pt x="300" y="186"/>
                </a:lnTo>
                <a:lnTo>
                  <a:pt x="302" y="187"/>
                </a:lnTo>
                <a:lnTo>
                  <a:pt x="302" y="189"/>
                </a:lnTo>
                <a:lnTo>
                  <a:pt x="303" y="189"/>
                </a:lnTo>
                <a:lnTo>
                  <a:pt x="303" y="189"/>
                </a:lnTo>
                <a:lnTo>
                  <a:pt x="304" y="190"/>
                </a:lnTo>
                <a:lnTo>
                  <a:pt x="303" y="190"/>
                </a:lnTo>
                <a:lnTo>
                  <a:pt x="304" y="190"/>
                </a:lnTo>
                <a:lnTo>
                  <a:pt x="304" y="190"/>
                </a:lnTo>
                <a:lnTo>
                  <a:pt x="306" y="190"/>
                </a:lnTo>
                <a:lnTo>
                  <a:pt x="307" y="192"/>
                </a:lnTo>
                <a:lnTo>
                  <a:pt x="306" y="192"/>
                </a:lnTo>
                <a:lnTo>
                  <a:pt x="304" y="193"/>
                </a:lnTo>
                <a:lnTo>
                  <a:pt x="306" y="194"/>
                </a:lnTo>
                <a:lnTo>
                  <a:pt x="307" y="196"/>
                </a:lnTo>
                <a:lnTo>
                  <a:pt x="307" y="197"/>
                </a:lnTo>
                <a:lnTo>
                  <a:pt x="307" y="198"/>
                </a:lnTo>
                <a:lnTo>
                  <a:pt x="309" y="197"/>
                </a:lnTo>
                <a:lnTo>
                  <a:pt x="310" y="197"/>
                </a:lnTo>
                <a:lnTo>
                  <a:pt x="310" y="198"/>
                </a:lnTo>
                <a:lnTo>
                  <a:pt x="313" y="198"/>
                </a:lnTo>
                <a:lnTo>
                  <a:pt x="314" y="198"/>
                </a:lnTo>
                <a:lnTo>
                  <a:pt x="315" y="198"/>
                </a:lnTo>
                <a:lnTo>
                  <a:pt x="317" y="200"/>
                </a:lnTo>
                <a:lnTo>
                  <a:pt x="317" y="201"/>
                </a:lnTo>
                <a:lnTo>
                  <a:pt x="318" y="201"/>
                </a:lnTo>
                <a:lnTo>
                  <a:pt x="320" y="203"/>
                </a:lnTo>
                <a:lnTo>
                  <a:pt x="320" y="204"/>
                </a:lnTo>
                <a:lnTo>
                  <a:pt x="321" y="205"/>
                </a:lnTo>
                <a:lnTo>
                  <a:pt x="321" y="207"/>
                </a:lnTo>
                <a:lnTo>
                  <a:pt x="322" y="207"/>
                </a:lnTo>
                <a:lnTo>
                  <a:pt x="324" y="207"/>
                </a:lnTo>
                <a:lnTo>
                  <a:pt x="325" y="207"/>
                </a:lnTo>
                <a:lnTo>
                  <a:pt x="326" y="207"/>
                </a:lnTo>
                <a:lnTo>
                  <a:pt x="328" y="207"/>
                </a:lnTo>
                <a:lnTo>
                  <a:pt x="329" y="207"/>
                </a:lnTo>
                <a:lnTo>
                  <a:pt x="331" y="208"/>
                </a:lnTo>
                <a:lnTo>
                  <a:pt x="332" y="209"/>
                </a:lnTo>
                <a:lnTo>
                  <a:pt x="333" y="209"/>
                </a:lnTo>
                <a:lnTo>
                  <a:pt x="333" y="211"/>
                </a:lnTo>
                <a:lnTo>
                  <a:pt x="335" y="211"/>
                </a:lnTo>
                <a:lnTo>
                  <a:pt x="336" y="209"/>
                </a:lnTo>
                <a:lnTo>
                  <a:pt x="336" y="211"/>
                </a:lnTo>
                <a:lnTo>
                  <a:pt x="337" y="212"/>
                </a:lnTo>
                <a:lnTo>
                  <a:pt x="337" y="214"/>
                </a:lnTo>
                <a:lnTo>
                  <a:pt x="337" y="215"/>
                </a:lnTo>
                <a:lnTo>
                  <a:pt x="339" y="216"/>
                </a:lnTo>
                <a:lnTo>
                  <a:pt x="337" y="216"/>
                </a:lnTo>
                <a:lnTo>
                  <a:pt x="336" y="216"/>
                </a:lnTo>
                <a:lnTo>
                  <a:pt x="337" y="216"/>
                </a:lnTo>
                <a:lnTo>
                  <a:pt x="337" y="218"/>
                </a:lnTo>
                <a:lnTo>
                  <a:pt x="336" y="218"/>
                </a:lnTo>
                <a:lnTo>
                  <a:pt x="336" y="219"/>
                </a:lnTo>
                <a:lnTo>
                  <a:pt x="337" y="219"/>
                </a:lnTo>
                <a:lnTo>
                  <a:pt x="337" y="220"/>
                </a:lnTo>
                <a:lnTo>
                  <a:pt x="337" y="222"/>
                </a:lnTo>
                <a:lnTo>
                  <a:pt x="337" y="223"/>
                </a:lnTo>
                <a:lnTo>
                  <a:pt x="339" y="223"/>
                </a:lnTo>
                <a:lnTo>
                  <a:pt x="340" y="223"/>
                </a:lnTo>
                <a:lnTo>
                  <a:pt x="340" y="225"/>
                </a:lnTo>
                <a:lnTo>
                  <a:pt x="339" y="225"/>
                </a:lnTo>
                <a:lnTo>
                  <a:pt x="337" y="225"/>
                </a:lnTo>
                <a:lnTo>
                  <a:pt x="337" y="226"/>
                </a:lnTo>
                <a:lnTo>
                  <a:pt x="336" y="227"/>
                </a:lnTo>
                <a:lnTo>
                  <a:pt x="336" y="229"/>
                </a:lnTo>
                <a:lnTo>
                  <a:pt x="336" y="230"/>
                </a:lnTo>
                <a:lnTo>
                  <a:pt x="336" y="231"/>
                </a:lnTo>
                <a:lnTo>
                  <a:pt x="337" y="231"/>
                </a:lnTo>
                <a:lnTo>
                  <a:pt x="339" y="233"/>
                </a:lnTo>
                <a:lnTo>
                  <a:pt x="337" y="233"/>
                </a:lnTo>
                <a:lnTo>
                  <a:pt x="337" y="234"/>
                </a:lnTo>
                <a:lnTo>
                  <a:pt x="336" y="234"/>
                </a:lnTo>
                <a:lnTo>
                  <a:pt x="337" y="234"/>
                </a:lnTo>
                <a:lnTo>
                  <a:pt x="339" y="234"/>
                </a:lnTo>
                <a:lnTo>
                  <a:pt x="339" y="236"/>
                </a:lnTo>
                <a:lnTo>
                  <a:pt x="339" y="237"/>
                </a:lnTo>
                <a:lnTo>
                  <a:pt x="337" y="237"/>
                </a:lnTo>
                <a:lnTo>
                  <a:pt x="337" y="238"/>
                </a:lnTo>
                <a:lnTo>
                  <a:pt x="339" y="238"/>
                </a:lnTo>
                <a:lnTo>
                  <a:pt x="339" y="240"/>
                </a:lnTo>
                <a:lnTo>
                  <a:pt x="337" y="240"/>
                </a:lnTo>
                <a:lnTo>
                  <a:pt x="339" y="241"/>
                </a:lnTo>
                <a:lnTo>
                  <a:pt x="339" y="242"/>
                </a:lnTo>
                <a:lnTo>
                  <a:pt x="339" y="244"/>
                </a:lnTo>
                <a:lnTo>
                  <a:pt x="340" y="244"/>
                </a:lnTo>
                <a:lnTo>
                  <a:pt x="342" y="244"/>
                </a:lnTo>
                <a:lnTo>
                  <a:pt x="343" y="245"/>
                </a:lnTo>
                <a:lnTo>
                  <a:pt x="344" y="244"/>
                </a:lnTo>
                <a:lnTo>
                  <a:pt x="346" y="245"/>
                </a:lnTo>
                <a:lnTo>
                  <a:pt x="344" y="245"/>
                </a:lnTo>
                <a:lnTo>
                  <a:pt x="346" y="247"/>
                </a:lnTo>
                <a:lnTo>
                  <a:pt x="346" y="245"/>
                </a:lnTo>
                <a:lnTo>
                  <a:pt x="347" y="245"/>
                </a:lnTo>
                <a:lnTo>
                  <a:pt x="347" y="247"/>
                </a:lnTo>
                <a:lnTo>
                  <a:pt x="347" y="248"/>
                </a:lnTo>
                <a:lnTo>
                  <a:pt x="347" y="247"/>
                </a:lnTo>
                <a:lnTo>
                  <a:pt x="347" y="248"/>
                </a:lnTo>
                <a:lnTo>
                  <a:pt x="348" y="248"/>
                </a:lnTo>
                <a:lnTo>
                  <a:pt x="348" y="249"/>
                </a:lnTo>
                <a:lnTo>
                  <a:pt x="347" y="249"/>
                </a:lnTo>
                <a:lnTo>
                  <a:pt x="347" y="251"/>
                </a:lnTo>
                <a:lnTo>
                  <a:pt x="347" y="252"/>
                </a:lnTo>
                <a:lnTo>
                  <a:pt x="348" y="253"/>
                </a:lnTo>
                <a:lnTo>
                  <a:pt x="348" y="252"/>
                </a:lnTo>
                <a:lnTo>
                  <a:pt x="350" y="252"/>
                </a:lnTo>
                <a:lnTo>
                  <a:pt x="350" y="253"/>
                </a:lnTo>
                <a:lnTo>
                  <a:pt x="351" y="252"/>
                </a:lnTo>
                <a:lnTo>
                  <a:pt x="351" y="253"/>
                </a:lnTo>
                <a:lnTo>
                  <a:pt x="353" y="253"/>
                </a:lnTo>
                <a:lnTo>
                  <a:pt x="353" y="255"/>
                </a:lnTo>
                <a:lnTo>
                  <a:pt x="351" y="256"/>
                </a:lnTo>
                <a:lnTo>
                  <a:pt x="353" y="258"/>
                </a:lnTo>
                <a:lnTo>
                  <a:pt x="354" y="258"/>
                </a:lnTo>
                <a:lnTo>
                  <a:pt x="355" y="256"/>
                </a:lnTo>
                <a:lnTo>
                  <a:pt x="357" y="256"/>
                </a:lnTo>
                <a:lnTo>
                  <a:pt x="357" y="255"/>
                </a:lnTo>
                <a:lnTo>
                  <a:pt x="359" y="255"/>
                </a:lnTo>
                <a:lnTo>
                  <a:pt x="359" y="253"/>
                </a:lnTo>
                <a:lnTo>
                  <a:pt x="361" y="253"/>
                </a:lnTo>
                <a:lnTo>
                  <a:pt x="362" y="255"/>
                </a:lnTo>
                <a:lnTo>
                  <a:pt x="362" y="253"/>
                </a:lnTo>
                <a:lnTo>
                  <a:pt x="364" y="255"/>
                </a:lnTo>
                <a:lnTo>
                  <a:pt x="364" y="256"/>
                </a:lnTo>
                <a:lnTo>
                  <a:pt x="364" y="258"/>
                </a:lnTo>
                <a:lnTo>
                  <a:pt x="365" y="258"/>
                </a:lnTo>
                <a:lnTo>
                  <a:pt x="365" y="256"/>
                </a:lnTo>
                <a:lnTo>
                  <a:pt x="366" y="256"/>
                </a:lnTo>
                <a:lnTo>
                  <a:pt x="368" y="256"/>
                </a:lnTo>
                <a:lnTo>
                  <a:pt x="368" y="258"/>
                </a:lnTo>
                <a:lnTo>
                  <a:pt x="366" y="258"/>
                </a:lnTo>
                <a:lnTo>
                  <a:pt x="365" y="258"/>
                </a:lnTo>
                <a:lnTo>
                  <a:pt x="366" y="258"/>
                </a:lnTo>
                <a:lnTo>
                  <a:pt x="368" y="258"/>
                </a:lnTo>
                <a:lnTo>
                  <a:pt x="368" y="259"/>
                </a:lnTo>
                <a:lnTo>
                  <a:pt x="368" y="260"/>
                </a:lnTo>
                <a:lnTo>
                  <a:pt x="369" y="260"/>
                </a:lnTo>
                <a:lnTo>
                  <a:pt x="369" y="259"/>
                </a:lnTo>
                <a:lnTo>
                  <a:pt x="370" y="260"/>
                </a:lnTo>
                <a:lnTo>
                  <a:pt x="370" y="263"/>
                </a:lnTo>
                <a:lnTo>
                  <a:pt x="372" y="264"/>
                </a:lnTo>
                <a:lnTo>
                  <a:pt x="372" y="263"/>
                </a:lnTo>
                <a:lnTo>
                  <a:pt x="373" y="263"/>
                </a:lnTo>
                <a:lnTo>
                  <a:pt x="375" y="264"/>
                </a:lnTo>
                <a:lnTo>
                  <a:pt x="377" y="264"/>
                </a:lnTo>
                <a:lnTo>
                  <a:pt x="376" y="264"/>
                </a:lnTo>
                <a:lnTo>
                  <a:pt x="376" y="266"/>
                </a:lnTo>
                <a:lnTo>
                  <a:pt x="375" y="267"/>
                </a:lnTo>
                <a:lnTo>
                  <a:pt x="376" y="269"/>
                </a:lnTo>
                <a:lnTo>
                  <a:pt x="375" y="270"/>
                </a:lnTo>
                <a:lnTo>
                  <a:pt x="375" y="269"/>
                </a:lnTo>
                <a:lnTo>
                  <a:pt x="373" y="267"/>
                </a:lnTo>
                <a:lnTo>
                  <a:pt x="373" y="269"/>
                </a:lnTo>
                <a:lnTo>
                  <a:pt x="372" y="269"/>
                </a:lnTo>
                <a:lnTo>
                  <a:pt x="372" y="270"/>
                </a:lnTo>
                <a:lnTo>
                  <a:pt x="373" y="270"/>
                </a:lnTo>
                <a:lnTo>
                  <a:pt x="373" y="271"/>
                </a:lnTo>
                <a:lnTo>
                  <a:pt x="375" y="273"/>
                </a:lnTo>
                <a:lnTo>
                  <a:pt x="373" y="274"/>
                </a:lnTo>
                <a:lnTo>
                  <a:pt x="372" y="274"/>
                </a:lnTo>
                <a:lnTo>
                  <a:pt x="372" y="275"/>
                </a:lnTo>
                <a:lnTo>
                  <a:pt x="373" y="275"/>
                </a:lnTo>
                <a:lnTo>
                  <a:pt x="375" y="275"/>
                </a:lnTo>
                <a:lnTo>
                  <a:pt x="376" y="274"/>
                </a:lnTo>
                <a:lnTo>
                  <a:pt x="376" y="275"/>
                </a:lnTo>
                <a:lnTo>
                  <a:pt x="377" y="277"/>
                </a:lnTo>
                <a:lnTo>
                  <a:pt x="379" y="277"/>
                </a:lnTo>
                <a:lnTo>
                  <a:pt x="379" y="275"/>
                </a:lnTo>
                <a:lnTo>
                  <a:pt x="379" y="274"/>
                </a:lnTo>
                <a:lnTo>
                  <a:pt x="380" y="275"/>
                </a:lnTo>
                <a:lnTo>
                  <a:pt x="380" y="277"/>
                </a:lnTo>
                <a:lnTo>
                  <a:pt x="381" y="277"/>
                </a:lnTo>
                <a:lnTo>
                  <a:pt x="381" y="278"/>
                </a:lnTo>
                <a:lnTo>
                  <a:pt x="381" y="280"/>
                </a:lnTo>
                <a:lnTo>
                  <a:pt x="383" y="280"/>
                </a:lnTo>
                <a:lnTo>
                  <a:pt x="383" y="278"/>
                </a:lnTo>
                <a:lnTo>
                  <a:pt x="384" y="278"/>
                </a:lnTo>
                <a:lnTo>
                  <a:pt x="384" y="280"/>
                </a:lnTo>
                <a:lnTo>
                  <a:pt x="384" y="281"/>
                </a:lnTo>
                <a:lnTo>
                  <a:pt x="384" y="282"/>
                </a:lnTo>
                <a:lnTo>
                  <a:pt x="386" y="282"/>
                </a:lnTo>
                <a:lnTo>
                  <a:pt x="386" y="284"/>
                </a:lnTo>
                <a:lnTo>
                  <a:pt x="387" y="282"/>
                </a:lnTo>
                <a:lnTo>
                  <a:pt x="387" y="284"/>
                </a:lnTo>
                <a:lnTo>
                  <a:pt x="388" y="284"/>
                </a:lnTo>
                <a:lnTo>
                  <a:pt x="390" y="284"/>
                </a:lnTo>
                <a:lnTo>
                  <a:pt x="390" y="282"/>
                </a:lnTo>
                <a:lnTo>
                  <a:pt x="390" y="281"/>
                </a:lnTo>
                <a:lnTo>
                  <a:pt x="391" y="282"/>
                </a:lnTo>
                <a:lnTo>
                  <a:pt x="391" y="284"/>
                </a:lnTo>
                <a:lnTo>
                  <a:pt x="392" y="285"/>
                </a:lnTo>
                <a:lnTo>
                  <a:pt x="392" y="284"/>
                </a:lnTo>
                <a:lnTo>
                  <a:pt x="394" y="284"/>
                </a:lnTo>
                <a:lnTo>
                  <a:pt x="395" y="284"/>
                </a:lnTo>
                <a:lnTo>
                  <a:pt x="395" y="285"/>
                </a:lnTo>
                <a:lnTo>
                  <a:pt x="397" y="286"/>
                </a:lnTo>
                <a:lnTo>
                  <a:pt x="398" y="285"/>
                </a:lnTo>
                <a:lnTo>
                  <a:pt x="399" y="285"/>
                </a:lnTo>
                <a:lnTo>
                  <a:pt x="399" y="286"/>
                </a:lnTo>
                <a:lnTo>
                  <a:pt x="401" y="288"/>
                </a:lnTo>
                <a:lnTo>
                  <a:pt x="402" y="288"/>
                </a:lnTo>
                <a:lnTo>
                  <a:pt x="402" y="288"/>
                </a:lnTo>
                <a:lnTo>
                  <a:pt x="403" y="288"/>
                </a:lnTo>
                <a:lnTo>
                  <a:pt x="403" y="286"/>
                </a:lnTo>
                <a:lnTo>
                  <a:pt x="403" y="285"/>
                </a:lnTo>
                <a:lnTo>
                  <a:pt x="405" y="285"/>
                </a:lnTo>
                <a:lnTo>
                  <a:pt x="406" y="285"/>
                </a:lnTo>
                <a:lnTo>
                  <a:pt x="406" y="284"/>
                </a:lnTo>
                <a:lnTo>
                  <a:pt x="408" y="284"/>
                </a:lnTo>
                <a:lnTo>
                  <a:pt x="408" y="282"/>
                </a:lnTo>
                <a:lnTo>
                  <a:pt x="408" y="284"/>
                </a:lnTo>
                <a:lnTo>
                  <a:pt x="409" y="285"/>
                </a:lnTo>
                <a:lnTo>
                  <a:pt x="410" y="285"/>
                </a:lnTo>
                <a:lnTo>
                  <a:pt x="410" y="284"/>
                </a:lnTo>
                <a:lnTo>
                  <a:pt x="412" y="285"/>
                </a:lnTo>
                <a:lnTo>
                  <a:pt x="413" y="285"/>
                </a:lnTo>
                <a:lnTo>
                  <a:pt x="413" y="286"/>
                </a:lnTo>
                <a:lnTo>
                  <a:pt x="414" y="286"/>
                </a:lnTo>
                <a:lnTo>
                  <a:pt x="414" y="285"/>
                </a:lnTo>
                <a:lnTo>
                  <a:pt x="416" y="284"/>
                </a:lnTo>
                <a:lnTo>
                  <a:pt x="416" y="285"/>
                </a:lnTo>
                <a:lnTo>
                  <a:pt x="417" y="285"/>
                </a:lnTo>
                <a:lnTo>
                  <a:pt x="417" y="286"/>
                </a:lnTo>
                <a:lnTo>
                  <a:pt x="419" y="286"/>
                </a:lnTo>
                <a:lnTo>
                  <a:pt x="420" y="285"/>
                </a:lnTo>
                <a:lnTo>
                  <a:pt x="420" y="286"/>
                </a:lnTo>
                <a:lnTo>
                  <a:pt x="420" y="288"/>
                </a:lnTo>
                <a:lnTo>
                  <a:pt x="419" y="288"/>
                </a:lnTo>
                <a:lnTo>
                  <a:pt x="419" y="289"/>
                </a:lnTo>
                <a:lnTo>
                  <a:pt x="420" y="288"/>
                </a:lnTo>
                <a:lnTo>
                  <a:pt x="420" y="289"/>
                </a:lnTo>
                <a:lnTo>
                  <a:pt x="421" y="289"/>
                </a:lnTo>
                <a:lnTo>
                  <a:pt x="423" y="289"/>
                </a:lnTo>
                <a:lnTo>
                  <a:pt x="421" y="288"/>
                </a:lnTo>
                <a:lnTo>
                  <a:pt x="421" y="286"/>
                </a:lnTo>
                <a:lnTo>
                  <a:pt x="423" y="288"/>
                </a:lnTo>
                <a:lnTo>
                  <a:pt x="423" y="286"/>
                </a:lnTo>
                <a:lnTo>
                  <a:pt x="424" y="286"/>
                </a:lnTo>
                <a:lnTo>
                  <a:pt x="425" y="286"/>
                </a:lnTo>
                <a:lnTo>
                  <a:pt x="425" y="285"/>
                </a:lnTo>
                <a:lnTo>
                  <a:pt x="427" y="286"/>
                </a:lnTo>
                <a:lnTo>
                  <a:pt x="427" y="288"/>
                </a:lnTo>
                <a:lnTo>
                  <a:pt x="428" y="288"/>
                </a:lnTo>
                <a:lnTo>
                  <a:pt x="430" y="288"/>
                </a:lnTo>
                <a:lnTo>
                  <a:pt x="428" y="288"/>
                </a:lnTo>
                <a:lnTo>
                  <a:pt x="428" y="286"/>
                </a:lnTo>
                <a:lnTo>
                  <a:pt x="427" y="286"/>
                </a:lnTo>
                <a:lnTo>
                  <a:pt x="428" y="286"/>
                </a:lnTo>
                <a:lnTo>
                  <a:pt x="430" y="285"/>
                </a:lnTo>
                <a:lnTo>
                  <a:pt x="430" y="284"/>
                </a:lnTo>
                <a:lnTo>
                  <a:pt x="431" y="284"/>
                </a:lnTo>
                <a:lnTo>
                  <a:pt x="431" y="285"/>
                </a:lnTo>
                <a:lnTo>
                  <a:pt x="431" y="286"/>
                </a:lnTo>
                <a:lnTo>
                  <a:pt x="432" y="286"/>
                </a:lnTo>
                <a:lnTo>
                  <a:pt x="431" y="288"/>
                </a:lnTo>
                <a:lnTo>
                  <a:pt x="432" y="288"/>
                </a:lnTo>
                <a:lnTo>
                  <a:pt x="434" y="289"/>
                </a:lnTo>
                <a:lnTo>
                  <a:pt x="434" y="288"/>
                </a:lnTo>
                <a:lnTo>
                  <a:pt x="435" y="286"/>
                </a:lnTo>
                <a:lnTo>
                  <a:pt x="435" y="285"/>
                </a:lnTo>
                <a:lnTo>
                  <a:pt x="435" y="286"/>
                </a:lnTo>
                <a:lnTo>
                  <a:pt x="435" y="288"/>
                </a:lnTo>
                <a:lnTo>
                  <a:pt x="435" y="289"/>
                </a:lnTo>
                <a:lnTo>
                  <a:pt x="435" y="289"/>
                </a:lnTo>
                <a:lnTo>
                  <a:pt x="435" y="291"/>
                </a:lnTo>
                <a:lnTo>
                  <a:pt x="436" y="291"/>
                </a:lnTo>
                <a:lnTo>
                  <a:pt x="436" y="291"/>
                </a:lnTo>
                <a:lnTo>
                  <a:pt x="438" y="291"/>
                </a:lnTo>
                <a:lnTo>
                  <a:pt x="438" y="291"/>
                </a:lnTo>
                <a:lnTo>
                  <a:pt x="439" y="291"/>
                </a:lnTo>
                <a:lnTo>
                  <a:pt x="441" y="291"/>
                </a:lnTo>
                <a:lnTo>
                  <a:pt x="439" y="291"/>
                </a:lnTo>
                <a:lnTo>
                  <a:pt x="439" y="292"/>
                </a:lnTo>
                <a:lnTo>
                  <a:pt x="439" y="293"/>
                </a:lnTo>
                <a:lnTo>
                  <a:pt x="441" y="295"/>
                </a:lnTo>
                <a:lnTo>
                  <a:pt x="442" y="296"/>
                </a:lnTo>
                <a:lnTo>
                  <a:pt x="443" y="296"/>
                </a:lnTo>
                <a:lnTo>
                  <a:pt x="443" y="297"/>
                </a:lnTo>
                <a:lnTo>
                  <a:pt x="445" y="296"/>
                </a:lnTo>
                <a:lnTo>
                  <a:pt x="445" y="297"/>
                </a:lnTo>
                <a:lnTo>
                  <a:pt x="445" y="299"/>
                </a:lnTo>
                <a:lnTo>
                  <a:pt x="446" y="299"/>
                </a:lnTo>
                <a:lnTo>
                  <a:pt x="446" y="297"/>
                </a:lnTo>
                <a:lnTo>
                  <a:pt x="447" y="297"/>
                </a:lnTo>
                <a:lnTo>
                  <a:pt x="446" y="299"/>
                </a:lnTo>
                <a:lnTo>
                  <a:pt x="447" y="300"/>
                </a:lnTo>
                <a:lnTo>
                  <a:pt x="449" y="300"/>
                </a:lnTo>
                <a:lnTo>
                  <a:pt x="449" y="302"/>
                </a:lnTo>
                <a:lnTo>
                  <a:pt x="450" y="302"/>
                </a:lnTo>
                <a:lnTo>
                  <a:pt x="450" y="303"/>
                </a:lnTo>
                <a:lnTo>
                  <a:pt x="449" y="303"/>
                </a:lnTo>
                <a:lnTo>
                  <a:pt x="447" y="303"/>
                </a:lnTo>
                <a:lnTo>
                  <a:pt x="449" y="304"/>
                </a:lnTo>
                <a:lnTo>
                  <a:pt x="449" y="306"/>
                </a:lnTo>
                <a:lnTo>
                  <a:pt x="449" y="307"/>
                </a:lnTo>
                <a:lnTo>
                  <a:pt x="450" y="307"/>
                </a:lnTo>
                <a:lnTo>
                  <a:pt x="452" y="306"/>
                </a:lnTo>
                <a:lnTo>
                  <a:pt x="453" y="306"/>
                </a:lnTo>
                <a:lnTo>
                  <a:pt x="454" y="307"/>
                </a:lnTo>
                <a:lnTo>
                  <a:pt x="454" y="308"/>
                </a:lnTo>
                <a:lnTo>
                  <a:pt x="456" y="308"/>
                </a:lnTo>
                <a:lnTo>
                  <a:pt x="454" y="308"/>
                </a:lnTo>
                <a:lnTo>
                  <a:pt x="454" y="310"/>
                </a:lnTo>
                <a:lnTo>
                  <a:pt x="453" y="310"/>
                </a:lnTo>
                <a:lnTo>
                  <a:pt x="453" y="311"/>
                </a:lnTo>
                <a:lnTo>
                  <a:pt x="454" y="311"/>
                </a:lnTo>
                <a:lnTo>
                  <a:pt x="454" y="313"/>
                </a:lnTo>
                <a:lnTo>
                  <a:pt x="456" y="313"/>
                </a:lnTo>
                <a:lnTo>
                  <a:pt x="457" y="314"/>
                </a:lnTo>
                <a:lnTo>
                  <a:pt x="456" y="314"/>
                </a:lnTo>
                <a:lnTo>
                  <a:pt x="456" y="315"/>
                </a:lnTo>
                <a:lnTo>
                  <a:pt x="457" y="315"/>
                </a:lnTo>
                <a:lnTo>
                  <a:pt x="456" y="317"/>
                </a:lnTo>
                <a:lnTo>
                  <a:pt x="457" y="317"/>
                </a:lnTo>
                <a:lnTo>
                  <a:pt x="458" y="317"/>
                </a:lnTo>
                <a:lnTo>
                  <a:pt x="457" y="318"/>
                </a:lnTo>
                <a:lnTo>
                  <a:pt x="457" y="319"/>
                </a:lnTo>
                <a:lnTo>
                  <a:pt x="458" y="319"/>
                </a:lnTo>
                <a:lnTo>
                  <a:pt x="460" y="321"/>
                </a:lnTo>
                <a:lnTo>
                  <a:pt x="458" y="322"/>
                </a:lnTo>
                <a:lnTo>
                  <a:pt x="457" y="322"/>
                </a:lnTo>
                <a:lnTo>
                  <a:pt x="457" y="324"/>
                </a:lnTo>
                <a:lnTo>
                  <a:pt x="458" y="324"/>
                </a:lnTo>
                <a:lnTo>
                  <a:pt x="457" y="324"/>
                </a:lnTo>
                <a:lnTo>
                  <a:pt x="457" y="325"/>
                </a:lnTo>
                <a:lnTo>
                  <a:pt x="458" y="325"/>
                </a:lnTo>
                <a:lnTo>
                  <a:pt x="460" y="325"/>
                </a:lnTo>
                <a:lnTo>
                  <a:pt x="460" y="326"/>
                </a:lnTo>
                <a:lnTo>
                  <a:pt x="458" y="326"/>
                </a:lnTo>
                <a:lnTo>
                  <a:pt x="457" y="326"/>
                </a:lnTo>
                <a:lnTo>
                  <a:pt x="456" y="328"/>
                </a:lnTo>
                <a:lnTo>
                  <a:pt x="457" y="328"/>
                </a:lnTo>
                <a:lnTo>
                  <a:pt x="457" y="329"/>
                </a:lnTo>
                <a:lnTo>
                  <a:pt x="456" y="329"/>
                </a:lnTo>
                <a:lnTo>
                  <a:pt x="456" y="330"/>
                </a:lnTo>
                <a:lnTo>
                  <a:pt x="457" y="330"/>
                </a:lnTo>
                <a:lnTo>
                  <a:pt x="456" y="332"/>
                </a:lnTo>
                <a:lnTo>
                  <a:pt x="457" y="332"/>
                </a:lnTo>
                <a:lnTo>
                  <a:pt x="458" y="332"/>
                </a:lnTo>
                <a:lnTo>
                  <a:pt x="457" y="333"/>
                </a:lnTo>
                <a:lnTo>
                  <a:pt x="456" y="333"/>
                </a:lnTo>
                <a:lnTo>
                  <a:pt x="457" y="335"/>
                </a:lnTo>
                <a:lnTo>
                  <a:pt x="457" y="336"/>
                </a:lnTo>
                <a:lnTo>
                  <a:pt x="456" y="336"/>
                </a:lnTo>
                <a:lnTo>
                  <a:pt x="457" y="337"/>
                </a:lnTo>
                <a:lnTo>
                  <a:pt x="457" y="339"/>
                </a:lnTo>
                <a:lnTo>
                  <a:pt x="457" y="340"/>
                </a:lnTo>
                <a:lnTo>
                  <a:pt x="458" y="340"/>
                </a:lnTo>
                <a:lnTo>
                  <a:pt x="384" y="354"/>
                </a:lnTo>
                <a:lnTo>
                  <a:pt x="370" y="370"/>
                </a:lnTo>
                <a:lnTo>
                  <a:pt x="291" y="358"/>
                </a:lnTo>
                <a:lnTo>
                  <a:pt x="212" y="332"/>
                </a:lnTo>
                <a:lnTo>
                  <a:pt x="189" y="348"/>
                </a:lnTo>
                <a:lnTo>
                  <a:pt x="138" y="352"/>
                </a:lnTo>
                <a:lnTo>
                  <a:pt x="110" y="332"/>
                </a:lnTo>
                <a:lnTo>
                  <a:pt x="108" y="321"/>
                </a:lnTo>
                <a:lnTo>
                  <a:pt x="131" y="274"/>
                </a:lnTo>
                <a:lnTo>
                  <a:pt x="121" y="259"/>
                </a:lnTo>
                <a:lnTo>
                  <a:pt x="79" y="270"/>
                </a:lnTo>
                <a:lnTo>
                  <a:pt x="5" y="238"/>
                </a:lnTo>
                <a:lnTo>
                  <a:pt x="0" y="190"/>
                </a:lnTo>
                <a:lnTo>
                  <a:pt x="6" y="19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4" name="Freeform 110"/>
          <p:cNvSpPr>
            <a:spLocks/>
          </p:cNvSpPr>
          <p:nvPr>
            <p:custDataLst>
              <p:tags r:id="rId30"/>
            </p:custDataLst>
          </p:nvPr>
        </p:nvSpPr>
        <p:spPr bwMode="gray">
          <a:xfrm>
            <a:off x="5246093" y="4130705"/>
            <a:ext cx="768010" cy="567809"/>
          </a:xfrm>
          <a:custGeom>
            <a:avLst/>
            <a:gdLst>
              <a:gd name="T0" fmla="*/ 481 w 807"/>
              <a:gd name="T1" fmla="*/ 3 h 635"/>
              <a:gd name="T2" fmla="*/ 477 w 807"/>
              <a:gd name="T3" fmla="*/ 10 h 635"/>
              <a:gd name="T4" fmla="*/ 477 w 807"/>
              <a:gd name="T5" fmla="*/ 24 h 635"/>
              <a:gd name="T6" fmla="*/ 521 w 807"/>
              <a:gd name="T7" fmla="*/ 112 h 635"/>
              <a:gd name="T8" fmla="*/ 583 w 807"/>
              <a:gd name="T9" fmla="*/ 179 h 635"/>
              <a:gd name="T10" fmla="*/ 584 w 807"/>
              <a:gd name="T11" fmla="*/ 186 h 635"/>
              <a:gd name="T12" fmla="*/ 582 w 807"/>
              <a:gd name="T13" fmla="*/ 197 h 635"/>
              <a:gd name="T14" fmla="*/ 580 w 807"/>
              <a:gd name="T15" fmla="*/ 211 h 635"/>
              <a:gd name="T16" fmla="*/ 580 w 807"/>
              <a:gd name="T17" fmla="*/ 221 h 635"/>
              <a:gd name="T18" fmla="*/ 587 w 807"/>
              <a:gd name="T19" fmla="*/ 233 h 635"/>
              <a:gd name="T20" fmla="*/ 599 w 807"/>
              <a:gd name="T21" fmla="*/ 227 h 635"/>
              <a:gd name="T22" fmla="*/ 609 w 807"/>
              <a:gd name="T23" fmla="*/ 225 h 635"/>
              <a:gd name="T24" fmla="*/ 617 w 807"/>
              <a:gd name="T25" fmla="*/ 223 h 635"/>
              <a:gd name="T26" fmla="*/ 623 w 807"/>
              <a:gd name="T27" fmla="*/ 221 h 635"/>
              <a:gd name="T28" fmla="*/ 627 w 807"/>
              <a:gd name="T29" fmla="*/ 218 h 635"/>
              <a:gd name="T30" fmla="*/ 632 w 807"/>
              <a:gd name="T31" fmla="*/ 214 h 635"/>
              <a:gd name="T32" fmla="*/ 639 w 807"/>
              <a:gd name="T33" fmla="*/ 210 h 635"/>
              <a:gd name="T34" fmla="*/ 645 w 807"/>
              <a:gd name="T35" fmla="*/ 205 h 635"/>
              <a:gd name="T36" fmla="*/ 653 w 807"/>
              <a:gd name="T37" fmla="*/ 203 h 635"/>
              <a:gd name="T38" fmla="*/ 659 w 807"/>
              <a:gd name="T39" fmla="*/ 204 h 635"/>
              <a:gd name="T40" fmla="*/ 665 w 807"/>
              <a:gd name="T41" fmla="*/ 203 h 635"/>
              <a:gd name="T42" fmla="*/ 672 w 807"/>
              <a:gd name="T43" fmla="*/ 205 h 635"/>
              <a:gd name="T44" fmla="*/ 678 w 807"/>
              <a:gd name="T45" fmla="*/ 205 h 635"/>
              <a:gd name="T46" fmla="*/ 683 w 807"/>
              <a:gd name="T47" fmla="*/ 205 h 635"/>
              <a:gd name="T48" fmla="*/ 686 w 807"/>
              <a:gd name="T49" fmla="*/ 211 h 635"/>
              <a:gd name="T50" fmla="*/ 692 w 807"/>
              <a:gd name="T51" fmla="*/ 210 h 635"/>
              <a:gd name="T52" fmla="*/ 693 w 807"/>
              <a:gd name="T53" fmla="*/ 215 h 635"/>
              <a:gd name="T54" fmla="*/ 698 w 807"/>
              <a:gd name="T55" fmla="*/ 215 h 635"/>
              <a:gd name="T56" fmla="*/ 705 w 807"/>
              <a:gd name="T57" fmla="*/ 212 h 635"/>
              <a:gd name="T58" fmla="*/ 711 w 807"/>
              <a:gd name="T59" fmla="*/ 215 h 635"/>
              <a:gd name="T60" fmla="*/ 716 w 807"/>
              <a:gd name="T61" fmla="*/ 215 h 635"/>
              <a:gd name="T62" fmla="*/ 722 w 807"/>
              <a:gd name="T63" fmla="*/ 214 h 635"/>
              <a:gd name="T64" fmla="*/ 725 w 807"/>
              <a:gd name="T65" fmla="*/ 212 h 635"/>
              <a:gd name="T66" fmla="*/ 726 w 807"/>
              <a:gd name="T67" fmla="*/ 215 h 635"/>
              <a:gd name="T68" fmla="*/ 729 w 807"/>
              <a:gd name="T69" fmla="*/ 219 h 635"/>
              <a:gd name="T70" fmla="*/ 733 w 807"/>
              <a:gd name="T71" fmla="*/ 219 h 635"/>
              <a:gd name="T72" fmla="*/ 737 w 807"/>
              <a:gd name="T73" fmla="*/ 219 h 635"/>
              <a:gd name="T74" fmla="*/ 738 w 807"/>
              <a:gd name="T75" fmla="*/ 222 h 635"/>
              <a:gd name="T76" fmla="*/ 745 w 807"/>
              <a:gd name="T77" fmla="*/ 227 h 635"/>
              <a:gd name="T78" fmla="*/ 747 w 807"/>
              <a:gd name="T79" fmla="*/ 225 h 635"/>
              <a:gd name="T80" fmla="*/ 753 w 807"/>
              <a:gd name="T81" fmla="*/ 227 h 635"/>
              <a:gd name="T82" fmla="*/ 760 w 807"/>
              <a:gd name="T83" fmla="*/ 229 h 635"/>
              <a:gd name="T84" fmla="*/ 767 w 807"/>
              <a:gd name="T85" fmla="*/ 232 h 635"/>
              <a:gd name="T86" fmla="*/ 774 w 807"/>
              <a:gd name="T87" fmla="*/ 237 h 635"/>
              <a:gd name="T88" fmla="*/ 778 w 807"/>
              <a:gd name="T89" fmla="*/ 243 h 635"/>
              <a:gd name="T90" fmla="*/ 775 w 807"/>
              <a:gd name="T91" fmla="*/ 248 h 635"/>
              <a:gd name="T92" fmla="*/ 771 w 807"/>
              <a:gd name="T93" fmla="*/ 252 h 635"/>
              <a:gd name="T94" fmla="*/ 769 w 807"/>
              <a:gd name="T95" fmla="*/ 255 h 635"/>
              <a:gd name="T96" fmla="*/ 764 w 807"/>
              <a:gd name="T97" fmla="*/ 259 h 635"/>
              <a:gd name="T98" fmla="*/ 764 w 807"/>
              <a:gd name="T99" fmla="*/ 267 h 635"/>
              <a:gd name="T100" fmla="*/ 769 w 807"/>
              <a:gd name="T101" fmla="*/ 277 h 635"/>
              <a:gd name="T102" fmla="*/ 775 w 807"/>
              <a:gd name="T103" fmla="*/ 284 h 635"/>
              <a:gd name="T104" fmla="*/ 778 w 807"/>
              <a:gd name="T105" fmla="*/ 289 h 635"/>
              <a:gd name="T106" fmla="*/ 774 w 807"/>
              <a:gd name="T107" fmla="*/ 298 h 635"/>
              <a:gd name="T108" fmla="*/ 770 w 807"/>
              <a:gd name="T109" fmla="*/ 302 h 635"/>
              <a:gd name="T110" fmla="*/ 766 w 807"/>
              <a:gd name="T111" fmla="*/ 307 h 635"/>
              <a:gd name="T112" fmla="*/ 760 w 807"/>
              <a:gd name="T113" fmla="*/ 313 h 635"/>
              <a:gd name="T114" fmla="*/ 694 w 807"/>
              <a:gd name="T115" fmla="*/ 479 h 635"/>
              <a:gd name="T116" fmla="*/ 108 w 807"/>
              <a:gd name="T117" fmla="*/ 635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07" h="635">
                <a:moveTo>
                  <a:pt x="20" y="142"/>
                </a:moveTo>
                <a:lnTo>
                  <a:pt x="38" y="80"/>
                </a:lnTo>
                <a:lnTo>
                  <a:pt x="180" y="99"/>
                </a:lnTo>
                <a:lnTo>
                  <a:pt x="481" y="0"/>
                </a:lnTo>
                <a:lnTo>
                  <a:pt x="481" y="2"/>
                </a:lnTo>
                <a:lnTo>
                  <a:pt x="481" y="3"/>
                </a:lnTo>
                <a:lnTo>
                  <a:pt x="481" y="6"/>
                </a:lnTo>
                <a:lnTo>
                  <a:pt x="480" y="6"/>
                </a:lnTo>
                <a:lnTo>
                  <a:pt x="478" y="6"/>
                </a:lnTo>
                <a:lnTo>
                  <a:pt x="477" y="7"/>
                </a:lnTo>
                <a:lnTo>
                  <a:pt x="477" y="9"/>
                </a:lnTo>
                <a:lnTo>
                  <a:pt x="477" y="10"/>
                </a:lnTo>
                <a:lnTo>
                  <a:pt x="476" y="11"/>
                </a:lnTo>
                <a:lnTo>
                  <a:pt x="474" y="14"/>
                </a:lnTo>
                <a:lnTo>
                  <a:pt x="474" y="18"/>
                </a:lnTo>
                <a:lnTo>
                  <a:pt x="474" y="21"/>
                </a:lnTo>
                <a:lnTo>
                  <a:pt x="476" y="22"/>
                </a:lnTo>
                <a:lnTo>
                  <a:pt x="477" y="24"/>
                </a:lnTo>
                <a:lnTo>
                  <a:pt x="478" y="25"/>
                </a:lnTo>
                <a:lnTo>
                  <a:pt x="477" y="31"/>
                </a:lnTo>
                <a:lnTo>
                  <a:pt x="477" y="33"/>
                </a:lnTo>
                <a:lnTo>
                  <a:pt x="477" y="38"/>
                </a:lnTo>
                <a:lnTo>
                  <a:pt x="492" y="58"/>
                </a:lnTo>
                <a:lnTo>
                  <a:pt x="521" y="112"/>
                </a:lnTo>
                <a:lnTo>
                  <a:pt x="521" y="116"/>
                </a:lnTo>
                <a:lnTo>
                  <a:pt x="521" y="131"/>
                </a:lnTo>
                <a:lnTo>
                  <a:pt x="522" y="131"/>
                </a:lnTo>
                <a:lnTo>
                  <a:pt x="584" y="175"/>
                </a:lnTo>
                <a:lnTo>
                  <a:pt x="583" y="178"/>
                </a:lnTo>
                <a:lnTo>
                  <a:pt x="583" y="179"/>
                </a:lnTo>
                <a:lnTo>
                  <a:pt x="583" y="181"/>
                </a:lnTo>
                <a:lnTo>
                  <a:pt x="584" y="181"/>
                </a:lnTo>
                <a:lnTo>
                  <a:pt x="584" y="182"/>
                </a:lnTo>
                <a:lnTo>
                  <a:pt x="584" y="183"/>
                </a:lnTo>
                <a:lnTo>
                  <a:pt x="584" y="186"/>
                </a:lnTo>
                <a:lnTo>
                  <a:pt x="584" y="186"/>
                </a:lnTo>
                <a:lnTo>
                  <a:pt x="584" y="188"/>
                </a:lnTo>
                <a:lnTo>
                  <a:pt x="584" y="189"/>
                </a:lnTo>
                <a:lnTo>
                  <a:pt x="584" y="190"/>
                </a:lnTo>
                <a:lnTo>
                  <a:pt x="583" y="192"/>
                </a:lnTo>
                <a:lnTo>
                  <a:pt x="583" y="194"/>
                </a:lnTo>
                <a:lnTo>
                  <a:pt x="582" y="197"/>
                </a:lnTo>
                <a:lnTo>
                  <a:pt x="580" y="199"/>
                </a:lnTo>
                <a:lnTo>
                  <a:pt x="580" y="200"/>
                </a:lnTo>
                <a:lnTo>
                  <a:pt x="579" y="201"/>
                </a:lnTo>
                <a:lnTo>
                  <a:pt x="579" y="203"/>
                </a:lnTo>
                <a:lnTo>
                  <a:pt x="579" y="205"/>
                </a:lnTo>
                <a:lnTo>
                  <a:pt x="580" y="211"/>
                </a:lnTo>
                <a:lnTo>
                  <a:pt x="580" y="212"/>
                </a:lnTo>
                <a:lnTo>
                  <a:pt x="582" y="214"/>
                </a:lnTo>
                <a:lnTo>
                  <a:pt x="582" y="216"/>
                </a:lnTo>
                <a:lnTo>
                  <a:pt x="580" y="218"/>
                </a:lnTo>
                <a:lnTo>
                  <a:pt x="580" y="219"/>
                </a:lnTo>
                <a:lnTo>
                  <a:pt x="580" y="221"/>
                </a:lnTo>
                <a:lnTo>
                  <a:pt x="580" y="223"/>
                </a:lnTo>
                <a:lnTo>
                  <a:pt x="582" y="226"/>
                </a:lnTo>
                <a:lnTo>
                  <a:pt x="583" y="229"/>
                </a:lnTo>
                <a:lnTo>
                  <a:pt x="584" y="232"/>
                </a:lnTo>
                <a:lnTo>
                  <a:pt x="586" y="233"/>
                </a:lnTo>
                <a:lnTo>
                  <a:pt x="587" y="233"/>
                </a:lnTo>
                <a:lnTo>
                  <a:pt x="588" y="233"/>
                </a:lnTo>
                <a:lnTo>
                  <a:pt x="591" y="233"/>
                </a:lnTo>
                <a:lnTo>
                  <a:pt x="594" y="233"/>
                </a:lnTo>
                <a:lnTo>
                  <a:pt x="595" y="232"/>
                </a:lnTo>
                <a:lnTo>
                  <a:pt x="597" y="230"/>
                </a:lnTo>
                <a:lnTo>
                  <a:pt x="599" y="227"/>
                </a:lnTo>
                <a:lnTo>
                  <a:pt x="604" y="227"/>
                </a:lnTo>
                <a:lnTo>
                  <a:pt x="604" y="226"/>
                </a:lnTo>
                <a:lnTo>
                  <a:pt x="605" y="226"/>
                </a:lnTo>
                <a:lnTo>
                  <a:pt x="606" y="226"/>
                </a:lnTo>
                <a:lnTo>
                  <a:pt x="608" y="225"/>
                </a:lnTo>
                <a:lnTo>
                  <a:pt x="609" y="225"/>
                </a:lnTo>
                <a:lnTo>
                  <a:pt x="610" y="223"/>
                </a:lnTo>
                <a:lnTo>
                  <a:pt x="612" y="223"/>
                </a:lnTo>
                <a:lnTo>
                  <a:pt x="613" y="223"/>
                </a:lnTo>
                <a:lnTo>
                  <a:pt x="615" y="223"/>
                </a:lnTo>
                <a:lnTo>
                  <a:pt x="616" y="223"/>
                </a:lnTo>
                <a:lnTo>
                  <a:pt x="617" y="223"/>
                </a:lnTo>
                <a:lnTo>
                  <a:pt x="619" y="222"/>
                </a:lnTo>
                <a:lnTo>
                  <a:pt x="620" y="222"/>
                </a:lnTo>
                <a:lnTo>
                  <a:pt x="621" y="222"/>
                </a:lnTo>
                <a:lnTo>
                  <a:pt x="620" y="222"/>
                </a:lnTo>
                <a:lnTo>
                  <a:pt x="621" y="221"/>
                </a:lnTo>
                <a:lnTo>
                  <a:pt x="623" y="221"/>
                </a:lnTo>
                <a:lnTo>
                  <a:pt x="624" y="221"/>
                </a:lnTo>
                <a:lnTo>
                  <a:pt x="624" y="219"/>
                </a:lnTo>
                <a:lnTo>
                  <a:pt x="624" y="219"/>
                </a:lnTo>
                <a:lnTo>
                  <a:pt x="626" y="219"/>
                </a:lnTo>
                <a:lnTo>
                  <a:pt x="627" y="219"/>
                </a:lnTo>
                <a:lnTo>
                  <a:pt x="627" y="218"/>
                </a:lnTo>
                <a:lnTo>
                  <a:pt x="628" y="218"/>
                </a:lnTo>
                <a:lnTo>
                  <a:pt x="630" y="216"/>
                </a:lnTo>
                <a:lnTo>
                  <a:pt x="631" y="216"/>
                </a:lnTo>
                <a:lnTo>
                  <a:pt x="631" y="215"/>
                </a:lnTo>
                <a:lnTo>
                  <a:pt x="632" y="215"/>
                </a:lnTo>
                <a:lnTo>
                  <a:pt x="632" y="214"/>
                </a:lnTo>
                <a:lnTo>
                  <a:pt x="634" y="214"/>
                </a:lnTo>
                <a:lnTo>
                  <a:pt x="635" y="214"/>
                </a:lnTo>
                <a:lnTo>
                  <a:pt x="635" y="212"/>
                </a:lnTo>
                <a:lnTo>
                  <a:pt x="637" y="212"/>
                </a:lnTo>
                <a:lnTo>
                  <a:pt x="638" y="211"/>
                </a:lnTo>
                <a:lnTo>
                  <a:pt x="639" y="210"/>
                </a:lnTo>
                <a:lnTo>
                  <a:pt x="641" y="210"/>
                </a:lnTo>
                <a:lnTo>
                  <a:pt x="641" y="208"/>
                </a:lnTo>
                <a:lnTo>
                  <a:pt x="642" y="207"/>
                </a:lnTo>
                <a:lnTo>
                  <a:pt x="643" y="207"/>
                </a:lnTo>
                <a:lnTo>
                  <a:pt x="645" y="207"/>
                </a:lnTo>
                <a:lnTo>
                  <a:pt x="645" y="205"/>
                </a:lnTo>
                <a:lnTo>
                  <a:pt x="646" y="205"/>
                </a:lnTo>
                <a:lnTo>
                  <a:pt x="648" y="204"/>
                </a:lnTo>
                <a:lnTo>
                  <a:pt x="649" y="204"/>
                </a:lnTo>
                <a:lnTo>
                  <a:pt x="650" y="204"/>
                </a:lnTo>
                <a:lnTo>
                  <a:pt x="652" y="204"/>
                </a:lnTo>
                <a:lnTo>
                  <a:pt x="653" y="203"/>
                </a:lnTo>
                <a:lnTo>
                  <a:pt x="654" y="203"/>
                </a:lnTo>
                <a:lnTo>
                  <a:pt x="656" y="203"/>
                </a:lnTo>
                <a:lnTo>
                  <a:pt x="657" y="203"/>
                </a:lnTo>
                <a:lnTo>
                  <a:pt x="657" y="204"/>
                </a:lnTo>
                <a:lnTo>
                  <a:pt x="657" y="204"/>
                </a:lnTo>
                <a:lnTo>
                  <a:pt x="659" y="204"/>
                </a:lnTo>
                <a:lnTo>
                  <a:pt x="660" y="204"/>
                </a:lnTo>
                <a:lnTo>
                  <a:pt x="660" y="203"/>
                </a:lnTo>
                <a:lnTo>
                  <a:pt x="661" y="203"/>
                </a:lnTo>
                <a:lnTo>
                  <a:pt x="663" y="203"/>
                </a:lnTo>
                <a:lnTo>
                  <a:pt x="664" y="203"/>
                </a:lnTo>
                <a:lnTo>
                  <a:pt x="665" y="203"/>
                </a:lnTo>
                <a:lnTo>
                  <a:pt x="667" y="203"/>
                </a:lnTo>
                <a:lnTo>
                  <a:pt x="667" y="204"/>
                </a:lnTo>
                <a:lnTo>
                  <a:pt x="668" y="205"/>
                </a:lnTo>
                <a:lnTo>
                  <a:pt x="670" y="205"/>
                </a:lnTo>
                <a:lnTo>
                  <a:pt x="671" y="205"/>
                </a:lnTo>
                <a:lnTo>
                  <a:pt x="672" y="205"/>
                </a:lnTo>
                <a:lnTo>
                  <a:pt x="674" y="205"/>
                </a:lnTo>
                <a:lnTo>
                  <a:pt x="674" y="207"/>
                </a:lnTo>
                <a:lnTo>
                  <a:pt x="675" y="207"/>
                </a:lnTo>
                <a:lnTo>
                  <a:pt x="675" y="205"/>
                </a:lnTo>
                <a:lnTo>
                  <a:pt x="676" y="205"/>
                </a:lnTo>
                <a:lnTo>
                  <a:pt x="678" y="205"/>
                </a:lnTo>
                <a:lnTo>
                  <a:pt x="679" y="205"/>
                </a:lnTo>
                <a:lnTo>
                  <a:pt x="681" y="205"/>
                </a:lnTo>
                <a:lnTo>
                  <a:pt x="681" y="204"/>
                </a:lnTo>
                <a:lnTo>
                  <a:pt x="682" y="204"/>
                </a:lnTo>
                <a:lnTo>
                  <a:pt x="682" y="205"/>
                </a:lnTo>
                <a:lnTo>
                  <a:pt x="683" y="205"/>
                </a:lnTo>
                <a:lnTo>
                  <a:pt x="685" y="207"/>
                </a:lnTo>
                <a:lnTo>
                  <a:pt x="683" y="207"/>
                </a:lnTo>
                <a:lnTo>
                  <a:pt x="683" y="208"/>
                </a:lnTo>
                <a:lnTo>
                  <a:pt x="685" y="208"/>
                </a:lnTo>
                <a:lnTo>
                  <a:pt x="686" y="210"/>
                </a:lnTo>
                <a:lnTo>
                  <a:pt x="686" y="211"/>
                </a:lnTo>
                <a:lnTo>
                  <a:pt x="687" y="211"/>
                </a:lnTo>
                <a:lnTo>
                  <a:pt x="689" y="211"/>
                </a:lnTo>
                <a:lnTo>
                  <a:pt x="689" y="210"/>
                </a:lnTo>
                <a:lnTo>
                  <a:pt x="690" y="210"/>
                </a:lnTo>
                <a:lnTo>
                  <a:pt x="690" y="210"/>
                </a:lnTo>
                <a:lnTo>
                  <a:pt x="692" y="210"/>
                </a:lnTo>
                <a:lnTo>
                  <a:pt x="692" y="211"/>
                </a:lnTo>
                <a:lnTo>
                  <a:pt x="693" y="211"/>
                </a:lnTo>
                <a:lnTo>
                  <a:pt x="692" y="212"/>
                </a:lnTo>
                <a:lnTo>
                  <a:pt x="693" y="212"/>
                </a:lnTo>
                <a:lnTo>
                  <a:pt x="693" y="214"/>
                </a:lnTo>
                <a:lnTo>
                  <a:pt x="693" y="215"/>
                </a:lnTo>
                <a:lnTo>
                  <a:pt x="693" y="218"/>
                </a:lnTo>
                <a:lnTo>
                  <a:pt x="694" y="216"/>
                </a:lnTo>
                <a:lnTo>
                  <a:pt x="696" y="216"/>
                </a:lnTo>
                <a:lnTo>
                  <a:pt x="697" y="216"/>
                </a:lnTo>
                <a:lnTo>
                  <a:pt x="698" y="216"/>
                </a:lnTo>
                <a:lnTo>
                  <a:pt x="698" y="215"/>
                </a:lnTo>
                <a:lnTo>
                  <a:pt x="698" y="216"/>
                </a:lnTo>
                <a:lnTo>
                  <a:pt x="700" y="215"/>
                </a:lnTo>
                <a:lnTo>
                  <a:pt x="701" y="214"/>
                </a:lnTo>
                <a:lnTo>
                  <a:pt x="703" y="214"/>
                </a:lnTo>
                <a:lnTo>
                  <a:pt x="704" y="212"/>
                </a:lnTo>
                <a:lnTo>
                  <a:pt x="705" y="212"/>
                </a:lnTo>
                <a:lnTo>
                  <a:pt x="707" y="214"/>
                </a:lnTo>
                <a:lnTo>
                  <a:pt x="705" y="214"/>
                </a:lnTo>
                <a:lnTo>
                  <a:pt x="707" y="215"/>
                </a:lnTo>
                <a:lnTo>
                  <a:pt x="708" y="215"/>
                </a:lnTo>
                <a:lnTo>
                  <a:pt x="709" y="215"/>
                </a:lnTo>
                <a:lnTo>
                  <a:pt x="711" y="215"/>
                </a:lnTo>
                <a:lnTo>
                  <a:pt x="712" y="215"/>
                </a:lnTo>
                <a:lnTo>
                  <a:pt x="714" y="215"/>
                </a:lnTo>
                <a:lnTo>
                  <a:pt x="714" y="214"/>
                </a:lnTo>
                <a:lnTo>
                  <a:pt x="715" y="214"/>
                </a:lnTo>
                <a:lnTo>
                  <a:pt x="715" y="215"/>
                </a:lnTo>
                <a:lnTo>
                  <a:pt x="716" y="215"/>
                </a:lnTo>
                <a:lnTo>
                  <a:pt x="716" y="214"/>
                </a:lnTo>
                <a:lnTo>
                  <a:pt x="718" y="214"/>
                </a:lnTo>
                <a:lnTo>
                  <a:pt x="718" y="215"/>
                </a:lnTo>
                <a:lnTo>
                  <a:pt x="719" y="214"/>
                </a:lnTo>
                <a:lnTo>
                  <a:pt x="720" y="214"/>
                </a:lnTo>
                <a:lnTo>
                  <a:pt x="722" y="214"/>
                </a:lnTo>
                <a:lnTo>
                  <a:pt x="722" y="212"/>
                </a:lnTo>
                <a:lnTo>
                  <a:pt x="722" y="214"/>
                </a:lnTo>
                <a:lnTo>
                  <a:pt x="723" y="214"/>
                </a:lnTo>
                <a:lnTo>
                  <a:pt x="723" y="214"/>
                </a:lnTo>
                <a:lnTo>
                  <a:pt x="723" y="212"/>
                </a:lnTo>
                <a:lnTo>
                  <a:pt x="725" y="212"/>
                </a:lnTo>
                <a:lnTo>
                  <a:pt x="723" y="214"/>
                </a:lnTo>
                <a:lnTo>
                  <a:pt x="723" y="215"/>
                </a:lnTo>
                <a:lnTo>
                  <a:pt x="725" y="215"/>
                </a:lnTo>
                <a:lnTo>
                  <a:pt x="726" y="214"/>
                </a:lnTo>
                <a:lnTo>
                  <a:pt x="727" y="214"/>
                </a:lnTo>
                <a:lnTo>
                  <a:pt x="726" y="215"/>
                </a:lnTo>
                <a:lnTo>
                  <a:pt x="727" y="215"/>
                </a:lnTo>
                <a:lnTo>
                  <a:pt x="729" y="215"/>
                </a:lnTo>
                <a:lnTo>
                  <a:pt x="729" y="216"/>
                </a:lnTo>
                <a:lnTo>
                  <a:pt x="729" y="218"/>
                </a:lnTo>
                <a:lnTo>
                  <a:pt x="729" y="219"/>
                </a:lnTo>
                <a:lnTo>
                  <a:pt x="729" y="219"/>
                </a:lnTo>
                <a:lnTo>
                  <a:pt x="730" y="219"/>
                </a:lnTo>
                <a:lnTo>
                  <a:pt x="730" y="218"/>
                </a:lnTo>
                <a:lnTo>
                  <a:pt x="731" y="218"/>
                </a:lnTo>
                <a:lnTo>
                  <a:pt x="730" y="219"/>
                </a:lnTo>
                <a:lnTo>
                  <a:pt x="731" y="219"/>
                </a:lnTo>
                <a:lnTo>
                  <a:pt x="733" y="219"/>
                </a:lnTo>
                <a:lnTo>
                  <a:pt x="733" y="218"/>
                </a:lnTo>
                <a:lnTo>
                  <a:pt x="734" y="218"/>
                </a:lnTo>
                <a:lnTo>
                  <a:pt x="734" y="219"/>
                </a:lnTo>
                <a:lnTo>
                  <a:pt x="736" y="219"/>
                </a:lnTo>
                <a:lnTo>
                  <a:pt x="737" y="219"/>
                </a:lnTo>
                <a:lnTo>
                  <a:pt x="737" y="219"/>
                </a:lnTo>
                <a:lnTo>
                  <a:pt x="737" y="219"/>
                </a:lnTo>
                <a:lnTo>
                  <a:pt x="738" y="219"/>
                </a:lnTo>
                <a:lnTo>
                  <a:pt x="740" y="219"/>
                </a:lnTo>
                <a:lnTo>
                  <a:pt x="740" y="221"/>
                </a:lnTo>
                <a:lnTo>
                  <a:pt x="738" y="221"/>
                </a:lnTo>
                <a:lnTo>
                  <a:pt x="738" y="222"/>
                </a:lnTo>
                <a:lnTo>
                  <a:pt x="740" y="222"/>
                </a:lnTo>
                <a:lnTo>
                  <a:pt x="740" y="223"/>
                </a:lnTo>
                <a:lnTo>
                  <a:pt x="741" y="225"/>
                </a:lnTo>
                <a:lnTo>
                  <a:pt x="744" y="226"/>
                </a:lnTo>
                <a:lnTo>
                  <a:pt x="745" y="226"/>
                </a:lnTo>
                <a:lnTo>
                  <a:pt x="745" y="227"/>
                </a:lnTo>
                <a:lnTo>
                  <a:pt x="747" y="227"/>
                </a:lnTo>
                <a:lnTo>
                  <a:pt x="747" y="226"/>
                </a:lnTo>
                <a:lnTo>
                  <a:pt x="745" y="226"/>
                </a:lnTo>
                <a:lnTo>
                  <a:pt x="745" y="225"/>
                </a:lnTo>
                <a:lnTo>
                  <a:pt x="747" y="223"/>
                </a:lnTo>
                <a:lnTo>
                  <a:pt x="747" y="225"/>
                </a:lnTo>
                <a:lnTo>
                  <a:pt x="748" y="225"/>
                </a:lnTo>
                <a:lnTo>
                  <a:pt x="749" y="225"/>
                </a:lnTo>
                <a:lnTo>
                  <a:pt x="751" y="225"/>
                </a:lnTo>
                <a:lnTo>
                  <a:pt x="751" y="226"/>
                </a:lnTo>
                <a:lnTo>
                  <a:pt x="752" y="227"/>
                </a:lnTo>
                <a:lnTo>
                  <a:pt x="753" y="227"/>
                </a:lnTo>
                <a:lnTo>
                  <a:pt x="755" y="227"/>
                </a:lnTo>
                <a:lnTo>
                  <a:pt x="756" y="227"/>
                </a:lnTo>
                <a:lnTo>
                  <a:pt x="756" y="227"/>
                </a:lnTo>
                <a:lnTo>
                  <a:pt x="758" y="229"/>
                </a:lnTo>
                <a:lnTo>
                  <a:pt x="759" y="229"/>
                </a:lnTo>
                <a:lnTo>
                  <a:pt x="760" y="229"/>
                </a:lnTo>
                <a:lnTo>
                  <a:pt x="762" y="230"/>
                </a:lnTo>
                <a:lnTo>
                  <a:pt x="762" y="232"/>
                </a:lnTo>
                <a:lnTo>
                  <a:pt x="763" y="232"/>
                </a:lnTo>
                <a:lnTo>
                  <a:pt x="764" y="232"/>
                </a:lnTo>
                <a:lnTo>
                  <a:pt x="766" y="232"/>
                </a:lnTo>
                <a:lnTo>
                  <a:pt x="767" y="232"/>
                </a:lnTo>
                <a:lnTo>
                  <a:pt x="769" y="233"/>
                </a:lnTo>
                <a:lnTo>
                  <a:pt x="769" y="234"/>
                </a:lnTo>
                <a:lnTo>
                  <a:pt x="770" y="236"/>
                </a:lnTo>
                <a:lnTo>
                  <a:pt x="771" y="237"/>
                </a:lnTo>
                <a:lnTo>
                  <a:pt x="773" y="237"/>
                </a:lnTo>
                <a:lnTo>
                  <a:pt x="774" y="237"/>
                </a:lnTo>
                <a:lnTo>
                  <a:pt x="775" y="237"/>
                </a:lnTo>
                <a:lnTo>
                  <a:pt x="775" y="238"/>
                </a:lnTo>
                <a:lnTo>
                  <a:pt x="777" y="238"/>
                </a:lnTo>
                <a:lnTo>
                  <a:pt x="777" y="240"/>
                </a:lnTo>
                <a:lnTo>
                  <a:pt x="777" y="241"/>
                </a:lnTo>
                <a:lnTo>
                  <a:pt x="778" y="243"/>
                </a:lnTo>
                <a:lnTo>
                  <a:pt x="777" y="243"/>
                </a:lnTo>
                <a:lnTo>
                  <a:pt x="777" y="244"/>
                </a:lnTo>
                <a:lnTo>
                  <a:pt x="777" y="245"/>
                </a:lnTo>
                <a:lnTo>
                  <a:pt x="777" y="247"/>
                </a:lnTo>
                <a:lnTo>
                  <a:pt x="775" y="247"/>
                </a:lnTo>
                <a:lnTo>
                  <a:pt x="775" y="248"/>
                </a:lnTo>
                <a:lnTo>
                  <a:pt x="775" y="249"/>
                </a:lnTo>
                <a:lnTo>
                  <a:pt x="774" y="249"/>
                </a:lnTo>
                <a:lnTo>
                  <a:pt x="774" y="251"/>
                </a:lnTo>
                <a:lnTo>
                  <a:pt x="773" y="251"/>
                </a:lnTo>
                <a:lnTo>
                  <a:pt x="771" y="251"/>
                </a:lnTo>
                <a:lnTo>
                  <a:pt x="771" y="252"/>
                </a:lnTo>
                <a:lnTo>
                  <a:pt x="771" y="252"/>
                </a:lnTo>
                <a:lnTo>
                  <a:pt x="770" y="252"/>
                </a:lnTo>
                <a:lnTo>
                  <a:pt x="769" y="252"/>
                </a:lnTo>
                <a:lnTo>
                  <a:pt x="770" y="254"/>
                </a:lnTo>
                <a:lnTo>
                  <a:pt x="769" y="254"/>
                </a:lnTo>
                <a:lnTo>
                  <a:pt x="769" y="255"/>
                </a:lnTo>
                <a:lnTo>
                  <a:pt x="767" y="255"/>
                </a:lnTo>
                <a:lnTo>
                  <a:pt x="767" y="256"/>
                </a:lnTo>
                <a:lnTo>
                  <a:pt x="766" y="256"/>
                </a:lnTo>
                <a:lnTo>
                  <a:pt x="766" y="258"/>
                </a:lnTo>
                <a:lnTo>
                  <a:pt x="764" y="258"/>
                </a:lnTo>
                <a:lnTo>
                  <a:pt x="764" y="259"/>
                </a:lnTo>
                <a:lnTo>
                  <a:pt x="764" y="260"/>
                </a:lnTo>
                <a:lnTo>
                  <a:pt x="764" y="262"/>
                </a:lnTo>
                <a:lnTo>
                  <a:pt x="763" y="263"/>
                </a:lnTo>
                <a:lnTo>
                  <a:pt x="764" y="265"/>
                </a:lnTo>
                <a:lnTo>
                  <a:pt x="764" y="266"/>
                </a:lnTo>
                <a:lnTo>
                  <a:pt x="764" y="267"/>
                </a:lnTo>
                <a:lnTo>
                  <a:pt x="764" y="269"/>
                </a:lnTo>
                <a:lnTo>
                  <a:pt x="766" y="269"/>
                </a:lnTo>
                <a:lnTo>
                  <a:pt x="766" y="270"/>
                </a:lnTo>
                <a:lnTo>
                  <a:pt x="766" y="271"/>
                </a:lnTo>
                <a:lnTo>
                  <a:pt x="767" y="274"/>
                </a:lnTo>
                <a:lnTo>
                  <a:pt x="769" y="277"/>
                </a:lnTo>
                <a:lnTo>
                  <a:pt x="771" y="278"/>
                </a:lnTo>
                <a:lnTo>
                  <a:pt x="773" y="278"/>
                </a:lnTo>
                <a:lnTo>
                  <a:pt x="774" y="280"/>
                </a:lnTo>
                <a:lnTo>
                  <a:pt x="774" y="281"/>
                </a:lnTo>
                <a:lnTo>
                  <a:pt x="775" y="282"/>
                </a:lnTo>
                <a:lnTo>
                  <a:pt x="775" y="284"/>
                </a:lnTo>
                <a:lnTo>
                  <a:pt x="777" y="285"/>
                </a:lnTo>
                <a:lnTo>
                  <a:pt x="777" y="285"/>
                </a:lnTo>
                <a:lnTo>
                  <a:pt x="777" y="287"/>
                </a:lnTo>
                <a:lnTo>
                  <a:pt x="777" y="288"/>
                </a:lnTo>
                <a:lnTo>
                  <a:pt x="777" y="289"/>
                </a:lnTo>
                <a:lnTo>
                  <a:pt x="778" y="289"/>
                </a:lnTo>
                <a:lnTo>
                  <a:pt x="777" y="291"/>
                </a:lnTo>
                <a:lnTo>
                  <a:pt x="775" y="292"/>
                </a:lnTo>
                <a:lnTo>
                  <a:pt x="775" y="293"/>
                </a:lnTo>
                <a:lnTo>
                  <a:pt x="775" y="295"/>
                </a:lnTo>
                <a:lnTo>
                  <a:pt x="775" y="296"/>
                </a:lnTo>
                <a:lnTo>
                  <a:pt x="774" y="298"/>
                </a:lnTo>
                <a:lnTo>
                  <a:pt x="773" y="298"/>
                </a:lnTo>
                <a:lnTo>
                  <a:pt x="773" y="299"/>
                </a:lnTo>
                <a:lnTo>
                  <a:pt x="771" y="299"/>
                </a:lnTo>
                <a:lnTo>
                  <a:pt x="771" y="300"/>
                </a:lnTo>
                <a:lnTo>
                  <a:pt x="770" y="300"/>
                </a:lnTo>
                <a:lnTo>
                  <a:pt x="770" y="302"/>
                </a:lnTo>
                <a:lnTo>
                  <a:pt x="770" y="303"/>
                </a:lnTo>
                <a:lnTo>
                  <a:pt x="769" y="303"/>
                </a:lnTo>
                <a:lnTo>
                  <a:pt x="769" y="304"/>
                </a:lnTo>
                <a:lnTo>
                  <a:pt x="769" y="306"/>
                </a:lnTo>
                <a:lnTo>
                  <a:pt x="767" y="307"/>
                </a:lnTo>
                <a:lnTo>
                  <a:pt x="766" y="307"/>
                </a:lnTo>
                <a:lnTo>
                  <a:pt x="764" y="309"/>
                </a:lnTo>
                <a:lnTo>
                  <a:pt x="764" y="310"/>
                </a:lnTo>
                <a:lnTo>
                  <a:pt x="763" y="310"/>
                </a:lnTo>
                <a:lnTo>
                  <a:pt x="763" y="311"/>
                </a:lnTo>
                <a:lnTo>
                  <a:pt x="762" y="313"/>
                </a:lnTo>
                <a:lnTo>
                  <a:pt x="760" y="313"/>
                </a:lnTo>
                <a:lnTo>
                  <a:pt x="762" y="321"/>
                </a:lnTo>
                <a:lnTo>
                  <a:pt x="763" y="425"/>
                </a:lnTo>
                <a:lnTo>
                  <a:pt x="806" y="478"/>
                </a:lnTo>
                <a:lnTo>
                  <a:pt x="807" y="478"/>
                </a:lnTo>
                <a:lnTo>
                  <a:pt x="807" y="479"/>
                </a:lnTo>
                <a:lnTo>
                  <a:pt x="694" y="479"/>
                </a:lnTo>
                <a:lnTo>
                  <a:pt x="604" y="479"/>
                </a:lnTo>
                <a:lnTo>
                  <a:pt x="480" y="479"/>
                </a:lnTo>
                <a:lnTo>
                  <a:pt x="261" y="478"/>
                </a:lnTo>
                <a:lnTo>
                  <a:pt x="238" y="502"/>
                </a:lnTo>
                <a:lnTo>
                  <a:pt x="128" y="615"/>
                </a:lnTo>
                <a:lnTo>
                  <a:pt x="108" y="635"/>
                </a:lnTo>
                <a:lnTo>
                  <a:pt x="41" y="469"/>
                </a:lnTo>
                <a:lnTo>
                  <a:pt x="4" y="431"/>
                </a:lnTo>
                <a:lnTo>
                  <a:pt x="56" y="252"/>
                </a:lnTo>
                <a:lnTo>
                  <a:pt x="0" y="204"/>
                </a:lnTo>
                <a:lnTo>
                  <a:pt x="20" y="14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5" name="Freeform 111"/>
          <p:cNvSpPr>
            <a:spLocks/>
          </p:cNvSpPr>
          <p:nvPr>
            <p:custDataLst>
              <p:tags r:id="rId31"/>
            </p:custDataLst>
          </p:nvPr>
        </p:nvSpPr>
        <p:spPr bwMode="gray">
          <a:xfrm>
            <a:off x="4837820" y="3699707"/>
            <a:ext cx="869841" cy="519522"/>
          </a:xfrm>
          <a:custGeom>
            <a:avLst/>
            <a:gdLst>
              <a:gd name="T0" fmla="*/ 40 w 914"/>
              <a:gd name="T1" fmla="*/ 151 h 581"/>
              <a:gd name="T2" fmla="*/ 192 w 914"/>
              <a:gd name="T3" fmla="*/ 15 h 581"/>
              <a:gd name="T4" fmla="*/ 409 w 914"/>
              <a:gd name="T5" fmla="*/ 140 h 581"/>
              <a:gd name="T6" fmla="*/ 500 w 914"/>
              <a:gd name="T7" fmla="*/ 213 h 581"/>
              <a:gd name="T8" fmla="*/ 745 w 914"/>
              <a:gd name="T9" fmla="*/ 222 h 581"/>
              <a:gd name="T10" fmla="*/ 746 w 914"/>
              <a:gd name="T11" fmla="*/ 227 h 581"/>
              <a:gd name="T12" fmla="*/ 751 w 914"/>
              <a:gd name="T13" fmla="*/ 228 h 581"/>
              <a:gd name="T14" fmla="*/ 755 w 914"/>
              <a:gd name="T15" fmla="*/ 228 h 581"/>
              <a:gd name="T16" fmla="*/ 757 w 914"/>
              <a:gd name="T17" fmla="*/ 231 h 581"/>
              <a:gd name="T18" fmla="*/ 766 w 914"/>
              <a:gd name="T19" fmla="*/ 232 h 581"/>
              <a:gd name="T20" fmla="*/ 771 w 914"/>
              <a:gd name="T21" fmla="*/ 233 h 581"/>
              <a:gd name="T22" fmla="*/ 775 w 914"/>
              <a:gd name="T23" fmla="*/ 229 h 581"/>
              <a:gd name="T24" fmla="*/ 782 w 914"/>
              <a:gd name="T25" fmla="*/ 228 h 581"/>
              <a:gd name="T26" fmla="*/ 788 w 914"/>
              <a:gd name="T27" fmla="*/ 233 h 581"/>
              <a:gd name="T28" fmla="*/ 792 w 914"/>
              <a:gd name="T29" fmla="*/ 238 h 581"/>
              <a:gd name="T30" fmla="*/ 799 w 914"/>
              <a:gd name="T31" fmla="*/ 242 h 581"/>
              <a:gd name="T32" fmla="*/ 806 w 914"/>
              <a:gd name="T33" fmla="*/ 246 h 581"/>
              <a:gd name="T34" fmla="*/ 806 w 914"/>
              <a:gd name="T35" fmla="*/ 253 h 581"/>
              <a:gd name="T36" fmla="*/ 807 w 914"/>
              <a:gd name="T37" fmla="*/ 258 h 581"/>
              <a:gd name="T38" fmla="*/ 815 w 914"/>
              <a:gd name="T39" fmla="*/ 262 h 581"/>
              <a:gd name="T40" fmla="*/ 821 w 914"/>
              <a:gd name="T41" fmla="*/ 271 h 581"/>
              <a:gd name="T42" fmla="*/ 825 w 914"/>
              <a:gd name="T43" fmla="*/ 273 h 581"/>
              <a:gd name="T44" fmla="*/ 828 w 914"/>
              <a:gd name="T45" fmla="*/ 276 h 581"/>
              <a:gd name="T46" fmla="*/ 832 w 914"/>
              <a:gd name="T47" fmla="*/ 279 h 581"/>
              <a:gd name="T48" fmla="*/ 836 w 914"/>
              <a:gd name="T49" fmla="*/ 276 h 581"/>
              <a:gd name="T50" fmla="*/ 844 w 914"/>
              <a:gd name="T51" fmla="*/ 275 h 581"/>
              <a:gd name="T52" fmla="*/ 852 w 914"/>
              <a:gd name="T53" fmla="*/ 275 h 581"/>
              <a:gd name="T54" fmla="*/ 861 w 914"/>
              <a:gd name="T55" fmla="*/ 275 h 581"/>
              <a:gd name="T56" fmla="*/ 868 w 914"/>
              <a:gd name="T57" fmla="*/ 278 h 581"/>
              <a:gd name="T58" fmla="*/ 870 w 914"/>
              <a:gd name="T59" fmla="*/ 284 h 581"/>
              <a:gd name="T60" fmla="*/ 874 w 914"/>
              <a:gd name="T61" fmla="*/ 284 h 581"/>
              <a:gd name="T62" fmla="*/ 880 w 914"/>
              <a:gd name="T63" fmla="*/ 290 h 581"/>
              <a:gd name="T64" fmla="*/ 887 w 914"/>
              <a:gd name="T65" fmla="*/ 293 h 581"/>
              <a:gd name="T66" fmla="*/ 888 w 914"/>
              <a:gd name="T67" fmla="*/ 300 h 581"/>
              <a:gd name="T68" fmla="*/ 891 w 914"/>
              <a:gd name="T69" fmla="*/ 304 h 581"/>
              <a:gd name="T70" fmla="*/ 892 w 914"/>
              <a:gd name="T71" fmla="*/ 309 h 581"/>
              <a:gd name="T72" fmla="*/ 898 w 914"/>
              <a:gd name="T73" fmla="*/ 311 h 581"/>
              <a:gd name="T74" fmla="*/ 902 w 914"/>
              <a:gd name="T75" fmla="*/ 316 h 581"/>
              <a:gd name="T76" fmla="*/ 909 w 914"/>
              <a:gd name="T77" fmla="*/ 322 h 581"/>
              <a:gd name="T78" fmla="*/ 913 w 914"/>
              <a:gd name="T79" fmla="*/ 327 h 581"/>
              <a:gd name="T80" fmla="*/ 914 w 914"/>
              <a:gd name="T81" fmla="*/ 334 h 581"/>
              <a:gd name="T82" fmla="*/ 912 w 914"/>
              <a:gd name="T83" fmla="*/ 338 h 581"/>
              <a:gd name="T84" fmla="*/ 910 w 914"/>
              <a:gd name="T85" fmla="*/ 342 h 581"/>
              <a:gd name="T86" fmla="*/ 905 w 914"/>
              <a:gd name="T87" fmla="*/ 346 h 581"/>
              <a:gd name="T88" fmla="*/ 903 w 914"/>
              <a:gd name="T89" fmla="*/ 353 h 581"/>
              <a:gd name="T90" fmla="*/ 905 w 914"/>
              <a:gd name="T91" fmla="*/ 360 h 581"/>
              <a:gd name="T92" fmla="*/ 903 w 914"/>
              <a:gd name="T93" fmla="*/ 367 h 581"/>
              <a:gd name="T94" fmla="*/ 902 w 914"/>
              <a:gd name="T95" fmla="*/ 372 h 581"/>
              <a:gd name="T96" fmla="*/ 892 w 914"/>
              <a:gd name="T97" fmla="*/ 403 h 581"/>
              <a:gd name="T98" fmla="*/ 895 w 914"/>
              <a:gd name="T99" fmla="*/ 410 h 581"/>
              <a:gd name="T100" fmla="*/ 898 w 914"/>
              <a:gd name="T101" fmla="*/ 416 h 581"/>
              <a:gd name="T102" fmla="*/ 895 w 914"/>
              <a:gd name="T103" fmla="*/ 425 h 581"/>
              <a:gd name="T104" fmla="*/ 895 w 914"/>
              <a:gd name="T105" fmla="*/ 433 h 581"/>
              <a:gd name="T106" fmla="*/ 894 w 914"/>
              <a:gd name="T107" fmla="*/ 441 h 581"/>
              <a:gd name="T108" fmla="*/ 896 w 914"/>
              <a:gd name="T109" fmla="*/ 449 h 581"/>
              <a:gd name="T110" fmla="*/ 903 w 914"/>
              <a:gd name="T111" fmla="*/ 456 h 581"/>
              <a:gd name="T112" fmla="*/ 906 w 914"/>
              <a:gd name="T113" fmla="*/ 462 h 581"/>
              <a:gd name="T114" fmla="*/ 907 w 914"/>
              <a:gd name="T115" fmla="*/ 467 h 581"/>
              <a:gd name="T116" fmla="*/ 907 w 914"/>
              <a:gd name="T117" fmla="*/ 474 h 581"/>
              <a:gd name="T118" fmla="*/ 910 w 914"/>
              <a:gd name="T119" fmla="*/ 482 h 581"/>
              <a:gd name="T120" fmla="*/ 0 w 914"/>
              <a:gd name="T121" fmla="*/ 355 h 5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14" h="581">
                <a:moveTo>
                  <a:pt x="2" y="339"/>
                </a:moveTo>
                <a:lnTo>
                  <a:pt x="7" y="324"/>
                </a:lnTo>
                <a:lnTo>
                  <a:pt x="34" y="308"/>
                </a:lnTo>
                <a:lnTo>
                  <a:pt x="31" y="214"/>
                </a:lnTo>
                <a:lnTo>
                  <a:pt x="52" y="174"/>
                </a:lnTo>
                <a:lnTo>
                  <a:pt x="40" y="151"/>
                </a:lnTo>
                <a:lnTo>
                  <a:pt x="85" y="115"/>
                </a:lnTo>
                <a:lnTo>
                  <a:pt x="67" y="106"/>
                </a:lnTo>
                <a:lnTo>
                  <a:pt x="67" y="59"/>
                </a:lnTo>
                <a:lnTo>
                  <a:pt x="108" y="41"/>
                </a:lnTo>
                <a:lnTo>
                  <a:pt x="133" y="0"/>
                </a:lnTo>
                <a:lnTo>
                  <a:pt x="192" y="15"/>
                </a:lnTo>
                <a:lnTo>
                  <a:pt x="199" y="8"/>
                </a:lnTo>
                <a:lnTo>
                  <a:pt x="228" y="59"/>
                </a:lnTo>
                <a:lnTo>
                  <a:pt x="287" y="67"/>
                </a:lnTo>
                <a:lnTo>
                  <a:pt x="293" y="119"/>
                </a:lnTo>
                <a:lnTo>
                  <a:pt x="367" y="151"/>
                </a:lnTo>
                <a:lnTo>
                  <a:pt x="409" y="140"/>
                </a:lnTo>
                <a:lnTo>
                  <a:pt x="419" y="155"/>
                </a:lnTo>
                <a:lnTo>
                  <a:pt x="396" y="202"/>
                </a:lnTo>
                <a:lnTo>
                  <a:pt x="398" y="213"/>
                </a:lnTo>
                <a:lnTo>
                  <a:pt x="426" y="233"/>
                </a:lnTo>
                <a:lnTo>
                  <a:pt x="477" y="229"/>
                </a:lnTo>
                <a:lnTo>
                  <a:pt x="500" y="213"/>
                </a:lnTo>
                <a:lnTo>
                  <a:pt x="579" y="239"/>
                </a:lnTo>
                <a:lnTo>
                  <a:pt x="658" y="251"/>
                </a:lnTo>
                <a:lnTo>
                  <a:pt x="672" y="235"/>
                </a:lnTo>
                <a:lnTo>
                  <a:pt x="746" y="221"/>
                </a:lnTo>
                <a:lnTo>
                  <a:pt x="746" y="222"/>
                </a:lnTo>
                <a:lnTo>
                  <a:pt x="745" y="222"/>
                </a:lnTo>
                <a:lnTo>
                  <a:pt x="744" y="222"/>
                </a:lnTo>
                <a:lnTo>
                  <a:pt x="744" y="224"/>
                </a:lnTo>
                <a:lnTo>
                  <a:pt x="744" y="225"/>
                </a:lnTo>
                <a:lnTo>
                  <a:pt x="744" y="227"/>
                </a:lnTo>
                <a:lnTo>
                  <a:pt x="745" y="225"/>
                </a:lnTo>
                <a:lnTo>
                  <a:pt x="746" y="227"/>
                </a:lnTo>
                <a:lnTo>
                  <a:pt x="746" y="225"/>
                </a:lnTo>
                <a:lnTo>
                  <a:pt x="748" y="225"/>
                </a:lnTo>
                <a:lnTo>
                  <a:pt x="749" y="225"/>
                </a:lnTo>
                <a:lnTo>
                  <a:pt x="748" y="227"/>
                </a:lnTo>
                <a:lnTo>
                  <a:pt x="749" y="228"/>
                </a:lnTo>
                <a:lnTo>
                  <a:pt x="751" y="228"/>
                </a:lnTo>
                <a:lnTo>
                  <a:pt x="751" y="229"/>
                </a:lnTo>
                <a:lnTo>
                  <a:pt x="752" y="229"/>
                </a:lnTo>
                <a:lnTo>
                  <a:pt x="753" y="231"/>
                </a:lnTo>
                <a:lnTo>
                  <a:pt x="753" y="229"/>
                </a:lnTo>
                <a:lnTo>
                  <a:pt x="755" y="229"/>
                </a:lnTo>
                <a:lnTo>
                  <a:pt x="755" y="228"/>
                </a:lnTo>
                <a:lnTo>
                  <a:pt x="756" y="228"/>
                </a:lnTo>
                <a:lnTo>
                  <a:pt x="756" y="229"/>
                </a:lnTo>
                <a:lnTo>
                  <a:pt x="756" y="231"/>
                </a:lnTo>
                <a:lnTo>
                  <a:pt x="756" y="231"/>
                </a:lnTo>
                <a:lnTo>
                  <a:pt x="757" y="229"/>
                </a:lnTo>
                <a:lnTo>
                  <a:pt x="757" y="231"/>
                </a:lnTo>
                <a:lnTo>
                  <a:pt x="759" y="231"/>
                </a:lnTo>
                <a:lnTo>
                  <a:pt x="760" y="231"/>
                </a:lnTo>
                <a:lnTo>
                  <a:pt x="762" y="232"/>
                </a:lnTo>
                <a:lnTo>
                  <a:pt x="763" y="232"/>
                </a:lnTo>
                <a:lnTo>
                  <a:pt x="764" y="232"/>
                </a:lnTo>
                <a:lnTo>
                  <a:pt x="766" y="232"/>
                </a:lnTo>
                <a:lnTo>
                  <a:pt x="767" y="232"/>
                </a:lnTo>
                <a:lnTo>
                  <a:pt x="768" y="231"/>
                </a:lnTo>
                <a:lnTo>
                  <a:pt x="770" y="231"/>
                </a:lnTo>
                <a:lnTo>
                  <a:pt x="771" y="231"/>
                </a:lnTo>
                <a:lnTo>
                  <a:pt x="771" y="232"/>
                </a:lnTo>
                <a:lnTo>
                  <a:pt x="771" y="233"/>
                </a:lnTo>
                <a:lnTo>
                  <a:pt x="773" y="235"/>
                </a:lnTo>
                <a:lnTo>
                  <a:pt x="774" y="235"/>
                </a:lnTo>
                <a:lnTo>
                  <a:pt x="775" y="233"/>
                </a:lnTo>
                <a:lnTo>
                  <a:pt x="775" y="232"/>
                </a:lnTo>
                <a:lnTo>
                  <a:pt x="775" y="231"/>
                </a:lnTo>
                <a:lnTo>
                  <a:pt x="775" y="229"/>
                </a:lnTo>
                <a:lnTo>
                  <a:pt x="775" y="228"/>
                </a:lnTo>
                <a:lnTo>
                  <a:pt x="775" y="227"/>
                </a:lnTo>
                <a:lnTo>
                  <a:pt x="778" y="227"/>
                </a:lnTo>
                <a:lnTo>
                  <a:pt x="779" y="228"/>
                </a:lnTo>
                <a:lnTo>
                  <a:pt x="781" y="228"/>
                </a:lnTo>
                <a:lnTo>
                  <a:pt x="782" y="228"/>
                </a:lnTo>
                <a:lnTo>
                  <a:pt x="782" y="229"/>
                </a:lnTo>
                <a:lnTo>
                  <a:pt x="784" y="231"/>
                </a:lnTo>
                <a:lnTo>
                  <a:pt x="785" y="231"/>
                </a:lnTo>
                <a:lnTo>
                  <a:pt x="786" y="231"/>
                </a:lnTo>
                <a:lnTo>
                  <a:pt x="786" y="232"/>
                </a:lnTo>
                <a:lnTo>
                  <a:pt x="788" y="233"/>
                </a:lnTo>
                <a:lnTo>
                  <a:pt x="788" y="235"/>
                </a:lnTo>
                <a:lnTo>
                  <a:pt x="789" y="236"/>
                </a:lnTo>
                <a:lnTo>
                  <a:pt x="789" y="238"/>
                </a:lnTo>
                <a:lnTo>
                  <a:pt x="789" y="238"/>
                </a:lnTo>
                <a:lnTo>
                  <a:pt x="790" y="238"/>
                </a:lnTo>
                <a:lnTo>
                  <a:pt x="792" y="238"/>
                </a:lnTo>
                <a:lnTo>
                  <a:pt x="792" y="238"/>
                </a:lnTo>
                <a:lnTo>
                  <a:pt x="792" y="239"/>
                </a:lnTo>
                <a:lnTo>
                  <a:pt x="793" y="242"/>
                </a:lnTo>
                <a:lnTo>
                  <a:pt x="795" y="242"/>
                </a:lnTo>
                <a:lnTo>
                  <a:pt x="796" y="242"/>
                </a:lnTo>
                <a:lnTo>
                  <a:pt x="799" y="242"/>
                </a:lnTo>
                <a:lnTo>
                  <a:pt x="799" y="243"/>
                </a:lnTo>
                <a:lnTo>
                  <a:pt x="800" y="243"/>
                </a:lnTo>
                <a:lnTo>
                  <a:pt x="801" y="244"/>
                </a:lnTo>
                <a:lnTo>
                  <a:pt x="803" y="244"/>
                </a:lnTo>
                <a:lnTo>
                  <a:pt x="804" y="244"/>
                </a:lnTo>
                <a:lnTo>
                  <a:pt x="806" y="246"/>
                </a:lnTo>
                <a:lnTo>
                  <a:pt x="806" y="247"/>
                </a:lnTo>
                <a:lnTo>
                  <a:pt x="806" y="249"/>
                </a:lnTo>
                <a:lnTo>
                  <a:pt x="806" y="250"/>
                </a:lnTo>
                <a:lnTo>
                  <a:pt x="804" y="250"/>
                </a:lnTo>
                <a:lnTo>
                  <a:pt x="806" y="251"/>
                </a:lnTo>
                <a:lnTo>
                  <a:pt x="806" y="253"/>
                </a:lnTo>
                <a:lnTo>
                  <a:pt x="806" y="254"/>
                </a:lnTo>
                <a:lnTo>
                  <a:pt x="807" y="256"/>
                </a:lnTo>
                <a:lnTo>
                  <a:pt x="808" y="256"/>
                </a:lnTo>
                <a:lnTo>
                  <a:pt x="808" y="257"/>
                </a:lnTo>
                <a:lnTo>
                  <a:pt x="807" y="257"/>
                </a:lnTo>
                <a:lnTo>
                  <a:pt x="807" y="258"/>
                </a:lnTo>
                <a:lnTo>
                  <a:pt x="808" y="258"/>
                </a:lnTo>
                <a:lnTo>
                  <a:pt x="810" y="260"/>
                </a:lnTo>
                <a:lnTo>
                  <a:pt x="811" y="261"/>
                </a:lnTo>
                <a:lnTo>
                  <a:pt x="811" y="262"/>
                </a:lnTo>
                <a:lnTo>
                  <a:pt x="812" y="262"/>
                </a:lnTo>
                <a:lnTo>
                  <a:pt x="815" y="262"/>
                </a:lnTo>
                <a:lnTo>
                  <a:pt x="815" y="264"/>
                </a:lnTo>
                <a:lnTo>
                  <a:pt x="817" y="265"/>
                </a:lnTo>
                <a:lnTo>
                  <a:pt x="818" y="267"/>
                </a:lnTo>
                <a:lnTo>
                  <a:pt x="819" y="268"/>
                </a:lnTo>
                <a:lnTo>
                  <a:pt x="819" y="269"/>
                </a:lnTo>
                <a:lnTo>
                  <a:pt x="821" y="271"/>
                </a:lnTo>
                <a:lnTo>
                  <a:pt x="822" y="271"/>
                </a:lnTo>
                <a:lnTo>
                  <a:pt x="822" y="271"/>
                </a:lnTo>
                <a:lnTo>
                  <a:pt x="822" y="271"/>
                </a:lnTo>
                <a:lnTo>
                  <a:pt x="823" y="271"/>
                </a:lnTo>
                <a:lnTo>
                  <a:pt x="825" y="272"/>
                </a:lnTo>
                <a:lnTo>
                  <a:pt x="825" y="273"/>
                </a:lnTo>
                <a:lnTo>
                  <a:pt x="823" y="275"/>
                </a:lnTo>
                <a:lnTo>
                  <a:pt x="825" y="276"/>
                </a:lnTo>
                <a:lnTo>
                  <a:pt x="825" y="278"/>
                </a:lnTo>
                <a:lnTo>
                  <a:pt x="826" y="278"/>
                </a:lnTo>
                <a:lnTo>
                  <a:pt x="828" y="278"/>
                </a:lnTo>
                <a:lnTo>
                  <a:pt x="828" y="276"/>
                </a:lnTo>
                <a:lnTo>
                  <a:pt x="828" y="275"/>
                </a:lnTo>
                <a:lnTo>
                  <a:pt x="829" y="275"/>
                </a:lnTo>
                <a:lnTo>
                  <a:pt x="829" y="276"/>
                </a:lnTo>
                <a:lnTo>
                  <a:pt x="829" y="278"/>
                </a:lnTo>
                <a:lnTo>
                  <a:pt x="830" y="278"/>
                </a:lnTo>
                <a:lnTo>
                  <a:pt x="832" y="279"/>
                </a:lnTo>
                <a:lnTo>
                  <a:pt x="832" y="280"/>
                </a:lnTo>
                <a:lnTo>
                  <a:pt x="833" y="280"/>
                </a:lnTo>
                <a:lnTo>
                  <a:pt x="834" y="280"/>
                </a:lnTo>
                <a:lnTo>
                  <a:pt x="833" y="279"/>
                </a:lnTo>
                <a:lnTo>
                  <a:pt x="834" y="278"/>
                </a:lnTo>
                <a:lnTo>
                  <a:pt x="836" y="276"/>
                </a:lnTo>
                <a:lnTo>
                  <a:pt x="837" y="276"/>
                </a:lnTo>
                <a:lnTo>
                  <a:pt x="839" y="275"/>
                </a:lnTo>
                <a:lnTo>
                  <a:pt x="840" y="275"/>
                </a:lnTo>
                <a:lnTo>
                  <a:pt x="841" y="275"/>
                </a:lnTo>
                <a:lnTo>
                  <a:pt x="843" y="273"/>
                </a:lnTo>
                <a:lnTo>
                  <a:pt x="844" y="275"/>
                </a:lnTo>
                <a:lnTo>
                  <a:pt x="846" y="275"/>
                </a:lnTo>
                <a:lnTo>
                  <a:pt x="847" y="275"/>
                </a:lnTo>
                <a:lnTo>
                  <a:pt x="848" y="275"/>
                </a:lnTo>
                <a:lnTo>
                  <a:pt x="850" y="275"/>
                </a:lnTo>
                <a:lnTo>
                  <a:pt x="851" y="275"/>
                </a:lnTo>
                <a:lnTo>
                  <a:pt x="852" y="275"/>
                </a:lnTo>
                <a:lnTo>
                  <a:pt x="855" y="273"/>
                </a:lnTo>
                <a:lnTo>
                  <a:pt x="855" y="273"/>
                </a:lnTo>
                <a:lnTo>
                  <a:pt x="858" y="273"/>
                </a:lnTo>
                <a:lnTo>
                  <a:pt x="859" y="272"/>
                </a:lnTo>
                <a:lnTo>
                  <a:pt x="859" y="273"/>
                </a:lnTo>
                <a:lnTo>
                  <a:pt x="861" y="275"/>
                </a:lnTo>
                <a:lnTo>
                  <a:pt x="862" y="273"/>
                </a:lnTo>
                <a:lnTo>
                  <a:pt x="863" y="275"/>
                </a:lnTo>
                <a:lnTo>
                  <a:pt x="865" y="275"/>
                </a:lnTo>
                <a:lnTo>
                  <a:pt x="866" y="276"/>
                </a:lnTo>
                <a:lnTo>
                  <a:pt x="868" y="276"/>
                </a:lnTo>
                <a:lnTo>
                  <a:pt x="868" y="278"/>
                </a:lnTo>
                <a:lnTo>
                  <a:pt x="868" y="279"/>
                </a:lnTo>
                <a:lnTo>
                  <a:pt x="866" y="280"/>
                </a:lnTo>
                <a:lnTo>
                  <a:pt x="868" y="282"/>
                </a:lnTo>
                <a:lnTo>
                  <a:pt x="868" y="283"/>
                </a:lnTo>
                <a:lnTo>
                  <a:pt x="869" y="283"/>
                </a:lnTo>
                <a:lnTo>
                  <a:pt x="870" y="284"/>
                </a:lnTo>
                <a:lnTo>
                  <a:pt x="872" y="284"/>
                </a:lnTo>
                <a:lnTo>
                  <a:pt x="873" y="284"/>
                </a:lnTo>
                <a:lnTo>
                  <a:pt x="873" y="283"/>
                </a:lnTo>
                <a:lnTo>
                  <a:pt x="874" y="283"/>
                </a:lnTo>
                <a:lnTo>
                  <a:pt x="876" y="283"/>
                </a:lnTo>
                <a:lnTo>
                  <a:pt x="874" y="284"/>
                </a:lnTo>
                <a:lnTo>
                  <a:pt x="874" y="286"/>
                </a:lnTo>
                <a:lnTo>
                  <a:pt x="874" y="287"/>
                </a:lnTo>
                <a:lnTo>
                  <a:pt x="876" y="289"/>
                </a:lnTo>
                <a:lnTo>
                  <a:pt x="877" y="289"/>
                </a:lnTo>
                <a:lnTo>
                  <a:pt x="879" y="290"/>
                </a:lnTo>
                <a:lnTo>
                  <a:pt x="880" y="290"/>
                </a:lnTo>
                <a:lnTo>
                  <a:pt x="881" y="291"/>
                </a:lnTo>
                <a:lnTo>
                  <a:pt x="883" y="291"/>
                </a:lnTo>
                <a:lnTo>
                  <a:pt x="884" y="291"/>
                </a:lnTo>
                <a:lnTo>
                  <a:pt x="885" y="291"/>
                </a:lnTo>
                <a:lnTo>
                  <a:pt x="885" y="293"/>
                </a:lnTo>
                <a:lnTo>
                  <a:pt x="887" y="293"/>
                </a:lnTo>
                <a:lnTo>
                  <a:pt x="888" y="294"/>
                </a:lnTo>
                <a:lnTo>
                  <a:pt x="888" y="295"/>
                </a:lnTo>
                <a:lnTo>
                  <a:pt x="887" y="297"/>
                </a:lnTo>
                <a:lnTo>
                  <a:pt x="888" y="298"/>
                </a:lnTo>
                <a:lnTo>
                  <a:pt x="888" y="300"/>
                </a:lnTo>
                <a:lnTo>
                  <a:pt x="888" y="300"/>
                </a:lnTo>
                <a:lnTo>
                  <a:pt x="890" y="300"/>
                </a:lnTo>
                <a:lnTo>
                  <a:pt x="890" y="301"/>
                </a:lnTo>
                <a:lnTo>
                  <a:pt x="888" y="302"/>
                </a:lnTo>
                <a:lnTo>
                  <a:pt x="890" y="302"/>
                </a:lnTo>
                <a:lnTo>
                  <a:pt x="891" y="304"/>
                </a:lnTo>
                <a:lnTo>
                  <a:pt x="891" y="304"/>
                </a:lnTo>
                <a:lnTo>
                  <a:pt x="892" y="304"/>
                </a:lnTo>
                <a:lnTo>
                  <a:pt x="891" y="305"/>
                </a:lnTo>
                <a:lnTo>
                  <a:pt x="891" y="306"/>
                </a:lnTo>
                <a:lnTo>
                  <a:pt x="891" y="308"/>
                </a:lnTo>
                <a:lnTo>
                  <a:pt x="891" y="309"/>
                </a:lnTo>
                <a:lnTo>
                  <a:pt x="892" y="309"/>
                </a:lnTo>
                <a:lnTo>
                  <a:pt x="894" y="308"/>
                </a:lnTo>
                <a:lnTo>
                  <a:pt x="895" y="308"/>
                </a:lnTo>
                <a:lnTo>
                  <a:pt x="896" y="308"/>
                </a:lnTo>
                <a:lnTo>
                  <a:pt x="896" y="309"/>
                </a:lnTo>
                <a:lnTo>
                  <a:pt x="896" y="311"/>
                </a:lnTo>
                <a:lnTo>
                  <a:pt x="898" y="311"/>
                </a:lnTo>
                <a:lnTo>
                  <a:pt x="899" y="312"/>
                </a:lnTo>
                <a:lnTo>
                  <a:pt x="901" y="313"/>
                </a:lnTo>
                <a:lnTo>
                  <a:pt x="899" y="313"/>
                </a:lnTo>
                <a:lnTo>
                  <a:pt x="899" y="315"/>
                </a:lnTo>
                <a:lnTo>
                  <a:pt x="901" y="316"/>
                </a:lnTo>
                <a:lnTo>
                  <a:pt x="902" y="316"/>
                </a:lnTo>
                <a:lnTo>
                  <a:pt x="903" y="316"/>
                </a:lnTo>
                <a:lnTo>
                  <a:pt x="903" y="317"/>
                </a:lnTo>
                <a:lnTo>
                  <a:pt x="905" y="317"/>
                </a:lnTo>
                <a:lnTo>
                  <a:pt x="906" y="319"/>
                </a:lnTo>
                <a:lnTo>
                  <a:pt x="907" y="320"/>
                </a:lnTo>
                <a:lnTo>
                  <a:pt x="909" y="322"/>
                </a:lnTo>
                <a:lnTo>
                  <a:pt x="910" y="322"/>
                </a:lnTo>
                <a:lnTo>
                  <a:pt x="912" y="322"/>
                </a:lnTo>
                <a:lnTo>
                  <a:pt x="912" y="323"/>
                </a:lnTo>
                <a:lnTo>
                  <a:pt x="912" y="324"/>
                </a:lnTo>
                <a:lnTo>
                  <a:pt x="912" y="326"/>
                </a:lnTo>
                <a:lnTo>
                  <a:pt x="913" y="327"/>
                </a:lnTo>
                <a:lnTo>
                  <a:pt x="913" y="328"/>
                </a:lnTo>
                <a:lnTo>
                  <a:pt x="914" y="330"/>
                </a:lnTo>
                <a:lnTo>
                  <a:pt x="913" y="330"/>
                </a:lnTo>
                <a:lnTo>
                  <a:pt x="914" y="331"/>
                </a:lnTo>
                <a:lnTo>
                  <a:pt x="914" y="333"/>
                </a:lnTo>
                <a:lnTo>
                  <a:pt x="914" y="334"/>
                </a:lnTo>
                <a:lnTo>
                  <a:pt x="913" y="334"/>
                </a:lnTo>
                <a:lnTo>
                  <a:pt x="913" y="335"/>
                </a:lnTo>
                <a:lnTo>
                  <a:pt x="912" y="335"/>
                </a:lnTo>
                <a:lnTo>
                  <a:pt x="912" y="337"/>
                </a:lnTo>
                <a:lnTo>
                  <a:pt x="912" y="337"/>
                </a:lnTo>
                <a:lnTo>
                  <a:pt x="912" y="338"/>
                </a:lnTo>
                <a:lnTo>
                  <a:pt x="910" y="338"/>
                </a:lnTo>
                <a:lnTo>
                  <a:pt x="912" y="338"/>
                </a:lnTo>
                <a:lnTo>
                  <a:pt x="912" y="339"/>
                </a:lnTo>
                <a:lnTo>
                  <a:pt x="912" y="341"/>
                </a:lnTo>
                <a:lnTo>
                  <a:pt x="910" y="341"/>
                </a:lnTo>
                <a:lnTo>
                  <a:pt x="910" y="342"/>
                </a:lnTo>
                <a:lnTo>
                  <a:pt x="910" y="344"/>
                </a:lnTo>
                <a:lnTo>
                  <a:pt x="909" y="345"/>
                </a:lnTo>
                <a:lnTo>
                  <a:pt x="909" y="346"/>
                </a:lnTo>
                <a:lnTo>
                  <a:pt x="907" y="346"/>
                </a:lnTo>
                <a:lnTo>
                  <a:pt x="906" y="346"/>
                </a:lnTo>
                <a:lnTo>
                  <a:pt x="905" y="346"/>
                </a:lnTo>
                <a:lnTo>
                  <a:pt x="903" y="348"/>
                </a:lnTo>
                <a:lnTo>
                  <a:pt x="905" y="349"/>
                </a:lnTo>
                <a:lnTo>
                  <a:pt x="903" y="349"/>
                </a:lnTo>
                <a:lnTo>
                  <a:pt x="903" y="350"/>
                </a:lnTo>
                <a:lnTo>
                  <a:pt x="903" y="352"/>
                </a:lnTo>
                <a:lnTo>
                  <a:pt x="903" y="353"/>
                </a:lnTo>
                <a:lnTo>
                  <a:pt x="903" y="355"/>
                </a:lnTo>
                <a:lnTo>
                  <a:pt x="903" y="356"/>
                </a:lnTo>
                <a:lnTo>
                  <a:pt x="903" y="357"/>
                </a:lnTo>
                <a:lnTo>
                  <a:pt x="905" y="359"/>
                </a:lnTo>
                <a:lnTo>
                  <a:pt x="903" y="359"/>
                </a:lnTo>
                <a:lnTo>
                  <a:pt x="905" y="360"/>
                </a:lnTo>
                <a:lnTo>
                  <a:pt x="906" y="360"/>
                </a:lnTo>
                <a:lnTo>
                  <a:pt x="906" y="361"/>
                </a:lnTo>
                <a:lnTo>
                  <a:pt x="906" y="364"/>
                </a:lnTo>
                <a:lnTo>
                  <a:pt x="905" y="366"/>
                </a:lnTo>
                <a:lnTo>
                  <a:pt x="903" y="366"/>
                </a:lnTo>
                <a:lnTo>
                  <a:pt x="903" y="367"/>
                </a:lnTo>
                <a:lnTo>
                  <a:pt x="903" y="368"/>
                </a:lnTo>
                <a:lnTo>
                  <a:pt x="903" y="370"/>
                </a:lnTo>
                <a:lnTo>
                  <a:pt x="903" y="370"/>
                </a:lnTo>
                <a:lnTo>
                  <a:pt x="903" y="371"/>
                </a:lnTo>
                <a:lnTo>
                  <a:pt x="902" y="371"/>
                </a:lnTo>
                <a:lnTo>
                  <a:pt x="902" y="372"/>
                </a:lnTo>
                <a:lnTo>
                  <a:pt x="902" y="374"/>
                </a:lnTo>
                <a:lnTo>
                  <a:pt x="901" y="375"/>
                </a:lnTo>
                <a:lnTo>
                  <a:pt x="899" y="377"/>
                </a:lnTo>
                <a:lnTo>
                  <a:pt x="894" y="382"/>
                </a:lnTo>
                <a:lnTo>
                  <a:pt x="891" y="401"/>
                </a:lnTo>
                <a:lnTo>
                  <a:pt x="892" y="403"/>
                </a:lnTo>
                <a:lnTo>
                  <a:pt x="892" y="403"/>
                </a:lnTo>
                <a:lnTo>
                  <a:pt x="892" y="404"/>
                </a:lnTo>
                <a:lnTo>
                  <a:pt x="892" y="405"/>
                </a:lnTo>
                <a:lnTo>
                  <a:pt x="894" y="407"/>
                </a:lnTo>
                <a:lnTo>
                  <a:pt x="894" y="408"/>
                </a:lnTo>
                <a:lnTo>
                  <a:pt x="895" y="410"/>
                </a:lnTo>
                <a:lnTo>
                  <a:pt x="895" y="411"/>
                </a:lnTo>
                <a:lnTo>
                  <a:pt x="896" y="411"/>
                </a:lnTo>
                <a:lnTo>
                  <a:pt x="896" y="412"/>
                </a:lnTo>
                <a:lnTo>
                  <a:pt x="896" y="414"/>
                </a:lnTo>
                <a:lnTo>
                  <a:pt x="896" y="415"/>
                </a:lnTo>
                <a:lnTo>
                  <a:pt x="898" y="416"/>
                </a:lnTo>
                <a:lnTo>
                  <a:pt x="898" y="418"/>
                </a:lnTo>
                <a:lnTo>
                  <a:pt x="898" y="419"/>
                </a:lnTo>
                <a:lnTo>
                  <a:pt x="898" y="421"/>
                </a:lnTo>
                <a:lnTo>
                  <a:pt x="898" y="422"/>
                </a:lnTo>
                <a:lnTo>
                  <a:pt x="898" y="423"/>
                </a:lnTo>
                <a:lnTo>
                  <a:pt x="895" y="425"/>
                </a:lnTo>
                <a:lnTo>
                  <a:pt x="895" y="426"/>
                </a:lnTo>
                <a:lnTo>
                  <a:pt x="895" y="427"/>
                </a:lnTo>
                <a:lnTo>
                  <a:pt x="895" y="429"/>
                </a:lnTo>
                <a:lnTo>
                  <a:pt x="895" y="430"/>
                </a:lnTo>
                <a:lnTo>
                  <a:pt x="895" y="432"/>
                </a:lnTo>
                <a:lnTo>
                  <a:pt x="895" y="433"/>
                </a:lnTo>
                <a:lnTo>
                  <a:pt x="894" y="434"/>
                </a:lnTo>
                <a:lnTo>
                  <a:pt x="894" y="436"/>
                </a:lnTo>
                <a:lnTo>
                  <a:pt x="894" y="436"/>
                </a:lnTo>
                <a:lnTo>
                  <a:pt x="894" y="437"/>
                </a:lnTo>
                <a:lnTo>
                  <a:pt x="894" y="440"/>
                </a:lnTo>
                <a:lnTo>
                  <a:pt x="894" y="441"/>
                </a:lnTo>
                <a:lnTo>
                  <a:pt x="894" y="443"/>
                </a:lnTo>
                <a:lnTo>
                  <a:pt x="894" y="444"/>
                </a:lnTo>
                <a:lnTo>
                  <a:pt x="895" y="445"/>
                </a:lnTo>
                <a:lnTo>
                  <a:pt x="895" y="447"/>
                </a:lnTo>
                <a:lnTo>
                  <a:pt x="895" y="448"/>
                </a:lnTo>
                <a:lnTo>
                  <a:pt x="896" y="449"/>
                </a:lnTo>
                <a:lnTo>
                  <a:pt x="898" y="451"/>
                </a:lnTo>
                <a:lnTo>
                  <a:pt x="899" y="451"/>
                </a:lnTo>
                <a:lnTo>
                  <a:pt x="901" y="452"/>
                </a:lnTo>
                <a:lnTo>
                  <a:pt x="901" y="454"/>
                </a:lnTo>
                <a:lnTo>
                  <a:pt x="902" y="455"/>
                </a:lnTo>
                <a:lnTo>
                  <a:pt x="903" y="456"/>
                </a:lnTo>
                <a:lnTo>
                  <a:pt x="906" y="456"/>
                </a:lnTo>
                <a:lnTo>
                  <a:pt x="906" y="458"/>
                </a:lnTo>
                <a:lnTo>
                  <a:pt x="907" y="458"/>
                </a:lnTo>
                <a:lnTo>
                  <a:pt x="907" y="459"/>
                </a:lnTo>
                <a:lnTo>
                  <a:pt x="906" y="460"/>
                </a:lnTo>
                <a:lnTo>
                  <a:pt x="906" y="462"/>
                </a:lnTo>
                <a:lnTo>
                  <a:pt x="907" y="462"/>
                </a:lnTo>
                <a:lnTo>
                  <a:pt x="907" y="463"/>
                </a:lnTo>
                <a:lnTo>
                  <a:pt x="909" y="465"/>
                </a:lnTo>
                <a:lnTo>
                  <a:pt x="907" y="465"/>
                </a:lnTo>
                <a:lnTo>
                  <a:pt x="907" y="466"/>
                </a:lnTo>
                <a:lnTo>
                  <a:pt x="907" y="467"/>
                </a:lnTo>
                <a:lnTo>
                  <a:pt x="907" y="469"/>
                </a:lnTo>
                <a:lnTo>
                  <a:pt x="907" y="469"/>
                </a:lnTo>
                <a:lnTo>
                  <a:pt x="907" y="470"/>
                </a:lnTo>
                <a:lnTo>
                  <a:pt x="907" y="471"/>
                </a:lnTo>
                <a:lnTo>
                  <a:pt x="909" y="473"/>
                </a:lnTo>
                <a:lnTo>
                  <a:pt x="907" y="474"/>
                </a:lnTo>
                <a:lnTo>
                  <a:pt x="907" y="476"/>
                </a:lnTo>
                <a:lnTo>
                  <a:pt x="909" y="477"/>
                </a:lnTo>
                <a:lnTo>
                  <a:pt x="910" y="478"/>
                </a:lnTo>
                <a:lnTo>
                  <a:pt x="910" y="480"/>
                </a:lnTo>
                <a:lnTo>
                  <a:pt x="910" y="481"/>
                </a:lnTo>
                <a:lnTo>
                  <a:pt x="910" y="482"/>
                </a:lnTo>
                <a:lnTo>
                  <a:pt x="609" y="581"/>
                </a:lnTo>
                <a:lnTo>
                  <a:pt x="302" y="537"/>
                </a:lnTo>
                <a:lnTo>
                  <a:pt x="46" y="536"/>
                </a:lnTo>
                <a:lnTo>
                  <a:pt x="44" y="444"/>
                </a:lnTo>
                <a:lnTo>
                  <a:pt x="23" y="433"/>
                </a:lnTo>
                <a:lnTo>
                  <a:pt x="0" y="355"/>
                </a:lnTo>
                <a:lnTo>
                  <a:pt x="2" y="33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6" name="Freeform 112"/>
          <p:cNvSpPr>
            <a:spLocks/>
          </p:cNvSpPr>
          <p:nvPr>
            <p:custDataLst>
              <p:tags r:id="rId32"/>
            </p:custDataLst>
          </p:nvPr>
        </p:nvSpPr>
        <p:spPr bwMode="gray">
          <a:xfrm>
            <a:off x="5040530" y="4471390"/>
            <a:ext cx="308346" cy="333532"/>
          </a:xfrm>
          <a:custGeom>
            <a:avLst/>
            <a:gdLst>
              <a:gd name="T0" fmla="*/ 12 w 324"/>
              <a:gd name="T1" fmla="*/ 152 h 373"/>
              <a:gd name="T2" fmla="*/ 25 w 324"/>
              <a:gd name="T3" fmla="*/ 156 h 373"/>
              <a:gd name="T4" fmla="*/ 52 w 324"/>
              <a:gd name="T5" fmla="*/ 135 h 373"/>
              <a:gd name="T6" fmla="*/ 20 w 324"/>
              <a:gd name="T7" fmla="*/ 82 h 373"/>
              <a:gd name="T8" fmla="*/ 91 w 324"/>
              <a:gd name="T9" fmla="*/ 0 h 373"/>
              <a:gd name="T10" fmla="*/ 110 w 324"/>
              <a:gd name="T11" fmla="*/ 24 h 373"/>
              <a:gd name="T12" fmla="*/ 129 w 324"/>
              <a:gd name="T13" fmla="*/ 16 h 373"/>
              <a:gd name="T14" fmla="*/ 154 w 324"/>
              <a:gd name="T15" fmla="*/ 46 h 373"/>
              <a:gd name="T16" fmla="*/ 157 w 324"/>
              <a:gd name="T17" fmla="*/ 90 h 373"/>
              <a:gd name="T18" fmla="*/ 221 w 324"/>
              <a:gd name="T19" fmla="*/ 112 h 373"/>
              <a:gd name="T20" fmla="*/ 278 w 324"/>
              <a:gd name="T21" fmla="*/ 240 h 373"/>
              <a:gd name="T22" fmla="*/ 318 w 324"/>
              <a:gd name="T23" fmla="*/ 236 h 373"/>
              <a:gd name="T24" fmla="*/ 324 w 324"/>
              <a:gd name="T25" fmla="*/ 254 h 373"/>
              <a:gd name="T26" fmla="*/ 322 w 324"/>
              <a:gd name="T27" fmla="*/ 256 h 373"/>
              <a:gd name="T28" fmla="*/ 228 w 324"/>
              <a:gd name="T29" fmla="*/ 350 h 373"/>
              <a:gd name="T30" fmla="*/ 206 w 324"/>
              <a:gd name="T31" fmla="*/ 373 h 373"/>
              <a:gd name="T32" fmla="*/ 163 w 324"/>
              <a:gd name="T33" fmla="*/ 328 h 373"/>
              <a:gd name="T34" fmla="*/ 81 w 324"/>
              <a:gd name="T35" fmla="*/ 274 h 373"/>
              <a:gd name="T36" fmla="*/ 97 w 324"/>
              <a:gd name="T37" fmla="*/ 248 h 373"/>
              <a:gd name="T38" fmla="*/ 53 w 324"/>
              <a:gd name="T39" fmla="*/ 216 h 373"/>
              <a:gd name="T40" fmla="*/ 0 w 324"/>
              <a:gd name="T41" fmla="*/ 149 h 373"/>
              <a:gd name="T42" fmla="*/ 12 w 324"/>
              <a:gd name="T43" fmla="*/ 152 h 3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324" h="373">
                <a:moveTo>
                  <a:pt x="12" y="152"/>
                </a:moveTo>
                <a:lnTo>
                  <a:pt x="25" y="156"/>
                </a:lnTo>
                <a:lnTo>
                  <a:pt x="52" y="135"/>
                </a:lnTo>
                <a:lnTo>
                  <a:pt x="20" y="82"/>
                </a:lnTo>
                <a:lnTo>
                  <a:pt x="91" y="0"/>
                </a:lnTo>
                <a:lnTo>
                  <a:pt x="110" y="24"/>
                </a:lnTo>
                <a:lnTo>
                  <a:pt x="129" y="16"/>
                </a:lnTo>
                <a:lnTo>
                  <a:pt x="154" y="46"/>
                </a:lnTo>
                <a:lnTo>
                  <a:pt x="157" y="90"/>
                </a:lnTo>
                <a:lnTo>
                  <a:pt x="221" y="112"/>
                </a:lnTo>
                <a:lnTo>
                  <a:pt x="278" y="240"/>
                </a:lnTo>
                <a:lnTo>
                  <a:pt x="318" y="236"/>
                </a:lnTo>
                <a:lnTo>
                  <a:pt x="324" y="254"/>
                </a:lnTo>
                <a:lnTo>
                  <a:pt x="322" y="256"/>
                </a:lnTo>
                <a:lnTo>
                  <a:pt x="228" y="350"/>
                </a:lnTo>
                <a:lnTo>
                  <a:pt x="206" y="373"/>
                </a:lnTo>
                <a:lnTo>
                  <a:pt x="163" y="328"/>
                </a:lnTo>
                <a:lnTo>
                  <a:pt x="81" y="274"/>
                </a:lnTo>
                <a:lnTo>
                  <a:pt x="97" y="248"/>
                </a:lnTo>
                <a:lnTo>
                  <a:pt x="53" y="216"/>
                </a:lnTo>
                <a:lnTo>
                  <a:pt x="0" y="149"/>
                </a:lnTo>
                <a:lnTo>
                  <a:pt x="12" y="15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7" name="Freeform 113"/>
          <p:cNvSpPr>
            <a:spLocks/>
          </p:cNvSpPr>
          <p:nvPr>
            <p:custDataLst>
              <p:tags r:id="rId33"/>
            </p:custDataLst>
          </p:nvPr>
        </p:nvSpPr>
        <p:spPr bwMode="gray">
          <a:xfrm>
            <a:off x="4965346" y="4624297"/>
            <a:ext cx="271230" cy="206557"/>
          </a:xfrm>
          <a:custGeom>
            <a:avLst/>
            <a:gdLst>
              <a:gd name="T0" fmla="*/ 16 w 285"/>
              <a:gd name="T1" fmla="*/ 56 h 231"/>
              <a:gd name="T2" fmla="*/ 28 w 285"/>
              <a:gd name="T3" fmla="*/ 59 h 231"/>
              <a:gd name="T4" fmla="*/ 31 w 285"/>
              <a:gd name="T5" fmla="*/ 34 h 231"/>
              <a:gd name="T6" fmla="*/ 53 w 285"/>
              <a:gd name="T7" fmla="*/ 54 h 231"/>
              <a:gd name="T8" fmla="*/ 71 w 285"/>
              <a:gd name="T9" fmla="*/ 39 h 231"/>
              <a:gd name="T10" fmla="*/ 60 w 285"/>
              <a:gd name="T11" fmla="*/ 15 h 231"/>
              <a:gd name="T12" fmla="*/ 97 w 285"/>
              <a:gd name="T13" fmla="*/ 0 h 231"/>
              <a:gd name="T14" fmla="*/ 132 w 285"/>
              <a:gd name="T15" fmla="*/ 45 h 231"/>
              <a:gd name="T16" fmla="*/ 176 w 285"/>
              <a:gd name="T17" fmla="*/ 77 h 231"/>
              <a:gd name="T18" fmla="*/ 160 w 285"/>
              <a:gd name="T19" fmla="*/ 103 h 231"/>
              <a:gd name="T20" fmla="*/ 242 w 285"/>
              <a:gd name="T21" fmla="*/ 157 h 231"/>
              <a:gd name="T22" fmla="*/ 285 w 285"/>
              <a:gd name="T23" fmla="*/ 202 h 231"/>
              <a:gd name="T24" fmla="*/ 256 w 285"/>
              <a:gd name="T25" fmla="*/ 231 h 231"/>
              <a:gd name="T26" fmla="*/ 141 w 285"/>
              <a:gd name="T27" fmla="*/ 223 h 231"/>
              <a:gd name="T28" fmla="*/ 88 w 285"/>
              <a:gd name="T29" fmla="*/ 183 h 231"/>
              <a:gd name="T30" fmla="*/ 43 w 285"/>
              <a:gd name="T31" fmla="*/ 209 h 231"/>
              <a:gd name="T32" fmla="*/ 38 w 285"/>
              <a:gd name="T33" fmla="*/ 210 h 231"/>
              <a:gd name="T34" fmla="*/ 6 w 285"/>
              <a:gd name="T35" fmla="*/ 118 h 231"/>
              <a:gd name="T36" fmla="*/ 20 w 285"/>
              <a:gd name="T37" fmla="*/ 94 h 231"/>
              <a:gd name="T38" fmla="*/ 0 w 285"/>
              <a:gd name="T39" fmla="*/ 54 h 231"/>
              <a:gd name="T40" fmla="*/ 16 w 285"/>
              <a:gd name="T41" fmla="*/ 56 h 2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285" h="231">
                <a:moveTo>
                  <a:pt x="16" y="56"/>
                </a:moveTo>
                <a:lnTo>
                  <a:pt x="28" y="59"/>
                </a:lnTo>
                <a:lnTo>
                  <a:pt x="31" y="34"/>
                </a:lnTo>
                <a:lnTo>
                  <a:pt x="53" y="54"/>
                </a:lnTo>
                <a:lnTo>
                  <a:pt x="71" y="39"/>
                </a:lnTo>
                <a:lnTo>
                  <a:pt x="60" y="15"/>
                </a:lnTo>
                <a:lnTo>
                  <a:pt x="97" y="0"/>
                </a:lnTo>
                <a:lnTo>
                  <a:pt x="132" y="45"/>
                </a:lnTo>
                <a:lnTo>
                  <a:pt x="176" y="77"/>
                </a:lnTo>
                <a:lnTo>
                  <a:pt x="160" y="103"/>
                </a:lnTo>
                <a:lnTo>
                  <a:pt x="242" y="157"/>
                </a:lnTo>
                <a:lnTo>
                  <a:pt x="285" y="202"/>
                </a:lnTo>
                <a:lnTo>
                  <a:pt x="256" y="231"/>
                </a:lnTo>
                <a:lnTo>
                  <a:pt x="141" y="223"/>
                </a:lnTo>
                <a:lnTo>
                  <a:pt x="88" y="183"/>
                </a:lnTo>
                <a:lnTo>
                  <a:pt x="43" y="209"/>
                </a:lnTo>
                <a:lnTo>
                  <a:pt x="38" y="210"/>
                </a:lnTo>
                <a:lnTo>
                  <a:pt x="6" y="118"/>
                </a:lnTo>
                <a:lnTo>
                  <a:pt x="20" y="94"/>
                </a:lnTo>
                <a:lnTo>
                  <a:pt x="0" y="54"/>
                </a:lnTo>
                <a:lnTo>
                  <a:pt x="16" y="5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8" name="Freeform 114"/>
          <p:cNvSpPr>
            <a:spLocks/>
          </p:cNvSpPr>
          <p:nvPr>
            <p:custDataLst>
              <p:tags r:id="rId34"/>
            </p:custDataLst>
          </p:nvPr>
        </p:nvSpPr>
        <p:spPr bwMode="gray">
          <a:xfrm>
            <a:off x="4741700" y="4178097"/>
            <a:ext cx="401611" cy="432787"/>
          </a:xfrm>
          <a:custGeom>
            <a:avLst/>
            <a:gdLst>
              <a:gd name="T0" fmla="*/ 3 w 422"/>
              <a:gd name="T1" fmla="*/ 111 h 484"/>
              <a:gd name="T2" fmla="*/ 7 w 422"/>
              <a:gd name="T3" fmla="*/ 0 h 484"/>
              <a:gd name="T4" fmla="*/ 403 w 422"/>
              <a:gd name="T5" fmla="*/ 2 h 484"/>
              <a:gd name="T6" fmla="*/ 422 w 422"/>
              <a:gd name="T7" fmla="*/ 5 h 484"/>
              <a:gd name="T8" fmla="*/ 407 w 422"/>
              <a:gd name="T9" fmla="*/ 100 h 484"/>
              <a:gd name="T10" fmla="*/ 359 w 422"/>
              <a:gd name="T11" fmla="*/ 212 h 484"/>
              <a:gd name="T12" fmla="*/ 403 w 422"/>
              <a:gd name="T13" fmla="*/ 328 h 484"/>
              <a:gd name="T14" fmla="*/ 405 w 422"/>
              <a:gd name="T15" fmla="*/ 328 h 484"/>
              <a:gd name="T16" fmla="*/ 334 w 422"/>
              <a:gd name="T17" fmla="*/ 410 h 484"/>
              <a:gd name="T18" fmla="*/ 366 w 422"/>
              <a:gd name="T19" fmla="*/ 463 h 484"/>
              <a:gd name="T20" fmla="*/ 339 w 422"/>
              <a:gd name="T21" fmla="*/ 484 h 484"/>
              <a:gd name="T22" fmla="*/ 315 w 422"/>
              <a:gd name="T23" fmla="*/ 477 h 484"/>
              <a:gd name="T24" fmla="*/ 304 w 422"/>
              <a:gd name="T25" fmla="*/ 466 h 484"/>
              <a:gd name="T26" fmla="*/ 290 w 422"/>
              <a:gd name="T27" fmla="*/ 473 h 484"/>
              <a:gd name="T28" fmla="*/ 275 w 422"/>
              <a:gd name="T29" fmla="*/ 426 h 484"/>
              <a:gd name="T30" fmla="*/ 248 w 422"/>
              <a:gd name="T31" fmla="*/ 416 h 484"/>
              <a:gd name="T32" fmla="*/ 223 w 422"/>
              <a:gd name="T33" fmla="*/ 430 h 484"/>
              <a:gd name="T34" fmla="*/ 213 w 422"/>
              <a:gd name="T35" fmla="*/ 407 h 484"/>
              <a:gd name="T36" fmla="*/ 194 w 422"/>
              <a:gd name="T37" fmla="*/ 407 h 484"/>
              <a:gd name="T38" fmla="*/ 171 w 422"/>
              <a:gd name="T39" fmla="*/ 316 h 484"/>
              <a:gd name="T40" fmla="*/ 135 w 422"/>
              <a:gd name="T41" fmla="*/ 324 h 484"/>
              <a:gd name="T42" fmla="*/ 130 w 422"/>
              <a:gd name="T43" fmla="*/ 356 h 484"/>
              <a:gd name="T44" fmla="*/ 142 w 422"/>
              <a:gd name="T45" fmla="*/ 372 h 484"/>
              <a:gd name="T46" fmla="*/ 128 w 422"/>
              <a:gd name="T47" fmla="*/ 410 h 484"/>
              <a:gd name="T48" fmla="*/ 132 w 422"/>
              <a:gd name="T49" fmla="*/ 465 h 484"/>
              <a:gd name="T50" fmla="*/ 72 w 422"/>
              <a:gd name="T51" fmla="*/ 448 h 484"/>
              <a:gd name="T52" fmla="*/ 15 w 422"/>
              <a:gd name="T53" fmla="*/ 445 h 484"/>
              <a:gd name="T54" fmla="*/ 10 w 422"/>
              <a:gd name="T55" fmla="*/ 436 h 484"/>
              <a:gd name="T56" fmla="*/ 25 w 422"/>
              <a:gd name="T57" fmla="*/ 315 h 484"/>
              <a:gd name="T58" fmla="*/ 0 w 422"/>
              <a:gd name="T59" fmla="*/ 223 h 484"/>
              <a:gd name="T60" fmla="*/ 3 w 422"/>
              <a:gd name="T61" fmla="*/ 111 h 4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422" h="484">
                <a:moveTo>
                  <a:pt x="3" y="111"/>
                </a:moveTo>
                <a:lnTo>
                  <a:pt x="7" y="0"/>
                </a:lnTo>
                <a:lnTo>
                  <a:pt x="403" y="2"/>
                </a:lnTo>
                <a:lnTo>
                  <a:pt x="422" y="5"/>
                </a:lnTo>
                <a:lnTo>
                  <a:pt x="407" y="100"/>
                </a:lnTo>
                <a:lnTo>
                  <a:pt x="359" y="212"/>
                </a:lnTo>
                <a:lnTo>
                  <a:pt x="403" y="328"/>
                </a:lnTo>
                <a:lnTo>
                  <a:pt x="405" y="328"/>
                </a:lnTo>
                <a:lnTo>
                  <a:pt x="334" y="410"/>
                </a:lnTo>
                <a:lnTo>
                  <a:pt x="366" y="463"/>
                </a:lnTo>
                <a:lnTo>
                  <a:pt x="339" y="484"/>
                </a:lnTo>
                <a:lnTo>
                  <a:pt x="315" y="477"/>
                </a:lnTo>
                <a:lnTo>
                  <a:pt x="304" y="466"/>
                </a:lnTo>
                <a:lnTo>
                  <a:pt x="290" y="473"/>
                </a:lnTo>
                <a:lnTo>
                  <a:pt x="275" y="426"/>
                </a:lnTo>
                <a:lnTo>
                  <a:pt x="248" y="416"/>
                </a:lnTo>
                <a:lnTo>
                  <a:pt x="223" y="430"/>
                </a:lnTo>
                <a:lnTo>
                  <a:pt x="213" y="407"/>
                </a:lnTo>
                <a:lnTo>
                  <a:pt x="194" y="407"/>
                </a:lnTo>
                <a:lnTo>
                  <a:pt x="171" y="316"/>
                </a:lnTo>
                <a:lnTo>
                  <a:pt x="135" y="324"/>
                </a:lnTo>
                <a:lnTo>
                  <a:pt x="130" y="356"/>
                </a:lnTo>
                <a:lnTo>
                  <a:pt x="142" y="372"/>
                </a:lnTo>
                <a:lnTo>
                  <a:pt x="128" y="410"/>
                </a:lnTo>
                <a:lnTo>
                  <a:pt x="132" y="465"/>
                </a:lnTo>
                <a:lnTo>
                  <a:pt x="72" y="448"/>
                </a:lnTo>
                <a:lnTo>
                  <a:pt x="15" y="445"/>
                </a:lnTo>
                <a:lnTo>
                  <a:pt x="10" y="436"/>
                </a:lnTo>
                <a:lnTo>
                  <a:pt x="25" y="315"/>
                </a:lnTo>
                <a:lnTo>
                  <a:pt x="0" y="223"/>
                </a:lnTo>
                <a:lnTo>
                  <a:pt x="3" y="11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9" name="Freeform 115"/>
          <p:cNvSpPr>
            <a:spLocks/>
          </p:cNvSpPr>
          <p:nvPr>
            <p:custDataLst>
              <p:tags r:id="rId35"/>
            </p:custDataLst>
          </p:nvPr>
        </p:nvSpPr>
        <p:spPr bwMode="gray">
          <a:xfrm>
            <a:off x="5083355" y="4182568"/>
            <a:ext cx="216033" cy="329955"/>
          </a:xfrm>
          <a:custGeom>
            <a:avLst/>
            <a:gdLst>
              <a:gd name="T0" fmla="*/ 24 w 227"/>
              <a:gd name="T1" fmla="*/ 150 h 369"/>
              <a:gd name="T2" fmla="*/ 48 w 227"/>
              <a:gd name="T3" fmla="*/ 95 h 369"/>
              <a:gd name="T4" fmla="*/ 63 w 227"/>
              <a:gd name="T5" fmla="*/ 0 h 369"/>
              <a:gd name="T6" fmla="*/ 209 w 227"/>
              <a:gd name="T7" fmla="*/ 22 h 369"/>
              <a:gd name="T8" fmla="*/ 171 w 227"/>
              <a:gd name="T9" fmla="*/ 146 h 369"/>
              <a:gd name="T10" fmla="*/ 227 w 227"/>
              <a:gd name="T11" fmla="*/ 194 h 369"/>
              <a:gd name="T12" fmla="*/ 183 w 227"/>
              <a:gd name="T13" fmla="*/ 343 h 369"/>
              <a:gd name="T14" fmla="*/ 168 w 227"/>
              <a:gd name="T15" fmla="*/ 336 h 369"/>
              <a:gd name="T16" fmla="*/ 151 w 227"/>
              <a:gd name="T17" fmla="*/ 369 h 369"/>
              <a:gd name="T18" fmla="*/ 140 w 227"/>
              <a:gd name="T19" fmla="*/ 354 h 369"/>
              <a:gd name="T20" fmla="*/ 107 w 227"/>
              <a:gd name="T21" fmla="*/ 366 h 369"/>
              <a:gd name="T22" fmla="*/ 109 w 227"/>
              <a:gd name="T23" fmla="*/ 369 h 369"/>
              <a:gd name="T24" fmla="*/ 84 w 227"/>
              <a:gd name="T25" fmla="*/ 339 h 369"/>
              <a:gd name="T26" fmla="*/ 65 w 227"/>
              <a:gd name="T27" fmla="*/ 347 h 369"/>
              <a:gd name="T28" fmla="*/ 44 w 227"/>
              <a:gd name="T29" fmla="*/ 323 h 369"/>
              <a:gd name="T30" fmla="*/ 0 w 227"/>
              <a:gd name="T31" fmla="*/ 207 h 369"/>
              <a:gd name="T32" fmla="*/ 24 w 227"/>
              <a:gd name="T33" fmla="*/ 150 h 3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227" h="369">
                <a:moveTo>
                  <a:pt x="24" y="150"/>
                </a:moveTo>
                <a:lnTo>
                  <a:pt x="48" y="95"/>
                </a:lnTo>
                <a:lnTo>
                  <a:pt x="63" y="0"/>
                </a:lnTo>
                <a:lnTo>
                  <a:pt x="209" y="22"/>
                </a:lnTo>
                <a:lnTo>
                  <a:pt x="171" y="146"/>
                </a:lnTo>
                <a:lnTo>
                  <a:pt x="227" y="194"/>
                </a:lnTo>
                <a:lnTo>
                  <a:pt x="183" y="343"/>
                </a:lnTo>
                <a:lnTo>
                  <a:pt x="168" y="336"/>
                </a:lnTo>
                <a:lnTo>
                  <a:pt x="151" y="369"/>
                </a:lnTo>
                <a:lnTo>
                  <a:pt x="140" y="354"/>
                </a:lnTo>
                <a:lnTo>
                  <a:pt x="107" y="366"/>
                </a:lnTo>
                <a:lnTo>
                  <a:pt x="109" y="369"/>
                </a:lnTo>
                <a:lnTo>
                  <a:pt x="84" y="339"/>
                </a:lnTo>
                <a:lnTo>
                  <a:pt x="65" y="347"/>
                </a:lnTo>
                <a:lnTo>
                  <a:pt x="44" y="323"/>
                </a:lnTo>
                <a:lnTo>
                  <a:pt x="0" y="207"/>
                </a:lnTo>
                <a:lnTo>
                  <a:pt x="24" y="15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0" name="Freeform 116"/>
          <p:cNvSpPr>
            <a:spLocks/>
          </p:cNvSpPr>
          <p:nvPr>
            <p:custDataLst>
              <p:tags r:id="rId36"/>
            </p:custDataLst>
          </p:nvPr>
        </p:nvSpPr>
        <p:spPr bwMode="gray">
          <a:xfrm>
            <a:off x="5185185" y="4483015"/>
            <a:ext cx="157980" cy="202980"/>
          </a:xfrm>
          <a:custGeom>
            <a:avLst/>
            <a:gdLst>
              <a:gd name="T0" fmla="*/ 18 w 166"/>
              <a:gd name="T1" fmla="*/ 23 h 227"/>
              <a:gd name="T2" fmla="*/ 33 w 166"/>
              <a:gd name="T3" fmla="*/ 18 h 227"/>
              <a:gd name="T4" fmla="*/ 44 w 166"/>
              <a:gd name="T5" fmla="*/ 33 h 227"/>
              <a:gd name="T6" fmla="*/ 61 w 166"/>
              <a:gd name="T7" fmla="*/ 0 h 227"/>
              <a:gd name="T8" fmla="*/ 76 w 166"/>
              <a:gd name="T9" fmla="*/ 7 h 227"/>
              <a:gd name="T10" fmla="*/ 68 w 166"/>
              <a:gd name="T11" fmla="*/ 37 h 227"/>
              <a:gd name="T12" fmla="*/ 105 w 166"/>
              <a:gd name="T13" fmla="*/ 75 h 227"/>
              <a:gd name="T14" fmla="*/ 166 w 166"/>
              <a:gd name="T15" fmla="*/ 223 h 227"/>
              <a:gd name="T16" fmla="*/ 126 w 166"/>
              <a:gd name="T17" fmla="*/ 227 h 227"/>
              <a:gd name="T18" fmla="*/ 69 w 166"/>
              <a:gd name="T19" fmla="*/ 99 h 227"/>
              <a:gd name="T20" fmla="*/ 5 w 166"/>
              <a:gd name="T21" fmla="*/ 77 h 227"/>
              <a:gd name="T22" fmla="*/ 0 w 166"/>
              <a:gd name="T23" fmla="*/ 30 h 227"/>
              <a:gd name="T24" fmla="*/ 18 w 166"/>
              <a:gd name="T25" fmla="*/ 23 h 2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66" h="227">
                <a:moveTo>
                  <a:pt x="18" y="23"/>
                </a:moveTo>
                <a:lnTo>
                  <a:pt x="33" y="18"/>
                </a:lnTo>
                <a:lnTo>
                  <a:pt x="44" y="33"/>
                </a:lnTo>
                <a:lnTo>
                  <a:pt x="61" y="0"/>
                </a:lnTo>
                <a:lnTo>
                  <a:pt x="76" y="7"/>
                </a:lnTo>
                <a:lnTo>
                  <a:pt x="68" y="37"/>
                </a:lnTo>
                <a:lnTo>
                  <a:pt x="105" y="75"/>
                </a:lnTo>
                <a:lnTo>
                  <a:pt x="166" y="223"/>
                </a:lnTo>
                <a:lnTo>
                  <a:pt x="126" y="227"/>
                </a:lnTo>
                <a:lnTo>
                  <a:pt x="69" y="99"/>
                </a:lnTo>
                <a:lnTo>
                  <a:pt x="5" y="77"/>
                </a:lnTo>
                <a:lnTo>
                  <a:pt x="0" y="30"/>
                </a:lnTo>
                <a:lnTo>
                  <a:pt x="18" y="2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1" name="Freeform 117"/>
          <p:cNvSpPr>
            <a:spLocks/>
          </p:cNvSpPr>
          <p:nvPr>
            <p:custDataLst>
              <p:tags r:id="rId37"/>
            </p:custDataLst>
          </p:nvPr>
        </p:nvSpPr>
        <p:spPr bwMode="gray">
          <a:xfrm>
            <a:off x="4618933" y="4639498"/>
            <a:ext cx="382577" cy="267362"/>
          </a:xfrm>
          <a:custGeom>
            <a:avLst/>
            <a:gdLst>
              <a:gd name="T0" fmla="*/ 14 w 402"/>
              <a:gd name="T1" fmla="*/ 116 h 299"/>
              <a:gd name="T2" fmla="*/ 91 w 402"/>
              <a:gd name="T3" fmla="*/ 92 h 299"/>
              <a:gd name="T4" fmla="*/ 113 w 402"/>
              <a:gd name="T5" fmla="*/ 46 h 299"/>
              <a:gd name="T6" fmla="*/ 121 w 402"/>
              <a:gd name="T7" fmla="*/ 0 h 299"/>
              <a:gd name="T8" fmla="*/ 275 w 402"/>
              <a:gd name="T9" fmla="*/ 93 h 299"/>
              <a:gd name="T10" fmla="*/ 363 w 402"/>
              <a:gd name="T11" fmla="*/ 189 h 299"/>
              <a:gd name="T12" fmla="*/ 392 w 402"/>
              <a:gd name="T13" fmla="*/ 160 h 299"/>
              <a:gd name="T14" fmla="*/ 399 w 402"/>
              <a:gd name="T15" fmla="*/ 195 h 299"/>
              <a:gd name="T16" fmla="*/ 270 w 402"/>
              <a:gd name="T17" fmla="*/ 214 h 299"/>
              <a:gd name="T18" fmla="*/ 164 w 402"/>
              <a:gd name="T19" fmla="*/ 268 h 299"/>
              <a:gd name="T20" fmla="*/ 166 w 402"/>
              <a:gd name="T21" fmla="*/ 269 h 299"/>
              <a:gd name="T22" fmla="*/ 169 w 402"/>
              <a:gd name="T23" fmla="*/ 269 h 299"/>
              <a:gd name="T24" fmla="*/ 169 w 402"/>
              <a:gd name="T25" fmla="*/ 272 h 299"/>
              <a:gd name="T26" fmla="*/ 170 w 402"/>
              <a:gd name="T27" fmla="*/ 275 h 299"/>
              <a:gd name="T28" fmla="*/ 170 w 402"/>
              <a:gd name="T29" fmla="*/ 277 h 299"/>
              <a:gd name="T30" fmla="*/ 172 w 402"/>
              <a:gd name="T31" fmla="*/ 279 h 299"/>
              <a:gd name="T32" fmla="*/ 170 w 402"/>
              <a:gd name="T33" fmla="*/ 280 h 299"/>
              <a:gd name="T34" fmla="*/ 169 w 402"/>
              <a:gd name="T35" fmla="*/ 284 h 299"/>
              <a:gd name="T36" fmla="*/ 168 w 402"/>
              <a:gd name="T37" fmla="*/ 286 h 299"/>
              <a:gd name="T38" fmla="*/ 168 w 402"/>
              <a:gd name="T39" fmla="*/ 288 h 299"/>
              <a:gd name="T40" fmla="*/ 166 w 402"/>
              <a:gd name="T41" fmla="*/ 291 h 299"/>
              <a:gd name="T42" fmla="*/ 166 w 402"/>
              <a:gd name="T43" fmla="*/ 295 h 299"/>
              <a:gd name="T44" fmla="*/ 166 w 402"/>
              <a:gd name="T45" fmla="*/ 298 h 299"/>
              <a:gd name="T46" fmla="*/ 131 w 402"/>
              <a:gd name="T47" fmla="*/ 290 h 299"/>
              <a:gd name="T48" fmla="*/ 126 w 402"/>
              <a:gd name="T49" fmla="*/ 288 h 299"/>
              <a:gd name="T50" fmla="*/ 128 w 402"/>
              <a:gd name="T51" fmla="*/ 287 h 299"/>
              <a:gd name="T52" fmla="*/ 128 w 402"/>
              <a:gd name="T53" fmla="*/ 284 h 299"/>
              <a:gd name="T54" fmla="*/ 125 w 402"/>
              <a:gd name="T55" fmla="*/ 284 h 299"/>
              <a:gd name="T56" fmla="*/ 125 w 402"/>
              <a:gd name="T57" fmla="*/ 281 h 299"/>
              <a:gd name="T58" fmla="*/ 126 w 402"/>
              <a:gd name="T59" fmla="*/ 279 h 299"/>
              <a:gd name="T60" fmla="*/ 125 w 402"/>
              <a:gd name="T61" fmla="*/ 280 h 299"/>
              <a:gd name="T62" fmla="*/ 125 w 402"/>
              <a:gd name="T63" fmla="*/ 279 h 299"/>
              <a:gd name="T64" fmla="*/ 124 w 402"/>
              <a:gd name="T65" fmla="*/ 277 h 299"/>
              <a:gd name="T66" fmla="*/ 121 w 402"/>
              <a:gd name="T67" fmla="*/ 277 h 299"/>
              <a:gd name="T68" fmla="*/ 121 w 402"/>
              <a:gd name="T69" fmla="*/ 275 h 299"/>
              <a:gd name="T70" fmla="*/ 120 w 402"/>
              <a:gd name="T71" fmla="*/ 276 h 299"/>
              <a:gd name="T72" fmla="*/ 118 w 402"/>
              <a:gd name="T73" fmla="*/ 275 h 299"/>
              <a:gd name="T74" fmla="*/ 117 w 402"/>
              <a:gd name="T75" fmla="*/ 273 h 299"/>
              <a:gd name="T76" fmla="*/ 117 w 402"/>
              <a:gd name="T77" fmla="*/ 270 h 299"/>
              <a:gd name="T78" fmla="*/ 114 w 402"/>
              <a:gd name="T79" fmla="*/ 270 h 299"/>
              <a:gd name="T80" fmla="*/ 115 w 402"/>
              <a:gd name="T81" fmla="*/ 269 h 299"/>
              <a:gd name="T82" fmla="*/ 113 w 402"/>
              <a:gd name="T83" fmla="*/ 270 h 299"/>
              <a:gd name="T84" fmla="*/ 111 w 402"/>
              <a:gd name="T85" fmla="*/ 269 h 299"/>
              <a:gd name="T86" fmla="*/ 110 w 402"/>
              <a:gd name="T87" fmla="*/ 270 h 299"/>
              <a:gd name="T88" fmla="*/ 80 w 402"/>
              <a:gd name="T89" fmla="*/ 270 h 299"/>
              <a:gd name="T90" fmla="*/ 80 w 402"/>
              <a:gd name="T91" fmla="*/ 268 h 299"/>
              <a:gd name="T92" fmla="*/ 80 w 402"/>
              <a:gd name="T93" fmla="*/ 259 h 299"/>
              <a:gd name="T94" fmla="*/ 78 w 402"/>
              <a:gd name="T95" fmla="*/ 251 h 299"/>
              <a:gd name="T96" fmla="*/ 77 w 402"/>
              <a:gd name="T97" fmla="*/ 248 h 299"/>
              <a:gd name="T98" fmla="*/ 77 w 402"/>
              <a:gd name="T99" fmla="*/ 243 h 299"/>
              <a:gd name="T100" fmla="*/ 73 w 402"/>
              <a:gd name="T101" fmla="*/ 235 h 299"/>
              <a:gd name="T102" fmla="*/ 69 w 402"/>
              <a:gd name="T103" fmla="*/ 228 h 299"/>
              <a:gd name="T104" fmla="*/ 66 w 402"/>
              <a:gd name="T105" fmla="*/ 226 h 299"/>
              <a:gd name="T106" fmla="*/ 65 w 402"/>
              <a:gd name="T107" fmla="*/ 224 h 299"/>
              <a:gd name="T108" fmla="*/ 63 w 402"/>
              <a:gd name="T109" fmla="*/ 221 h 299"/>
              <a:gd name="T110" fmla="*/ 62 w 402"/>
              <a:gd name="T111" fmla="*/ 218 h 299"/>
              <a:gd name="T112" fmla="*/ 62 w 402"/>
              <a:gd name="T113" fmla="*/ 215 h 299"/>
              <a:gd name="T114" fmla="*/ 59 w 402"/>
              <a:gd name="T115" fmla="*/ 211 h 299"/>
              <a:gd name="T116" fmla="*/ 55 w 402"/>
              <a:gd name="T117" fmla="*/ 210 h 299"/>
              <a:gd name="T118" fmla="*/ 52 w 402"/>
              <a:gd name="T119" fmla="*/ 204 h 299"/>
              <a:gd name="T120" fmla="*/ 47 w 402"/>
              <a:gd name="T121" fmla="*/ 198 h 299"/>
              <a:gd name="T122" fmla="*/ 36 w 402"/>
              <a:gd name="T123" fmla="*/ 189 h 299"/>
              <a:gd name="T124" fmla="*/ 0 w 402"/>
              <a:gd name="T125" fmla="*/ 127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02" h="299">
                <a:moveTo>
                  <a:pt x="0" y="127"/>
                </a:moveTo>
                <a:lnTo>
                  <a:pt x="14" y="116"/>
                </a:lnTo>
                <a:lnTo>
                  <a:pt x="49" y="114"/>
                </a:lnTo>
                <a:lnTo>
                  <a:pt x="91" y="92"/>
                </a:lnTo>
                <a:lnTo>
                  <a:pt x="95" y="44"/>
                </a:lnTo>
                <a:lnTo>
                  <a:pt x="113" y="46"/>
                </a:lnTo>
                <a:lnTo>
                  <a:pt x="121" y="34"/>
                </a:lnTo>
                <a:lnTo>
                  <a:pt x="121" y="0"/>
                </a:lnTo>
                <a:lnTo>
                  <a:pt x="202" y="72"/>
                </a:lnTo>
                <a:lnTo>
                  <a:pt x="275" y="93"/>
                </a:lnTo>
                <a:lnTo>
                  <a:pt x="319" y="169"/>
                </a:lnTo>
                <a:lnTo>
                  <a:pt x="363" y="189"/>
                </a:lnTo>
                <a:lnTo>
                  <a:pt x="373" y="163"/>
                </a:lnTo>
                <a:lnTo>
                  <a:pt x="392" y="160"/>
                </a:lnTo>
                <a:lnTo>
                  <a:pt x="402" y="193"/>
                </a:lnTo>
                <a:lnTo>
                  <a:pt x="399" y="195"/>
                </a:lnTo>
                <a:lnTo>
                  <a:pt x="347" y="211"/>
                </a:lnTo>
                <a:lnTo>
                  <a:pt x="270" y="214"/>
                </a:lnTo>
                <a:lnTo>
                  <a:pt x="241" y="215"/>
                </a:lnTo>
                <a:lnTo>
                  <a:pt x="164" y="268"/>
                </a:lnTo>
                <a:lnTo>
                  <a:pt x="165" y="269"/>
                </a:lnTo>
                <a:lnTo>
                  <a:pt x="166" y="269"/>
                </a:lnTo>
                <a:lnTo>
                  <a:pt x="168" y="269"/>
                </a:lnTo>
                <a:lnTo>
                  <a:pt x="169" y="269"/>
                </a:lnTo>
                <a:lnTo>
                  <a:pt x="169" y="270"/>
                </a:lnTo>
                <a:lnTo>
                  <a:pt x="169" y="272"/>
                </a:lnTo>
                <a:lnTo>
                  <a:pt x="170" y="273"/>
                </a:lnTo>
                <a:lnTo>
                  <a:pt x="170" y="275"/>
                </a:lnTo>
                <a:lnTo>
                  <a:pt x="170" y="276"/>
                </a:lnTo>
                <a:lnTo>
                  <a:pt x="170" y="277"/>
                </a:lnTo>
                <a:lnTo>
                  <a:pt x="170" y="279"/>
                </a:lnTo>
                <a:lnTo>
                  <a:pt x="172" y="279"/>
                </a:lnTo>
                <a:lnTo>
                  <a:pt x="172" y="279"/>
                </a:lnTo>
                <a:lnTo>
                  <a:pt x="170" y="280"/>
                </a:lnTo>
                <a:lnTo>
                  <a:pt x="169" y="281"/>
                </a:lnTo>
                <a:lnTo>
                  <a:pt x="169" y="284"/>
                </a:lnTo>
                <a:lnTo>
                  <a:pt x="168" y="284"/>
                </a:lnTo>
                <a:lnTo>
                  <a:pt x="168" y="286"/>
                </a:lnTo>
                <a:lnTo>
                  <a:pt x="169" y="287"/>
                </a:lnTo>
                <a:lnTo>
                  <a:pt x="168" y="288"/>
                </a:lnTo>
                <a:lnTo>
                  <a:pt x="166" y="290"/>
                </a:lnTo>
                <a:lnTo>
                  <a:pt x="166" y="291"/>
                </a:lnTo>
                <a:lnTo>
                  <a:pt x="166" y="294"/>
                </a:lnTo>
                <a:lnTo>
                  <a:pt x="166" y="295"/>
                </a:lnTo>
                <a:lnTo>
                  <a:pt x="168" y="297"/>
                </a:lnTo>
                <a:lnTo>
                  <a:pt x="166" y="298"/>
                </a:lnTo>
                <a:lnTo>
                  <a:pt x="166" y="299"/>
                </a:lnTo>
                <a:lnTo>
                  <a:pt x="131" y="290"/>
                </a:lnTo>
                <a:lnTo>
                  <a:pt x="126" y="290"/>
                </a:lnTo>
                <a:lnTo>
                  <a:pt x="126" y="288"/>
                </a:lnTo>
                <a:lnTo>
                  <a:pt x="128" y="288"/>
                </a:lnTo>
                <a:lnTo>
                  <a:pt x="128" y="287"/>
                </a:lnTo>
                <a:lnTo>
                  <a:pt x="126" y="286"/>
                </a:lnTo>
                <a:lnTo>
                  <a:pt x="128" y="284"/>
                </a:lnTo>
                <a:lnTo>
                  <a:pt x="126" y="284"/>
                </a:lnTo>
                <a:lnTo>
                  <a:pt x="125" y="284"/>
                </a:lnTo>
                <a:lnTo>
                  <a:pt x="125" y="283"/>
                </a:lnTo>
                <a:lnTo>
                  <a:pt x="125" y="281"/>
                </a:lnTo>
                <a:lnTo>
                  <a:pt x="125" y="280"/>
                </a:lnTo>
                <a:lnTo>
                  <a:pt x="126" y="279"/>
                </a:lnTo>
                <a:lnTo>
                  <a:pt x="125" y="279"/>
                </a:lnTo>
                <a:lnTo>
                  <a:pt x="125" y="280"/>
                </a:lnTo>
                <a:lnTo>
                  <a:pt x="125" y="279"/>
                </a:lnTo>
                <a:lnTo>
                  <a:pt x="125" y="279"/>
                </a:lnTo>
                <a:lnTo>
                  <a:pt x="124" y="279"/>
                </a:lnTo>
                <a:lnTo>
                  <a:pt x="124" y="277"/>
                </a:lnTo>
                <a:lnTo>
                  <a:pt x="122" y="277"/>
                </a:lnTo>
                <a:lnTo>
                  <a:pt x="121" y="277"/>
                </a:lnTo>
                <a:lnTo>
                  <a:pt x="121" y="276"/>
                </a:lnTo>
                <a:lnTo>
                  <a:pt x="121" y="275"/>
                </a:lnTo>
                <a:lnTo>
                  <a:pt x="120" y="275"/>
                </a:lnTo>
                <a:lnTo>
                  <a:pt x="120" y="276"/>
                </a:lnTo>
                <a:lnTo>
                  <a:pt x="120" y="275"/>
                </a:lnTo>
                <a:lnTo>
                  <a:pt x="118" y="275"/>
                </a:lnTo>
                <a:lnTo>
                  <a:pt x="118" y="273"/>
                </a:lnTo>
                <a:lnTo>
                  <a:pt x="117" y="273"/>
                </a:lnTo>
                <a:lnTo>
                  <a:pt x="117" y="272"/>
                </a:lnTo>
                <a:lnTo>
                  <a:pt x="117" y="270"/>
                </a:lnTo>
                <a:lnTo>
                  <a:pt x="115" y="270"/>
                </a:lnTo>
                <a:lnTo>
                  <a:pt x="114" y="270"/>
                </a:lnTo>
                <a:lnTo>
                  <a:pt x="115" y="270"/>
                </a:lnTo>
                <a:lnTo>
                  <a:pt x="115" y="269"/>
                </a:lnTo>
                <a:lnTo>
                  <a:pt x="114" y="269"/>
                </a:lnTo>
                <a:lnTo>
                  <a:pt x="113" y="270"/>
                </a:lnTo>
                <a:lnTo>
                  <a:pt x="111" y="270"/>
                </a:lnTo>
                <a:lnTo>
                  <a:pt x="111" y="269"/>
                </a:lnTo>
                <a:lnTo>
                  <a:pt x="111" y="270"/>
                </a:lnTo>
                <a:lnTo>
                  <a:pt x="110" y="270"/>
                </a:lnTo>
                <a:lnTo>
                  <a:pt x="109" y="270"/>
                </a:lnTo>
                <a:lnTo>
                  <a:pt x="80" y="270"/>
                </a:lnTo>
                <a:lnTo>
                  <a:pt x="80" y="269"/>
                </a:lnTo>
                <a:lnTo>
                  <a:pt x="80" y="268"/>
                </a:lnTo>
                <a:lnTo>
                  <a:pt x="80" y="264"/>
                </a:lnTo>
                <a:lnTo>
                  <a:pt x="80" y="259"/>
                </a:lnTo>
                <a:lnTo>
                  <a:pt x="78" y="255"/>
                </a:lnTo>
                <a:lnTo>
                  <a:pt x="78" y="251"/>
                </a:lnTo>
                <a:lnTo>
                  <a:pt x="77" y="250"/>
                </a:lnTo>
                <a:lnTo>
                  <a:pt x="77" y="248"/>
                </a:lnTo>
                <a:lnTo>
                  <a:pt x="77" y="246"/>
                </a:lnTo>
                <a:lnTo>
                  <a:pt x="77" y="243"/>
                </a:lnTo>
                <a:lnTo>
                  <a:pt x="76" y="240"/>
                </a:lnTo>
                <a:lnTo>
                  <a:pt x="73" y="235"/>
                </a:lnTo>
                <a:lnTo>
                  <a:pt x="71" y="232"/>
                </a:lnTo>
                <a:lnTo>
                  <a:pt x="69" y="228"/>
                </a:lnTo>
                <a:lnTo>
                  <a:pt x="69" y="226"/>
                </a:lnTo>
                <a:lnTo>
                  <a:pt x="66" y="226"/>
                </a:lnTo>
                <a:lnTo>
                  <a:pt x="66" y="225"/>
                </a:lnTo>
                <a:lnTo>
                  <a:pt x="65" y="224"/>
                </a:lnTo>
                <a:lnTo>
                  <a:pt x="65" y="222"/>
                </a:lnTo>
                <a:lnTo>
                  <a:pt x="63" y="221"/>
                </a:lnTo>
                <a:lnTo>
                  <a:pt x="63" y="218"/>
                </a:lnTo>
                <a:lnTo>
                  <a:pt x="62" y="218"/>
                </a:lnTo>
                <a:lnTo>
                  <a:pt x="62" y="217"/>
                </a:lnTo>
                <a:lnTo>
                  <a:pt x="62" y="215"/>
                </a:lnTo>
                <a:lnTo>
                  <a:pt x="62" y="214"/>
                </a:lnTo>
                <a:lnTo>
                  <a:pt x="59" y="211"/>
                </a:lnTo>
                <a:lnTo>
                  <a:pt x="58" y="210"/>
                </a:lnTo>
                <a:lnTo>
                  <a:pt x="55" y="210"/>
                </a:lnTo>
                <a:lnTo>
                  <a:pt x="54" y="210"/>
                </a:lnTo>
                <a:lnTo>
                  <a:pt x="52" y="204"/>
                </a:lnTo>
                <a:lnTo>
                  <a:pt x="51" y="202"/>
                </a:lnTo>
                <a:lnTo>
                  <a:pt x="47" y="198"/>
                </a:lnTo>
                <a:lnTo>
                  <a:pt x="41" y="195"/>
                </a:lnTo>
                <a:lnTo>
                  <a:pt x="36" y="189"/>
                </a:lnTo>
                <a:lnTo>
                  <a:pt x="27" y="187"/>
                </a:lnTo>
                <a:lnTo>
                  <a:pt x="0" y="127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2" name="Freeform 118"/>
          <p:cNvSpPr>
            <a:spLocks/>
          </p:cNvSpPr>
          <p:nvPr>
            <p:custDataLst>
              <p:tags r:id="rId38"/>
            </p:custDataLst>
          </p:nvPr>
        </p:nvSpPr>
        <p:spPr bwMode="gray">
          <a:xfrm>
            <a:off x="4712197" y="4460660"/>
            <a:ext cx="345462" cy="347839"/>
          </a:xfrm>
          <a:custGeom>
            <a:avLst/>
            <a:gdLst>
              <a:gd name="T0" fmla="*/ 26 w 363"/>
              <a:gd name="T1" fmla="*/ 142 h 389"/>
              <a:gd name="T2" fmla="*/ 50 w 363"/>
              <a:gd name="T3" fmla="*/ 136 h 389"/>
              <a:gd name="T4" fmla="*/ 46 w 363"/>
              <a:gd name="T5" fmla="*/ 129 h 389"/>
              <a:gd name="T6" fmla="*/ 103 w 363"/>
              <a:gd name="T7" fmla="*/ 132 h 389"/>
              <a:gd name="T8" fmla="*/ 163 w 363"/>
              <a:gd name="T9" fmla="*/ 149 h 389"/>
              <a:gd name="T10" fmla="*/ 159 w 363"/>
              <a:gd name="T11" fmla="*/ 94 h 389"/>
              <a:gd name="T12" fmla="*/ 173 w 363"/>
              <a:gd name="T13" fmla="*/ 56 h 389"/>
              <a:gd name="T14" fmla="*/ 161 w 363"/>
              <a:gd name="T15" fmla="*/ 40 h 389"/>
              <a:gd name="T16" fmla="*/ 166 w 363"/>
              <a:gd name="T17" fmla="*/ 8 h 389"/>
              <a:gd name="T18" fmla="*/ 202 w 363"/>
              <a:gd name="T19" fmla="*/ 0 h 389"/>
              <a:gd name="T20" fmla="*/ 225 w 363"/>
              <a:gd name="T21" fmla="*/ 91 h 389"/>
              <a:gd name="T22" fmla="*/ 244 w 363"/>
              <a:gd name="T23" fmla="*/ 91 h 389"/>
              <a:gd name="T24" fmla="*/ 254 w 363"/>
              <a:gd name="T25" fmla="*/ 114 h 389"/>
              <a:gd name="T26" fmla="*/ 279 w 363"/>
              <a:gd name="T27" fmla="*/ 100 h 389"/>
              <a:gd name="T28" fmla="*/ 306 w 363"/>
              <a:gd name="T29" fmla="*/ 110 h 389"/>
              <a:gd name="T30" fmla="*/ 321 w 363"/>
              <a:gd name="T31" fmla="*/ 157 h 389"/>
              <a:gd name="T32" fmla="*/ 335 w 363"/>
              <a:gd name="T33" fmla="*/ 150 h 389"/>
              <a:gd name="T34" fmla="*/ 346 w 363"/>
              <a:gd name="T35" fmla="*/ 161 h 389"/>
              <a:gd name="T36" fmla="*/ 345 w 363"/>
              <a:gd name="T37" fmla="*/ 161 h 389"/>
              <a:gd name="T38" fmla="*/ 363 w 363"/>
              <a:gd name="T39" fmla="*/ 183 h 389"/>
              <a:gd name="T40" fmla="*/ 326 w 363"/>
              <a:gd name="T41" fmla="*/ 198 h 389"/>
              <a:gd name="T42" fmla="*/ 337 w 363"/>
              <a:gd name="T43" fmla="*/ 222 h 389"/>
              <a:gd name="T44" fmla="*/ 319 w 363"/>
              <a:gd name="T45" fmla="*/ 237 h 389"/>
              <a:gd name="T46" fmla="*/ 297 w 363"/>
              <a:gd name="T47" fmla="*/ 217 h 389"/>
              <a:gd name="T48" fmla="*/ 294 w 363"/>
              <a:gd name="T49" fmla="*/ 242 h 389"/>
              <a:gd name="T50" fmla="*/ 266 w 363"/>
              <a:gd name="T51" fmla="*/ 237 h 389"/>
              <a:gd name="T52" fmla="*/ 286 w 363"/>
              <a:gd name="T53" fmla="*/ 277 h 389"/>
              <a:gd name="T54" fmla="*/ 272 w 363"/>
              <a:gd name="T55" fmla="*/ 301 h 389"/>
              <a:gd name="T56" fmla="*/ 294 w 363"/>
              <a:gd name="T57" fmla="*/ 360 h 389"/>
              <a:gd name="T58" fmla="*/ 275 w 363"/>
              <a:gd name="T59" fmla="*/ 363 h 389"/>
              <a:gd name="T60" fmla="*/ 265 w 363"/>
              <a:gd name="T61" fmla="*/ 389 h 389"/>
              <a:gd name="T62" fmla="*/ 221 w 363"/>
              <a:gd name="T63" fmla="*/ 369 h 389"/>
              <a:gd name="T64" fmla="*/ 177 w 363"/>
              <a:gd name="T65" fmla="*/ 293 h 389"/>
              <a:gd name="T66" fmla="*/ 104 w 363"/>
              <a:gd name="T67" fmla="*/ 272 h 389"/>
              <a:gd name="T68" fmla="*/ 23 w 363"/>
              <a:gd name="T69" fmla="*/ 200 h 389"/>
              <a:gd name="T70" fmla="*/ 22 w 363"/>
              <a:gd name="T71" fmla="*/ 161 h 389"/>
              <a:gd name="T72" fmla="*/ 0 w 363"/>
              <a:gd name="T73" fmla="*/ 147 h 389"/>
              <a:gd name="T74" fmla="*/ 26 w 363"/>
              <a:gd name="T75" fmla="*/ 142 h 38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63" h="389">
                <a:moveTo>
                  <a:pt x="26" y="142"/>
                </a:moveTo>
                <a:lnTo>
                  <a:pt x="50" y="136"/>
                </a:lnTo>
                <a:lnTo>
                  <a:pt x="46" y="129"/>
                </a:lnTo>
                <a:lnTo>
                  <a:pt x="103" y="132"/>
                </a:lnTo>
                <a:lnTo>
                  <a:pt x="163" y="149"/>
                </a:lnTo>
                <a:lnTo>
                  <a:pt x="159" y="94"/>
                </a:lnTo>
                <a:lnTo>
                  <a:pt x="173" y="56"/>
                </a:lnTo>
                <a:lnTo>
                  <a:pt x="161" y="40"/>
                </a:lnTo>
                <a:lnTo>
                  <a:pt x="166" y="8"/>
                </a:lnTo>
                <a:lnTo>
                  <a:pt x="202" y="0"/>
                </a:lnTo>
                <a:lnTo>
                  <a:pt x="225" y="91"/>
                </a:lnTo>
                <a:lnTo>
                  <a:pt x="244" y="91"/>
                </a:lnTo>
                <a:lnTo>
                  <a:pt x="254" y="114"/>
                </a:lnTo>
                <a:lnTo>
                  <a:pt x="279" y="100"/>
                </a:lnTo>
                <a:lnTo>
                  <a:pt x="306" y="110"/>
                </a:lnTo>
                <a:lnTo>
                  <a:pt x="321" y="157"/>
                </a:lnTo>
                <a:lnTo>
                  <a:pt x="335" y="150"/>
                </a:lnTo>
                <a:lnTo>
                  <a:pt x="346" y="161"/>
                </a:lnTo>
                <a:lnTo>
                  <a:pt x="345" y="161"/>
                </a:lnTo>
                <a:lnTo>
                  <a:pt x="363" y="183"/>
                </a:lnTo>
                <a:lnTo>
                  <a:pt x="326" y="198"/>
                </a:lnTo>
                <a:lnTo>
                  <a:pt x="337" y="222"/>
                </a:lnTo>
                <a:lnTo>
                  <a:pt x="319" y="237"/>
                </a:lnTo>
                <a:lnTo>
                  <a:pt x="297" y="217"/>
                </a:lnTo>
                <a:lnTo>
                  <a:pt x="294" y="242"/>
                </a:lnTo>
                <a:lnTo>
                  <a:pt x="266" y="237"/>
                </a:lnTo>
                <a:lnTo>
                  <a:pt x="286" y="277"/>
                </a:lnTo>
                <a:lnTo>
                  <a:pt x="272" y="301"/>
                </a:lnTo>
                <a:lnTo>
                  <a:pt x="294" y="360"/>
                </a:lnTo>
                <a:lnTo>
                  <a:pt x="275" y="363"/>
                </a:lnTo>
                <a:lnTo>
                  <a:pt x="265" y="389"/>
                </a:lnTo>
                <a:lnTo>
                  <a:pt x="221" y="369"/>
                </a:lnTo>
                <a:lnTo>
                  <a:pt x="177" y="293"/>
                </a:lnTo>
                <a:lnTo>
                  <a:pt x="104" y="272"/>
                </a:lnTo>
                <a:lnTo>
                  <a:pt x="23" y="200"/>
                </a:lnTo>
                <a:lnTo>
                  <a:pt x="22" y="161"/>
                </a:lnTo>
                <a:lnTo>
                  <a:pt x="0" y="147"/>
                </a:lnTo>
                <a:lnTo>
                  <a:pt x="26" y="14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3" name="Freeform 119"/>
          <p:cNvSpPr>
            <a:spLocks/>
          </p:cNvSpPr>
          <p:nvPr>
            <p:custDataLst>
              <p:tags r:id="rId39"/>
            </p:custDataLst>
          </p:nvPr>
        </p:nvSpPr>
        <p:spPr bwMode="gray">
          <a:xfrm>
            <a:off x="4219225" y="4298813"/>
            <a:ext cx="549122" cy="468554"/>
          </a:xfrm>
          <a:custGeom>
            <a:avLst/>
            <a:gdLst>
              <a:gd name="T0" fmla="*/ 0 w 577"/>
              <a:gd name="T1" fmla="*/ 276 h 524"/>
              <a:gd name="T2" fmla="*/ 9 w 577"/>
              <a:gd name="T3" fmla="*/ 231 h 524"/>
              <a:gd name="T4" fmla="*/ 66 w 577"/>
              <a:gd name="T5" fmla="*/ 214 h 524"/>
              <a:gd name="T6" fmla="*/ 101 w 577"/>
              <a:gd name="T7" fmla="*/ 187 h 524"/>
              <a:gd name="T8" fmla="*/ 121 w 577"/>
              <a:gd name="T9" fmla="*/ 187 h 524"/>
              <a:gd name="T10" fmla="*/ 138 w 577"/>
              <a:gd name="T11" fmla="*/ 149 h 524"/>
              <a:gd name="T12" fmla="*/ 131 w 577"/>
              <a:gd name="T13" fmla="*/ 133 h 524"/>
              <a:gd name="T14" fmla="*/ 137 w 577"/>
              <a:gd name="T15" fmla="*/ 110 h 524"/>
              <a:gd name="T16" fmla="*/ 148 w 577"/>
              <a:gd name="T17" fmla="*/ 110 h 524"/>
              <a:gd name="T18" fmla="*/ 156 w 577"/>
              <a:gd name="T19" fmla="*/ 90 h 524"/>
              <a:gd name="T20" fmla="*/ 146 w 577"/>
              <a:gd name="T21" fmla="*/ 72 h 524"/>
              <a:gd name="T22" fmla="*/ 143 w 577"/>
              <a:gd name="T23" fmla="*/ 28 h 524"/>
              <a:gd name="T24" fmla="*/ 170 w 577"/>
              <a:gd name="T25" fmla="*/ 67 h 524"/>
              <a:gd name="T26" fmla="*/ 233 w 577"/>
              <a:gd name="T27" fmla="*/ 53 h 524"/>
              <a:gd name="T28" fmla="*/ 256 w 577"/>
              <a:gd name="T29" fmla="*/ 53 h 524"/>
              <a:gd name="T30" fmla="*/ 424 w 577"/>
              <a:gd name="T31" fmla="*/ 119 h 524"/>
              <a:gd name="T32" fmla="*/ 456 w 577"/>
              <a:gd name="T33" fmla="*/ 0 h 524"/>
              <a:gd name="T34" fmla="*/ 551 w 577"/>
              <a:gd name="T35" fmla="*/ 34 h 524"/>
              <a:gd name="T36" fmla="*/ 549 w 577"/>
              <a:gd name="T37" fmla="*/ 88 h 524"/>
              <a:gd name="T38" fmla="*/ 577 w 577"/>
              <a:gd name="T39" fmla="*/ 178 h 524"/>
              <a:gd name="T40" fmla="*/ 559 w 577"/>
              <a:gd name="T41" fmla="*/ 301 h 524"/>
              <a:gd name="T42" fmla="*/ 568 w 577"/>
              <a:gd name="T43" fmla="*/ 317 h 524"/>
              <a:gd name="T44" fmla="*/ 518 w 577"/>
              <a:gd name="T45" fmla="*/ 328 h 524"/>
              <a:gd name="T46" fmla="*/ 540 w 577"/>
              <a:gd name="T47" fmla="*/ 342 h 524"/>
              <a:gd name="T48" fmla="*/ 541 w 577"/>
              <a:gd name="T49" fmla="*/ 415 h 524"/>
              <a:gd name="T50" fmla="*/ 533 w 577"/>
              <a:gd name="T51" fmla="*/ 427 h 524"/>
              <a:gd name="T52" fmla="*/ 515 w 577"/>
              <a:gd name="T53" fmla="*/ 425 h 524"/>
              <a:gd name="T54" fmla="*/ 511 w 577"/>
              <a:gd name="T55" fmla="*/ 473 h 524"/>
              <a:gd name="T56" fmla="*/ 469 w 577"/>
              <a:gd name="T57" fmla="*/ 495 h 524"/>
              <a:gd name="T58" fmla="*/ 434 w 577"/>
              <a:gd name="T59" fmla="*/ 497 h 524"/>
              <a:gd name="T60" fmla="*/ 420 w 577"/>
              <a:gd name="T61" fmla="*/ 508 h 524"/>
              <a:gd name="T62" fmla="*/ 421 w 577"/>
              <a:gd name="T63" fmla="*/ 511 h 524"/>
              <a:gd name="T64" fmla="*/ 410 w 577"/>
              <a:gd name="T65" fmla="*/ 524 h 524"/>
              <a:gd name="T66" fmla="*/ 383 w 577"/>
              <a:gd name="T67" fmla="*/ 500 h 524"/>
              <a:gd name="T68" fmla="*/ 369 w 577"/>
              <a:gd name="T69" fmla="*/ 463 h 524"/>
              <a:gd name="T70" fmla="*/ 328 w 577"/>
              <a:gd name="T71" fmla="*/ 466 h 524"/>
              <a:gd name="T72" fmla="*/ 243 w 577"/>
              <a:gd name="T73" fmla="*/ 502 h 524"/>
              <a:gd name="T74" fmla="*/ 207 w 577"/>
              <a:gd name="T75" fmla="*/ 456 h 524"/>
              <a:gd name="T76" fmla="*/ 189 w 577"/>
              <a:gd name="T77" fmla="*/ 469 h 524"/>
              <a:gd name="T78" fmla="*/ 185 w 577"/>
              <a:gd name="T79" fmla="*/ 422 h 524"/>
              <a:gd name="T80" fmla="*/ 214 w 577"/>
              <a:gd name="T81" fmla="*/ 414 h 524"/>
              <a:gd name="T82" fmla="*/ 230 w 577"/>
              <a:gd name="T83" fmla="*/ 420 h 524"/>
              <a:gd name="T84" fmla="*/ 234 w 577"/>
              <a:gd name="T85" fmla="*/ 403 h 524"/>
              <a:gd name="T86" fmla="*/ 214 w 577"/>
              <a:gd name="T87" fmla="*/ 394 h 524"/>
              <a:gd name="T88" fmla="*/ 230 w 577"/>
              <a:gd name="T89" fmla="*/ 379 h 524"/>
              <a:gd name="T90" fmla="*/ 0 w 577"/>
              <a:gd name="T91" fmla="*/ 276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577" h="524">
                <a:moveTo>
                  <a:pt x="0" y="276"/>
                </a:moveTo>
                <a:lnTo>
                  <a:pt x="9" y="231"/>
                </a:lnTo>
                <a:lnTo>
                  <a:pt x="66" y="214"/>
                </a:lnTo>
                <a:lnTo>
                  <a:pt x="101" y="187"/>
                </a:lnTo>
                <a:lnTo>
                  <a:pt x="121" y="187"/>
                </a:lnTo>
                <a:lnTo>
                  <a:pt x="138" y="149"/>
                </a:lnTo>
                <a:lnTo>
                  <a:pt x="131" y="133"/>
                </a:lnTo>
                <a:lnTo>
                  <a:pt x="137" y="110"/>
                </a:lnTo>
                <a:lnTo>
                  <a:pt x="148" y="110"/>
                </a:lnTo>
                <a:lnTo>
                  <a:pt x="156" y="90"/>
                </a:lnTo>
                <a:lnTo>
                  <a:pt x="146" y="72"/>
                </a:lnTo>
                <a:lnTo>
                  <a:pt x="143" y="28"/>
                </a:lnTo>
                <a:lnTo>
                  <a:pt x="170" y="67"/>
                </a:lnTo>
                <a:lnTo>
                  <a:pt x="233" y="53"/>
                </a:lnTo>
                <a:lnTo>
                  <a:pt x="256" y="53"/>
                </a:lnTo>
                <a:lnTo>
                  <a:pt x="424" y="119"/>
                </a:lnTo>
                <a:lnTo>
                  <a:pt x="456" y="0"/>
                </a:lnTo>
                <a:lnTo>
                  <a:pt x="551" y="34"/>
                </a:lnTo>
                <a:lnTo>
                  <a:pt x="549" y="88"/>
                </a:lnTo>
                <a:lnTo>
                  <a:pt x="577" y="178"/>
                </a:lnTo>
                <a:lnTo>
                  <a:pt x="559" y="301"/>
                </a:lnTo>
                <a:lnTo>
                  <a:pt x="568" y="317"/>
                </a:lnTo>
                <a:lnTo>
                  <a:pt x="518" y="328"/>
                </a:lnTo>
                <a:lnTo>
                  <a:pt x="540" y="342"/>
                </a:lnTo>
                <a:lnTo>
                  <a:pt x="541" y="415"/>
                </a:lnTo>
                <a:lnTo>
                  <a:pt x="533" y="427"/>
                </a:lnTo>
                <a:lnTo>
                  <a:pt x="515" y="425"/>
                </a:lnTo>
                <a:lnTo>
                  <a:pt x="511" y="473"/>
                </a:lnTo>
                <a:lnTo>
                  <a:pt x="469" y="495"/>
                </a:lnTo>
                <a:lnTo>
                  <a:pt x="434" y="497"/>
                </a:lnTo>
                <a:lnTo>
                  <a:pt x="420" y="508"/>
                </a:lnTo>
                <a:lnTo>
                  <a:pt x="421" y="511"/>
                </a:lnTo>
                <a:lnTo>
                  <a:pt x="410" y="524"/>
                </a:lnTo>
                <a:lnTo>
                  <a:pt x="383" y="500"/>
                </a:lnTo>
                <a:lnTo>
                  <a:pt x="369" y="463"/>
                </a:lnTo>
                <a:lnTo>
                  <a:pt x="328" y="466"/>
                </a:lnTo>
                <a:lnTo>
                  <a:pt x="243" y="502"/>
                </a:lnTo>
                <a:lnTo>
                  <a:pt x="207" y="456"/>
                </a:lnTo>
                <a:lnTo>
                  <a:pt x="189" y="469"/>
                </a:lnTo>
                <a:lnTo>
                  <a:pt x="185" y="422"/>
                </a:lnTo>
                <a:lnTo>
                  <a:pt x="214" y="414"/>
                </a:lnTo>
                <a:lnTo>
                  <a:pt x="230" y="420"/>
                </a:lnTo>
                <a:lnTo>
                  <a:pt x="234" y="403"/>
                </a:lnTo>
                <a:lnTo>
                  <a:pt x="214" y="394"/>
                </a:lnTo>
                <a:lnTo>
                  <a:pt x="230" y="379"/>
                </a:lnTo>
                <a:lnTo>
                  <a:pt x="0" y="276"/>
                </a:lnTo>
              </a:path>
            </a:pathLst>
          </a:custGeom>
          <a:solidFill>
            <a:schemeClr val="accent3">
              <a:lumMod val="50000"/>
            </a:schemeClr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4" name="Freeform 120"/>
          <p:cNvSpPr>
            <a:spLocks/>
          </p:cNvSpPr>
          <p:nvPr>
            <p:custDataLst>
              <p:tags r:id="rId40"/>
            </p:custDataLst>
          </p:nvPr>
        </p:nvSpPr>
        <p:spPr bwMode="gray">
          <a:xfrm>
            <a:off x="4412417" y="4712821"/>
            <a:ext cx="232211" cy="146647"/>
          </a:xfrm>
          <a:custGeom>
            <a:avLst/>
            <a:gdLst>
              <a:gd name="T0" fmla="*/ 125 w 244"/>
              <a:gd name="T1" fmla="*/ 3 h 164"/>
              <a:gd name="T2" fmla="*/ 180 w 244"/>
              <a:gd name="T3" fmla="*/ 37 h 164"/>
              <a:gd name="T4" fmla="*/ 218 w 244"/>
              <a:gd name="T5" fmla="*/ 48 h 164"/>
              <a:gd name="T6" fmla="*/ 242 w 244"/>
              <a:gd name="T7" fmla="*/ 105 h 164"/>
              <a:gd name="T8" fmla="*/ 242 w 244"/>
              <a:gd name="T9" fmla="*/ 107 h 164"/>
              <a:gd name="T10" fmla="*/ 243 w 244"/>
              <a:gd name="T11" fmla="*/ 109 h 164"/>
              <a:gd name="T12" fmla="*/ 244 w 244"/>
              <a:gd name="T13" fmla="*/ 110 h 164"/>
              <a:gd name="T14" fmla="*/ 244 w 244"/>
              <a:gd name="T15" fmla="*/ 113 h 164"/>
              <a:gd name="T16" fmla="*/ 243 w 244"/>
              <a:gd name="T17" fmla="*/ 116 h 164"/>
              <a:gd name="T18" fmla="*/ 239 w 244"/>
              <a:gd name="T19" fmla="*/ 118 h 164"/>
              <a:gd name="T20" fmla="*/ 236 w 244"/>
              <a:gd name="T21" fmla="*/ 121 h 164"/>
              <a:gd name="T22" fmla="*/ 233 w 244"/>
              <a:gd name="T23" fmla="*/ 124 h 164"/>
              <a:gd name="T24" fmla="*/ 231 w 244"/>
              <a:gd name="T25" fmla="*/ 125 h 164"/>
              <a:gd name="T26" fmla="*/ 228 w 244"/>
              <a:gd name="T27" fmla="*/ 127 h 164"/>
              <a:gd name="T28" fmla="*/ 225 w 244"/>
              <a:gd name="T29" fmla="*/ 129 h 164"/>
              <a:gd name="T30" fmla="*/ 224 w 244"/>
              <a:gd name="T31" fmla="*/ 131 h 164"/>
              <a:gd name="T32" fmla="*/ 222 w 244"/>
              <a:gd name="T33" fmla="*/ 132 h 164"/>
              <a:gd name="T34" fmla="*/ 220 w 244"/>
              <a:gd name="T35" fmla="*/ 131 h 164"/>
              <a:gd name="T36" fmla="*/ 218 w 244"/>
              <a:gd name="T37" fmla="*/ 132 h 164"/>
              <a:gd name="T38" fmla="*/ 217 w 244"/>
              <a:gd name="T39" fmla="*/ 136 h 164"/>
              <a:gd name="T40" fmla="*/ 214 w 244"/>
              <a:gd name="T41" fmla="*/ 139 h 164"/>
              <a:gd name="T42" fmla="*/ 213 w 244"/>
              <a:gd name="T43" fmla="*/ 143 h 164"/>
              <a:gd name="T44" fmla="*/ 210 w 244"/>
              <a:gd name="T45" fmla="*/ 144 h 164"/>
              <a:gd name="T46" fmla="*/ 207 w 244"/>
              <a:gd name="T47" fmla="*/ 144 h 164"/>
              <a:gd name="T48" fmla="*/ 206 w 244"/>
              <a:gd name="T49" fmla="*/ 146 h 164"/>
              <a:gd name="T50" fmla="*/ 203 w 244"/>
              <a:gd name="T51" fmla="*/ 146 h 164"/>
              <a:gd name="T52" fmla="*/ 202 w 244"/>
              <a:gd name="T53" fmla="*/ 143 h 164"/>
              <a:gd name="T54" fmla="*/ 199 w 244"/>
              <a:gd name="T55" fmla="*/ 143 h 164"/>
              <a:gd name="T56" fmla="*/ 195 w 244"/>
              <a:gd name="T57" fmla="*/ 142 h 164"/>
              <a:gd name="T58" fmla="*/ 106 w 244"/>
              <a:gd name="T59" fmla="*/ 139 h 164"/>
              <a:gd name="T60" fmla="*/ 30 w 244"/>
              <a:gd name="T61" fmla="*/ 117 h 164"/>
              <a:gd name="T62" fmla="*/ 27 w 244"/>
              <a:gd name="T63" fmla="*/ 117 h 164"/>
              <a:gd name="T64" fmla="*/ 22 w 244"/>
              <a:gd name="T65" fmla="*/ 120 h 164"/>
              <a:gd name="T66" fmla="*/ 20 w 244"/>
              <a:gd name="T67" fmla="*/ 121 h 164"/>
              <a:gd name="T68" fmla="*/ 17 w 244"/>
              <a:gd name="T69" fmla="*/ 122 h 164"/>
              <a:gd name="T70" fmla="*/ 0 w 244"/>
              <a:gd name="T71" fmla="*/ 55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44" h="164">
                <a:moveTo>
                  <a:pt x="63" y="29"/>
                </a:moveTo>
                <a:lnTo>
                  <a:pt x="125" y="3"/>
                </a:lnTo>
                <a:lnTo>
                  <a:pt x="166" y="0"/>
                </a:lnTo>
                <a:lnTo>
                  <a:pt x="180" y="37"/>
                </a:lnTo>
                <a:lnTo>
                  <a:pt x="207" y="61"/>
                </a:lnTo>
                <a:lnTo>
                  <a:pt x="218" y="48"/>
                </a:lnTo>
                <a:lnTo>
                  <a:pt x="244" y="105"/>
                </a:lnTo>
                <a:lnTo>
                  <a:pt x="242" y="105"/>
                </a:lnTo>
                <a:lnTo>
                  <a:pt x="242" y="106"/>
                </a:lnTo>
                <a:lnTo>
                  <a:pt x="242" y="107"/>
                </a:lnTo>
                <a:lnTo>
                  <a:pt x="243" y="107"/>
                </a:lnTo>
                <a:lnTo>
                  <a:pt x="243" y="109"/>
                </a:lnTo>
                <a:lnTo>
                  <a:pt x="243" y="110"/>
                </a:lnTo>
                <a:lnTo>
                  <a:pt x="244" y="110"/>
                </a:lnTo>
                <a:lnTo>
                  <a:pt x="244" y="111"/>
                </a:lnTo>
                <a:lnTo>
                  <a:pt x="244" y="113"/>
                </a:lnTo>
                <a:lnTo>
                  <a:pt x="244" y="114"/>
                </a:lnTo>
                <a:lnTo>
                  <a:pt x="243" y="116"/>
                </a:lnTo>
                <a:lnTo>
                  <a:pt x="242" y="117"/>
                </a:lnTo>
                <a:lnTo>
                  <a:pt x="239" y="118"/>
                </a:lnTo>
                <a:lnTo>
                  <a:pt x="238" y="120"/>
                </a:lnTo>
                <a:lnTo>
                  <a:pt x="236" y="121"/>
                </a:lnTo>
                <a:lnTo>
                  <a:pt x="235" y="122"/>
                </a:lnTo>
                <a:lnTo>
                  <a:pt x="233" y="124"/>
                </a:lnTo>
                <a:lnTo>
                  <a:pt x="232" y="124"/>
                </a:lnTo>
                <a:lnTo>
                  <a:pt x="231" y="125"/>
                </a:lnTo>
                <a:lnTo>
                  <a:pt x="229" y="125"/>
                </a:lnTo>
                <a:lnTo>
                  <a:pt x="228" y="127"/>
                </a:lnTo>
                <a:lnTo>
                  <a:pt x="227" y="128"/>
                </a:lnTo>
                <a:lnTo>
                  <a:pt x="225" y="129"/>
                </a:lnTo>
                <a:lnTo>
                  <a:pt x="225" y="131"/>
                </a:lnTo>
                <a:lnTo>
                  <a:pt x="224" y="131"/>
                </a:lnTo>
                <a:lnTo>
                  <a:pt x="222" y="131"/>
                </a:lnTo>
                <a:lnTo>
                  <a:pt x="222" y="132"/>
                </a:lnTo>
                <a:lnTo>
                  <a:pt x="221" y="132"/>
                </a:lnTo>
                <a:lnTo>
                  <a:pt x="220" y="131"/>
                </a:lnTo>
                <a:lnTo>
                  <a:pt x="218" y="131"/>
                </a:lnTo>
                <a:lnTo>
                  <a:pt x="218" y="132"/>
                </a:lnTo>
                <a:lnTo>
                  <a:pt x="218" y="135"/>
                </a:lnTo>
                <a:lnTo>
                  <a:pt x="217" y="136"/>
                </a:lnTo>
                <a:lnTo>
                  <a:pt x="217" y="138"/>
                </a:lnTo>
                <a:lnTo>
                  <a:pt x="214" y="139"/>
                </a:lnTo>
                <a:lnTo>
                  <a:pt x="213" y="142"/>
                </a:lnTo>
                <a:lnTo>
                  <a:pt x="213" y="143"/>
                </a:lnTo>
                <a:lnTo>
                  <a:pt x="211" y="144"/>
                </a:lnTo>
                <a:lnTo>
                  <a:pt x="210" y="144"/>
                </a:lnTo>
                <a:lnTo>
                  <a:pt x="209" y="144"/>
                </a:lnTo>
                <a:lnTo>
                  <a:pt x="207" y="144"/>
                </a:lnTo>
                <a:lnTo>
                  <a:pt x="207" y="146"/>
                </a:lnTo>
                <a:lnTo>
                  <a:pt x="206" y="146"/>
                </a:lnTo>
                <a:lnTo>
                  <a:pt x="205" y="146"/>
                </a:lnTo>
                <a:lnTo>
                  <a:pt x="203" y="146"/>
                </a:lnTo>
                <a:lnTo>
                  <a:pt x="203" y="144"/>
                </a:lnTo>
                <a:lnTo>
                  <a:pt x="202" y="143"/>
                </a:lnTo>
                <a:lnTo>
                  <a:pt x="200" y="143"/>
                </a:lnTo>
                <a:lnTo>
                  <a:pt x="199" y="143"/>
                </a:lnTo>
                <a:lnTo>
                  <a:pt x="198" y="143"/>
                </a:lnTo>
                <a:lnTo>
                  <a:pt x="195" y="142"/>
                </a:lnTo>
                <a:lnTo>
                  <a:pt x="148" y="164"/>
                </a:lnTo>
                <a:lnTo>
                  <a:pt x="106" y="139"/>
                </a:lnTo>
                <a:lnTo>
                  <a:pt x="67" y="117"/>
                </a:lnTo>
                <a:lnTo>
                  <a:pt x="30" y="117"/>
                </a:lnTo>
                <a:lnTo>
                  <a:pt x="28" y="117"/>
                </a:lnTo>
                <a:lnTo>
                  <a:pt x="27" y="117"/>
                </a:lnTo>
                <a:lnTo>
                  <a:pt x="23" y="118"/>
                </a:lnTo>
                <a:lnTo>
                  <a:pt x="22" y="120"/>
                </a:lnTo>
                <a:lnTo>
                  <a:pt x="20" y="120"/>
                </a:lnTo>
                <a:lnTo>
                  <a:pt x="20" y="121"/>
                </a:lnTo>
                <a:lnTo>
                  <a:pt x="19" y="122"/>
                </a:lnTo>
                <a:lnTo>
                  <a:pt x="17" y="122"/>
                </a:lnTo>
                <a:lnTo>
                  <a:pt x="16" y="124"/>
                </a:lnTo>
                <a:lnTo>
                  <a:pt x="0" y="55"/>
                </a:lnTo>
                <a:lnTo>
                  <a:pt x="63" y="29"/>
                </a:lnTo>
              </a:path>
            </a:pathLst>
          </a:custGeom>
          <a:solidFill>
            <a:schemeClr val="accent1">
              <a:lumMod val="75000"/>
            </a:schemeClr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5" name="Freeform 121"/>
          <p:cNvSpPr>
            <a:spLocks/>
          </p:cNvSpPr>
          <p:nvPr>
            <p:custDataLst>
              <p:tags r:id="rId41"/>
            </p:custDataLst>
          </p:nvPr>
        </p:nvSpPr>
        <p:spPr bwMode="gray">
          <a:xfrm>
            <a:off x="4203998" y="4545608"/>
            <a:ext cx="246486" cy="288822"/>
          </a:xfrm>
          <a:custGeom>
            <a:avLst/>
            <a:gdLst>
              <a:gd name="T0" fmla="*/ 0 w 259"/>
              <a:gd name="T1" fmla="*/ 51 h 323"/>
              <a:gd name="T2" fmla="*/ 8 w 259"/>
              <a:gd name="T3" fmla="*/ 33 h 323"/>
              <a:gd name="T4" fmla="*/ 3 w 259"/>
              <a:gd name="T5" fmla="*/ 8 h 323"/>
              <a:gd name="T6" fmla="*/ 16 w 259"/>
              <a:gd name="T7" fmla="*/ 0 h 323"/>
              <a:gd name="T8" fmla="*/ 246 w 259"/>
              <a:gd name="T9" fmla="*/ 103 h 323"/>
              <a:gd name="T10" fmla="*/ 230 w 259"/>
              <a:gd name="T11" fmla="*/ 118 h 323"/>
              <a:gd name="T12" fmla="*/ 250 w 259"/>
              <a:gd name="T13" fmla="*/ 127 h 323"/>
              <a:gd name="T14" fmla="*/ 246 w 259"/>
              <a:gd name="T15" fmla="*/ 144 h 323"/>
              <a:gd name="T16" fmla="*/ 230 w 259"/>
              <a:gd name="T17" fmla="*/ 138 h 323"/>
              <a:gd name="T18" fmla="*/ 201 w 259"/>
              <a:gd name="T19" fmla="*/ 146 h 323"/>
              <a:gd name="T20" fmla="*/ 205 w 259"/>
              <a:gd name="T21" fmla="*/ 193 h 323"/>
              <a:gd name="T22" fmla="*/ 223 w 259"/>
              <a:gd name="T23" fmla="*/ 180 h 323"/>
              <a:gd name="T24" fmla="*/ 259 w 259"/>
              <a:gd name="T25" fmla="*/ 226 h 323"/>
              <a:gd name="T26" fmla="*/ 219 w 259"/>
              <a:gd name="T27" fmla="*/ 242 h 323"/>
              <a:gd name="T28" fmla="*/ 235 w 259"/>
              <a:gd name="T29" fmla="*/ 311 h 323"/>
              <a:gd name="T30" fmla="*/ 234 w 259"/>
              <a:gd name="T31" fmla="*/ 312 h 323"/>
              <a:gd name="T32" fmla="*/ 234 w 259"/>
              <a:gd name="T33" fmla="*/ 312 h 323"/>
              <a:gd name="T34" fmla="*/ 232 w 259"/>
              <a:gd name="T35" fmla="*/ 312 h 323"/>
              <a:gd name="T36" fmla="*/ 232 w 259"/>
              <a:gd name="T37" fmla="*/ 314 h 323"/>
              <a:gd name="T38" fmla="*/ 231 w 259"/>
              <a:gd name="T39" fmla="*/ 314 h 323"/>
              <a:gd name="T40" fmla="*/ 230 w 259"/>
              <a:gd name="T41" fmla="*/ 314 h 323"/>
              <a:gd name="T42" fmla="*/ 230 w 259"/>
              <a:gd name="T43" fmla="*/ 315 h 323"/>
              <a:gd name="T44" fmla="*/ 228 w 259"/>
              <a:gd name="T45" fmla="*/ 315 h 323"/>
              <a:gd name="T46" fmla="*/ 228 w 259"/>
              <a:gd name="T47" fmla="*/ 316 h 323"/>
              <a:gd name="T48" fmla="*/ 227 w 259"/>
              <a:gd name="T49" fmla="*/ 316 h 323"/>
              <a:gd name="T50" fmla="*/ 227 w 259"/>
              <a:gd name="T51" fmla="*/ 318 h 323"/>
              <a:gd name="T52" fmla="*/ 225 w 259"/>
              <a:gd name="T53" fmla="*/ 318 h 323"/>
              <a:gd name="T54" fmla="*/ 224 w 259"/>
              <a:gd name="T55" fmla="*/ 318 h 323"/>
              <a:gd name="T56" fmla="*/ 223 w 259"/>
              <a:gd name="T57" fmla="*/ 318 h 323"/>
              <a:gd name="T58" fmla="*/ 223 w 259"/>
              <a:gd name="T59" fmla="*/ 318 h 323"/>
              <a:gd name="T60" fmla="*/ 223 w 259"/>
              <a:gd name="T61" fmla="*/ 319 h 323"/>
              <a:gd name="T62" fmla="*/ 223 w 259"/>
              <a:gd name="T63" fmla="*/ 318 h 323"/>
              <a:gd name="T64" fmla="*/ 221 w 259"/>
              <a:gd name="T65" fmla="*/ 318 h 323"/>
              <a:gd name="T66" fmla="*/ 221 w 259"/>
              <a:gd name="T67" fmla="*/ 319 h 323"/>
              <a:gd name="T68" fmla="*/ 220 w 259"/>
              <a:gd name="T69" fmla="*/ 320 h 323"/>
              <a:gd name="T70" fmla="*/ 221 w 259"/>
              <a:gd name="T71" fmla="*/ 320 h 323"/>
              <a:gd name="T72" fmla="*/ 221 w 259"/>
              <a:gd name="T73" fmla="*/ 322 h 323"/>
              <a:gd name="T74" fmla="*/ 220 w 259"/>
              <a:gd name="T75" fmla="*/ 322 h 323"/>
              <a:gd name="T76" fmla="*/ 220 w 259"/>
              <a:gd name="T77" fmla="*/ 323 h 323"/>
              <a:gd name="T78" fmla="*/ 219 w 259"/>
              <a:gd name="T79" fmla="*/ 323 h 323"/>
              <a:gd name="T80" fmla="*/ 201 w 259"/>
              <a:gd name="T81" fmla="*/ 296 h 323"/>
              <a:gd name="T82" fmla="*/ 201 w 259"/>
              <a:gd name="T83" fmla="*/ 276 h 323"/>
              <a:gd name="T84" fmla="*/ 175 w 259"/>
              <a:gd name="T85" fmla="*/ 252 h 323"/>
              <a:gd name="T86" fmla="*/ 161 w 259"/>
              <a:gd name="T87" fmla="*/ 257 h 323"/>
              <a:gd name="T88" fmla="*/ 159 w 259"/>
              <a:gd name="T89" fmla="*/ 248 h 323"/>
              <a:gd name="T90" fmla="*/ 147 w 259"/>
              <a:gd name="T91" fmla="*/ 242 h 323"/>
              <a:gd name="T92" fmla="*/ 147 w 259"/>
              <a:gd name="T93" fmla="*/ 232 h 323"/>
              <a:gd name="T94" fmla="*/ 154 w 259"/>
              <a:gd name="T95" fmla="*/ 232 h 323"/>
              <a:gd name="T96" fmla="*/ 153 w 259"/>
              <a:gd name="T97" fmla="*/ 216 h 323"/>
              <a:gd name="T98" fmla="*/ 118 w 259"/>
              <a:gd name="T99" fmla="*/ 187 h 323"/>
              <a:gd name="T100" fmla="*/ 117 w 259"/>
              <a:gd name="T101" fmla="*/ 173 h 323"/>
              <a:gd name="T102" fmla="*/ 91 w 259"/>
              <a:gd name="T103" fmla="*/ 171 h 323"/>
              <a:gd name="T104" fmla="*/ 80 w 259"/>
              <a:gd name="T105" fmla="*/ 193 h 323"/>
              <a:gd name="T106" fmla="*/ 33 w 259"/>
              <a:gd name="T107" fmla="*/ 164 h 323"/>
              <a:gd name="T108" fmla="*/ 58 w 259"/>
              <a:gd name="T109" fmla="*/ 149 h 323"/>
              <a:gd name="T110" fmla="*/ 44 w 259"/>
              <a:gd name="T111" fmla="*/ 109 h 323"/>
              <a:gd name="T112" fmla="*/ 33 w 259"/>
              <a:gd name="T113" fmla="*/ 109 h 323"/>
              <a:gd name="T114" fmla="*/ 36 w 259"/>
              <a:gd name="T115" fmla="*/ 92 h 323"/>
              <a:gd name="T116" fmla="*/ 0 w 259"/>
              <a:gd name="T117" fmla="*/ 51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323">
                <a:moveTo>
                  <a:pt x="0" y="51"/>
                </a:moveTo>
                <a:lnTo>
                  <a:pt x="8" y="33"/>
                </a:lnTo>
                <a:lnTo>
                  <a:pt x="3" y="8"/>
                </a:lnTo>
                <a:lnTo>
                  <a:pt x="16" y="0"/>
                </a:lnTo>
                <a:lnTo>
                  <a:pt x="246" y="103"/>
                </a:lnTo>
                <a:lnTo>
                  <a:pt x="230" y="118"/>
                </a:lnTo>
                <a:lnTo>
                  <a:pt x="250" y="127"/>
                </a:lnTo>
                <a:lnTo>
                  <a:pt x="246" y="144"/>
                </a:lnTo>
                <a:lnTo>
                  <a:pt x="230" y="138"/>
                </a:lnTo>
                <a:lnTo>
                  <a:pt x="201" y="146"/>
                </a:lnTo>
                <a:lnTo>
                  <a:pt x="205" y="193"/>
                </a:lnTo>
                <a:lnTo>
                  <a:pt x="223" y="180"/>
                </a:lnTo>
                <a:lnTo>
                  <a:pt x="259" y="226"/>
                </a:lnTo>
                <a:lnTo>
                  <a:pt x="219" y="242"/>
                </a:lnTo>
                <a:lnTo>
                  <a:pt x="235" y="311"/>
                </a:lnTo>
                <a:lnTo>
                  <a:pt x="234" y="312"/>
                </a:lnTo>
                <a:lnTo>
                  <a:pt x="234" y="312"/>
                </a:lnTo>
                <a:lnTo>
                  <a:pt x="232" y="312"/>
                </a:lnTo>
                <a:lnTo>
                  <a:pt x="232" y="314"/>
                </a:lnTo>
                <a:lnTo>
                  <a:pt x="231" y="314"/>
                </a:lnTo>
                <a:lnTo>
                  <a:pt x="230" y="314"/>
                </a:lnTo>
                <a:lnTo>
                  <a:pt x="230" y="315"/>
                </a:lnTo>
                <a:lnTo>
                  <a:pt x="228" y="315"/>
                </a:lnTo>
                <a:lnTo>
                  <a:pt x="228" y="316"/>
                </a:lnTo>
                <a:lnTo>
                  <a:pt x="227" y="316"/>
                </a:lnTo>
                <a:lnTo>
                  <a:pt x="227" y="318"/>
                </a:lnTo>
                <a:lnTo>
                  <a:pt x="225" y="318"/>
                </a:lnTo>
                <a:lnTo>
                  <a:pt x="224" y="318"/>
                </a:lnTo>
                <a:lnTo>
                  <a:pt x="223" y="318"/>
                </a:lnTo>
                <a:lnTo>
                  <a:pt x="223" y="318"/>
                </a:lnTo>
                <a:lnTo>
                  <a:pt x="223" y="319"/>
                </a:lnTo>
                <a:lnTo>
                  <a:pt x="223" y="318"/>
                </a:lnTo>
                <a:lnTo>
                  <a:pt x="221" y="318"/>
                </a:lnTo>
                <a:lnTo>
                  <a:pt x="221" y="319"/>
                </a:lnTo>
                <a:lnTo>
                  <a:pt x="220" y="320"/>
                </a:lnTo>
                <a:lnTo>
                  <a:pt x="221" y="320"/>
                </a:lnTo>
                <a:lnTo>
                  <a:pt x="221" y="322"/>
                </a:lnTo>
                <a:lnTo>
                  <a:pt x="220" y="322"/>
                </a:lnTo>
                <a:lnTo>
                  <a:pt x="220" y="323"/>
                </a:lnTo>
                <a:lnTo>
                  <a:pt x="219" y="323"/>
                </a:lnTo>
                <a:lnTo>
                  <a:pt x="201" y="296"/>
                </a:lnTo>
                <a:lnTo>
                  <a:pt x="201" y="276"/>
                </a:lnTo>
                <a:lnTo>
                  <a:pt x="175" y="252"/>
                </a:lnTo>
                <a:lnTo>
                  <a:pt x="161" y="257"/>
                </a:lnTo>
                <a:lnTo>
                  <a:pt x="159" y="248"/>
                </a:lnTo>
                <a:lnTo>
                  <a:pt x="147" y="242"/>
                </a:lnTo>
                <a:lnTo>
                  <a:pt x="147" y="232"/>
                </a:lnTo>
                <a:lnTo>
                  <a:pt x="154" y="232"/>
                </a:lnTo>
                <a:lnTo>
                  <a:pt x="153" y="216"/>
                </a:lnTo>
                <a:lnTo>
                  <a:pt x="118" y="187"/>
                </a:lnTo>
                <a:lnTo>
                  <a:pt x="117" y="173"/>
                </a:lnTo>
                <a:lnTo>
                  <a:pt x="91" y="171"/>
                </a:lnTo>
                <a:lnTo>
                  <a:pt x="80" y="193"/>
                </a:lnTo>
                <a:lnTo>
                  <a:pt x="33" y="164"/>
                </a:lnTo>
                <a:lnTo>
                  <a:pt x="58" y="149"/>
                </a:lnTo>
                <a:lnTo>
                  <a:pt x="44" y="109"/>
                </a:lnTo>
                <a:lnTo>
                  <a:pt x="33" y="109"/>
                </a:lnTo>
                <a:lnTo>
                  <a:pt x="36" y="92"/>
                </a:lnTo>
                <a:lnTo>
                  <a:pt x="0" y="5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6" name="Freeform 122"/>
          <p:cNvSpPr>
            <a:spLocks/>
          </p:cNvSpPr>
          <p:nvPr>
            <p:custDataLst>
              <p:tags r:id="rId42"/>
            </p:custDataLst>
          </p:nvPr>
        </p:nvSpPr>
        <p:spPr bwMode="gray">
          <a:xfrm>
            <a:off x="4235403" y="4770943"/>
            <a:ext cx="177014" cy="143965"/>
          </a:xfrm>
          <a:custGeom>
            <a:avLst/>
            <a:gdLst>
              <a:gd name="T0" fmla="*/ 3 w 186"/>
              <a:gd name="T1" fmla="*/ 104 h 161"/>
              <a:gd name="T2" fmla="*/ 5 w 186"/>
              <a:gd name="T3" fmla="*/ 99 h 161"/>
              <a:gd name="T4" fmla="*/ 4 w 186"/>
              <a:gd name="T5" fmla="*/ 95 h 161"/>
              <a:gd name="T6" fmla="*/ 3 w 186"/>
              <a:gd name="T7" fmla="*/ 86 h 161"/>
              <a:gd name="T8" fmla="*/ 4 w 186"/>
              <a:gd name="T9" fmla="*/ 81 h 161"/>
              <a:gd name="T10" fmla="*/ 5 w 186"/>
              <a:gd name="T11" fmla="*/ 71 h 161"/>
              <a:gd name="T12" fmla="*/ 4 w 186"/>
              <a:gd name="T13" fmla="*/ 62 h 161"/>
              <a:gd name="T14" fmla="*/ 3 w 186"/>
              <a:gd name="T15" fmla="*/ 55 h 161"/>
              <a:gd name="T16" fmla="*/ 27 w 186"/>
              <a:gd name="T17" fmla="*/ 40 h 161"/>
              <a:gd name="T18" fmla="*/ 168 w 186"/>
              <a:gd name="T19" fmla="*/ 24 h 161"/>
              <a:gd name="T20" fmla="*/ 184 w 186"/>
              <a:gd name="T21" fmla="*/ 71 h 161"/>
              <a:gd name="T22" fmla="*/ 179 w 186"/>
              <a:gd name="T23" fmla="*/ 68 h 161"/>
              <a:gd name="T24" fmla="*/ 173 w 186"/>
              <a:gd name="T25" fmla="*/ 71 h 161"/>
              <a:gd name="T26" fmla="*/ 173 w 186"/>
              <a:gd name="T27" fmla="*/ 75 h 161"/>
              <a:gd name="T28" fmla="*/ 170 w 186"/>
              <a:gd name="T29" fmla="*/ 79 h 161"/>
              <a:gd name="T30" fmla="*/ 166 w 186"/>
              <a:gd name="T31" fmla="*/ 82 h 161"/>
              <a:gd name="T32" fmla="*/ 161 w 186"/>
              <a:gd name="T33" fmla="*/ 86 h 161"/>
              <a:gd name="T34" fmla="*/ 154 w 186"/>
              <a:gd name="T35" fmla="*/ 85 h 161"/>
              <a:gd name="T36" fmla="*/ 147 w 186"/>
              <a:gd name="T37" fmla="*/ 85 h 161"/>
              <a:gd name="T38" fmla="*/ 140 w 186"/>
              <a:gd name="T39" fmla="*/ 90 h 161"/>
              <a:gd name="T40" fmla="*/ 139 w 186"/>
              <a:gd name="T41" fmla="*/ 95 h 161"/>
              <a:gd name="T42" fmla="*/ 135 w 186"/>
              <a:gd name="T43" fmla="*/ 99 h 161"/>
              <a:gd name="T44" fmla="*/ 135 w 186"/>
              <a:gd name="T45" fmla="*/ 103 h 161"/>
              <a:gd name="T46" fmla="*/ 132 w 186"/>
              <a:gd name="T47" fmla="*/ 108 h 161"/>
              <a:gd name="T48" fmla="*/ 129 w 186"/>
              <a:gd name="T49" fmla="*/ 111 h 161"/>
              <a:gd name="T50" fmla="*/ 125 w 186"/>
              <a:gd name="T51" fmla="*/ 117 h 161"/>
              <a:gd name="T52" fmla="*/ 121 w 186"/>
              <a:gd name="T53" fmla="*/ 121 h 161"/>
              <a:gd name="T54" fmla="*/ 118 w 186"/>
              <a:gd name="T55" fmla="*/ 126 h 161"/>
              <a:gd name="T56" fmla="*/ 115 w 186"/>
              <a:gd name="T57" fmla="*/ 132 h 161"/>
              <a:gd name="T58" fmla="*/ 111 w 186"/>
              <a:gd name="T59" fmla="*/ 137 h 161"/>
              <a:gd name="T60" fmla="*/ 110 w 186"/>
              <a:gd name="T61" fmla="*/ 144 h 161"/>
              <a:gd name="T62" fmla="*/ 107 w 186"/>
              <a:gd name="T63" fmla="*/ 148 h 161"/>
              <a:gd name="T64" fmla="*/ 106 w 186"/>
              <a:gd name="T65" fmla="*/ 155 h 161"/>
              <a:gd name="T66" fmla="*/ 103 w 186"/>
              <a:gd name="T67" fmla="*/ 161 h 161"/>
              <a:gd name="T68" fmla="*/ 100 w 186"/>
              <a:gd name="T69" fmla="*/ 155 h 161"/>
              <a:gd name="T70" fmla="*/ 102 w 186"/>
              <a:gd name="T71" fmla="*/ 147 h 161"/>
              <a:gd name="T72" fmla="*/ 103 w 186"/>
              <a:gd name="T73" fmla="*/ 140 h 161"/>
              <a:gd name="T74" fmla="*/ 104 w 186"/>
              <a:gd name="T75" fmla="*/ 132 h 161"/>
              <a:gd name="T76" fmla="*/ 102 w 186"/>
              <a:gd name="T77" fmla="*/ 126 h 161"/>
              <a:gd name="T78" fmla="*/ 95 w 186"/>
              <a:gd name="T79" fmla="*/ 126 h 161"/>
              <a:gd name="T80" fmla="*/ 92 w 186"/>
              <a:gd name="T81" fmla="*/ 122 h 161"/>
              <a:gd name="T82" fmla="*/ 85 w 186"/>
              <a:gd name="T83" fmla="*/ 122 h 161"/>
              <a:gd name="T84" fmla="*/ 82 w 186"/>
              <a:gd name="T85" fmla="*/ 117 h 161"/>
              <a:gd name="T86" fmla="*/ 81 w 186"/>
              <a:gd name="T87" fmla="*/ 110 h 161"/>
              <a:gd name="T88" fmla="*/ 81 w 186"/>
              <a:gd name="T89" fmla="*/ 104 h 161"/>
              <a:gd name="T90" fmla="*/ 81 w 186"/>
              <a:gd name="T91" fmla="*/ 99 h 161"/>
              <a:gd name="T92" fmla="*/ 76 w 186"/>
              <a:gd name="T93" fmla="*/ 95 h 161"/>
              <a:gd name="T94" fmla="*/ 73 w 186"/>
              <a:gd name="T95" fmla="*/ 93 h 161"/>
              <a:gd name="T96" fmla="*/ 70 w 186"/>
              <a:gd name="T97" fmla="*/ 96 h 161"/>
              <a:gd name="T98" fmla="*/ 69 w 186"/>
              <a:gd name="T99" fmla="*/ 100 h 161"/>
              <a:gd name="T100" fmla="*/ 69 w 186"/>
              <a:gd name="T101" fmla="*/ 107 h 161"/>
              <a:gd name="T102" fmla="*/ 60 w 186"/>
              <a:gd name="T103" fmla="*/ 106 h 161"/>
              <a:gd name="T104" fmla="*/ 58 w 186"/>
              <a:gd name="T105" fmla="*/ 110 h 161"/>
              <a:gd name="T106" fmla="*/ 49 w 186"/>
              <a:gd name="T107" fmla="*/ 107 h 161"/>
              <a:gd name="T108" fmla="*/ 43 w 186"/>
              <a:gd name="T109" fmla="*/ 104 h 161"/>
              <a:gd name="T110" fmla="*/ 36 w 186"/>
              <a:gd name="T111" fmla="*/ 108 h 161"/>
              <a:gd name="T112" fmla="*/ 32 w 186"/>
              <a:gd name="T113" fmla="*/ 111 h 161"/>
              <a:gd name="T114" fmla="*/ 26 w 186"/>
              <a:gd name="T115" fmla="*/ 115 h 161"/>
              <a:gd name="T116" fmla="*/ 16 w 186"/>
              <a:gd name="T117" fmla="*/ 117 h 161"/>
              <a:gd name="T118" fmla="*/ 10 w 186"/>
              <a:gd name="T119" fmla="*/ 115 h 161"/>
              <a:gd name="T120" fmla="*/ 3 w 186"/>
              <a:gd name="T121" fmla="*/ 111 h 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6" h="161">
                <a:moveTo>
                  <a:pt x="0" y="108"/>
                </a:moveTo>
                <a:lnTo>
                  <a:pt x="0" y="107"/>
                </a:lnTo>
                <a:lnTo>
                  <a:pt x="1" y="106"/>
                </a:lnTo>
                <a:lnTo>
                  <a:pt x="3" y="106"/>
                </a:lnTo>
                <a:lnTo>
                  <a:pt x="3" y="104"/>
                </a:lnTo>
                <a:lnTo>
                  <a:pt x="3" y="103"/>
                </a:lnTo>
                <a:lnTo>
                  <a:pt x="4" y="103"/>
                </a:lnTo>
                <a:lnTo>
                  <a:pt x="5" y="101"/>
                </a:lnTo>
                <a:lnTo>
                  <a:pt x="5" y="100"/>
                </a:lnTo>
                <a:lnTo>
                  <a:pt x="5" y="99"/>
                </a:lnTo>
                <a:lnTo>
                  <a:pt x="4" y="99"/>
                </a:lnTo>
                <a:lnTo>
                  <a:pt x="3" y="99"/>
                </a:lnTo>
                <a:lnTo>
                  <a:pt x="3" y="97"/>
                </a:lnTo>
                <a:lnTo>
                  <a:pt x="4" y="96"/>
                </a:lnTo>
                <a:lnTo>
                  <a:pt x="4" y="95"/>
                </a:lnTo>
                <a:lnTo>
                  <a:pt x="4" y="92"/>
                </a:lnTo>
                <a:lnTo>
                  <a:pt x="4" y="90"/>
                </a:lnTo>
                <a:lnTo>
                  <a:pt x="4" y="89"/>
                </a:lnTo>
                <a:lnTo>
                  <a:pt x="4" y="88"/>
                </a:lnTo>
                <a:lnTo>
                  <a:pt x="3" y="86"/>
                </a:lnTo>
                <a:lnTo>
                  <a:pt x="3" y="85"/>
                </a:lnTo>
                <a:lnTo>
                  <a:pt x="3" y="84"/>
                </a:lnTo>
                <a:lnTo>
                  <a:pt x="3" y="84"/>
                </a:lnTo>
                <a:lnTo>
                  <a:pt x="4" y="82"/>
                </a:lnTo>
                <a:lnTo>
                  <a:pt x="4" y="81"/>
                </a:lnTo>
                <a:lnTo>
                  <a:pt x="5" y="79"/>
                </a:lnTo>
                <a:lnTo>
                  <a:pt x="5" y="77"/>
                </a:lnTo>
                <a:lnTo>
                  <a:pt x="5" y="75"/>
                </a:lnTo>
                <a:lnTo>
                  <a:pt x="5" y="73"/>
                </a:lnTo>
                <a:lnTo>
                  <a:pt x="5" y="71"/>
                </a:lnTo>
                <a:lnTo>
                  <a:pt x="5" y="68"/>
                </a:lnTo>
                <a:lnTo>
                  <a:pt x="5" y="67"/>
                </a:lnTo>
                <a:lnTo>
                  <a:pt x="4" y="66"/>
                </a:lnTo>
                <a:lnTo>
                  <a:pt x="4" y="64"/>
                </a:lnTo>
                <a:lnTo>
                  <a:pt x="4" y="62"/>
                </a:lnTo>
                <a:lnTo>
                  <a:pt x="3" y="60"/>
                </a:lnTo>
                <a:lnTo>
                  <a:pt x="3" y="59"/>
                </a:lnTo>
                <a:lnTo>
                  <a:pt x="3" y="57"/>
                </a:lnTo>
                <a:lnTo>
                  <a:pt x="3" y="56"/>
                </a:lnTo>
                <a:lnTo>
                  <a:pt x="3" y="55"/>
                </a:lnTo>
                <a:lnTo>
                  <a:pt x="3" y="53"/>
                </a:lnTo>
                <a:lnTo>
                  <a:pt x="1" y="51"/>
                </a:lnTo>
                <a:lnTo>
                  <a:pt x="0" y="49"/>
                </a:lnTo>
                <a:lnTo>
                  <a:pt x="0" y="48"/>
                </a:lnTo>
                <a:lnTo>
                  <a:pt x="27" y="40"/>
                </a:lnTo>
                <a:lnTo>
                  <a:pt x="52" y="59"/>
                </a:lnTo>
                <a:lnTo>
                  <a:pt x="98" y="55"/>
                </a:lnTo>
                <a:lnTo>
                  <a:pt x="98" y="23"/>
                </a:lnTo>
                <a:lnTo>
                  <a:pt x="142" y="0"/>
                </a:lnTo>
                <a:lnTo>
                  <a:pt x="168" y="24"/>
                </a:lnTo>
                <a:lnTo>
                  <a:pt x="168" y="44"/>
                </a:lnTo>
                <a:lnTo>
                  <a:pt x="186" y="71"/>
                </a:lnTo>
                <a:lnTo>
                  <a:pt x="186" y="70"/>
                </a:lnTo>
                <a:lnTo>
                  <a:pt x="184" y="70"/>
                </a:lnTo>
                <a:lnTo>
                  <a:pt x="184" y="71"/>
                </a:lnTo>
                <a:lnTo>
                  <a:pt x="183" y="71"/>
                </a:lnTo>
                <a:lnTo>
                  <a:pt x="183" y="70"/>
                </a:lnTo>
                <a:lnTo>
                  <a:pt x="181" y="70"/>
                </a:lnTo>
                <a:lnTo>
                  <a:pt x="180" y="68"/>
                </a:lnTo>
                <a:lnTo>
                  <a:pt x="179" y="68"/>
                </a:lnTo>
                <a:lnTo>
                  <a:pt x="177" y="68"/>
                </a:lnTo>
                <a:lnTo>
                  <a:pt x="176" y="68"/>
                </a:lnTo>
                <a:lnTo>
                  <a:pt x="175" y="70"/>
                </a:lnTo>
                <a:lnTo>
                  <a:pt x="173" y="70"/>
                </a:lnTo>
                <a:lnTo>
                  <a:pt x="173" y="71"/>
                </a:lnTo>
                <a:lnTo>
                  <a:pt x="172" y="71"/>
                </a:lnTo>
                <a:lnTo>
                  <a:pt x="172" y="73"/>
                </a:lnTo>
                <a:lnTo>
                  <a:pt x="173" y="74"/>
                </a:lnTo>
                <a:lnTo>
                  <a:pt x="172" y="75"/>
                </a:lnTo>
                <a:lnTo>
                  <a:pt x="173" y="75"/>
                </a:lnTo>
                <a:lnTo>
                  <a:pt x="173" y="77"/>
                </a:lnTo>
                <a:lnTo>
                  <a:pt x="172" y="77"/>
                </a:lnTo>
                <a:lnTo>
                  <a:pt x="172" y="78"/>
                </a:lnTo>
                <a:lnTo>
                  <a:pt x="170" y="78"/>
                </a:lnTo>
                <a:lnTo>
                  <a:pt x="170" y="79"/>
                </a:lnTo>
                <a:lnTo>
                  <a:pt x="169" y="79"/>
                </a:lnTo>
                <a:lnTo>
                  <a:pt x="168" y="79"/>
                </a:lnTo>
                <a:lnTo>
                  <a:pt x="168" y="81"/>
                </a:lnTo>
                <a:lnTo>
                  <a:pt x="168" y="81"/>
                </a:lnTo>
                <a:lnTo>
                  <a:pt x="166" y="82"/>
                </a:lnTo>
                <a:lnTo>
                  <a:pt x="165" y="84"/>
                </a:lnTo>
                <a:lnTo>
                  <a:pt x="165" y="85"/>
                </a:lnTo>
                <a:lnTo>
                  <a:pt x="164" y="85"/>
                </a:lnTo>
                <a:lnTo>
                  <a:pt x="162" y="85"/>
                </a:lnTo>
                <a:lnTo>
                  <a:pt x="161" y="86"/>
                </a:lnTo>
                <a:lnTo>
                  <a:pt x="159" y="86"/>
                </a:lnTo>
                <a:lnTo>
                  <a:pt x="158" y="86"/>
                </a:lnTo>
                <a:lnTo>
                  <a:pt x="157" y="86"/>
                </a:lnTo>
                <a:lnTo>
                  <a:pt x="155" y="86"/>
                </a:lnTo>
                <a:lnTo>
                  <a:pt x="154" y="85"/>
                </a:lnTo>
                <a:lnTo>
                  <a:pt x="153" y="85"/>
                </a:lnTo>
                <a:lnTo>
                  <a:pt x="151" y="85"/>
                </a:lnTo>
                <a:lnTo>
                  <a:pt x="150" y="85"/>
                </a:lnTo>
                <a:lnTo>
                  <a:pt x="148" y="85"/>
                </a:lnTo>
                <a:lnTo>
                  <a:pt x="147" y="85"/>
                </a:lnTo>
                <a:lnTo>
                  <a:pt x="146" y="85"/>
                </a:lnTo>
                <a:lnTo>
                  <a:pt x="144" y="86"/>
                </a:lnTo>
                <a:lnTo>
                  <a:pt x="143" y="88"/>
                </a:lnTo>
                <a:lnTo>
                  <a:pt x="142" y="89"/>
                </a:lnTo>
                <a:lnTo>
                  <a:pt x="140" y="90"/>
                </a:lnTo>
                <a:lnTo>
                  <a:pt x="140" y="92"/>
                </a:lnTo>
                <a:lnTo>
                  <a:pt x="139" y="92"/>
                </a:lnTo>
                <a:lnTo>
                  <a:pt x="140" y="93"/>
                </a:lnTo>
                <a:lnTo>
                  <a:pt x="140" y="95"/>
                </a:lnTo>
                <a:lnTo>
                  <a:pt x="139" y="95"/>
                </a:lnTo>
                <a:lnTo>
                  <a:pt x="137" y="95"/>
                </a:lnTo>
                <a:lnTo>
                  <a:pt x="136" y="95"/>
                </a:lnTo>
                <a:lnTo>
                  <a:pt x="136" y="96"/>
                </a:lnTo>
                <a:lnTo>
                  <a:pt x="135" y="97"/>
                </a:lnTo>
                <a:lnTo>
                  <a:pt x="135" y="99"/>
                </a:lnTo>
                <a:lnTo>
                  <a:pt x="135" y="99"/>
                </a:lnTo>
                <a:lnTo>
                  <a:pt x="135" y="99"/>
                </a:lnTo>
                <a:lnTo>
                  <a:pt x="135" y="100"/>
                </a:lnTo>
                <a:lnTo>
                  <a:pt x="133" y="101"/>
                </a:lnTo>
                <a:lnTo>
                  <a:pt x="135" y="103"/>
                </a:lnTo>
                <a:lnTo>
                  <a:pt x="135" y="104"/>
                </a:lnTo>
                <a:lnTo>
                  <a:pt x="135" y="106"/>
                </a:lnTo>
                <a:lnTo>
                  <a:pt x="135" y="107"/>
                </a:lnTo>
                <a:lnTo>
                  <a:pt x="133" y="108"/>
                </a:lnTo>
                <a:lnTo>
                  <a:pt x="132" y="108"/>
                </a:lnTo>
                <a:lnTo>
                  <a:pt x="132" y="110"/>
                </a:lnTo>
                <a:lnTo>
                  <a:pt x="131" y="110"/>
                </a:lnTo>
                <a:lnTo>
                  <a:pt x="131" y="111"/>
                </a:lnTo>
                <a:lnTo>
                  <a:pt x="131" y="112"/>
                </a:lnTo>
                <a:lnTo>
                  <a:pt x="129" y="111"/>
                </a:lnTo>
                <a:lnTo>
                  <a:pt x="128" y="111"/>
                </a:lnTo>
                <a:lnTo>
                  <a:pt x="128" y="112"/>
                </a:lnTo>
                <a:lnTo>
                  <a:pt x="126" y="114"/>
                </a:lnTo>
                <a:lnTo>
                  <a:pt x="126" y="115"/>
                </a:lnTo>
                <a:lnTo>
                  <a:pt x="125" y="117"/>
                </a:lnTo>
                <a:lnTo>
                  <a:pt x="125" y="118"/>
                </a:lnTo>
                <a:lnTo>
                  <a:pt x="124" y="119"/>
                </a:lnTo>
                <a:lnTo>
                  <a:pt x="122" y="119"/>
                </a:lnTo>
                <a:lnTo>
                  <a:pt x="121" y="119"/>
                </a:lnTo>
                <a:lnTo>
                  <a:pt x="121" y="121"/>
                </a:lnTo>
                <a:lnTo>
                  <a:pt x="120" y="121"/>
                </a:lnTo>
                <a:lnTo>
                  <a:pt x="120" y="122"/>
                </a:lnTo>
                <a:lnTo>
                  <a:pt x="120" y="123"/>
                </a:lnTo>
                <a:lnTo>
                  <a:pt x="118" y="125"/>
                </a:lnTo>
                <a:lnTo>
                  <a:pt x="118" y="126"/>
                </a:lnTo>
                <a:lnTo>
                  <a:pt x="118" y="128"/>
                </a:lnTo>
                <a:lnTo>
                  <a:pt x="117" y="129"/>
                </a:lnTo>
                <a:lnTo>
                  <a:pt x="117" y="130"/>
                </a:lnTo>
                <a:lnTo>
                  <a:pt x="115" y="130"/>
                </a:lnTo>
                <a:lnTo>
                  <a:pt x="115" y="132"/>
                </a:lnTo>
                <a:lnTo>
                  <a:pt x="114" y="132"/>
                </a:lnTo>
                <a:lnTo>
                  <a:pt x="113" y="133"/>
                </a:lnTo>
                <a:lnTo>
                  <a:pt x="113" y="134"/>
                </a:lnTo>
                <a:lnTo>
                  <a:pt x="113" y="136"/>
                </a:lnTo>
                <a:lnTo>
                  <a:pt x="111" y="137"/>
                </a:lnTo>
                <a:lnTo>
                  <a:pt x="111" y="139"/>
                </a:lnTo>
                <a:lnTo>
                  <a:pt x="110" y="140"/>
                </a:lnTo>
                <a:lnTo>
                  <a:pt x="110" y="141"/>
                </a:lnTo>
                <a:lnTo>
                  <a:pt x="110" y="143"/>
                </a:lnTo>
                <a:lnTo>
                  <a:pt x="110" y="144"/>
                </a:lnTo>
                <a:lnTo>
                  <a:pt x="109" y="144"/>
                </a:lnTo>
                <a:lnTo>
                  <a:pt x="109" y="145"/>
                </a:lnTo>
                <a:lnTo>
                  <a:pt x="109" y="147"/>
                </a:lnTo>
                <a:lnTo>
                  <a:pt x="109" y="148"/>
                </a:lnTo>
                <a:lnTo>
                  <a:pt x="107" y="148"/>
                </a:lnTo>
                <a:lnTo>
                  <a:pt x="107" y="150"/>
                </a:lnTo>
                <a:lnTo>
                  <a:pt x="107" y="151"/>
                </a:lnTo>
                <a:lnTo>
                  <a:pt x="107" y="152"/>
                </a:lnTo>
                <a:lnTo>
                  <a:pt x="106" y="154"/>
                </a:lnTo>
                <a:lnTo>
                  <a:pt x="106" y="155"/>
                </a:lnTo>
                <a:lnTo>
                  <a:pt x="106" y="156"/>
                </a:lnTo>
                <a:lnTo>
                  <a:pt x="104" y="158"/>
                </a:lnTo>
                <a:lnTo>
                  <a:pt x="104" y="159"/>
                </a:lnTo>
                <a:lnTo>
                  <a:pt x="104" y="161"/>
                </a:lnTo>
                <a:lnTo>
                  <a:pt x="103" y="161"/>
                </a:lnTo>
                <a:lnTo>
                  <a:pt x="102" y="159"/>
                </a:lnTo>
                <a:lnTo>
                  <a:pt x="102" y="158"/>
                </a:lnTo>
                <a:lnTo>
                  <a:pt x="100" y="158"/>
                </a:lnTo>
                <a:lnTo>
                  <a:pt x="100" y="156"/>
                </a:lnTo>
                <a:lnTo>
                  <a:pt x="100" y="155"/>
                </a:lnTo>
                <a:lnTo>
                  <a:pt x="102" y="152"/>
                </a:lnTo>
                <a:lnTo>
                  <a:pt x="102" y="151"/>
                </a:lnTo>
                <a:lnTo>
                  <a:pt x="102" y="150"/>
                </a:lnTo>
                <a:lnTo>
                  <a:pt x="102" y="148"/>
                </a:lnTo>
                <a:lnTo>
                  <a:pt x="102" y="147"/>
                </a:lnTo>
                <a:lnTo>
                  <a:pt x="102" y="145"/>
                </a:lnTo>
                <a:lnTo>
                  <a:pt x="102" y="144"/>
                </a:lnTo>
                <a:lnTo>
                  <a:pt x="102" y="143"/>
                </a:lnTo>
                <a:lnTo>
                  <a:pt x="103" y="143"/>
                </a:lnTo>
                <a:lnTo>
                  <a:pt x="103" y="140"/>
                </a:lnTo>
                <a:lnTo>
                  <a:pt x="104" y="137"/>
                </a:lnTo>
                <a:lnTo>
                  <a:pt x="104" y="136"/>
                </a:lnTo>
                <a:lnTo>
                  <a:pt x="104" y="133"/>
                </a:lnTo>
                <a:lnTo>
                  <a:pt x="104" y="132"/>
                </a:lnTo>
                <a:lnTo>
                  <a:pt x="104" y="132"/>
                </a:lnTo>
                <a:lnTo>
                  <a:pt x="103" y="130"/>
                </a:lnTo>
                <a:lnTo>
                  <a:pt x="103" y="129"/>
                </a:lnTo>
                <a:lnTo>
                  <a:pt x="102" y="129"/>
                </a:lnTo>
                <a:lnTo>
                  <a:pt x="102" y="128"/>
                </a:lnTo>
                <a:lnTo>
                  <a:pt x="102" y="126"/>
                </a:lnTo>
                <a:lnTo>
                  <a:pt x="100" y="125"/>
                </a:lnTo>
                <a:lnTo>
                  <a:pt x="99" y="125"/>
                </a:lnTo>
                <a:lnTo>
                  <a:pt x="98" y="126"/>
                </a:lnTo>
                <a:lnTo>
                  <a:pt x="96" y="126"/>
                </a:lnTo>
                <a:lnTo>
                  <a:pt x="95" y="126"/>
                </a:lnTo>
                <a:lnTo>
                  <a:pt x="93" y="126"/>
                </a:lnTo>
                <a:lnTo>
                  <a:pt x="92" y="126"/>
                </a:lnTo>
                <a:lnTo>
                  <a:pt x="91" y="125"/>
                </a:lnTo>
                <a:lnTo>
                  <a:pt x="91" y="123"/>
                </a:lnTo>
                <a:lnTo>
                  <a:pt x="92" y="122"/>
                </a:lnTo>
                <a:lnTo>
                  <a:pt x="91" y="122"/>
                </a:lnTo>
                <a:lnTo>
                  <a:pt x="89" y="122"/>
                </a:lnTo>
                <a:lnTo>
                  <a:pt x="88" y="123"/>
                </a:lnTo>
                <a:lnTo>
                  <a:pt x="87" y="123"/>
                </a:lnTo>
                <a:lnTo>
                  <a:pt x="85" y="122"/>
                </a:lnTo>
                <a:lnTo>
                  <a:pt x="85" y="121"/>
                </a:lnTo>
                <a:lnTo>
                  <a:pt x="85" y="119"/>
                </a:lnTo>
                <a:lnTo>
                  <a:pt x="84" y="118"/>
                </a:lnTo>
                <a:lnTo>
                  <a:pt x="82" y="118"/>
                </a:lnTo>
                <a:lnTo>
                  <a:pt x="82" y="117"/>
                </a:lnTo>
                <a:lnTo>
                  <a:pt x="82" y="115"/>
                </a:lnTo>
                <a:lnTo>
                  <a:pt x="82" y="114"/>
                </a:lnTo>
                <a:lnTo>
                  <a:pt x="82" y="112"/>
                </a:lnTo>
                <a:lnTo>
                  <a:pt x="81" y="111"/>
                </a:lnTo>
                <a:lnTo>
                  <a:pt x="81" y="110"/>
                </a:lnTo>
                <a:lnTo>
                  <a:pt x="82" y="108"/>
                </a:lnTo>
                <a:lnTo>
                  <a:pt x="82" y="107"/>
                </a:lnTo>
                <a:lnTo>
                  <a:pt x="81" y="107"/>
                </a:lnTo>
                <a:lnTo>
                  <a:pt x="81" y="106"/>
                </a:lnTo>
                <a:lnTo>
                  <a:pt x="81" y="104"/>
                </a:lnTo>
                <a:lnTo>
                  <a:pt x="81" y="101"/>
                </a:lnTo>
                <a:lnTo>
                  <a:pt x="82" y="100"/>
                </a:lnTo>
                <a:lnTo>
                  <a:pt x="82" y="99"/>
                </a:lnTo>
                <a:lnTo>
                  <a:pt x="81" y="99"/>
                </a:lnTo>
                <a:lnTo>
                  <a:pt x="81" y="99"/>
                </a:lnTo>
                <a:lnTo>
                  <a:pt x="80" y="97"/>
                </a:lnTo>
                <a:lnTo>
                  <a:pt x="78" y="97"/>
                </a:lnTo>
                <a:lnTo>
                  <a:pt x="77" y="96"/>
                </a:lnTo>
                <a:lnTo>
                  <a:pt x="77" y="95"/>
                </a:lnTo>
                <a:lnTo>
                  <a:pt x="76" y="95"/>
                </a:lnTo>
                <a:lnTo>
                  <a:pt x="76" y="93"/>
                </a:lnTo>
                <a:lnTo>
                  <a:pt x="76" y="92"/>
                </a:lnTo>
                <a:lnTo>
                  <a:pt x="74" y="92"/>
                </a:lnTo>
                <a:lnTo>
                  <a:pt x="73" y="92"/>
                </a:lnTo>
                <a:lnTo>
                  <a:pt x="73" y="93"/>
                </a:lnTo>
                <a:lnTo>
                  <a:pt x="71" y="93"/>
                </a:lnTo>
                <a:lnTo>
                  <a:pt x="70" y="93"/>
                </a:lnTo>
                <a:lnTo>
                  <a:pt x="69" y="93"/>
                </a:lnTo>
                <a:lnTo>
                  <a:pt x="69" y="95"/>
                </a:lnTo>
                <a:lnTo>
                  <a:pt x="70" y="96"/>
                </a:lnTo>
                <a:lnTo>
                  <a:pt x="70" y="97"/>
                </a:lnTo>
                <a:lnTo>
                  <a:pt x="69" y="99"/>
                </a:lnTo>
                <a:lnTo>
                  <a:pt x="69" y="99"/>
                </a:lnTo>
                <a:lnTo>
                  <a:pt x="69" y="99"/>
                </a:lnTo>
                <a:lnTo>
                  <a:pt x="69" y="100"/>
                </a:lnTo>
                <a:lnTo>
                  <a:pt x="69" y="101"/>
                </a:lnTo>
                <a:lnTo>
                  <a:pt x="69" y="103"/>
                </a:lnTo>
                <a:lnTo>
                  <a:pt x="67" y="103"/>
                </a:lnTo>
                <a:lnTo>
                  <a:pt x="69" y="104"/>
                </a:lnTo>
                <a:lnTo>
                  <a:pt x="69" y="107"/>
                </a:lnTo>
                <a:lnTo>
                  <a:pt x="67" y="106"/>
                </a:lnTo>
                <a:lnTo>
                  <a:pt x="65" y="106"/>
                </a:lnTo>
                <a:lnTo>
                  <a:pt x="63" y="106"/>
                </a:lnTo>
                <a:lnTo>
                  <a:pt x="62" y="106"/>
                </a:lnTo>
                <a:lnTo>
                  <a:pt x="60" y="106"/>
                </a:lnTo>
                <a:lnTo>
                  <a:pt x="59" y="107"/>
                </a:lnTo>
                <a:lnTo>
                  <a:pt x="60" y="108"/>
                </a:lnTo>
                <a:lnTo>
                  <a:pt x="59" y="110"/>
                </a:lnTo>
                <a:lnTo>
                  <a:pt x="58" y="111"/>
                </a:lnTo>
                <a:lnTo>
                  <a:pt x="58" y="110"/>
                </a:lnTo>
                <a:lnTo>
                  <a:pt x="56" y="110"/>
                </a:lnTo>
                <a:lnTo>
                  <a:pt x="54" y="108"/>
                </a:lnTo>
                <a:lnTo>
                  <a:pt x="52" y="108"/>
                </a:lnTo>
                <a:lnTo>
                  <a:pt x="51" y="107"/>
                </a:lnTo>
                <a:lnTo>
                  <a:pt x="49" y="107"/>
                </a:lnTo>
                <a:lnTo>
                  <a:pt x="47" y="106"/>
                </a:lnTo>
                <a:lnTo>
                  <a:pt x="47" y="104"/>
                </a:lnTo>
                <a:lnTo>
                  <a:pt x="45" y="104"/>
                </a:lnTo>
                <a:lnTo>
                  <a:pt x="44" y="104"/>
                </a:lnTo>
                <a:lnTo>
                  <a:pt x="43" y="104"/>
                </a:lnTo>
                <a:lnTo>
                  <a:pt x="41" y="104"/>
                </a:lnTo>
                <a:lnTo>
                  <a:pt x="38" y="104"/>
                </a:lnTo>
                <a:lnTo>
                  <a:pt x="38" y="106"/>
                </a:lnTo>
                <a:lnTo>
                  <a:pt x="37" y="107"/>
                </a:lnTo>
                <a:lnTo>
                  <a:pt x="36" y="108"/>
                </a:lnTo>
                <a:lnTo>
                  <a:pt x="36" y="108"/>
                </a:lnTo>
                <a:lnTo>
                  <a:pt x="36" y="110"/>
                </a:lnTo>
                <a:lnTo>
                  <a:pt x="34" y="110"/>
                </a:lnTo>
                <a:lnTo>
                  <a:pt x="33" y="111"/>
                </a:lnTo>
                <a:lnTo>
                  <a:pt x="32" y="111"/>
                </a:lnTo>
                <a:lnTo>
                  <a:pt x="30" y="112"/>
                </a:lnTo>
                <a:lnTo>
                  <a:pt x="29" y="112"/>
                </a:lnTo>
                <a:lnTo>
                  <a:pt x="27" y="112"/>
                </a:lnTo>
                <a:lnTo>
                  <a:pt x="27" y="114"/>
                </a:lnTo>
                <a:lnTo>
                  <a:pt x="26" y="115"/>
                </a:lnTo>
                <a:lnTo>
                  <a:pt x="23" y="117"/>
                </a:lnTo>
                <a:lnTo>
                  <a:pt x="21" y="117"/>
                </a:lnTo>
                <a:lnTo>
                  <a:pt x="19" y="118"/>
                </a:lnTo>
                <a:lnTo>
                  <a:pt x="18" y="118"/>
                </a:lnTo>
                <a:lnTo>
                  <a:pt x="16" y="117"/>
                </a:lnTo>
                <a:lnTo>
                  <a:pt x="15" y="117"/>
                </a:lnTo>
                <a:lnTo>
                  <a:pt x="14" y="115"/>
                </a:lnTo>
                <a:lnTo>
                  <a:pt x="12" y="115"/>
                </a:lnTo>
                <a:lnTo>
                  <a:pt x="11" y="115"/>
                </a:lnTo>
                <a:lnTo>
                  <a:pt x="10" y="115"/>
                </a:lnTo>
                <a:lnTo>
                  <a:pt x="7" y="114"/>
                </a:lnTo>
                <a:lnTo>
                  <a:pt x="7" y="112"/>
                </a:lnTo>
                <a:lnTo>
                  <a:pt x="5" y="112"/>
                </a:lnTo>
                <a:lnTo>
                  <a:pt x="3" y="112"/>
                </a:lnTo>
                <a:lnTo>
                  <a:pt x="3" y="111"/>
                </a:lnTo>
                <a:lnTo>
                  <a:pt x="1" y="111"/>
                </a:lnTo>
                <a:lnTo>
                  <a:pt x="0" y="111"/>
                </a:lnTo>
                <a:lnTo>
                  <a:pt x="0" y="108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7" name="Freeform 123"/>
          <p:cNvSpPr>
            <a:spLocks/>
          </p:cNvSpPr>
          <p:nvPr>
            <p:custDataLst>
              <p:tags r:id="rId43"/>
            </p:custDataLst>
          </p:nvPr>
        </p:nvSpPr>
        <p:spPr bwMode="gray">
          <a:xfrm>
            <a:off x="3984158" y="4533090"/>
            <a:ext cx="373060" cy="290611"/>
          </a:xfrm>
          <a:custGeom>
            <a:avLst/>
            <a:gdLst>
              <a:gd name="T0" fmla="*/ 0 w 392"/>
              <a:gd name="T1" fmla="*/ 109 h 325"/>
              <a:gd name="T2" fmla="*/ 0 w 392"/>
              <a:gd name="T3" fmla="*/ 101 h 325"/>
              <a:gd name="T4" fmla="*/ 0 w 392"/>
              <a:gd name="T5" fmla="*/ 95 h 325"/>
              <a:gd name="T6" fmla="*/ 3 w 392"/>
              <a:gd name="T7" fmla="*/ 87 h 325"/>
              <a:gd name="T8" fmla="*/ 3 w 392"/>
              <a:gd name="T9" fmla="*/ 79 h 325"/>
              <a:gd name="T10" fmla="*/ 1 w 392"/>
              <a:gd name="T11" fmla="*/ 69 h 325"/>
              <a:gd name="T12" fmla="*/ 5 w 392"/>
              <a:gd name="T13" fmla="*/ 59 h 325"/>
              <a:gd name="T14" fmla="*/ 3 w 392"/>
              <a:gd name="T15" fmla="*/ 51 h 325"/>
              <a:gd name="T16" fmla="*/ 234 w 392"/>
              <a:gd name="T17" fmla="*/ 22 h 325"/>
              <a:gd name="T18" fmla="*/ 289 w 392"/>
              <a:gd name="T19" fmla="*/ 163 h 325"/>
              <a:gd name="T20" fmla="*/ 384 w 392"/>
              <a:gd name="T21" fmla="*/ 230 h 325"/>
              <a:gd name="T22" fmla="*/ 362 w 392"/>
              <a:gd name="T23" fmla="*/ 289 h 325"/>
              <a:gd name="T24" fmla="*/ 263 w 392"/>
              <a:gd name="T25" fmla="*/ 310 h 325"/>
              <a:gd name="T26" fmla="*/ 258 w 392"/>
              <a:gd name="T27" fmla="*/ 300 h 325"/>
              <a:gd name="T28" fmla="*/ 249 w 392"/>
              <a:gd name="T29" fmla="*/ 299 h 325"/>
              <a:gd name="T30" fmla="*/ 235 w 392"/>
              <a:gd name="T31" fmla="*/ 304 h 325"/>
              <a:gd name="T32" fmla="*/ 230 w 392"/>
              <a:gd name="T33" fmla="*/ 300 h 325"/>
              <a:gd name="T34" fmla="*/ 225 w 392"/>
              <a:gd name="T35" fmla="*/ 293 h 325"/>
              <a:gd name="T36" fmla="*/ 221 w 392"/>
              <a:gd name="T37" fmla="*/ 288 h 325"/>
              <a:gd name="T38" fmla="*/ 212 w 392"/>
              <a:gd name="T39" fmla="*/ 295 h 325"/>
              <a:gd name="T40" fmla="*/ 208 w 392"/>
              <a:gd name="T41" fmla="*/ 286 h 325"/>
              <a:gd name="T42" fmla="*/ 201 w 392"/>
              <a:gd name="T43" fmla="*/ 282 h 325"/>
              <a:gd name="T44" fmla="*/ 201 w 392"/>
              <a:gd name="T45" fmla="*/ 278 h 325"/>
              <a:gd name="T46" fmla="*/ 191 w 392"/>
              <a:gd name="T47" fmla="*/ 275 h 325"/>
              <a:gd name="T48" fmla="*/ 187 w 392"/>
              <a:gd name="T49" fmla="*/ 274 h 325"/>
              <a:gd name="T50" fmla="*/ 176 w 392"/>
              <a:gd name="T51" fmla="*/ 271 h 325"/>
              <a:gd name="T52" fmla="*/ 172 w 392"/>
              <a:gd name="T53" fmla="*/ 267 h 325"/>
              <a:gd name="T54" fmla="*/ 166 w 392"/>
              <a:gd name="T55" fmla="*/ 262 h 325"/>
              <a:gd name="T56" fmla="*/ 155 w 392"/>
              <a:gd name="T57" fmla="*/ 267 h 325"/>
              <a:gd name="T58" fmla="*/ 147 w 392"/>
              <a:gd name="T59" fmla="*/ 268 h 325"/>
              <a:gd name="T60" fmla="*/ 140 w 392"/>
              <a:gd name="T61" fmla="*/ 264 h 325"/>
              <a:gd name="T62" fmla="*/ 136 w 392"/>
              <a:gd name="T63" fmla="*/ 259 h 325"/>
              <a:gd name="T64" fmla="*/ 137 w 392"/>
              <a:gd name="T65" fmla="*/ 249 h 325"/>
              <a:gd name="T66" fmla="*/ 136 w 392"/>
              <a:gd name="T67" fmla="*/ 240 h 325"/>
              <a:gd name="T68" fmla="*/ 131 w 392"/>
              <a:gd name="T69" fmla="*/ 233 h 325"/>
              <a:gd name="T70" fmla="*/ 128 w 392"/>
              <a:gd name="T71" fmla="*/ 227 h 325"/>
              <a:gd name="T72" fmla="*/ 126 w 392"/>
              <a:gd name="T73" fmla="*/ 219 h 325"/>
              <a:gd name="T74" fmla="*/ 126 w 392"/>
              <a:gd name="T75" fmla="*/ 208 h 325"/>
              <a:gd name="T76" fmla="*/ 118 w 392"/>
              <a:gd name="T77" fmla="*/ 208 h 325"/>
              <a:gd name="T78" fmla="*/ 109 w 392"/>
              <a:gd name="T79" fmla="*/ 205 h 325"/>
              <a:gd name="T80" fmla="*/ 100 w 392"/>
              <a:gd name="T81" fmla="*/ 201 h 325"/>
              <a:gd name="T82" fmla="*/ 92 w 392"/>
              <a:gd name="T83" fmla="*/ 200 h 325"/>
              <a:gd name="T84" fmla="*/ 85 w 392"/>
              <a:gd name="T85" fmla="*/ 194 h 325"/>
              <a:gd name="T86" fmla="*/ 78 w 392"/>
              <a:gd name="T87" fmla="*/ 185 h 325"/>
              <a:gd name="T88" fmla="*/ 78 w 392"/>
              <a:gd name="T89" fmla="*/ 178 h 325"/>
              <a:gd name="T90" fmla="*/ 73 w 392"/>
              <a:gd name="T91" fmla="*/ 174 h 325"/>
              <a:gd name="T92" fmla="*/ 66 w 392"/>
              <a:gd name="T93" fmla="*/ 171 h 325"/>
              <a:gd name="T94" fmla="*/ 60 w 392"/>
              <a:gd name="T95" fmla="*/ 171 h 325"/>
              <a:gd name="T96" fmla="*/ 53 w 392"/>
              <a:gd name="T97" fmla="*/ 165 h 325"/>
              <a:gd name="T98" fmla="*/ 51 w 392"/>
              <a:gd name="T99" fmla="*/ 158 h 325"/>
              <a:gd name="T100" fmla="*/ 53 w 392"/>
              <a:gd name="T101" fmla="*/ 153 h 325"/>
              <a:gd name="T102" fmla="*/ 60 w 392"/>
              <a:gd name="T103" fmla="*/ 145 h 325"/>
              <a:gd name="T104" fmla="*/ 52 w 392"/>
              <a:gd name="T105" fmla="*/ 138 h 325"/>
              <a:gd name="T106" fmla="*/ 42 w 392"/>
              <a:gd name="T107" fmla="*/ 132 h 325"/>
              <a:gd name="T108" fmla="*/ 34 w 392"/>
              <a:gd name="T109" fmla="*/ 127 h 325"/>
              <a:gd name="T110" fmla="*/ 23 w 392"/>
              <a:gd name="T111" fmla="*/ 128 h 325"/>
              <a:gd name="T112" fmla="*/ 12 w 392"/>
              <a:gd name="T113" fmla="*/ 128 h 325"/>
              <a:gd name="T114" fmla="*/ 7 w 392"/>
              <a:gd name="T115" fmla="*/ 121 h 325"/>
              <a:gd name="T116" fmla="*/ 0 w 392"/>
              <a:gd name="T117" fmla="*/ 116 h 3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92" h="325">
                <a:moveTo>
                  <a:pt x="0" y="116"/>
                </a:moveTo>
                <a:lnTo>
                  <a:pt x="1" y="114"/>
                </a:lnTo>
                <a:lnTo>
                  <a:pt x="1" y="113"/>
                </a:lnTo>
                <a:lnTo>
                  <a:pt x="1" y="112"/>
                </a:lnTo>
                <a:lnTo>
                  <a:pt x="0" y="110"/>
                </a:lnTo>
                <a:lnTo>
                  <a:pt x="0" y="109"/>
                </a:lnTo>
                <a:lnTo>
                  <a:pt x="1" y="108"/>
                </a:lnTo>
                <a:lnTo>
                  <a:pt x="1" y="106"/>
                </a:lnTo>
                <a:lnTo>
                  <a:pt x="1" y="105"/>
                </a:lnTo>
                <a:lnTo>
                  <a:pt x="1" y="103"/>
                </a:lnTo>
                <a:lnTo>
                  <a:pt x="0" y="103"/>
                </a:lnTo>
                <a:lnTo>
                  <a:pt x="0" y="101"/>
                </a:lnTo>
                <a:lnTo>
                  <a:pt x="0" y="99"/>
                </a:lnTo>
                <a:lnTo>
                  <a:pt x="1" y="99"/>
                </a:lnTo>
                <a:lnTo>
                  <a:pt x="1" y="99"/>
                </a:lnTo>
                <a:lnTo>
                  <a:pt x="1" y="98"/>
                </a:lnTo>
                <a:lnTo>
                  <a:pt x="0" y="96"/>
                </a:lnTo>
                <a:lnTo>
                  <a:pt x="0" y="95"/>
                </a:lnTo>
                <a:lnTo>
                  <a:pt x="1" y="94"/>
                </a:lnTo>
                <a:lnTo>
                  <a:pt x="1" y="92"/>
                </a:lnTo>
                <a:lnTo>
                  <a:pt x="1" y="91"/>
                </a:lnTo>
                <a:lnTo>
                  <a:pt x="1" y="90"/>
                </a:lnTo>
                <a:lnTo>
                  <a:pt x="3" y="88"/>
                </a:lnTo>
                <a:lnTo>
                  <a:pt x="3" y="87"/>
                </a:lnTo>
                <a:lnTo>
                  <a:pt x="3" y="85"/>
                </a:lnTo>
                <a:lnTo>
                  <a:pt x="3" y="84"/>
                </a:lnTo>
                <a:lnTo>
                  <a:pt x="3" y="83"/>
                </a:lnTo>
                <a:lnTo>
                  <a:pt x="3" y="81"/>
                </a:lnTo>
                <a:lnTo>
                  <a:pt x="3" y="80"/>
                </a:lnTo>
                <a:lnTo>
                  <a:pt x="3" y="79"/>
                </a:lnTo>
                <a:lnTo>
                  <a:pt x="3" y="79"/>
                </a:lnTo>
                <a:lnTo>
                  <a:pt x="3" y="76"/>
                </a:lnTo>
                <a:lnTo>
                  <a:pt x="3" y="73"/>
                </a:lnTo>
                <a:lnTo>
                  <a:pt x="3" y="72"/>
                </a:lnTo>
                <a:lnTo>
                  <a:pt x="1" y="70"/>
                </a:lnTo>
                <a:lnTo>
                  <a:pt x="1" y="69"/>
                </a:lnTo>
                <a:lnTo>
                  <a:pt x="3" y="68"/>
                </a:lnTo>
                <a:lnTo>
                  <a:pt x="4" y="66"/>
                </a:lnTo>
                <a:lnTo>
                  <a:pt x="3" y="65"/>
                </a:lnTo>
                <a:lnTo>
                  <a:pt x="4" y="63"/>
                </a:lnTo>
                <a:lnTo>
                  <a:pt x="4" y="62"/>
                </a:lnTo>
                <a:lnTo>
                  <a:pt x="5" y="59"/>
                </a:lnTo>
                <a:lnTo>
                  <a:pt x="7" y="59"/>
                </a:lnTo>
                <a:lnTo>
                  <a:pt x="7" y="55"/>
                </a:lnTo>
                <a:lnTo>
                  <a:pt x="9" y="52"/>
                </a:lnTo>
                <a:lnTo>
                  <a:pt x="9" y="51"/>
                </a:lnTo>
                <a:lnTo>
                  <a:pt x="4" y="54"/>
                </a:lnTo>
                <a:lnTo>
                  <a:pt x="3" y="51"/>
                </a:lnTo>
                <a:lnTo>
                  <a:pt x="53" y="21"/>
                </a:lnTo>
                <a:lnTo>
                  <a:pt x="98" y="22"/>
                </a:lnTo>
                <a:lnTo>
                  <a:pt x="140" y="0"/>
                </a:lnTo>
                <a:lnTo>
                  <a:pt x="173" y="10"/>
                </a:lnTo>
                <a:lnTo>
                  <a:pt x="208" y="35"/>
                </a:lnTo>
                <a:lnTo>
                  <a:pt x="234" y="22"/>
                </a:lnTo>
                <a:lnTo>
                  <a:pt x="239" y="47"/>
                </a:lnTo>
                <a:lnTo>
                  <a:pt x="231" y="65"/>
                </a:lnTo>
                <a:lnTo>
                  <a:pt x="267" y="106"/>
                </a:lnTo>
                <a:lnTo>
                  <a:pt x="264" y="123"/>
                </a:lnTo>
                <a:lnTo>
                  <a:pt x="275" y="123"/>
                </a:lnTo>
                <a:lnTo>
                  <a:pt x="289" y="163"/>
                </a:lnTo>
                <a:lnTo>
                  <a:pt x="264" y="178"/>
                </a:lnTo>
                <a:lnTo>
                  <a:pt x="311" y="207"/>
                </a:lnTo>
                <a:lnTo>
                  <a:pt x="322" y="185"/>
                </a:lnTo>
                <a:lnTo>
                  <a:pt x="348" y="187"/>
                </a:lnTo>
                <a:lnTo>
                  <a:pt x="349" y="201"/>
                </a:lnTo>
                <a:lnTo>
                  <a:pt x="384" y="230"/>
                </a:lnTo>
                <a:lnTo>
                  <a:pt x="385" y="246"/>
                </a:lnTo>
                <a:lnTo>
                  <a:pt x="378" y="246"/>
                </a:lnTo>
                <a:lnTo>
                  <a:pt x="378" y="256"/>
                </a:lnTo>
                <a:lnTo>
                  <a:pt x="390" y="262"/>
                </a:lnTo>
                <a:lnTo>
                  <a:pt x="392" y="271"/>
                </a:lnTo>
                <a:lnTo>
                  <a:pt x="362" y="289"/>
                </a:lnTo>
                <a:lnTo>
                  <a:pt x="362" y="321"/>
                </a:lnTo>
                <a:lnTo>
                  <a:pt x="316" y="325"/>
                </a:lnTo>
                <a:lnTo>
                  <a:pt x="291" y="306"/>
                </a:lnTo>
                <a:lnTo>
                  <a:pt x="264" y="314"/>
                </a:lnTo>
                <a:lnTo>
                  <a:pt x="264" y="312"/>
                </a:lnTo>
                <a:lnTo>
                  <a:pt x="263" y="310"/>
                </a:lnTo>
                <a:lnTo>
                  <a:pt x="261" y="308"/>
                </a:lnTo>
                <a:lnTo>
                  <a:pt x="261" y="307"/>
                </a:lnTo>
                <a:lnTo>
                  <a:pt x="261" y="304"/>
                </a:lnTo>
                <a:lnTo>
                  <a:pt x="260" y="303"/>
                </a:lnTo>
                <a:lnTo>
                  <a:pt x="260" y="301"/>
                </a:lnTo>
                <a:lnTo>
                  <a:pt x="258" y="300"/>
                </a:lnTo>
                <a:lnTo>
                  <a:pt x="257" y="300"/>
                </a:lnTo>
                <a:lnTo>
                  <a:pt x="256" y="300"/>
                </a:lnTo>
                <a:lnTo>
                  <a:pt x="254" y="297"/>
                </a:lnTo>
                <a:lnTo>
                  <a:pt x="253" y="296"/>
                </a:lnTo>
                <a:lnTo>
                  <a:pt x="252" y="297"/>
                </a:lnTo>
                <a:lnTo>
                  <a:pt x="249" y="299"/>
                </a:lnTo>
                <a:lnTo>
                  <a:pt x="246" y="299"/>
                </a:lnTo>
                <a:lnTo>
                  <a:pt x="245" y="300"/>
                </a:lnTo>
                <a:lnTo>
                  <a:pt x="242" y="300"/>
                </a:lnTo>
                <a:lnTo>
                  <a:pt x="239" y="301"/>
                </a:lnTo>
                <a:lnTo>
                  <a:pt x="238" y="304"/>
                </a:lnTo>
                <a:lnTo>
                  <a:pt x="235" y="304"/>
                </a:lnTo>
                <a:lnTo>
                  <a:pt x="234" y="304"/>
                </a:lnTo>
                <a:lnTo>
                  <a:pt x="234" y="304"/>
                </a:lnTo>
                <a:lnTo>
                  <a:pt x="232" y="304"/>
                </a:lnTo>
                <a:lnTo>
                  <a:pt x="232" y="301"/>
                </a:lnTo>
                <a:lnTo>
                  <a:pt x="231" y="300"/>
                </a:lnTo>
                <a:lnTo>
                  <a:pt x="230" y="300"/>
                </a:lnTo>
                <a:lnTo>
                  <a:pt x="228" y="299"/>
                </a:lnTo>
                <a:lnTo>
                  <a:pt x="228" y="299"/>
                </a:lnTo>
                <a:lnTo>
                  <a:pt x="230" y="297"/>
                </a:lnTo>
                <a:lnTo>
                  <a:pt x="228" y="295"/>
                </a:lnTo>
                <a:lnTo>
                  <a:pt x="227" y="295"/>
                </a:lnTo>
                <a:lnTo>
                  <a:pt x="225" y="293"/>
                </a:lnTo>
                <a:lnTo>
                  <a:pt x="227" y="292"/>
                </a:lnTo>
                <a:lnTo>
                  <a:pt x="227" y="290"/>
                </a:lnTo>
                <a:lnTo>
                  <a:pt x="225" y="290"/>
                </a:lnTo>
                <a:lnTo>
                  <a:pt x="225" y="288"/>
                </a:lnTo>
                <a:lnTo>
                  <a:pt x="224" y="288"/>
                </a:lnTo>
                <a:lnTo>
                  <a:pt x="221" y="288"/>
                </a:lnTo>
                <a:lnTo>
                  <a:pt x="221" y="289"/>
                </a:lnTo>
                <a:lnTo>
                  <a:pt x="220" y="290"/>
                </a:lnTo>
                <a:lnTo>
                  <a:pt x="220" y="293"/>
                </a:lnTo>
                <a:lnTo>
                  <a:pt x="217" y="293"/>
                </a:lnTo>
                <a:lnTo>
                  <a:pt x="214" y="293"/>
                </a:lnTo>
                <a:lnTo>
                  <a:pt x="212" y="295"/>
                </a:lnTo>
                <a:lnTo>
                  <a:pt x="209" y="293"/>
                </a:lnTo>
                <a:lnTo>
                  <a:pt x="209" y="292"/>
                </a:lnTo>
                <a:lnTo>
                  <a:pt x="210" y="290"/>
                </a:lnTo>
                <a:lnTo>
                  <a:pt x="209" y="288"/>
                </a:lnTo>
                <a:lnTo>
                  <a:pt x="208" y="288"/>
                </a:lnTo>
                <a:lnTo>
                  <a:pt x="208" y="286"/>
                </a:lnTo>
                <a:lnTo>
                  <a:pt x="208" y="285"/>
                </a:lnTo>
                <a:lnTo>
                  <a:pt x="208" y="284"/>
                </a:lnTo>
                <a:lnTo>
                  <a:pt x="206" y="284"/>
                </a:lnTo>
                <a:lnTo>
                  <a:pt x="205" y="284"/>
                </a:lnTo>
                <a:lnTo>
                  <a:pt x="202" y="284"/>
                </a:lnTo>
                <a:lnTo>
                  <a:pt x="201" y="282"/>
                </a:lnTo>
                <a:lnTo>
                  <a:pt x="201" y="281"/>
                </a:lnTo>
                <a:lnTo>
                  <a:pt x="201" y="279"/>
                </a:lnTo>
                <a:lnTo>
                  <a:pt x="202" y="279"/>
                </a:lnTo>
                <a:lnTo>
                  <a:pt x="203" y="278"/>
                </a:lnTo>
                <a:lnTo>
                  <a:pt x="202" y="278"/>
                </a:lnTo>
                <a:lnTo>
                  <a:pt x="201" y="278"/>
                </a:lnTo>
                <a:lnTo>
                  <a:pt x="199" y="278"/>
                </a:lnTo>
                <a:lnTo>
                  <a:pt x="198" y="277"/>
                </a:lnTo>
                <a:lnTo>
                  <a:pt x="195" y="277"/>
                </a:lnTo>
                <a:lnTo>
                  <a:pt x="194" y="277"/>
                </a:lnTo>
                <a:lnTo>
                  <a:pt x="192" y="275"/>
                </a:lnTo>
                <a:lnTo>
                  <a:pt x="191" y="275"/>
                </a:lnTo>
                <a:lnTo>
                  <a:pt x="191" y="274"/>
                </a:lnTo>
                <a:lnTo>
                  <a:pt x="191" y="273"/>
                </a:lnTo>
                <a:lnTo>
                  <a:pt x="190" y="273"/>
                </a:lnTo>
                <a:lnTo>
                  <a:pt x="188" y="271"/>
                </a:lnTo>
                <a:lnTo>
                  <a:pt x="188" y="273"/>
                </a:lnTo>
                <a:lnTo>
                  <a:pt x="187" y="274"/>
                </a:lnTo>
                <a:lnTo>
                  <a:pt x="186" y="275"/>
                </a:lnTo>
                <a:lnTo>
                  <a:pt x="183" y="274"/>
                </a:lnTo>
                <a:lnTo>
                  <a:pt x="181" y="274"/>
                </a:lnTo>
                <a:lnTo>
                  <a:pt x="180" y="273"/>
                </a:lnTo>
                <a:lnTo>
                  <a:pt x="177" y="273"/>
                </a:lnTo>
                <a:lnTo>
                  <a:pt x="176" y="271"/>
                </a:lnTo>
                <a:lnTo>
                  <a:pt x="175" y="273"/>
                </a:lnTo>
                <a:lnTo>
                  <a:pt x="173" y="274"/>
                </a:lnTo>
                <a:lnTo>
                  <a:pt x="173" y="273"/>
                </a:lnTo>
                <a:lnTo>
                  <a:pt x="172" y="270"/>
                </a:lnTo>
                <a:lnTo>
                  <a:pt x="172" y="268"/>
                </a:lnTo>
                <a:lnTo>
                  <a:pt x="172" y="267"/>
                </a:lnTo>
                <a:lnTo>
                  <a:pt x="170" y="266"/>
                </a:lnTo>
                <a:lnTo>
                  <a:pt x="169" y="266"/>
                </a:lnTo>
                <a:lnTo>
                  <a:pt x="168" y="266"/>
                </a:lnTo>
                <a:lnTo>
                  <a:pt x="168" y="264"/>
                </a:lnTo>
                <a:lnTo>
                  <a:pt x="168" y="262"/>
                </a:lnTo>
                <a:lnTo>
                  <a:pt x="166" y="262"/>
                </a:lnTo>
                <a:lnTo>
                  <a:pt x="165" y="263"/>
                </a:lnTo>
                <a:lnTo>
                  <a:pt x="165" y="264"/>
                </a:lnTo>
                <a:lnTo>
                  <a:pt x="164" y="266"/>
                </a:lnTo>
                <a:lnTo>
                  <a:pt x="161" y="266"/>
                </a:lnTo>
                <a:lnTo>
                  <a:pt x="158" y="266"/>
                </a:lnTo>
                <a:lnTo>
                  <a:pt x="155" y="267"/>
                </a:lnTo>
                <a:lnTo>
                  <a:pt x="154" y="268"/>
                </a:lnTo>
                <a:lnTo>
                  <a:pt x="151" y="268"/>
                </a:lnTo>
                <a:lnTo>
                  <a:pt x="151" y="267"/>
                </a:lnTo>
                <a:lnTo>
                  <a:pt x="150" y="267"/>
                </a:lnTo>
                <a:lnTo>
                  <a:pt x="148" y="267"/>
                </a:lnTo>
                <a:lnTo>
                  <a:pt x="147" y="268"/>
                </a:lnTo>
                <a:lnTo>
                  <a:pt x="146" y="268"/>
                </a:lnTo>
                <a:lnTo>
                  <a:pt x="144" y="268"/>
                </a:lnTo>
                <a:lnTo>
                  <a:pt x="143" y="267"/>
                </a:lnTo>
                <a:lnTo>
                  <a:pt x="142" y="266"/>
                </a:lnTo>
                <a:lnTo>
                  <a:pt x="140" y="266"/>
                </a:lnTo>
                <a:lnTo>
                  <a:pt x="140" y="264"/>
                </a:lnTo>
                <a:lnTo>
                  <a:pt x="140" y="263"/>
                </a:lnTo>
                <a:lnTo>
                  <a:pt x="142" y="263"/>
                </a:lnTo>
                <a:lnTo>
                  <a:pt x="140" y="262"/>
                </a:lnTo>
                <a:lnTo>
                  <a:pt x="139" y="260"/>
                </a:lnTo>
                <a:lnTo>
                  <a:pt x="137" y="259"/>
                </a:lnTo>
                <a:lnTo>
                  <a:pt x="136" y="259"/>
                </a:lnTo>
                <a:lnTo>
                  <a:pt x="137" y="257"/>
                </a:lnTo>
                <a:lnTo>
                  <a:pt x="137" y="255"/>
                </a:lnTo>
                <a:lnTo>
                  <a:pt x="136" y="253"/>
                </a:lnTo>
                <a:lnTo>
                  <a:pt x="136" y="252"/>
                </a:lnTo>
                <a:lnTo>
                  <a:pt x="137" y="252"/>
                </a:lnTo>
                <a:lnTo>
                  <a:pt x="137" y="249"/>
                </a:lnTo>
                <a:lnTo>
                  <a:pt x="139" y="248"/>
                </a:lnTo>
                <a:lnTo>
                  <a:pt x="140" y="246"/>
                </a:lnTo>
                <a:lnTo>
                  <a:pt x="137" y="245"/>
                </a:lnTo>
                <a:lnTo>
                  <a:pt x="137" y="244"/>
                </a:lnTo>
                <a:lnTo>
                  <a:pt x="136" y="242"/>
                </a:lnTo>
                <a:lnTo>
                  <a:pt x="136" y="240"/>
                </a:lnTo>
                <a:lnTo>
                  <a:pt x="136" y="238"/>
                </a:lnTo>
                <a:lnTo>
                  <a:pt x="136" y="237"/>
                </a:lnTo>
                <a:lnTo>
                  <a:pt x="136" y="234"/>
                </a:lnTo>
                <a:lnTo>
                  <a:pt x="135" y="234"/>
                </a:lnTo>
                <a:lnTo>
                  <a:pt x="133" y="234"/>
                </a:lnTo>
                <a:lnTo>
                  <a:pt x="131" y="233"/>
                </a:lnTo>
                <a:lnTo>
                  <a:pt x="129" y="233"/>
                </a:lnTo>
                <a:lnTo>
                  <a:pt x="128" y="233"/>
                </a:lnTo>
                <a:lnTo>
                  <a:pt x="126" y="231"/>
                </a:lnTo>
                <a:lnTo>
                  <a:pt x="125" y="230"/>
                </a:lnTo>
                <a:lnTo>
                  <a:pt x="126" y="229"/>
                </a:lnTo>
                <a:lnTo>
                  <a:pt x="128" y="227"/>
                </a:lnTo>
                <a:lnTo>
                  <a:pt x="129" y="226"/>
                </a:lnTo>
                <a:lnTo>
                  <a:pt x="129" y="224"/>
                </a:lnTo>
                <a:lnTo>
                  <a:pt x="129" y="223"/>
                </a:lnTo>
                <a:lnTo>
                  <a:pt x="128" y="222"/>
                </a:lnTo>
                <a:lnTo>
                  <a:pt x="126" y="220"/>
                </a:lnTo>
                <a:lnTo>
                  <a:pt x="126" y="219"/>
                </a:lnTo>
                <a:lnTo>
                  <a:pt x="126" y="218"/>
                </a:lnTo>
                <a:lnTo>
                  <a:pt x="128" y="215"/>
                </a:lnTo>
                <a:lnTo>
                  <a:pt x="128" y="212"/>
                </a:lnTo>
                <a:lnTo>
                  <a:pt x="128" y="211"/>
                </a:lnTo>
                <a:lnTo>
                  <a:pt x="128" y="208"/>
                </a:lnTo>
                <a:lnTo>
                  <a:pt x="126" y="208"/>
                </a:lnTo>
                <a:lnTo>
                  <a:pt x="126" y="205"/>
                </a:lnTo>
                <a:lnTo>
                  <a:pt x="125" y="204"/>
                </a:lnTo>
                <a:lnTo>
                  <a:pt x="124" y="207"/>
                </a:lnTo>
                <a:lnTo>
                  <a:pt x="122" y="208"/>
                </a:lnTo>
                <a:lnTo>
                  <a:pt x="121" y="208"/>
                </a:lnTo>
                <a:lnTo>
                  <a:pt x="118" y="208"/>
                </a:lnTo>
                <a:lnTo>
                  <a:pt x="117" y="208"/>
                </a:lnTo>
                <a:lnTo>
                  <a:pt x="114" y="208"/>
                </a:lnTo>
                <a:lnTo>
                  <a:pt x="113" y="208"/>
                </a:lnTo>
                <a:lnTo>
                  <a:pt x="111" y="208"/>
                </a:lnTo>
                <a:lnTo>
                  <a:pt x="111" y="207"/>
                </a:lnTo>
                <a:lnTo>
                  <a:pt x="109" y="205"/>
                </a:lnTo>
                <a:lnTo>
                  <a:pt x="106" y="204"/>
                </a:lnTo>
                <a:lnTo>
                  <a:pt x="104" y="204"/>
                </a:lnTo>
                <a:lnTo>
                  <a:pt x="103" y="204"/>
                </a:lnTo>
                <a:lnTo>
                  <a:pt x="102" y="202"/>
                </a:lnTo>
                <a:lnTo>
                  <a:pt x="102" y="201"/>
                </a:lnTo>
                <a:lnTo>
                  <a:pt x="100" y="201"/>
                </a:lnTo>
                <a:lnTo>
                  <a:pt x="98" y="201"/>
                </a:lnTo>
                <a:lnTo>
                  <a:pt x="96" y="202"/>
                </a:lnTo>
                <a:lnTo>
                  <a:pt x="95" y="202"/>
                </a:lnTo>
                <a:lnTo>
                  <a:pt x="93" y="201"/>
                </a:lnTo>
                <a:lnTo>
                  <a:pt x="93" y="200"/>
                </a:lnTo>
                <a:lnTo>
                  <a:pt x="92" y="200"/>
                </a:lnTo>
                <a:lnTo>
                  <a:pt x="89" y="200"/>
                </a:lnTo>
                <a:lnTo>
                  <a:pt x="89" y="200"/>
                </a:lnTo>
                <a:lnTo>
                  <a:pt x="88" y="198"/>
                </a:lnTo>
                <a:lnTo>
                  <a:pt x="87" y="197"/>
                </a:lnTo>
                <a:lnTo>
                  <a:pt x="87" y="196"/>
                </a:lnTo>
                <a:lnTo>
                  <a:pt x="85" y="194"/>
                </a:lnTo>
                <a:lnTo>
                  <a:pt x="84" y="191"/>
                </a:lnTo>
                <a:lnTo>
                  <a:pt x="82" y="190"/>
                </a:lnTo>
                <a:lnTo>
                  <a:pt x="81" y="189"/>
                </a:lnTo>
                <a:lnTo>
                  <a:pt x="81" y="187"/>
                </a:lnTo>
                <a:lnTo>
                  <a:pt x="80" y="186"/>
                </a:lnTo>
                <a:lnTo>
                  <a:pt x="78" y="185"/>
                </a:lnTo>
                <a:lnTo>
                  <a:pt x="78" y="183"/>
                </a:lnTo>
                <a:lnTo>
                  <a:pt x="78" y="182"/>
                </a:lnTo>
                <a:lnTo>
                  <a:pt x="80" y="182"/>
                </a:lnTo>
                <a:lnTo>
                  <a:pt x="80" y="180"/>
                </a:lnTo>
                <a:lnTo>
                  <a:pt x="78" y="179"/>
                </a:lnTo>
                <a:lnTo>
                  <a:pt x="78" y="178"/>
                </a:lnTo>
                <a:lnTo>
                  <a:pt x="78" y="176"/>
                </a:lnTo>
                <a:lnTo>
                  <a:pt x="78" y="175"/>
                </a:lnTo>
                <a:lnTo>
                  <a:pt x="77" y="174"/>
                </a:lnTo>
                <a:lnTo>
                  <a:pt x="77" y="172"/>
                </a:lnTo>
                <a:lnTo>
                  <a:pt x="74" y="172"/>
                </a:lnTo>
                <a:lnTo>
                  <a:pt x="73" y="174"/>
                </a:lnTo>
                <a:lnTo>
                  <a:pt x="71" y="174"/>
                </a:lnTo>
                <a:lnTo>
                  <a:pt x="70" y="172"/>
                </a:lnTo>
                <a:lnTo>
                  <a:pt x="69" y="172"/>
                </a:lnTo>
                <a:lnTo>
                  <a:pt x="69" y="172"/>
                </a:lnTo>
                <a:lnTo>
                  <a:pt x="67" y="171"/>
                </a:lnTo>
                <a:lnTo>
                  <a:pt x="66" y="171"/>
                </a:lnTo>
                <a:lnTo>
                  <a:pt x="63" y="171"/>
                </a:lnTo>
                <a:lnTo>
                  <a:pt x="63" y="174"/>
                </a:lnTo>
                <a:lnTo>
                  <a:pt x="63" y="175"/>
                </a:lnTo>
                <a:lnTo>
                  <a:pt x="62" y="175"/>
                </a:lnTo>
                <a:lnTo>
                  <a:pt x="60" y="174"/>
                </a:lnTo>
                <a:lnTo>
                  <a:pt x="60" y="171"/>
                </a:lnTo>
                <a:lnTo>
                  <a:pt x="59" y="169"/>
                </a:lnTo>
                <a:lnTo>
                  <a:pt x="58" y="168"/>
                </a:lnTo>
                <a:lnTo>
                  <a:pt x="56" y="168"/>
                </a:lnTo>
                <a:lnTo>
                  <a:pt x="55" y="167"/>
                </a:lnTo>
                <a:lnTo>
                  <a:pt x="55" y="165"/>
                </a:lnTo>
                <a:lnTo>
                  <a:pt x="53" y="165"/>
                </a:lnTo>
                <a:lnTo>
                  <a:pt x="53" y="165"/>
                </a:lnTo>
                <a:lnTo>
                  <a:pt x="53" y="164"/>
                </a:lnTo>
                <a:lnTo>
                  <a:pt x="52" y="163"/>
                </a:lnTo>
                <a:lnTo>
                  <a:pt x="51" y="163"/>
                </a:lnTo>
                <a:lnTo>
                  <a:pt x="51" y="161"/>
                </a:lnTo>
                <a:lnTo>
                  <a:pt x="51" y="158"/>
                </a:lnTo>
                <a:lnTo>
                  <a:pt x="52" y="158"/>
                </a:lnTo>
                <a:lnTo>
                  <a:pt x="53" y="158"/>
                </a:lnTo>
                <a:lnTo>
                  <a:pt x="55" y="157"/>
                </a:lnTo>
                <a:lnTo>
                  <a:pt x="55" y="156"/>
                </a:lnTo>
                <a:lnTo>
                  <a:pt x="53" y="154"/>
                </a:lnTo>
                <a:lnTo>
                  <a:pt x="53" y="153"/>
                </a:lnTo>
                <a:lnTo>
                  <a:pt x="55" y="152"/>
                </a:lnTo>
                <a:lnTo>
                  <a:pt x="56" y="150"/>
                </a:lnTo>
                <a:lnTo>
                  <a:pt x="56" y="149"/>
                </a:lnTo>
                <a:lnTo>
                  <a:pt x="58" y="147"/>
                </a:lnTo>
                <a:lnTo>
                  <a:pt x="59" y="147"/>
                </a:lnTo>
                <a:lnTo>
                  <a:pt x="60" y="145"/>
                </a:lnTo>
                <a:lnTo>
                  <a:pt x="59" y="143"/>
                </a:lnTo>
                <a:lnTo>
                  <a:pt x="58" y="142"/>
                </a:lnTo>
                <a:lnTo>
                  <a:pt x="56" y="141"/>
                </a:lnTo>
                <a:lnTo>
                  <a:pt x="55" y="141"/>
                </a:lnTo>
                <a:lnTo>
                  <a:pt x="53" y="138"/>
                </a:lnTo>
                <a:lnTo>
                  <a:pt x="52" y="138"/>
                </a:lnTo>
                <a:lnTo>
                  <a:pt x="49" y="138"/>
                </a:lnTo>
                <a:lnTo>
                  <a:pt x="49" y="136"/>
                </a:lnTo>
                <a:lnTo>
                  <a:pt x="49" y="135"/>
                </a:lnTo>
                <a:lnTo>
                  <a:pt x="47" y="134"/>
                </a:lnTo>
                <a:lnTo>
                  <a:pt x="45" y="134"/>
                </a:lnTo>
                <a:lnTo>
                  <a:pt x="42" y="132"/>
                </a:lnTo>
                <a:lnTo>
                  <a:pt x="41" y="131"/>
                </a:lnTo>
                <a:lnTo>
                  <a:pt x="38" y="130"/>
                </a:lnTo>
                <a:lnTo>
                  <a:pt x="37" y="128"/>
                </a:lnTo>
                <a:lnTo>
                  <a:pt x="36" y="127"/>
                </a:lnTo>
                <a:lnTo>
                  <a:pt x="36" y="125"/>
                </a:lnTo>
                <a:lnTo>
                  <a:pt x="34" y="127"/>
                </a:lnTo>
                <a:lnTo>
                  <a:pt x="33" y="127"/>
                </a:lnTo>
                <a:lnTo>
                  <a:pt x="31" y="127"/>
                </a:lnTo>
                <a:lnTo>
                  <a:pt x="29" y="128"/>
                </a:lnTo>
                <a:lnTo>
                  <a:pt x="27" y="128"/>
                </a:lnTo>
                <a:lnTo>
                  <a:pt x="25" y="128"/>
                </a:lnTo>
                <a:lnTo>
                  <a:pt x="23" y="128"/>
                </a:lnTo>
                <a:lnTo>
                  <a:pt x="20" y="128"/>
                </a:lnTo>
                <a:lnTo>
                  <a:pt x="19" y="130"/>
                </a:lnTo>
                <a:lnTo>
                  <a:pt x="16" y="131"/>
                </a:lnTo>
                <a:lnTo>
                  <a:pt x="15" y="131"/>
                </a:lnTo>
                <a:lnTo>
                  <a:pt x="12" y="130"/>
                </a:lnTo>
                <a:lnTo>
                  <a:pt x="12" y="128"/>
                </a:lnTo>
                <a:lnTo>
                  <a:pt x="11" y="125"/>
                </a:lnTo>
                <a:lnTo>
                  <a:pt x="11" y="124"/>
                </a:lnTo>
                <a:lnTo>
                  <a:pt x="11" y="123"/>
                </a:lnTo>
                <a:lnTo>
                  <a:pt x="9" y="121"/>
                </a:lnTo>
                <a:lnTo>
                  <a:pt x="8" y="121"/>
                </a:lnTo>
                <a:lnTo>
                  <a:pt x="7" y="121"/>
                </a:lnTo>
                <a:lnTo>
                  <a:pt x="5" y="121"/>
                </a:lnTo>
                <a:lnTo>
                  <a:pt x="4" y="119"/>
                </a:lnTo>
                <a:lnTo>
                  <a:pt x="3" y="119"/>
                </a:lnTo>
                <a:lnTo>
                  <a:pt x="1" y="119"/>
                </a:lnTo>
                <a:lnTo>
                  <a:pt x="0" y="117"/>
                </a:lnTo>
                <a:lnTo>
                  <a:pt x="0" y="11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8" name="Freeform 124"/>
          <p:cNvSpPr>
            <a:spLocks/>
          </p:cNvSpPr>
          <p:nvPr>
            <p:custDataLst>
              <p:tags r:id="rId44"/>
            </p:custDataLst>
          </p:nvPr>
        </p:nvSpPr>
        <p:spPr bwMode="gray">
          <a:xfrm>
            <a:off x="3586355" y="4204028"/>
            <a:ext cx="289312" cy="445305"/>
          </a:xfrm>
          <a:custGeom>
            <a:avLst/>
            <a:gdLst>
              <a:gd name="T0" fmla="*/ 20 w 304"/>
              <a:gd name="T1" fmla="*/ 93 h 498"/>
              <a:gd name="T2" fmla="*/ 147 w 304"/>
              <a:gd name="T3" fmla="*/ 20 h 498"/>
              <a:gd name="T4" fmla="*/ 250 w 304"/>
              <a:gd name="T5" fmla="*/ 117 h 498"/>
              <a:gd name="T6" fmla="*/ 271 w 304"/>
              <a:gd name="T7" fmla="*/ 232 h 498"/>
              <a:gd name="T8" fmla="*/ 278 w 304"/>
              <a:gd name="T9" fmla="*/ 291 h 498"/>
              <a:gd name="T10" fmla="*/ 284 w 304"/>
              <a:gd name="T11" fmla="*/ 368 h 498"/>
              <a:gd name="T12" fmla="*/ 302 w 304"/>
              <a:gd name="T13" fmla="*/ 412 h 498"/>
              <a:gd name="T14" fmla="*/ 298 w 304"/>
              <a:gd name="T15" fmla="*/ 416 h 498"/>
              <a:gd name="T16" fmla="*/ 294 w 304"/>
              <a:gd name="T17" fmla="*/ 422 h 498"/>
              <a:gd name="T18" fmla="*/ 295 w 304"/>
              <a:gd name="T19" fmla="*/ 427 h 498"/>
              <a:gd name="T20" fmla="*/ 295 w 304"/>
              <a:gd name="T21" fmla="*/ 434 h 498"/>
              <a:gd name="T22" fmla="*/ 291 w 304"/>
              <a:gd name="T23" fmla="*/ 437 h 498"/>
              <a:gd name="T24" fmla="*/ 289 w 304"/>
              <a:gd name="T25" fmla="*/ 441 h 498"/>
              <a:gd name="T26" fmla="*/ 284 w 304"/>
              <a:gd name="T27" fmla="*/ 447 h 498"/>
              <a:gd name="T28" fmla="*/ 278 w 304"/>
              <a:gd name="T29" fmla="*/ 449 h 498"/>
              <a:gd name="T30" fmla="*/ 273 w 304"/>
              <a:gd name="T31" fmla="*/ 451 h 498"/>
              <a:gd name="T32" fmla="*/ 268 w 304"/>
              <a:gd name="T33" fmla="*/ 451 h 498"/>
              <a:gd name="T34" fmla="*/ 265 w 304"/>
              <a:gd name="T35" fmla="*/ 458 h 498"/>
              <a:gd name="T36" fmla="*/ 264 w 304"/>
              <a:gd name="T37" fmla="*/ 463 h 498"/>
              <a:gd name="T38" fmla="*/ 264 w 304"/>
              <a:gd name="T39" fmla="*/ 467 h 498"/>
              <a:gd name="T40" fmla="*/ 261 w 304"/>
              <a:gd name="T41" fmla="*/ 473 h 498"/>
              <a:gd name="T42" fmla="*/ 258 w 304"/>
              <a:gd name="T43" fmla="*/ 477 h 498"/>
              <a:gd name="T44" fmla="*/ 256 w 304"/>
              <a:gd name="T45" fmla="*/ 480 h 498"/>
              <a:gd name="T46" fmla="*/ 250 w 304"/>
              <a:gd name="T47" fmla="*/ 480 h 498"/>
              <a:gd name="T48" fmla="*/ 246 w 304"/>
              <a:gd name="T49" fmla="*/ 481 h 498"/>
              <a:gd name="T50" fmla="*/ 242 w 304"/>
              <a:gd name="T51" fmla="*/ 478 h 498"/>
              <a:gd name="T52" fmla="*/ 238 w 304"/>
              <a:gd name="T53" fmla="*/ 480 h 498"/>
              <a:gd name="T54" fmla="*/ 232 w 304"/>
              <a:gd name="T55" fmla="*/ 480 h 498"/>
              <a:gd name="T56" fmla="*/ 229 w 304"/>
              <a:gd name="T57" fmla="*/ 482 h 498"/>
              <a:gd name="T58" fmla="*/ 229 w 304"/>
              <a:gd name="T59" fmla="*/ 488 h 498"/>
              <a:gd name="T60" fmla="*/ 227 w 304"/>
              <a:gd name="T61" fmla="*/ 492 h 498"/>
              <a:gd name="T62" fmla="*/ 223 w 304"/>
              <a:gd name="T63" fmla="*/ 493 h 498"/>
              <a:gd name="T64" fmla="*/ 217 w 304"/>
              <a:gd name="T65" fmla="*/ 496 h 498"/>
              <a:gd name="T66" fmla="*/ 213 w 304"/>
              <a:gd name="T67" fmla="*/ 493 h 498"/>
              <a:gd name="T68" fmla="*/ 210 w 304"/>
              <a:gd name="T69" fmla="*/ 491 h 498"/>
              <a:gd name="T70" fmla="*/ 207 w 304"/>
              <a:gd name="T71" fmla="*/ 487 h 498"/>
              <a:gd name="T72" fmla="*/ 203 w 304"/>
              <a:gd name="T73" fmla="*/ 484 h 498"/>
              <a:gd name="T74" fmla="*/ 201 w 304"/>
              <a:gd name="T75" fmla="*/ 478 h 498"/>
              <a:gd name="T76" fmla="*/ 195 w 304"/>
              <a:gd name="T77" fmla="*/ 478 h 498"/>
              <a:gd name="T78" fmla="*/ 192 w 304"/>
              <a:gd name="T79" fmla="*/ 473 h 498"/>
              <a:gd name="T80" fmla="*/ 190 w 304"/>
              <a:gd name="T81" fmla="*/ 470 h 498"/>
              <a:gd name="T82" fmla="*/ 190 w 304"/>
              <a:gd name="T83" fmla="*/ 466 h 498"/>
              <a:gd name="T84" fmla="*/ 185 w 304"/>
              <a:gd name="T85" fmla="*/ 463 h 498"/>
              <a:gd name="T86" fmla="*/ 180 w 304"/>
              <a:gd name="T87" fmla="*/ 463 h 498"/>
              <a:gd name="T88" fmla="*/ 173 w 304"/>
              <a:gd name="T89" fmla="*/ 464 h 498"/>
              <a:gd name="T90" fmla="*/ 169 w 304"/>
              <a:gd name="T91" fmla="*/ 462 h 498"/>
              <a:gd name="T92" fmla="*/ 170 w 304"/>
              <a:gd name="T93" fmla="*/ 455 h 498"/>
              <a:gd name="T94" fmla="*/ 163 w 304"/>
              <a:gd name="T95" fmla="*/ 456 h 498"/>
              <a:gd name="T96" fmla="*/ 157 w 304"/>
              <a:gd name="T97" fmla="*/ 452 h 498"/>
              <a:gd name="T98" fmla="*/ 155 w 304"/>
              <a:gd name="T99" fmla="*/ 447 h 498"/>
              <a:gd name="T100" fmla="*/ 150 w 304"/>
              <a:gd name="T101" fmla="*/ 442 h 498"/>
              <a:gd name="T102" fmla="*/ 141 w 304"/>
              <a:gd name="T103" fmla="*/ 441 h 498"/>
              <a:gd name="T104" fmla="*/ 140 w 304"/>
              <a:gd name="T105" fmla="*/ 445 h 498"/>
              <a:gd name="T106" fmla="*/ 135 w 304"/>
              <a:gd name="T107" fmla="*/ 447 h 498"/>
              <a:gd name="T108" fmla="*/ 129 w 304"/>
              <a:gd name="T109" fmla="*/ 447 h 498"/>
              <a:gd name="T110" fmla="*/ 126 w 304"/>
              <a:gd name="T111" fmla="*/ 447 h 498"/>
              <a:gd name="T112" fmla="*/ 121 w 304"/>
              <a:gd name="T113" fmla="*/ 448 h 498"/>
              <a:gd name="T114" fmla="*/ 115 w 304"/>
              <a:gd name="T115" fmla="*/ 404 h 498"/>
              <a:gd name="T116" fmla="*/ 97 w 304"/>
              <a:gd name="T117" fmla="*/ 309 h 498"/>
              <a:gd name="T118" fmla="*/ 2 w 304"/>
              <a:gd name="T119" fmla="*/ 166 h 4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04" h="498">
                <a:moveTo>
                  <a:pt x="2" y="166"/>
                </a:moveTo>
                <a:lnTo>
                  <a:pt x="5" y="136"/>
                </a:lnTo>
                <a:lnTo>
                  <a:pt x="16" y="121"/>
                </a:lnTo>
                <a:lnTo>
                  <a:pt x="20" y="93"/>
                </a:lnTo>
                <a:lnTo>
                  <a:pt x="64" y="59"/>
                </a:lnTo>
                <a:lnTo>
                  <a:pt x="100" y="16"/>
                </a:lnTo>
                <a:lnTo>
                  <a:pt x="106" y="0"/>
                </a:lnTo>
                <a:lnTo>
                  <a:pt x="147" y="20"/>
                </a:lnTo>
                <a:lnTo>
                  <a:pt x="257" y="28"/>
                </a:lnTo>
                <a:lnTo>
                  <a:pt x="251" y="57"/>
                </a:lnTo>
                <a:lnTo>
                  <a:pt x="264" y="89"/>
                </a:lnTo>
                <a:lnTo>
                  <a:pt x="250" y="117"/>
                </a:lnTo>
                <a:lnTo>
                  <a:pt x="257" y="145"/>
                </a:lnTo>
                <a:lnTo>
                  <a:pt x="269" y="165"/>
                </a:lnTo>
                <a:lnTo>
                  <a:pt x="275" y="200"/>
                </a:lnTo>
                <a:lnTo>
                  <a:pt x="271" y="232"/>
                </a:lnTo>
                <a:lnTo>
                  <a:pt x="264" y="238"/>
                </a:lnTo>
                <a:lnTo>
                  <a:pt x="278" y="265"/>
                </a:lnTo>
                <a:lnTo>
                  <a:pt x="265" y="276"/>
                </a:lnTo>
                <a:lnTo>
                  <a:pt x="278" y="291"/>
                </a:lnTo>
                <a:lnTo>
                  <a:pt x="272" y="315"/>
                </a:lnTo>
                <a:lnTo>
                  <a:pt x="279" y="328"/>
                </a:lnTo>
                <a:lnTo>
                  <a:pt x="268" y="342"/>
                </a:lnTo>
                <a:lnTo>
                  <a:pt x="284" y="368"/>
                </a:lnTo>
                <a:lnTo>
                  <a:pt x="290" y="368"/>
                </a:lnTo>
                <a:lnTo>
                  <a:pt x="289" y="393"/>
                </a:lnTo>
                <a:lnTo>
                  <a:pt x="304" y="412"/>
                </a:lnTo>
                <a:lnTo>
                  <a:pt x="302" y="412"/>
                </a:lnTo>
                <a:lnTo>
                  <a:pt x="301" y="412"/>
                </a:lnTo>
                <a:lnTo>
                  <a:pt x="300" y="414"/>
                </a:lnTo>
                <a:lnTo>
                  <a:pt x="298" y="415"/>
                </a:lnTo>
                <a:lnTo>
                  <a:pt x="298" y="416"/>
                </a:lnTo>
                <a:lnTo>
                  <a:pt x="297" y="418"/>
                </a:lnTo>
                <a:lnTo>
                  <a:pt x="295" y="419"/>
                </a:lnTo>
                <a:lnTo>
                  <a:pt x="294" y="420"/>
                </a:lnTo>
                <a:lnTo>
                  <a:pt x="294" y="422"/>
                </a:lnTo>
                <a:lnTo>
                  <a:pt x="295" y="423"/>
                </a:lnTo>
                <a:lnTo>
                  <a:pt x="295" y="425"/>
                </a:lnTo>
                <a:lnTo>
                  <a:pt x="295" y="426"/>
                </a:lnTo>
                <a:lnTo>
                  <a:pt x="295" y="427"/>
                </a:lnTo>
                <a:lnTo>
                  <a:pt x="295" y="429"/>
                </a:lnTo>
                <a:lnTo>
                  <a:pt x="295" y="430"/>
                </a:lnTo>
                <a:lnTo>
                  <a:pt x="295" y="433"/>
                </a:lnTo>
                <a:lnTo>
                  <a:pt x="295" y="434"/>
                </a:lnTo>
                <a:lnTo>
                  <a:pt x="295" y="434"/>
                </a:lnTo>
                <a:lnTo>
                  <a:pt x="294" y="436"/>
                </a:lnTo>
                <a:lnTo>
                  <a:pt x="293" y="436"/>
                </a:lnTo>
                <a:lnTo>
                  <a:pt x="291" y="437"/>
                </a:lnTo>
                <a:lnTo>
                  <a:pt x="290" y="438"/>
                </a:lnTo>
                <a:lnTo>
                  <a:pt x="290" y="440"/>
                </a:lnTo>
                <a:lnTo>
                  <a:pt x="289" y="441"/>
                </a:lnTo>
                <a:lnTo>
                  <a:pt x="289" y="441"/>
                </a:lnTo>
                <a:lnTo>
                  <a:pt x="287" y="441"/>
                </a:lnTo>
                <a:lnTo>
                  <a:pt x="287" y="444"/>
                </a:lnTo>
                <a:lnTo>
                  <a:pt x="286" y="444"/>
                </a:lnTo>
                <a:lnTo>
                  <a:pt x="284" y="447"/>
                </a:lnTo>
                <a:lnTo>
                  <a:pt x="282" y="448"/>
                </a:lnTo>
                <a:lnTo>
                  <a:pt x="282" y="449"/>
                </a:lnTo>
                <a:lnTo>
                  <a:pt x="279" y="449"/>
                </a:lnTo>
                <a:lnTo>
                  <a:pt x="278" y="449"/>
                </a:lnTo>
                <a:lnTo>
                  <a:pt x="276" y="449"/>
                </a:lnTo>
                <a:lnTo>
                  <a:pt x="276" y="451"/>
                </a:lnTo>
                <a:lnTo>
                  <a:pt x="275" y="451"/>
                </a:lnTo>
                <a:lnTo>
                  <a:pt x="273" y="451"/>
                </a:lnTo>
                <a:lnTo>
                  <a:pt x="272" y="451"/>
                </a:lnTo>
                <a:lnTo>
                  <a:pt x="271" y="451"/>
                </a:lnTo>
                <a:lnTo>
                  <a:pt x="269" y="451"/>
                </a:lnTo>
                <a:lnTo>
                  <a:pt x="268" y="451"/>
                </a:lnTo>
                <a:lnTo>
                  <a:pt x="267" y="453"/>
                </a:lnTo>
                <a:lnTo>
                  <a:pt x="267" y="455"/>
                </a:lnTo>
                <a:lnTo>
                  <a:pt x="267" y="456"/>
                </a:lnTo>
                <a:lnTo>
                  <a:pt x="265" y="458"/>
                </a:lnTo>
                <a:lnTo>
                  <a:pt x="264" y="459"/>
                </a:lnTo>
                <a:lnTo>
                  <a:pt x="264" y="460"/>
                </a:lnTo>
                <a:lnTo>
                  <a:pt x="262" y="462"/>
                </a:lnTo>
                <a:lnTo>
                  <a:pt x="264" y="463"/>
                </a:lnTo>
                <a:lnTo>
                  <a:pt x="264" y="464"/>
                </a:lnTo>
                <a:lnTo>
                  <a:pt x="262" y="466"/>
                </a:lnTo>
                <a:lnTo>
                  <a:pt x="264" y="466"/>
                </a:lnTo>
                <a:lnTo>
                  <a:pt x="264" y="467"/>
                </a:lnTo>
                <a:lnTo>
                  <a:pt x="262" y="467"/>
                </a:lnTo>
                <a:lnTo>
                  <a:pt x="261" y="470"/>
                </a:lnTo>
                <a:lnTo>
                  <a:pt x="261" y="471"/>
                </a:lnTo>
                <a:lnTo>
                  <a:pt x="261" y="473"/>
                </a:lnTo>
                <a:lnTo>
                  <a:pt x="261" y="474"/>
                </a:lnTo>
                <a:lnTo>
                  <a:pt x="261" y="476"/>
                </a:lnTo>
                <a:lnTo>
                  <a:pt x="260" y="477"/>
                </a:lnTo>
                <a:lnTo>
                  <a:pt x="258" y="477"/>
                </a:lnTo>
                <a:lnTo>
                  <a:pt x="257" y="477"/>
                </a:lnTo>
                <a:lnTo>
                  <a:pt x="256" y="478"/>
                </a:lnTo>
                <a:lnTo>
                  <a:pt x="256" y="480"/>
                </a:lnTo>
                <a:lnTo>
                  <a:pt x="256" y="480"/>
                </a:lnTo>
                <a:lnTo>
                  <a:pt x="254" y="480"/>
                </a:lnTo>
                <a:lnTo>
                  <a:pt x="253" y="480"/>
                </a:lnTo>
                <a:lnTo>
                  <a:pt x="251" y="480"/>
                </a:lnTo>
                <a:lnTo>
                  <a:pt x="250" y="480"/>
                </a:lnTo>
                <a:lnTo>
                  <a:pt x="249" y="481"/>
                </a:lnTo>
                <a:lnTo>
                  <a:pt x="249" y="482"/>
                </a:lnTo>
                <a:lnTo>
                  <a:pt x="247" y="482"/>
                </a:lnTo>
                <a:lnTo>
                  <a:pt x="246" y="481"/>
                </a:lnTo>
                <a:lnTo>
                  <a:pt x="245" y="480"/>
                </a:lnTo>
                <a:lnTo>
                  <a:pt x="245" y="478"/>
                </a:lnTo>
                <a:lnTo>
                  <a:pt x="243" y="477"/>
                </a:lnTo>
                <a:lnTo>
                  <a:pt x="242" y="478"/>
                </a:lnTo>
                <a:lnTo>
                  <a:pt x="240" y="478"/>
                </a:lnTo>
                <a:lnTo>
                  <a:pt x="240" y="480"/>
                </a:lnTo>
                <a:lnTo>
                  <a:pt x="239" y="480"/>
                </a:lnTo>
                <a:lnTo>
                  <a:pt x="238" y="480"/>
                </a:lnTo>
                <a:lnTo>
                  <a:pt x="236" y="480"/>
                </a:lnTo>
                <a:lnTo>
                  <a:pt x="236" y="477"/>
                </a:lnTo>
                <a:lnTo>
                  <a:pt x="234" y="477"/>
                </a:lnTo>
                <a:lnTo>
                  <a:pt x="232" y="480"/>
                </a:lnTo>
                <a:lnTo>
                  <a:pt x="231" y="480"/>
                </a:lnTo>
                <a:lnTo>
                  <a:pt x="229" y="480"/>
                </a:lnTo>
                <a:lnTo>
                  <a:pt x="229" y="481"/>
                </a:lnTo>
                <a:lnTo>
                  <a:pt x="229" y="482"/>
                </a:lnTo>
                <a:lnTo>
                  <a:pt x="231" y="484"/>
                </a:lnTo>
                <a:lnTo>
                  <a:pt x="231" y="485"/>
                </a:lnTo>
                <a:lnTo>
                  <a:pt x="231" y="487"/>
                </a:lnTo>
                <a:lnTo>
                  <a:pt x="229" y="488"/>
                </a:lnTo>
                <a:lnTo>
                  <a:pt x="231" y="489"/>
                </a:lnTo>
                <a:lnTo>
                  <a:pt x="229" y="491"/>
                </a:lnTo>
                <a:lnTo>
                  <a:pt x="228" y="492"/>
                </a:lnTo>
                <a:lnTo>
                  <a:pt x="227" y="492"/>
                </a:lnTo>
                <a:lnTo>
                  <a:pt x="225" y="493"/>
                </a:lnTo>
                <a:lnTo>
                  <a:pt x="224" y="493"/>
                </a:lnTo>
                <a:lnTo>
                  <a:pt x="223" y="493"/>
                </a:lnTo>
                <a:lnTo>
                  <a:pt x="223" y="493"/>
                </a:lnTo>
                <a:lnTo>
                  <a:pt x="221" y="495"/>
                </a:lnTo>
                <a:lnTo>
                  <a:pt x="220" y="498"/>
                </a:lnTo>
                <a:lnTo>
                  <a:pt x="218" y="498"/>
                </a:lnTo>
                <a:lnTo>
                  <a:pt x="217" y="496"/>
                </a:lnTo>
                <a:lnTo>
                  <a:pt x="216" y="496"/>
                </a:lnTo>
                <a:lnTo>
                  <a:pt x="214" y="496"/>
                </a:lnTo>
                <a:lnTo>
                  <a:pt x="214" y="495"/>
                </a:lnTo>
                <a:lnTo>
                  <a:pt x="213" y="493"/>
                </a:lnTo>
                <a:lnTo>
                  <a:pt x="212" y="493"/>
                </a:lnTo>
                <a:lnTo>
                  <a:pt x="210" y="493"/>
                </a:lnTo>
                <a:lnTo>
                  <a:pt x="210" y="492"/>
                </a:lnTo>
                <a:lnTo>
                  <a:pt x="210" y="491"/>
                </a:lnTo>
                <a:lnTo>
                  <a:pt x="210" y="489"/>
                </a:lnTo>
                <a:lnTo>
                  <a:pt x="210" y="487"/>
                </a:lnTo>
                <a:lnTo>
                  <a:pt x="209" y="487"/>
                </a:lnTo>
                <a:lnTo>
                  <a:pt x="207" y="487"/>
                </a:lnTo>
                <a:lnTo>
                  <a:pt x="206" y="485"/>
                </a:lnTo>
                <a:lnTo>
                  <a:pt x="206" y="484"/>
                </a:lnTo>
                <a:lnTo>
                  <a:pt x="205" y="484"/>
                </a:lnTo>
                <a:lnTo>
                  <a:pt x="203" y="484"/>
                </a:lnTo>
                <a:lnTo>
                  <a:pt x="202" y="482"/>
                </a:lnTo>
                <a:lnTo>
                  <a:pt x="201" y="481"/>
                </a:lnTo>
                <a:lnTo>
                  <a:pt x="201" y="480"/>
                </a:lnTo>
                <a:lnTo>
                  <a:pt x="201" y="478"/>
                </a:lnTo>
                <a:lnTo>
                  <a:pt x="199" y="478"/>
                </a:lnTo>
                <a:lnTo>
                  <a:pt x="198" y="477"/>
                </a:lnTo>
                <a:lnTo>
                  <a:pt x="196" y="478"/>
                </a:lnTo>
                <a:lnTo>
                  <a:pt x="195" y="478"/>
                </a:lnTo>
                <a:lnTo>
                  <a:pt x="194" y="477"/>
                </a:lnTo>
                <a:lnTo>
                  <a:pt x="194" y="476"/>
                </a:lnTo>
                <a:lnTo>
                  <a:pt x="192" y="474"/>
                </a:lnTo>
                <a:lnTo>
                  <a:pt x="192" y="473"/>
                </a:lnTo>
                <a:lnTo>
                  <a:pt x="192" y="471"/>
                </a:lnTo>
                <a:lnTo>
                  <a:pt x="191" y="471"/>
                </a:lnTo>
                <a:lnTo>
                  <a:pt x="190" y="470"/>
                </a:lnTo>
                <a:lnTo>
                  <a:pt x="190" y="470"/>
                </a:lnTo>
                <a:lnTo>
                  <a:pt x="188" y="469"/>
                </a:lnTo>
                <a:lnTo>
                  <a:pt x="190" y="467"/>
                </a:lnTo>
                <a:lnTo>
                  <a:pt x="190" y="467"/>
                </a:lnTo>
                <a:lnTo>
                  <a:pt x="190" y="466"/>
                </a:lnTo>
                <a:lnTo>
                  <a:pt x="190" y="464"/>
                </a:lnTo>
                <a:lnTo>
                  <a:pt x="187" y="464"/>
                </a:lnTo>
                <a:lnTo>
                  <a:pt x="185" y="464"/>
                </a:lnTo>
                <a:lnTo>
                  <a:pt x="185" y="463"/>
                </a:lnTo>
                <a:lnTo>
                  <a:pt x="184" y="462"/>
                </a:lnTo>
                <a:lnTo>
                  <a:pt x="184" y="463"/>
                </a:lnTo>
                <a:lnTo>
                  <a:pt x="181" y="463"/>
                </a:lnTo>
                <a:lnTo>
                  <a:pt x="180" y="463"/>
                </a:lnTo>
                <a:lnTo>
                  <a:pt x="179" y="464"/>
                </a:lnTo>
                <a:lnTo>
                  <a:pt x="177" y="463"/>
                </a:lnTo>
                <a:lnTo>
                  <a:pt x="174" y="463"/>
                </a:lnTo>
                <a:lnTo>
                  <a:pt x="173" y="464"/>
                </a:lnTo>
                <a:lnTo>
                  <a:pt x="170" y="464"/>
                </a:lnTo>
                <a:lnTo>
                  <a:pt x="169" y="464"/>
                </a:lnTo>
                <a:lnTo>
                  <a:pt x="168" y="463"/>
                </a:lnTo>
                <a:lnTo>
                  <a:pt x="169" y="462"/>
                </a:lnTo>
                <a:lnTo>
                  <a:pt x="169" y="460"/>
                </a:lnTo>
                <a:lnTo>
                  <a:pt x="169" y="459"/>
                </a:lnTo>
                <a:lnTo>
                  <a:pt x="170" y="456"/>
                </a:lnTo>
                <a:lnTo>
                  <a:pt x="170" y="455"/>
                </a:lnTo>
                <a:lnTo>
                  <a:pt x="169" y="453"/>
                </a:lnTo>
                <a:lnTo>
                  <a:pt x="166" y="453"/>
                </a:lnTo>
                <a:lnTo>
                  <a:pt x="165" y="455"/>
                </a:lnTo>
                <a:lnTo>
                  <a:pt x="163" y="456"/>
                </a:lnTo>
                <a:lnTo>
                  <a:pt x="162" y="455"/>
                </a:lnTo>
                <a:lnTo>
                  <a:pt x="161" y="453"/>
                </a:lnTo>
                <a:lnTo>
                  <a:pt x="158" y="452"/>
                </a:lnTo>
                <a:lnTo>
                  <a:pt x="157" y="452"/>
                </a:lnTo>
                <a:lnTo>
                  <a:pt x="157" y="452"/>
                </a:lnTo>
                <a:lnTo>
                  <a:pt x="157" y="449"/>
                </a:lnTo>
                <a:lnTo>
                  <a:pt x="157" y="448"/>
                </a:lnTo>
                <a:lnTo>
                  <a:pt x="155" y="447"/>
                </a:lnTo>
                <a:lnTo>
                  <a:pt x="155" y="445"/>
                </a:lnTo>
                <a:lnTo>
                  <a:pt x="154" y="444"/>
                </a:lnTo>
                <a:lnTo>
                  <a:pt x="152" y="444"/>
                </a:lnTo>
                <a:lnTo>
                  <a:pt x="150" y="442"/>
                </a:lnTo>
                <a:lnTo>
                  <a:pt x="148" y="442"/>
                </a:lnTo>
                <a:lnTo>
                  <a:pt x="147" y="441"/>
                </a:lnTo>
                <a:lnTo>
                  <a:pt x="144" y="441"/>
                </a:lnTo>
                <a:lnTo>
                  <a:pt x="141" y="441"/>
                </a:lnTo>
                <a:lnTo>
                  <a:pt x="140" y="442"/>
                </a:lnTo>
                <a:lnTo>
                  <a:pt x="141" y="442"/>
                </a:lnTo>
                <a:lnTo>
                  <a:pt x="140" y="444"/>
                </a:lnTo>
                <a:lnTo>
                  <a:pt x="140" y="445"/>
                </a:lnTo>
                <a:lnTo>
                  <a:pt x="140" y="447"/>
                </a:lnTo>
                <a:lnTo>
                  <a:pt x="137" y="447"/>
                </a:lnTo>
                <a:lnTo>
                  <a:pt x="136" y="447"/>
                </a:lnTo>
                <a:lnTo>
                  <a:pt x="135" y="447"/>
                </a:lnTo>
                <a:lnTo>
                  <a:pt x="133" y="447"/>
                </a:lnTo>
                <a:lnTo>
                  <a:pt x="132" y="447"/>
                </a:lnTo>
                <a:lnTo>
                  <a:pt x="130" y="447"/>
                </a:lnTo>
                <a:lnTo>
                  <a:pt x="129" y="447"/>
                </a:lnTo>
                <a:lnTo>
                  <a:pt x="128" y="447"/>
                </a:lnTo>
                <a:lnTo>
                  <a:pt x="128" y="445"/>
                </a:lnTo>
                <a:lnTo>
                  <a:pt x="126" y="445"/>
                </a:lnTo>
                <a:lnTo>
                  <a:pt x="126" y="447"/>
                </a:lnTo>
                <a:lnTo>
                  <a:pt x="124" y="448"/>
                </a:lnTo>
                <a:lnTo>
                  <a:pt x="124" y="448"/>
                </a:lnTo>
                <a:lnTo>
                  <a:pt x="122" y="448"/>
                </a:lnTo>
                <a:lnTo>
                  <a:pt x="121" y="448"/>
                </a:lnTo>
                <a:lnTo>
                  <a:pt x="121" y="449"/>
                </a:lnTo>
                <a:lnTo>
                  <a:pt x="117" y="422"/>
                </a:lnTo>
                <a:lnTo>
                  <a:pt x="110" y="414"/>
                </a:lnTo>
                <a:lnTo>
                  <a:pt x="115" y="404"/>
                </a:lnTo>
                <a:lnTo>
                  <a:pt x="115" y="385"/>
                </a:lnTo>
                <a:lnTo>
                  <a:pt x="93" y="367"/>
                </a:lnTo>
                <a:lnTo>
                  <a:pt x="95" y="330"/>
                </a:lnTo>
                <a:lnTo>
                  <a:pt x="97" y="309"/>
                </a:lnTo>
                <a:lnTo>
                  <a:pt x="64" y="269"/>
                </a:lnTo>
                <a:lnTo>
                  <a:pt x="37" y="264"/>
                </a:lnTo>
                <a:lnTo>
                  <a:pt x="0" y="196"/>
                </a:lnTo>
                <a:lnTo>
                  <a:pt x="2" y="16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79" name="Freeform 125"/>
          <p:cNvSpPr>
            <a:spLocks/>
          </p:cNvSpPr>
          <p:nvPr>
            <p:custDataLst>
              <p:tags r:id="rId45"/>
            </p:custDataLst>
          </p:nvPr>
        </p:nvSpPr>
        <p:spPr bwMode="gray">
          <a:xfrm>
            <a:off x="3450264" y="4111033"/>
            <a:ext cx="251245" cy="555290"/>
          </a:xfrm>
          <a:custGeom>
            <a:avLst/>
            <a:gdLst>
              <a:gd name="T0" fmla="*/ 101 w 264"/>
              <a:gd name="T1" fmla="*/ 60 h 621"/>
              <a:gd name="T2" fmla="*/ 249 w 264"/>
              <a:gd name="T3" fmla="*/ 104 h 621"/>
              <a:gd name="T4" fmla="*/ 148 w 264"/>
              <a:gd name="T5" fmla="*/ 240 h 621"/>
              <a:gd name="T6" fmla="*/ 238 w 264"/>
              <a:gd name="T7" fmla="*/ 434 h 621"/>
              <a:gd name="T8" fmla="*/ 260 w 264"/>
              <a:gd name="T9" fmla="*/ 526 h 621"/>
              <a:gd name="T10" fmla="*/ 258 w 264"/>
              <a:gd name="T11" fmla="*/ 552 h 621"/>
              <a:gd name="T12" fmla="*/ 254 w 264"/>
              <a:gd name="T13" fmla="*/ 553 h 621"/>
              <a:gd name="T14" fmla="*/ 247 w 264"/>
              <a:gd name="T15" fmla="*/ 551 h 621"/>
              <a:gd name="T16" fmla="*/ 242 w 264"/>
              <a:gd name="T17" fmla="*/ 548 h 621"/>
              <a:gd name="T18" fmla="*/ 236 w 264"/>
              <a:gd name="T19" fmla="*/ 548 h 621"/>
              <a:gd name="T20" fmla="*/ 234 w 264"/>
              <a:gd name="T21" fmla="*/ 549 h 621"/>
              <a:gd name="T22" fmla="*/ 229 w 264"/>
              <a:gd name="T23" fmla="*/ 548 h 621"/>
              <a:gd name="T24" fmla="*/ 225 w 264"/>
              <a:gd name="T25" fmla="*/ 542 h 621"/>
              <a:gd name="T26" fmla="*/ 225 w 264"/>
              <a:gd name="T27" fmla="*/ 537 h 621"/>
              <a:gd name="T28" fmla="*/ 225 w 264"/>
              <a:gd name="T29" fmla="*/ 533 h 621"/>
              <a:gd name="T30" fmla="*/ 225 w 264"/>
              <a:gd name="T31" fmla="*/ 527 h 621"/>
              <a:gd name="T32" fmla="*/ 221 w 264"/>
              <a:gd name="T33" fmla="*/ 522 h 621"/>
              <a:gd name="T34" fmla="*/ 214 w 264"/>
              <a:gd name="T35" fmla="*/ 522 h 621"/>
              <a:gd name="T36" fmla="*/ 209 w 264"/>
              <a:gd name="T37" fmla="*/ 522 h 621"/>
              <a:gd name="T38" fmla="*/ 205 w 264"/>
              <a:gd name="T39" fmla="*/ 526 h 621"/>
              <a:gd name="T40" fmla="*/ 200 w 264"/>
              <a:gd name="T41" fmla="*/ 530 h 621"/>
              <a:gd name="T42" fmla="*/ 198 w 264"/>
              <a:gd name="T43" fmla="*/ 530 h 621"/>
              <a:gd name="T44" fmla="*/ 191 w 264"/>
              <a:gd name="T45" fmla="*/ 530 h 621"/>
              <a:gd name="T46" fmla="*/ 188 w 264"/>
              <a:gd name="T47" fmla="*/ 533 h 621"/>
              <a:gd name="T48" fmla="*/ 188 w 264"/>
              <a:gd name="T49" fmla="*/ 535 h 621"/>
              <a:gd name="T50" fmla="*/ 185 w 264"/>
              <a:gd name="T51" fmla="*/ 540 h 621"/>
              <a:gd name="T52" fmla="*/ 178 w 264"/>
              <a:gd name="T53" fmla="*/ 542 h 621"/>
              <a:gd name="T54" fmla="*/ 180 w 264"/>
              <a:gd name="T55" fmla="*/ 549 h 621"/>
              <a:gd name="T56" fmla="*/ 176 w 264"/>
              <a:gd name="T57" fmla="*/ 555 h 621"/>
              <a:gd name="T58" fmla="*/ 173 w 264"/>
              <a:gd name="T59" fmla="*/ 560 h 621"/>
              <a:gd name="T60" fmla="*/ 169 w 264"/>
              <a:gd name="T61" fmla="*/ 566 h 621"/>
              <a:gd name="T62" fmla="*/ 167 w 264"/>
              <a:gd name="T63" fmla="*/ 570 h 621"/>
              <a:gd name="T64" fmla="*/ 162 w 264"/>
              <a:gd name="T65" fmla="*/ 571 h 621"/>
              <a:gd name="T66" fmla="*/ 156 w 264"/>
              <a:gd name="T67" fmla="*/ 571 h 621"/>
              <a:gd name="T68" fmla="*/ 150 w 264"/>
              <a:gd name="T69" fmla="*/ 571 h 621"/>
              <a:gd name="T70" fmla="*/ 144 w 264"/>
              <a:gd name="T71" fmla="*/ 575 h 621"/>
              <a:gd name="T72" fmla="*/ 140 w 264"/>
              <a:gd name="T73" fmla="*/ 585 h 621"/>
              <a:gd name="T74" fmla="*/ 134 w 264"/>
              <a:gd name="T75" fmla="*/ 585 h 621"/>
              <a:gd name="T76" fmla="*/ 126 w 264"/>
              <a:gd name="T77" fmla="*/ 584 h 621"/>
              <a:gd name="T78" fmla="*/ 119 w 264"/>
              <a:gd name="T79" fmla="*/ 588 h 621"/>
              <a:gd name="T80" fmla="*/ 114 w 264"/>
              <a:gd name="T81" fmla="*/ 588 h 621"/>
              <a:gd name="T82" fmla="*/ 111 w 264"/>
              <a:gd name="T83" fmla="*/ 593 h 621"/>
              <a:gd name="T84" fmla="*/ 111 w 264"/>
              <a:gd name="T85" fmla="*/ 599 h 621"/>
              <a:gd name="T86" fmla="*/ 108 w 264"/>
              <a:gd name="T87" fmla="*/ 604 h 621"/>
              <a:gd name="T88" fmla="*/ 103 w 264"/>
              <a:gd name="T89" fmla="*/ 610 h 621"/>
              <a:gd name="T90" fmla="*/ 99 w 264"/>
              <a:gd name="T91" fmla="*/ 614 h 621"/>
              <a:gd name="T92" fmla="*/ 95 w 264"/>
              <a:gd name="T93" fmla="*/ 618 h 621"/>
              <a:gd name="T94" fmla="*/ 89 w 264"/>
              <a:gd name="T95" fmla="*/ 618 h 621"/>
              <a:gd name="T96" fmla="*/ 82 w 264"/>
              <a:gd name="T97" fmla="*/ 621 h 621"/>
              <a:gd name="T98" fmla="*/ 75 w 264"/>
              <a:gd name="T99" fmla="*/ 618 h 621"/>
              <a:gd name="T100" fmla="*/ 70 w 264"/>
              <a:gd name="T101" fmla="*/ 621 h 621"/>
              <a:gd name="T102" fmla="*/ 67 w 264"/>
              <a:gd name="T103" fmla="*/ 617 h 621"/>
              <a:gd name="T104" fmla="*/ 67 w 264"/>
              <a:gd name="T105" fmla="*/ 610 h 621"/>
              <a:gd name="T106" fmla="*/ 66 w 264"/>
              <a:gd name="T107" fmla="*/ 604 h 621"/>
              <a:gd name="T108" fmla="*/ 62 w 264"/>
              <a:gd name="T109" fmla="*/ 599 h 621"/>
              <a:gd name="T110" fmla="*/ 38 w 264"/>
              <a:gd name="T111" fmla="*/ 557 h 621"/>
              <a:gd name="T112" fmla="*/ 44 w 264"/>
              <a:gd name="T113" fmla="*/ 509 h 621"/>
              <a:gd name="T114" fmla="*/ 35 w 264"/>
              <a:gd name="T115" fmla="*/ 329 h 6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64" h="621">
                <a:moveTo>
                  <a:pt x="13" y="200"/>
                </a:moveTo>
                <a:lnTo>
                  <a:pt x="30" y="174"/>
                </a:lnTo>
                <a:lnTo>
                  <a:pt x="82" y="134"/>
                </a:lnTo>
                <a:lnTo>
                  <a:pt x="106" y="91"/>
                </a:lnTo>
                <a:lnTo>
                  <a:pt x="101" y="60"/>
                </a:lnTo>
                <a:lnTo>
                  <a:pt x="114" y="20"/>
                </a:lnTo>
                <a:lnTo>
                  <a:pt x="141" y="0"/>
                </a:lnTo>
                <a:lnTo>
                  <a:pt x="165" y="5"/>
                </a:lnTo>
                <a:lnTo>
                  <a:pt x="221" y="88"/>
                </a:lnTo>
                <a:lnTo>
                  <a:pt x="249" y="104"/>
                </a:lnTo>
                <a:lnTo>
                  <a:pt x="243" y="120"/>
                </a:lnTo>
                <a:lnTo>
                  <a:pt x="207" y="163"/>
                </a:lnTo>
                <a:lnTo>
                  <a:pt x="163" y="197"/>
                </a:lnTo>
                <a:lnTo>
                  <a:pt x="159" y="225"/>
                </a:lnTo>
                <a:lnTo>
                  <a:pt x="148" y="240"/>
                </a:lnTo>
                <a:lnTo>
                  <a:pt x="143" y="300"/>
                </a:lnTo>
                <a:lnTo>
                  <a:pt x="180" y="368"/>
                </a:lnTo>
                <a:lnTo>
                  <a:pt x="207" y="373"/>
                </a:lnTo>
                <a:lnTo>
                  <a:pt x="240" y="413"/>
                </a:lnTo>
                <a:lnTo>
                  <a:pt x="238" y="434"/>
                </a:lnTo>
                <a:lnTo>
                  <a:pt x="236" y="471"/>
                </a:lnTo>
                <a:lnTo>
                  <a:pt x="258" y="489"/>
                </a:lnTo>
                <a:lnTo>
                  <a:pt x="258" y="508"/>
                </a:lnTo>
                <a:lnTo>
                  <a:pt x="253" y="518"/>
                </a:lnTo>
                <a:lnTo>
                  <a:pt x="260" y="526"/>
                </a:lnTo>
                <a:lnTo>
                  <a:pt x="264" y="553"/>
                </a:lnTo>
                <a:lnTo>
                  <a:pt x="262" y="553"/>
                </a:lnTo>
                <a:lnTo>
                  <a:pt x="261" y="553"/>
                </a:lnTo>
                <a:lnTo>
                  <a:pt x="261" y="552"/>
                </a:lnTo>
                <a:lnTo>
                  <a:pt x="258" y="552"/>
                </a:lnTo>
                <a:lnTo>
                  <a:pt x="258" y="551"/>
                </a:lnTo>
                <a:lnTo>
                  <a:pt x="257" y="551"/>
                </a:lnTo>
                <a:lnTo>
                  <a:pt x="256" y="551"/>
                </a:lnTo>
                <a:lnTo>
                  <a:pt x="256" y="552"/>
                </a:lnTo>
                <a:lnTo>
                  <a:pt x="254" y="553"/>
                </a:lnTo>
                <a:lnTo>
                  <a:pt x="253" y="553"/>
                </a:lnTo>
                <a:lnTo>
                  <a:pt x="251" y="552"/>
                </a:lnTo>
                <a:lnTo>
                  <a:pt x="250" y="552"/>
                </a:lnTo>
                <a:lnTo>
                  <a:pt x="249" y="551"/>
                </a:lnTo>
                <a:lnTo>
                  <a:pt x="247" y="551"/>
                </a:lnTo>
                <a:lnTo>
                  <a:pt x="246" y="549"/>
                </a:lnTo>
                <a:lnTo>
                  <a:pt x="245" y="549"/>
                </a:lnTo>
                <a:lnTo>
                  <a:pt x="245" y="548"/>
                </a:lnTo>
                <a:lnTo>
                  <a:pt x="243" y="546"/>
                </a:lnTo>
                <a:lnTo>
                  <a:pt x="242" y="548"/>
                </a:lnTo>
                <a:lnTo>
                  <a:pt x="240" y="548"/>
                </a:lnTo>
                <a:lnTo>
                  <a:pt x="240" y="546"/>
                </a:lnTo>
                <a:lnTo>
                  <a:pt x="239" y="548"/>
                </a:lnTo>
                <a:lnTo>
                  <a:pt x="238" y="548"/>
                </a:lnTo>
                <a:lnTo>
                  <a:pt x="236" y="548"/>
                </a:lnTo>
                <a:lnTo>
                  <a:pt x="236" y="549"/>
                </a:lnTo>
                <a:lnTo>
                  <a:pt x="236" y="551"/>
                </a:lnTo>
                <a:lnTo>
                  <a:pt x="235" y="551"/>
                </a:lnTo>
                <a:lnTo>
                  <a:pt x="234" y="551"/>
                </a:lnTo>
                <a:lnTo>
                  <a:pt x="234" y="549"/>
                </a:lnTo>
                <a:lnTo>
                  <a:pt x="234" y="551"/>
                </a:lnTo>
                <a:lnTo>
                  <a:pt x="232" y="551"/>
                </a:lnTo>
                <a:lnTo>
                  <a:pt x="231" y="551"/>
                </a:lnTo>
                <a:lnTo>
                  <a:pt x="229" y="549"/>
                </a:lnTo>
                <a:lnTo>
                  <a:pt x="229" y="548"/>
                </a:lnTo>
                <a:lnTo>
                  <a:pt x="228" y="548"/>
                </a:lnTo>
                <a:lnTo>
                  <a:pt x="228" y="546"/>
                </a:lnTo>
                <a:lnTo>
                  <a:pt x="227" y="545"/>
                </a:lnTo>
                <a:lnTo>
                  <a:pt x="227" y="544"/>
                </a:lnTo>
                <a:lnTo>
                  <a:pt x="225" y="542"/>
                </a:lnTo>
                <a:lnTo>
                  <a:pt x="225" y="541"/>
                </a:lnTo>
                <a:lnTo>
                  <a:pt x="225" y="540"/>
                </a:lnTo>
                <a:lnTo>
                  <a:pt x="225" y="538"/>
                </a:lnTo>
                <a:lnTo>
                  <a:pt x="225" y="538"/>
                </a:lnTo>
                <a:lnTo>
                  <a:pt x="225" y="537"/>
                </a:lnTo>
                <a:lnTo>
                  <a:pt x="225" y="535"/>
                </a:lnTo>
                <a:lnTo>
                  <a:pt x="227" y="535"/>
                </a:lnTo>
                <a:lnTo>
                  <a:pt x="227" y="534"/>
                </a:lnTo>
                <a:lnTo>
                  <a:pt x="227" y="533"/>
                </a:lnTo>
                <a:lnTo>
                  <a:pt x="225" y="533"/>
                </a:lnTo>
                <a:lnTo>
                  <a:pt x="224" y="531"/>
                </a:lnTo>
                <a:lnTo>
                  <a:pt x="224" y="530"/>
                </a:lnTo>
                <a:lnTo>
                  <a:pt x="224" y="529"/>
                </a:lnTo>
                <a:lnTo>
                  <a:pt x="224" y="527"/>
                </a:lnTo>
                <a:lnTo>
                  <a:pt x="225" y="527"/>
                </a:lnTo>
                <a:lnTo>
                  <a:pt x="225" y="526"/>
                </a:lnTo>
                <a:lnTo>
                  <a:pt x="224" y="524"/>
                </a:lnTo>
                <a:lnTo>
                  <a:pt x="224" y="523"/>
                </a:lnTo>
                <a:lnTo>
                  <a:pt x="223" y="522"/>
                </a:lnTo>
                <a:lnTo>
                  <a:pt x="221" y="522"/>
                </a:lnTo>
                <a:lnTo>
                  <a:pt x="220" y="522"/>
                </a:lnTo>
                <a:lnTo>
                  <a:pt x="218" y="522"/>
                </a:lnTo>
                <a:lnTo>
                  <a:pt x="217" y="522"/>
                </a:lnTo>
                <a:lnTo>
                  <a:pt x="216" y="522"/>
                </a:lnTo>
                <a:lnTo>
                  <a:pt x="214" y="522"/>
                </a:lnTo>
                <a:lnTo>
                  <a:pt x="213" y="520"/>
                </a:lnTo>
                <a:lnTo>
                  <a:pt x="211" y="520"/>
                </a:lnTo>
                <a:lnTo>
                  <a:pt x="211" y="522"/>
                </a:lnTo>
                <a:lnTo>
                  <a:pt x="210" y="522"/>
                </a:lnTo>
                <a:lnTo>
                  <a:pt x="209" y="522"/>
                </a:lnTo>
                <a:lnTo>
                  <a:pt x="209" y="523"/>
                </a:lnTo>
                <a:lnTo>
                  <a:pt x="207" y="523"/>
                </a:lnTo>
                <a:lnTo>
                  <a:pt x="206" y="524"/>
                </a:lnTo>
                <a:lnTo>
                  <a:pt x="205" y="524"/>
                </a:lnTo>
                <a:lnTo>
                  <a:pt x="205" y="526"/>
                </a:lnTo>
                <a:lnTo>
                  <a:pt x="205" y="527"/>
                </a:lnTo>
                <a:lnTo>
                  <a:pt x="203" y="527"/>
                </a:lnTo>
                <a:lnTo>
                  <a:pt x="203" y="529"/>
                </a:lnTo>
                <a:lnTo>
                  <a:pt x="202" y="529"/>
                </a:lnTo>
                <a:lnTo>
                  <a:pt x="200" y="530"/>
                </a:lnTo>
                <a:lnTo>
                  <a:pt x="200" y="530"/>
                </a:lnTo>
                <a:lnTo>
                  <a:pt x="200" y="529"/>
                </a:lnTo>
                <a:lnTo>
                  <a:pt x="199" y="529"/>
                </a:lnTo>
                <a:lnTo>
                  <a:pt x="199" y="530"/>
                </a:lnTo>
                <a:lnTo>
                  <a:pt x="198" y="530"/>
                </a:lnTo>
                <a:lnTo>
                  <a:pt x="196" y="530"/>
                </a:lnTo>
                <a:lnTo>
                  <a:pt x="195" y="530"/>
                </a:lnTo>
                <a:lnTo>
                  <a:pt x="194" y="531"/>
                </a:lnTo>
                <a:lnTo>
                  <a:pt x="192" y="531"/>
                </a:lnTo>
                <a:lnTo>
                  <a:pt x="191" y="530"/>
                </a:lnTo>
                <a:lnTo>
                  <a:pt x="191" y="529"/>
                </a:lnTo>
                <a:lnTo>
                  <a:pt x="189" y="529"/>
                </a:lnTo>
                <a:lnTo>
                  <a:pt x="189" y="530"/>
                </a:lnTo>
                <a:lnTo>
                  <a:pt x="188" y="531"/>
                </a:lnTo>
                <a:lnTo>
                  <a:pt x="188" y="533"/>
                </a:lnTo>
                <a:lnTo>
                  <a:pt x="187" y="534"/>
                </a:lnTo>
                <a:lnTo>
                  <a:pt x="185" y="533"/>
                </a:lnTo>
                <a:lnTo>
                  <a:pt x="185" y="534"/>
                </a:lnTo>
                <a:lnTo>
                  <a:pt x="185" y="535"/>
                </a:lnTo>
                <a:lnTo>
                  <a:pt x="188" y="535"/>
                </a:lnTo>
                <a:lnTo>
                  <a:pt x="189" y="537"/>
                </a:lnTo>
                <a:lnTo>
                  <a:pt x="188" y="537"/>
                </a:lnTo>
                <a:lnTo>
                  <a:pt x="187" y="538"/>
                </a:lnTo>
                <a:lnTo>
                  <a:pt x="187" y="538"/>
                </a:lnTo>
                <a:lnTo>
                  <a:pt x="185" y="540"/>
                </a:lnTo>
                <a:lnTo>
                  <a:pt x="184" y="540"/>
                </a:lnTo>
                <a:lnTo>
                  <a:pt x="183" y="540"/>
                </a:lnTo>
                <a:lnTo>
                  <a:pt x="181" y="540"/>
                </a:lnTo>
                <a:lnTo>
                  <a:pt x="178" y="541"/>
                </a:lnTo>
                <a:lnTo>
                  <a:pt x="178" y="542"/>
                </a:lnTo>
                <a:lnTo>
                  <a:pt x="178" y="544"/>
                </a:lnTo>
                <a:lnTo>
                  <a:pt x="178" y="545"/>
                </a:lnTo>
                <a:lnTo>
                  <a:pt x="180" y="546"/>
                </a:lnTo>
                <a:lnTo>
                  <a:pt x="180" y="548"/>
                </a:lnTo>
                <a:lnTo>
                  <a:pt x="180" y="549"/>
                </a:lnTo>
                <a:lnTo>
                  <a:pt x="178" y="551"/>
                </a:lnTo>
                <a:lnTo>
                  <a:pt x="177" y="552"/>
                </a:lnTo>
                <a:lnTo>
                  <a:pt x="176" y="552"/>
                </a:lnTo>
                <a:lnTo>
                  <a:pt x="176" y="553"/>
                </a:lnTo>
                <a:lnTo>
                  <a:pt x="176" y="555"/>
                </a:lnTo>
                <a:lnTo>
                  <a:pt x="174" y="556"/>
                </a:lnTo>
                <a:lnTo>
                  <a:pt x="174" y="557"/>
                </a:lnTo>
                <a:lnTo>
                  <a:pt x="174" y="559"/>
                </a:lnTo>
                <a:lnTo>
                  <a:pt x="174" y="560"/>
                </a:lnTo>
                <a:lnTo>
                  <a:pt x="173" y="560"/>
                </a:lnTo>
                <a:lnTo>
                  <a:pt x="173" y="562"/>
                </a:lnTo>
                <a:lnTo>
                  <a:pt x="172" y="563"/>
                </a:lnTo>
                <a:lnTo>
                  <a:pt x="170" y="564"/>
                </a:lnTo>
                <a:lnTo>
                  <a:pt x="169" y="564"/>
                </a:lnTo>
                <a:lnTo>
                  <a:pt x="169" y="566"/>
                </a:lnTo>
                <a:lnTo>
                  <a:pt x="170" y="567"/>
                </a:lnTo>
                <a:lnTo>
                  <a:pt x="170" y="568"/>
                </a:lnTo>
                <a:lnTo>
                  <a:pt x="169" y="570"/>
                </a:lnTo>
                <a:lnTo>
                  <a:pt x="167" y="570"/>
                </a:lnTo>
                <a:lnTo>
                  <a:pt x="167" y="570"/>
                </a:lnTo>
                <a:lnTo>
                  <a:pt x="167" y="571"/>
                </a:lnTo>
                <a:lnTo>
                  <a:pt x="166" y="571"/>
                </a:lnTo>
                <a:lnTo>
                  <a:pt x="165" y="571"/>
                </a:lnTo>
                <a:lnTo>
                  <a:pt x="163" y="571"/>
                </a:lnTo>
                <a:lnTo>
                  <a:pt x="162" y="571"/>
                </a:lnTo>
                <a:lnTo>
                  <a:pt x="162" y="571"/>
                </a:lnTo>
                <a:lnTo>
                  <a:pt x="159" y="573"/>
                </a:lnTo>
                <a:lnTo>
                  <a:pt x="159" y="571"/>
                </a:lnTo>
                <a:lnTo>
                  <a:pt x="158" y="571"/>
                </a:lnTo>
                <a:lnTo>
                  <a:pt x="156" y="571"/>
                </a:lnTo>
                <a:lnTo>
                  <a:pt x="156" y="573"/>
                </a:lnTo>
                <a:lnTo>
                  <a:pt x="154" y="573"/>
                </a:lnTo>
                <a:lnTo>
                  <a:pt x="152" y="573"/>
                </a:lnTo>
                <a:lnTo>
                  <a:pt x="151" y="571"/>
                </a:lnTo>
                <a:lnTo>
                  <a:pt x="150" y="571"/>
                </a:lnTo>
                <a:lnTo>
                  <a:pt x="148" y="571"/>
                </a:lnTo>
                <a:lnTo>
                  <a:pt x="147" y="571"/>
                </a:lnTo>
                <a:lnTo>
                  <a:pt x="145" y="573"/>
                </a:lnTo>
                <a:lnTo>
                  <a:pt x="144" y="574"/>
                </a:lnTo>
                <a:lnTo>
                  <a:pt x="144" y="575"/>
                </a:lnTo>
                <a:lnTo>
                  <a:pt x="144" y="578"/>
                </a:lnTo>
                <a:lnTo>
                  <a:pt x="143" y="580"/>
                </a:lnTo>
                <a:lnTo>
                  <a:pt x="141" y="581"/>
                </a:lnTo>
                <a:lnTo>
                  <a:pt x="141" y="584"/>
                </a:lnTo>
                <a:lnTo>
                  <a:pt x="140" y="585"/>
                </a:lnTo>
                <a:lnTo>
                  <a:pt x="139" y="585"/>
                </a:lnTo>
                <a:lnTo>
                  <a:pt x="137" y="585"/>
                </a:lnTo>
                <a:lnTo>
                  <a:pt x="136" y="585"/>
                </a:lnTo>
                <a:lnTo>
                  <a:pt x="134" y="585"/>
                </a:lnTo>
                <a:lnTo>
                  <a:pt x="134" y="585"/>
                </a:lnTo>
                <a:lnTo>
                  <a:pt x="133" y="584"/>
                </a:lnTo>
                <a:lnTo>
                  <a:pt x="130" y="584"/>
                </a:lnTo>
                <a:lnTo>
                  <a:pt x="130" y="585"/>
                </a:lnTo>
                <a:lnTo>
                  <a:pt x="128" y="585"/>
                </a:lnTo>
                <a:lnTo>
                  <a:pt x="126" y="584"/>
                </a:lnTo>
                <a:lnTo>
                  <a:pt x="125" y="585"/>
                </a:lnTo>
                <a:lnTo>
                  <a:pt x="123" y="585"/>
                </a:lnTo>
                <a:lnTo>
                  <a:pt x="122" y="585"/>
                </a:lnTo>
                <a:lnTo>
                  <a:pt x="121" y="586"/>
                </a:lnTo>
                <a:lnTo>
                  <a:pt x="119" y="588"/>
                </a:lnTo>
                <a:lnTo>
                  <a:pt x="118" y="586"/>
                </a:lnTo>
                <a:lnTo>
                  <a:pt x="117" y="586"/>
                </a:lnTo>
                <a:lnTo>
                  <a:pt x="115" y="586"/>
                </a:lnTo>
                <a:lnTo>
                  <a:pt x="114" y="586"/>
                </a:lnTo>
                <a:lnTo>
                  <a:pt x="114" y="588"/>
                </a:lnTo>
                <a:lnTo>
                  <a:pt x="114" y="589"/>
                </a:lnTo>
                <a:lnTo>
                  <a:pt x="115" y="591"/>
                </a:lnTo>
                <a:lnTo>
                  <a:pt x="115" y="592"/>
                </a:lnTo>
                <a:lnTo>
                  <a:pt x="112" y="593"/>
                </a:lnTo>
                <a:lnTo>
                  <a:pt x="111" y="593"/>
                </a:lnTo>
                <a:lnTo>
                  <a:pt x="110" y="593"/>
                </a:lnTo>
                <a:lnTo>
                  <a:pt x="110" y="595"/>
                </a:lnTo>
                <a:lnTo>
                  <a:pt x="110" y="596"/>
                </a:lnTo>
                <a:lnTo>
                  <a:pt x="111" y="597"/>
                </a:lnTo>
                <a:lnTo>
                  <a:pt x="111" y="599"/>
                </a:lnTo>
                <a:lnTo>
                  <a:pt x="110" y="599"/>
                </a:lnTo>
                <a:lnTo>
                  <a:pt x="108" y="600"/>
                </a:lnTo>
                <a:lnTo>
                  <a:pt x="107" y="602"/>
                </a:lnTo>
                <a:lnTo>
                  <a:pt x="107" y="603"/>
                </a:lnTo>
                <a:lnTo>
                  <a:pt x="108" y="604"/>
                </a:lnTo>
                <a:lnTo>
                  <a:pt x="108" y="604"/>
                </a:lnTo>
                <a:lnTo>
                  <a:pt x="107" y="606"/>
                </a:lnTo>
                <a:lnTo>
                  <a:pt x="106" y="607"/>
                </a:lnTo>
                <a:lnTo>
                  <a:pt x="104" y="608"/>
                </a:lnTo>
                <a:lnTo>
                  <a:pt x="103" y="610"/>
                </a:lnTo>
                <a:lnTo>
                  <a:pt x="103" y="611"/>
                </a:lnTo>
                <a:lnTo>
                  <a:pt x="101" y="611"/>
                </a:lnTo>
                <a:lnTo>
                  <a:pt x="100" y="611"/>
                </a:lnTo>
                <a:lnTo>
                  <a:pt x="100" y="613"/>
                </a:lnTo>
                <a:lnTo>
                  <a:pt x="99" y="614"/>
                </a:lnTo>
                <a:lnTo>
                  <a:pt x="99" y="615"/>
                </a:lnTo>
                <a:lnTo>
                  <a:pt x="99" y="617"/>
                </a:lnTo>
                <a:lnTo>
                  <a:pt x="97" y="617"/>
                </a:lnTo>
                <a:lnTo>
                  <a:pt x="96" y="617"/>
                </a:lnTo>
                <a:lnTo>
                  <a:pt x="95" y="618"/>
                </a:lnTo>
                <a:lnTo>
                  <a:pt x="95" y="619"/>
                </a:lnTo>
                <a:lnTo>
                  <a:pt x="93" y="619"/>
                </a:lnTo>
                <a:lnTo>
                  <a:pt x="92" y="618"/>
                </a:lnTo>
                <a:lnTo>
                  <a:pt x="90" y="618"/>
                </a:lnTo>
                <a:lnTo>
                  <a:pt x="89" y="618"/>
                </a:lnTo>
                <a:lnTo>
                  <a:pt x="88" y="618"/>
                </a:lnTo>
                <a:lnTo>
                  <a:pt x="86" y="619"/>
                </a:lnTo>
                <a:lnTo>
                  <a:pt x="85" y="619"/>
                </a:lnTo>
                <a:lnTo>
                  <a:pt x="84" y="621"/>
                </a:lnTo>
                <a:lnTo>
                  <a:pt x="82" y="621"/>
                </a:lnTo>
                <a:lnTo>
                  <a:pt x="81" y="621"/>
                </a:lnTo>
                <a:lnTo>
                  <a:pt x="79" y="621"/>
                </a:lnTo>
                <a:lnTo>
                  <a:pt x="78" y="619"/>
                </a:lnTo>
                <a:lnTo>
                  <a:pt x="77" y="618"/>
                </a:lnTo>
                <a:lnTo>
                  <a:pt x="75" y="618"/>
                </a:lnTo>
                <a:lnTo>
                  <a:pt x="74" y="618"/>
                </a:lnTo>
                <a:lnTo>
                  <a:pt x="73" y="618"/>
                </a:lnTo>
                <a:lnTo>
                  <a:pt x="71" y="618"/>
                </a:lnTo>
                <a:lnTo>
                  <a:pt x="71" y="619"/>
                </a:lnTo>
                <a:lnTo>
                  <a:pt x="70" y="621"/>
                </a:lnTo>
                <a:lnTo>
                  <a:pt x="68" y="621"/>
                </a:lnTo>
                <a:lnTo>
                  <a:pt x="67" y="619"/>
                </a:lnTo>
                <a:lnTo>
                  <a:pt x="67" y="618"/>
                </a:lnTo>
                <a:lnTo>
                  <a:pt x="67" y="617"/>
                </a:lnTo>
                <a:lnTo>
                  <a:pt x="67" y="617"/>
                </a:lnTo>
                <a:lnTo>
                  <a:pt x="67" y="615"/>
                </a:lnTo>
                <a:lnTo>
                  <a:pt x="67" y="614"/>
                </a:lnTo>
                <a:lnTo>
                  <a:pt x="67" y="613"/>
                </a:lnTo>
                <a:lnTo>
                  <a:pt x="67" y="611"/>
                </a:lnTo>
                <a:lnTo>
                  <a:pt x="67" y="610"/>
                </a:lnTo>
                <a:lnTo>
                  <a:pt x="67" y="607"/>
                </a:lnTo>
                <a:lnTo>
                  <a:pt x="66" y="606"/>
                </a:lnTo>
                <a:lnTo>
                  <a:pt x="64" y="604"/>
                </a:lnTo>
                <a:lnTo>
                  <a:pt x="64" y="604"/>
                </a:lnTo>
                <a:lnTo>
                  <a:pt x="66" y="604"/>
                </a:lnTo>
                <a:lnTo>
                  <a:pt x="66" y="603"/>
                </a:lnTo>
                <a:lnTo>
                  <a:pt x="66" y="602"/>
                </a:lnTo>
                <a:lnTo>
                  <a:pt x="64" y="602"/>
                </a:lnTo>
                <a:lnTo>
                  <a:pt x="63" y="600"/>
                </a:lnTo>
                <a:lnTo>
                  <a:pt x="62" y="599"/>
                </a:lnTo>
                <a:lnTo>
                  <a:pt x="62" y="597"/>
                </a:lnTo>
                <a:lnTo>
                  <a:pt x="66" y="593"/>
                </a:lnTo>
                <a:lnTo>
                  <a:pt x="60" y="578"/>
                </a:lnTo>
                <a:lnTo>
                  <a:pt x="41" y="566"/>
                </a:lnTo>
                <a:lnTo>
                  <a:pt x="38" y="557"/>
                </a:lnTo>
                <a:lnTo>
                  <a:pt x="49" y="545"/>
                </a:lnTo>
                <a:lnTo>
                  <a:pt x="49" y="529"/>
                </a:lnTo>
                <a:lnTo>
                  <a:pt x="38" y="524"/>
                </a:lnTo>
                <a:lnTo>
                  <a:pt x="33" y="515"/>
                </a:lnTo>
                <a:lnTo>
                  <a:pt x="44" y="509"/>
                </a:lnTo>
                <a:lnTo>
                  <a:pt x="59" y="480"/>
                </a:lnTo>
                <a:lnTo>
                  <a:pt x="40" y="474"/>
                </a:lnTo>
                <a:lnTo>
                  <a:pt x="40" y="373"/>
                </a:lnTo>
                <a:lnTo>
                  <a:pt x="49" y="348"/>
                </a:lnTo>
                <a:lnTo>
                  <a:pt x="35" y="329"/>
                </a:lnTo>
                <a:lnTo>
                  <a:pt x="42" y="280"/>
                </a:lnTo>
                <a:lnTo>
                  <a:pt x="19" y="263"/>
                </a:lnTo>
                <a:lnTo>
                  <a:pt x="0" y="226"/>
                </a:lnTo>
                <a:lnTo>
                  <a:pt x="13" y="20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0" name="Freeform 126"/>
          <p:cNvSpPr>
            <a:spLocks/>
          </p:cNvSpPr>
          <p:nvPr>
            <p:custDataLst>
              <p:tags r:id="rId46"/>
            </p:custDataLst>
          </p:nvPr>
        </p:nvSpPr>
        <p:spPr bwMode="gray">
          <a:xfrm>
            <a:off x="3314173" y="4048440"/>
            <a:ext cx="270279" cy="596423"/>
          </a:xfrm>
          <a:custGeom>
            <a:avLst/>
            <a:gdLst>
              <a:gd name="T0" fmla="*/ 148 w 284"/>
              <a:gd name="T1" fmla="*/ 447 h 667"/>
              <a:gd name="T2" fmla="*/ 118 w 284"/>
              <a:gd name="T3" fmla="*/ 317 h 667"/>
              <a:gd name="T4" fmla="*/ 90 w 284"/>
              <a:gd name="T5" fmla="*/ 274 h 667"/>
              <a:gd name="T6" fmla="*/ 93 w 284"/>
              <a:gd name="T7" fmla="*/ 149 h 667"/>
              <a:gd name="T8" fmla="*/ 161 w 284"/>
              <a:gd name="T9" fmla="*/ 46 h 667"/>
              <a:gd name="T10" fmla="*/ 277 w 284"/>
              <a:gd name="T11" fmla="*/ 69 h 667"/>
              <a:gd name="T12" fmla="*/ 225 w 284"/>
              <a:gd name="T13" fmla="*/ 204 h 667"/>
              <a:gd name="T14" fmla="*/ 178 w 284"/>
              <a:gd name="T15" fmla="*/ 399 h 667"/>
              <a:gd name="T16" fmla="*/ 187 w 284"/>
              <a:gd name="T17" fmla="*/ 579 h 667"/>
              <a:gd name="T18" fmla="*/ 181 w 284"/>
              <a:gd name="T19" fmla="*/ 627 h 667"/>
              <a:gd name="T20" fmla="*/ 203 w 284"/>
              <a:gd name="T21" fmla="*/ 666 h 667"/>
              <a:gd name="T22" fmla="*/ 198 w 284"/>
              <a:gd name="T23" fmla="*/ 666 h 667"/>
              <a:gd name="T24" fmla="*/ 194 w 284"/>
              <a:gd name="T25" fmla="*/ 665 h 667"/>
              <a:gd name="T26" fmla="*/ 187 w 284"/>
              <a:gd name="T27" fmla="*/ 663 h 667"/>
              <a:gd name="T28" fmla="*/ 178 w 284"/>
              <a:gd name="T29" fmla="*/ 665 h 667"/>
              <a:gd name="T30" fmla="*/ 173 w 284"/>
              <a:gd name="T31" fmla="*/ 665 h 667"/>
              <a:gd name="T32" fmla="*/ 167 w 284"/>
              <a:gd name="T33" fmla="*/ 666 h 667"/>
              <a:gd name="T34" fmla="*/ 161 w 284"/>
              <a:gd name="T35" fmla="*/ 667 h 667"/>
              <a:gd name="T36" fmla="*/ 155 w 284"/>
              <a:gd name="T37" fmla="*/ 666 h 667"/>
              <a:gd name="T38" fmla="*/ 151 w 284"/>
              <a:gd name="T39" fmla="*/ 665 h 667"/>
              <a:gd name="T40" fmla="*/ 147 w 284"/>
              <a:gd name="T41" fmla="*/ 659 h 667"/>
              <a:gd name="T42" fmla="*/ 143 w 284"/>
              <a:gd name="T43" fmla="*/ 655 h 667"/>
              <a:gd name="T44" fmla="*/ 137 w 284"/>
              <a:gd name="T45" fmla="*/ 654 h 667"/>
              <a:gd name="T46" fmla="*/ 133 w 284"/>
              <a:gd name="T47" fmla="*/ 651 h 667"/>
              <a:gd name="T48" fmla="*/ 128 w 284"/>
              <a:gd name="T49" fmla="*/ 647 h 667"/>
              <a:gd name="T50" fmla="*/ 132 w 284"/>
              <a:gd name="T51" fmla="*/ 641 h 667"/>
              <a:gd name="T52" fmla="*/ 130 w 284"/>
              <a:gd name="T53" fmla="*/ 637 h 667"/>
              <a:gd name="T54" fmla="*/ 126 w 284"/>
              <a:gd name="T55" fmla="*/ 640 h 667"/>
              <a:gd name="T56" fmla="*/ 122 w 284"/>
              <a:gd name="T57" fmla="*/ 637 h 667"/>
              <a:gd name="T58" fmla="*/ 115 w 284"/>
              <a:gd name="T59" fmla="*/ 637 h 667"/>
              <a:gd name="T60" fmla="*/ 112 w 284"/>
              <a:gd name="T61" fmla="*/ 641 h 667"/>
              <a:gd name="T62" fmla="*/ 108 w 284"/>
              <a:gd name="T63" fmla="*/ 643 h 667"/>
              <a:gd name="T64" fmla="*/ 106 w 284"/>
              <a:gd name="T65" fmla="*/ 636 h 667"/>
              <a:gd name="T66" fmla="*/ 99 w 284"/>
              <a:gd name="T67" fmla="*/ 630 h 667"/>
              <a:gd name="T68" fmla="*/ 95 w 284"/>
              <a:gd name="T69" fmla="*/ 623 h 667"/>
              <a:gd name="T70" fmla="*/ 93 w 284"/>
              <a:gd name="T71" fmla="*/ 619 h 667"/>
              <a:gd name="T72" fmla="*/ 95 w 284"/>
              <a:gd name="T73" fmla="*/ 612 h 667"/>
              <a:gd name="T74" fmla="*/ 95 w 284"/>
              <a:gd name="T75" fmla="*/ 608 h 667"/>
              <a:gd name="T76" fmla="*/ 96 w 284"/>
              <a:gd name="T77" fmla="*/ 603 h 667"/>
              <a:gd name="T78" fmla="*/ 96 w 284"/>
              <a:gd name="T79" fmla="*/ 596 h 667"/>
              <a:gd name="T80" fmla="*/ 89 w 284"/>
              <a:gd name="T81" fmla="*/ 599 h 667"/>
              <a:gd name="T82" fmla="*/ 82 w 284"/>
              <a:gd name="T83" fmla="*/ 596 h 667"/>
              <a:gd name="T84" fmla="*/ 78 w 284"/>
              <a:gd name="T85" fmla="*/ 596 h 667"/>
              <a:gd name="T86" fmla="*/ 75 w 284"/>
              <a:gd name="T87" fmla="*/ 594 h 667"/>
              <a:gd name="T88" fmla="*/ 68 w 284"/>
              <a:gd name="T89" fmla="*/ 594 h 667"/>
              <a:gd name="T90" fmla="*/ 62 w 284"/>
              <a:gd name="T91" fmla="*/ 589 h 667"/>
              <a:gd name="T92" fmla="*/ 60 w 284"/>
              <a:gd name="T93" fmla="*/ 594 h 667"/>
              <a:gd name="T94" fmla="*/ 56 w 284"/>
              <a:gd name="T95" fmla="*/ 599 h 667"/>
              <a:gd name="T96" fmla="*/ 51 w 284"/>
              <a:gd name="T97" fmla="*/ 599 h 667"/>
              <a:gd name="T98" fmla="*/ 44 w 284"/>
              <a:gd name="T99" fmla="*/ 597 h 667"/>
              <a:gd name="T100" fmla="*/ 37 w 284"/>
              <a:gd name="T101" fmla="*/ 596 h 667"/>
              <a:gd name="T102" fmla="*/ 31 w 284"/>
              <a:gd name="T103" fmla="*/ 592 h 667"/>
              <a:gd name="T104" fmla="*/ 26 w 284"/>
              <a:gd name="T105" fmla="*/ 586 h 667"/>
              <a:gd name="T106" fmla="*/ 24 w 284"/>
              <a:gd name="T107" fmla="*/ 582 h 667"/>
              <a:gd name="T108" fmla="*/ 18 w 284"/>
              <a:gd name="T109" fmla="*/ 579 h 667"/>
              <a:gd name="T110" fmla="*/ 12 w 284"/>
              <a:gd name="T111" fmla="*/ 577 h 667"/>
              <a:gd name="T112" fmla="*/ 12 w 284"/>
              <a:gd name="T113" fmla="*/ 574 h 667"/>
              <a:gd name="T114" fmla="*/ 8 w 284"/>
              <a:gd name="T115" fmla="*/ 567 h 667"/>
              <a:gd name="T116" fmla="*/ 5 w 284"/>
              <a:gd name="T117" fmla="*/ 559 h 667"/>
              <a:gd name="T118" fmla="*/ 4 w 284"/>
              <a:gd name="T119" fmla="*/ 552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84" h="667">
                <a:moveTo>
                  <a:pt x="30" y="522"/>
                </a:moveTo>
                <a:lnTo>
                  <a:pt x="60" y="491"/>
                </a:lnTo>
                <a:lnTo>
                  <a:pt x="101" y="483"/>
                </a:lnTo>
                <a:lnTo>
                  <a:pt x="114" y="469"/>
                </a:lnTo>
                <a:lnTo>
                  <a:pt x="148" y="447"/>
                </a:lnTo>
                <a:lnTo>
                  <a:pt x="156" y="406"/>
                </a:lnTo>
                <a:lnTo>
                  <a:pt x="143" y="394"/>
                </a:lnTo>
                <a:lnTo>
                  <a:pt x="144" y="372"/>
                </a:lnTo>
                <a:lnTo>
                  <a:pt x="128" y="369"/>
                </a:lnTo>
                <a:lnTo>
                  <a:pt x="118" y="317"/>
                </a:lnTo>
                <a:lnTo>
                  <a:pt x="100" y="311"/>
                </a:lnTo>
                <a:lnTo>
                  <a:pt x="108" y="302"/>
                </a:lnTo>
                <a:lnTo>
                  <a:pt x="100" y="296"/>
                </a:lnTo>
                <a:lnTo>
                  <a:pt x="111" y="286"/>
                </a:lnTo>
                <a:lnTo>
                  <a:pt x="90" y="274"/>
                </a:lnTo>
                <a:lnTo>
                  <a:pt x="101" y="266"/>
                </a:lnTo>
                <a:lnTo>
                  <a:pt x="92" y="220"/>
                </a:lnTo>
                <a:lnTo>
                  <a:pt x="104" y="200"/>
                </a:lnTo>
                <a:lnTo>
                  <a:pt x="92" y="160"/>
                </a:lnTo>
                <a:lnTo>
                  <a:pt x="93" y="149"/>
                </a:lnTo>
                <a:lnTo>
                  <a:pt x="115" y="138"/>
                </a:lnTo>
                <a:lnTo>
                  <a:pt x="115" y="113"/>
                </a:lnTo>
                <a:lnTo>
                  <a:pt x="134" y="84"/>
                </a:lnTo>
                <a:lnTo>
                  <a:pt x="161" y="59"/>
                </a:lnTo>
                <a:lnTo>
                  <a:pt x="161" y="46"/>
                </a:lnTo>
                <a:lnTo>
                  <a:pt x="205" y="7"/>
                </a:lnTo>
                <a:lnTo>
                  <a:pt x="233" y="11"/>
                </a:lnTo>
                <a:lnTo>
                  <a:pt x="251" y="0"/>
                </a:lnTo>
                <a:lnTo>
                  <a:pt x="262" y="9"/>
                </a:lnTo>
                <a:lnTo>
                  <a:pt x="277" y="69"/>
                </a:lnTo>
                <a:lnTo>
                  <a:pt x="284" y="70"/>
                </a:lnTo>
                <a:lnTo>
                  <a:pt x="257" y="90"/>
                </a:lnTo>
                <a:lnTo>
                  <a:pt x="244" y="130"/>
                </a:lnTo>
                <a:lnTo>
                  <a:pt x="249" y="161"/>
                </a:lnTo>
                <a:lnTo>
                  <a:pt x="225" y="204"/>
                </a:lnTo>
                <a:lnTo>
                  <a:pt x="173" y="244"/>
                </a:lnTo>
                <a:lnTo>
                  <a:pt x="143" y="296"/>
                </a:lnTo>
                <a:lnTo>
                  <a:pt x="162" y="333"/>
                </a:lnTo>
                <a:lnTo>
                  <a:pt x="185" y="350"/>
                </a:lnTo>
                <a:lnTo>
                  <a:pt x="178" y="399"/>
                </a:lnTo>
                <a:lnTo>
                  <a:pt x="192" y="418"/>
                </a:lnTo>
                <a:lnTo>
                  <a:pt x="183" y="443"/>
                </a:lnTo>
                <a:lnTo>
                  <a:pt x="183" y="544"/>
                </a:lnTo>
                <a:lnTo>
                  <a:pt x="202" y="550"/>
                </a:lnTo>
                <a:lnTo>
                  <a:pt x="187" y="579"/>
                </a:lnTo>
                <a:lnTo>
                  <a:pt x="176" y="585"/>
                </a:lnTo>
                <a:lnTo>
                  <a:pt x="181" y="594"/>
                </a:lnTo>
                <a:lnTo>
                  <a:pt x="192" y="599"/>
                </a:lnTo>
                <a:lnTo>
                  <a:pt x="192" y="615"/>
                </a:lnTo>
                <a:lnTo>
                  <a:pt x="181" y="627"/>
                </a:lnTo>
                <a:lnTo>
                  <a:pt x="184" y="636"/>
                </a:lnTo>
                <a:lnTo>
                  <a:pt x="203" y="648"/>
                </a:lnTo>
                <a:lnTo>
                  <a:pt x="209" y="663"/>
                </a:lnTo>
                <a:lnTo>
                  <a:pt x="205" y="667"/>
                </a:lnTo>
                <a:lnTo>
                  <a:pt x="203" y="666"/>
                </a:lnTo>
                <a:lnTo>
                  <a:pt x="203" y="665"/>
                </a:lnTo>
                <a:lnTo>
                  <a:pt x="200" y="665"/>
                </a:lnTo>
                <a:lnTo>
                  <a:pt x="200" y="666"/>
                </a:lnTo>
                <a:lnTo>
                  <a:pt x="199" y="666"/>
                </a:lnTo>
                <a:lnTo>
                  <a:pt x="198" y="666"/>
                </a:lnTo>
                <a:lnTo>
                  <a:pt x="198" y="665"/>
                </a:lnTo>
                <a:lnTo>
                  <a:pt x="196" y="665"/>
                </a:lnTo>
                <a:lnTo>
                  <a:pt x="196" y="663"/>
                </a:lnTo>
                <a:lnTo>
                  <a:pt x="195" y="665"/>
                </a:lnTo>
                <a:lnTo>
                  <a:pt x="194" y="665"/>
                </a:lnTo>
                <a:lnTo>
                  <a:pt x="192" y="663"/>
                </a:lnTo>
                <a:lnTo>
                  <a:pt x="191" y="665"/>
                </a:lnTo>
                <a:lnTo>
                  <a:pt x="189" y="665"/>
                </a:lnTo>
                <a:lnTo>
                  <a:pt x="188" y="665"/>
                </a:lnTo>
                <a:lnTo>
                  <a:pt x="187" y="663"/>
                </a:lnTo>
                <a:lnTo>
                  <a:pt x="185" y="663"/>
                </a:lnTo>
                <a:lnTo>
                  <a:pt x="184" y="663"/>
                </a:lnTo>
                <a:lnTo>
                  <a:pt x="183" y="665"/>
                </a:lnTo>
                <a:lnTo>
                  <a:pt x="181" y="665"/>
                </a:lnTo>
                <a:lnTo>
                  <a:pt x="178" y="665"/>
                </a:lnTo>
                <a:lnTo>
                  <a:pt x="177" y="665"/>
                </a:lnTo>
                <a:lnTo>
                  <a:pt x="176" y="665"/>
                </a:lnTo>
                <a:lnTo>
                  <a:pt x="174" y="663"/>
                </a:lnTo>
                <a:lnTo>
                  <a:pt x="173" y="663"/>
                </a:lnTo>
                <a:lnTo>
                  <a:pt x="173" y="665"/>
                </a:lnTo>
                <a:lnTo>
                  <a:pt x="173" y="666"/>
                </a:lnTo>
                <a:lnTo>
                  <a:pt x="172" y="667"/>
                </a:lnTo>
                <a:lnTo>
                  <a:pt x="170" y="667"/>
                </a:lnTo>
                <a:lnTo>
                  <a:pt x="169" y="667"/>
                </a:lnTo>
                <a:lnTo>
                  <a:pt x="167" y="666"/>
                </a:lnTo>
                <a:lnTo>
                  <a:pt x="166" y="666"/>
                </a:lnTo>
                <a:lnTo>
                  <a:pt x="165" y="667"/>
                </a:lnTo>
                <a:lnTo>
                  <a:pt x="163" y="667"/>
                </a:lnTo>
                <a:lnTo>
                  <a:pt x="162" y="667"/>
                </a:lnTo>
                <a:lnTo>
                  <a:pt x="161" y="667"/>
                </a:lnTo>
                <a:lnTo>
                  <a:pt x="159" y="667"/>
                </a:lnTo>
                <a:lnTo>
                  <a:pt x="159" y="666"/>
                </a:lnTo>
                <a:lnTo>
                  <a:pt x="158" y="666"/>
                </a:lnTo>
                <a:lnTo>
                  <a:pt x="156" y="666"/>
                </a:lnTo>
                <a:lnTo>
                  <a:pt x="155" y="666"/>
                </a:lnTo>
                <a:lnTo>
                  <a:pt x="154" y="666"/>
                </a:lnTo>
                <a:lnTo>
                  <a:pt x="152" y="666"/>
                </a:lnTo>
                <a:lnTo>
                  <a:pt x="151" y="667"/>
                </a:lnTo>
                <a:lnTo>
                  <a:pt x="151" y="666"/>
                </a:lnTo>
                <a:lnTo>
                  <a:pt x="151" y="665"/>
                </a:lnTo>
                <a:lnTo>
                  <a:pt x="150" y="665"/>
                </a:lnTo>
                <a:lnTo>
                  <a:pt x="148" y="663"/>
                </a:lnTo>
                <a:lnTo>
                  <a:pt x="147" y="662"/>
                </a:lnTo>
                <a:lnTo>
                  <a:pt x="147" y="661"/>
                </a:lnTo>
                <a:lnTo>
                  <a:pt x="147" y="659"/>
                </a:lnTo>
                <a:lnTo>
                  <a:pt x="145" y="659"/>
                </a:lnTo>
                <a:lnTo>
                  <a:pt x="144" y="659"/>
                </a:lnTo>
                <a:lnTo>
                  <a:pt x="144" y="658"/>
                </a:lnTo>
                <a:lnTo>
                  <a:pt x="143" y="656"/>
                </a:lnTo>
                <a:lnTo>
                  <a:pt x="143" y="655"/>
                </a:lnTo>
                <a:lnTo>
                  <a:pt x="141" y="654"/>
                </a:lnTo>
                <a:lnTo>
                  <a:pt x="140" y="654"/>
                </a:lnTo>
                <a:lnTo>
                  <a:pt x="139" y="654"/>
                </a:lnTo>
                <a:lnTo>
                  <a:pt x="139" y="652"/>
                </a:lnTo>
                <a:lnTo>
                  <a:pt x="137" y="654"/>
                </a:lnTo>
                <a:lnTo>
                  <a:pt x="136" y="654"/>
                </a:lnTo>
                <a:lnTo>
                  <a:pt x="136" y="652"/>
                </a:lnTo>
                <a:lnTo>
                  <a:pt x="134" y="652"/>
                </a:lnTo>
                <a:lnTo>
                  <a:pt x="134" y="651"/>
                </a:lnTo>
                <a:lnTo>
                  <a:pt x="133" y="651"/>
                </a:lnTo>
                <a:lnTo>
                  <a:pt x="132" y="651"/>
                </a:lnTo>
                <a:lnTo>
                  <a:pt x="130" y="650"/>
                </a:lnTo>
                <a:lnTo>
                  <a:pt x="129" y="650"/>
                </a:lnTo>
                <a:lnTo>
                  <a:pt x="128" y="648"/>
                </a:lnTo>
                <a:lnTo>
                  <a:pt x="128" y="647"/>
                </a:lnTo>
                <a:lnTo>
                  <a:pt x="128" y="645"/>
                </a:lnTo>
                <a:lnTo>
                  <a:pt x="129" y="644"/>
                </a:lnTo>
                <a:lnTo>
                  <a:pt x="130" y="644"/>
                </a:lnTo>
                <a:lnTo>
                  <a:pt x="130" y="643"/>
                </a:lnTo>
                <a:lnTo>
                  <a:pt x="132" y="641"/>
                </a:lnTo>
                <a:lnTo>
                  <a:pt x="133" y="641"/>
                </a:lnTo>
                <a:lnTo>
                  <a:pt x="132" y="641"/>
                </a:lnTo>
                <a:lnTo>
                  <a:pt x="132" y="640"/>
                </a:lnTo>
                <a:lnTo>
                  <a:pt x="130" y="638"/>
                </a:lnTo>
                <a:lnTo>
                  <a:pt x="130" y="637"/>
                </a:lnTo>
                <a:lnTo>
                  <a:pt x="130" y="636"/>
                </a:lnTo>
                <a:lnTo>
                  <a:pt x="128" y="636"/>
                </a:lnTo>
                <a:lnTo>
                  <a:pt x="128" y="637"/>
                </a:lnTo>
                <a:lnTo>
                  <a:pt x="128" y="638"/>
                </a:lnTo>
                <a:lnTo>
                  <a:pt x="126" y="640"/>
                </a:lnTo>
                <a:lnTo>
                  <a:pt x="126" y="638"/>
                </a:lnTo>
                <a:lnTo>
                  <a:pt x="125" y="637"/>
                </a:lnTo>
                <a:lnTo>
                  <a:pt x="123" y="637"/>
                </a:lnTo>
                <a:lnTo>
                  <a:pt x="122" y="638"/>
                </a:lnTo>
                <a:lnTo>
                  <a:pt x="122" y="637"/>
                </a:lnTo>
                <a:lnTo>
                  <a:pt x="121" y="634"/>
                </a:lnTo>
                <a:lnTo>
                  <a:pt x="119" y="634"/>
                </a:lnTo>
                <a:lnTo>
                  <a:pt x="118" y="634"/>
                </a:lnTo>
                <a:lnTo>
                  <a:pt x="117" y="636"/>
                </a:lnTo>
                <a:lnTo>
                  <a:pt x="115" y="637"/>
                </a:lnTo>
                <a:lnTo>
                  <a:pt x="112" y="637"/>
                </a:lnTo>
                <a:lnTo>
                  <a:pt x="111" y="637"/>
                </a:lnTo>
                <a:lnTo>
                  <a:pt x="111" y="638"/>
                </a:lnTo>
                <a:lnTo>
                  <a:pt x="111" y="640"/>
                </a:lnTo>
                <a:lnTo>
                  <a:pt x="112" y="641"/>
                </a:lnTo>
                <a:lnTo>
                  <a:pt x="111" y="641"/>
                </a:lnTo>
                <a:lnTo>
                  <a:pt x="111" y="641"/>
                </a:lnTo>
                <a:lnTo>
                  <a:pt x="111" y="644"/>
                </a:lnTo>
                <a:lnTo>
                  <a:pt x="110" y="644"/>
                </a:lnTo>
                <a:lnTo>
                  <a:pt x="108" y="643"/>
                </a:lnTo>
                <a:lnTo>
                  <a:pt x="108" y="641"/>
                </a:lnTo>
                <a:lnTo>
                  <a:pt x="107" y="641"/>
                </a:lnTo>
                <a:lnTo>
                  <a:pt x="107" y="640"/>
                </a:lnTo>
                <a:lnTo>
                  <a:pt x="107" y="638"/>
                </a:lnTo>
                <a:lnTo>
                  <a:pt x="106" y="636"/>
                </a:lnTo>
                <a:lnTo>
                  <a:pt x="103" y="633"/>
                </a:lnTo>
                <a:lnTo>
                  <a:pt x="103" y="632"/>
                </a:lnTo>
                <a:lnTo>
                  <a:pt x="101" y="630"/>
                </a:lnTo>
                <a:lnTo>
                  <a:pt x="100" y="630"/>
                </a:lnTo>
                <a:lnTo>
                  <a:pt x="99" y="630"/>
                </a:lnTo>
                <a:lnTo>
                  <a:pt x="97" y="629"/>
                </a:lnTo>
                <a:lnTo>
                  <a:pt x="96" y="627"/>
                </a:lnTo>
                <a:lnTo>
                  <a:pt x="96" y="626"/>
                </a:lnTo>
                <a:lnTo>
                  <a:pt x="96" y="625"/>
                </a:lnTo>
                <a:lnTo>
                  <a:pt x="95" y="623"/>
                </a:lnTo>
                <a:lnTo>
                  <a:pt x="93" y="623"/>
                </a:lnTo>
                <a:lnTo>
                  <a:pt x="93" y="622"/>
                </a:lnTo>
                <a:lnTo>
                  <a:pt x="95" y="622"/>
                </a:lnTo>
                <a:lnTo>
                  <a:pt x="93" y="621"/>
                </a:lnTo>
                <a:lnTo>
                  <a:pt x="93" y="619"/>
                </a:lnTo>
                <a:lnTo>
                  <a:pt x="93" y="618"/>
                </a:lnTo>
                <a:lnTo>
                  <a:pt x="93" y="616"/>
                </a:lnTo>
                <a:lnTo>
                  <a:pt x="93" y="615"/>
                </a:lnTo>
                <a:lnTo>
                  <a:pt x="95" y="614"/>
                </a:lnTo>
                <a:lnTo>
                  <a:pt x="95" y="612"/>
                </a:lnTo>
                <a:lnTo>
                  <a:pt x="93" y="611"/>
                </a:lnTo>
                <a:lnTo>
                  <a:pt x="92" y="610"/>
                </a:lnTo>
                <a:lnTo>
                  <a:pt x="93" y="608"/>
                </a:lnTo>
                <a:lnTo>
                  <a:pt x="95" y="608"/>
                </a:lnTo>
                <a:lnTo>
                  <a:pt x="95" y="608"/>
                </a:lnTo>
                <a:lnTo>
                  <a:pt x="95" y="607"/>
                </a:lnTo>
                <a:lnTo>
                  <a:pt x="95" y="605"/>
                </a:lnTo>
                <a:lnTo>
                  <a:pt x="96" y="605"/>
                </a:lnTo>
                <a:lnTo>
                  <a:pt x="96" y="604"/>
                </a:lnTo>
                <a:lnTo>
                  <a:pt x="96" y="603"/>
                </a:lnTo>
                <a:lnTo>
                  <a:pt x="96" y="601"/>
                </a:lnTo>
                <a:lnTo>
                  <a:pt x="97" y="600"/>
                </a:lnTo>
                <a:lnTo>
                  <a:pt x="97" y="599"/>
                </a:lnTo>
                <a:lnTo>
                  <a:pt x="96" y="597"/>
                </a:lnTo>
                <a:lnTo>
                  <a:pt x="96" y="596"/>
                </a:lnTo>
                <a:lnTo>
                  <a:pt x="95" y="596"/>
                </a:lnTo>
                <a:lnTo>
                  <a:pt x="95" y="597"/>
                </a:lnTo>
                <a:lnTo>
                  <a:pt x="92" y="599"/>
                </a:lnTo>
                <a:lnTo>
                  <a:pt x="90" y="599"/>
                </a:lnTo>
                <a:lnTo>
                  <a:pt x="89" y="599"/>
                </a:lnTo>
                <a:lnTo>
                  <a:pt x="88" y="597"/>
                </a:lnTo>
                <a:lnTo>
                  <a:pt x="86" y="597"/>
                </a:lnTo>
                <a:lnTo>
                  <a:pt x="85" y="597"/>
                </a:lnTo>
                <a:lnTo>
                  <a:pt x="85" y="596"/>
                </a:lnTo>
                <a:lnTo>
                  <a:pt x="82" y="596"/>
                </a:lnTo>
                <a:lnTo>
                  <a:pt x="81" y="596"/>
                </a:lnTo>
                <a:lnTo>
                  <a:pt x="79" y="594"/>
                </a:lnTo>
                <a:lnTo>
                  <a:pt x="78" y="593"/>
                </a:lnTo>
                <a:lnTo>
                  <a:pt x="78" y="594"/>
                </a:lnTo>
                <a:lnTo>
                  <a:pt x="78" y="596"/>
                </a:lnTo>
                <a:lnTo>
                  <a:pt x="77" y="596"/>
                </a:lnTo>
                <a:lnTo>
                  <a:pt x="77" y="594"/>
                </a:lnTo>
                <a:lnTo>
                  <a:pt x="77" y="593"/>
                </a:lnTo>
                <a:lnTo>
                  <a:pt x="75" y="593"/>
                </a:lnTo>
                <a:lnTo>
                  <a:pt x="75" y="594"/>
                </a:lnTo>
                <a:lnTo>
                  <a:pt x="74" y="596"/>
                </a:lnTo>
                <a:lnTo>
                  <a:pt x="73" y="594"/>
                </a:lnTo>
                <a:lnTo>
                  <a:pt x="71" y="594"/>
                </a:lnTo>
                <a:lnTo>
                  <a:pt x="70" y="594"/>
                </a:lnTo>
                <a:lnTo>
                  <a:pt x="68" y="594"/>
                </a:lnTo>
                <a:lnTo>
                  <a:pt x="67" y="593"/>
                </a:lnTo>
                <a:lnTo>
                  <a:pt x="66" y="592"/>
                </a:lnTo>
                <a:lnTo>
                  <a:pt x="64" y="590"/>
                </a:lnTo>
                <a:lnTo>
                  <a:pt x="63" y="589"/>
                </a:lnTo>
                <a:lnTo>
                  <a:pt x="62" y="589"/>
                </a:lnTo>
                <a:lnTo>
                  <a:pt x="60" y="589"/>
                </a:lnTo>
                <a:lnTo>
                  <a:pt x="60" y="590"/>
                </a:lnTo>
                <a:lnTo>
                  <a:pt x="60" y="592"/>
                </a:lnTo>
                <a:lnTo>
                  <a:pt x="60" y="593"/>
                </a:lnTo>
                <a:lnTo>
                  <a:pt x="60" y="594"/>
                </a:lnTo>
                <a:lnTo>
                  <a:pt x="59" y="596"/>
                </a:lnTo>
                <a:lnTo>
                  <a:pt x="59" y="597"/>
                </a:lnTo>
                <a:lnTo>
                  <a:pt x="59" y="599"/>
                </a:lnTo>
                <a:lnTo>
                  <a:pt x="57" y="597"/>
                </a:lnTo>
                <a:lnTo>
                  <a:pt x="56" y="599"/>
                </a:lnTo>
                <a:lnTo>
                  <a:pt x="55" y="599"/>
                </a:lnTo>
                <a:lnTo>
                  <a:pt x="55" y="597"/>
                </a:lnTo>
                <a:lnTo>
                  <a:pt x="53" y="597"/>
                </a:lnTo>
                <a:lnTo>
                  <a:pt x="52" y="597"/>
                </a:lnTo>
                <a:lnTo>
                  <a:pt x="51" y="599"/>
                </a:lnTo>
                <a:lnTo>
                  <a:pt x="49" y="597"/>
                </a:lnTo>
                <a:lnTo>
                  <a:pt x="48" y="596"/>
                </a:lnTo>
                <a:lnTo>
                  <a:pt x="46" y="597"/>
                </a:lnTo>
                <a:lnTo>
                  <a:pt x="45" y="597"/>
                </a:lnTo>
                <a:lnTo>
                  <a:pt x="44" y="597"/>
                </a:lnTo>
                <a:lnTo>
                  <a:pt x="42" y="596"/>
                </a:lnTo>
                <a:lnTo>
                  <a:pt x="40" y="596"/>
                </a:lnTo>
                <a:lnTo>
                  <a:pt x="38" y="596"/>
                </a:lnTo>
                <a:lnTo>
                  <a:pt x="38" y="594"/>
                </a:lnTo>
                <a:lnTo>
                  <a:pt x="37" y="596"/>
                </a:lnTo>
                <a:lnTo>
                  <a:pt x="35" y="596"/>
                </a:lnTo>
                <a:lnTo>
                  <a:pt x="34" y="594"/>
                </a:lnTo>
                <a:lnTo>
                  <a:pt x="33" y="594"/>
                </a:lnTo>
                <a:lnTo>
                  <a:pt x="33" y="592"/>
                </a:lnTo>
                <a:lnTo>
                  <a:pt x="31" y="592"/>
                </a:lnTo>
                <a:lnTo>
                  <a:pt x="30" y="590"/>
                </a:lnTo>
                <a:lnTo>
                  <a:pt x="30" y="589"/>
                </a:lnTo>
                <a:lnTo>
                  <a:pt x="30" y="588"/>
                </a:lnTo>
                <a:lnTo>
                  <a:pt x="27" y="586"/>
                </a:lnTo>
                <a:lnTo>
                  <a:pt x="26" y="586"/>
                </a:lnTo>
                <a:lnTo>
                  <a:pt x="26" y="585"/>
                </a:lnTo>
                <a:lnTo>
                  <a:pt x="27" y="585"/>
                </a:lnTo>
                <a:lnTo>
                  <a:pt x="26" y="583"/>
                </a:lnTo>
                <a:lnTo>
                  <a:pt x="26" y="582"/>
                </a:lnTo>
                <a:lnTo>
                  <a:pt x="24" y="582"/>
                </a:lnTo>
                <a:lnTo>
                  <a:pt x="23" y="582"/>
                </a:lnTo>
                <a:lnTo>
                  <a:pt x="22" y="582"/>
                </a:lnTo>
                <a:lnTo>
                  <a:pt x="19" y="582"/>
                </a:lnTo>
                <a:lnTo>
                  <a:pt x="18" y="581"/>
                </a:lnTo>
                <a:lnTo>
                  <a:pt x="18" y="579"/>
                </a:lnTo>
                <a:lnTo>
                  <a:pt x="16" y="578"/>
                </a:lnTo>
                <a:lnTo>
                  <a:pt x="15" y="577"/>
                </a:lnTo>
                <a:lnTo>
                  <a:pt x="13" y="577"/>
                </a:lnTo>
                <a:lnTo>
                  <a:pt x="12" y="578"/>
                </a:lnTo>
                <a:lnTo>
                  <a:pt x="12" y="577"/>
                </a:lnTo>
                <a:lnTo>
                  <a:pt x="11" y="577"/>
                </a:lnTo>
                <a:lnTo>
                  <a:pt x="9" y="575"/>
                </a:lnTo>
                <a:lnTo>
                  <a:pt x="9" y="575"/>
                </a:lnTo>
                <a:lnTo>
                  <a:pt x="12" y="575"/>
                </a:lnTo>
                <a:lnTo>
                  <a:pt x="12" y="574"/>
                </a:lnTo>
                <a:lnTo>
                  <a:pt x="12" y="572"/>
                </a:lnTo>
                <a:lnTo>
                  <a:pt x="12" y="571"/>
                </a:lnTo>
                <a:lnTo>
                  <a:pt x="11" y="571"/>
                </a:lnTo>
                <a:lnTo>
                  <a:pt x="9" y="568"/>
                </a:lnTo>
                <a:lnTo>
                  <a:pt x="8" y="567"/>
                </a:lnTo>
                <a:lnTo>
                  <a:pt x="8" y="564"/>
                </a:lnTo>
                <a:lnTo>
                  <a:pt x="7" y="563"/>
                </a:lnTo>
                <a:lnTo>
                  <a:pt x="5" y="561"/>
                </a:lnTo>
                <a:lnTo>
                  <a:pt x="5" y="560"/>
                </a:lnTo>
                <a:lnTo>
                  <a:pt x="5" y="559"/>
                </a:lnTo>
                <a:lnTo>
                  <a:pt x="5" y="557"/>
                </a:lnTo>
                <a:lnTo>
                  <a:pt x="5" y="556"/>
                </a:lnTo>
                <a:lnTo>
                  <a:pt x="4" y="556"/>
                </a:lnTo>
                <a:lnTo>
                  <a:pt x="5" y="553"/>
                </a:lnTo>
                <a:lnTo>
                  <a:pt x="4" y="552"/>
                </a:lnTo>
                <a:lnTo>
                  <a:pt x="2" y="550"/>
                </a:lnTo>
                <a:lnTo>
                  <a:pt x="0" y="550"/>
                </a:lnTo>
                <a:lnTo>
                  <a:pt x="30" y="52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1" name="Freeform 127"/>
          <p:cNvSpPr>
            <a:spLocks/>
          </p:cNvSpPr>
          <p:nvPr>
            <p:custDataLst>
              <p:tags r:id="rId47"/>
            </p:custDataLst>
          </p:nvPr>
        </p:nvSpPr>
        <p:spPr bwMode="gray">
          <a:xfrm>
            <a:off x="3144773" y="3972434"/>
            <a:ext cx="410176" cy="567809"/>
          </a:xfrm>
          <a:custGeom>
            <a:avLst/>
            <a:gdLst>
              <a:gd name="T0" fmla="*/ 77 w 431"/>
              <a:gd name="T1" fmla="*/ 406 h 635"/>
              <a:gd name="T2" fmla="*/ 248 w 431"/>
              <a:gd name="T3" fmla="*/ 297 h 635"/>
              <a:gd name="T4" fmla="*/ 196 w 431"/>
              <a:gd name="T5" fmla="*/ 197 h 635"/>
              <a:gd name="T6" fmla="*/ 282 w 431"/>
              <a:gd name="T7" fmla="*/ 94 h 635"/>
              <a:gd name="T8" fmla="*/ 429 w 431"/>
              <a:gd name="T9" fmla="*/ 0 h 635"/>
              <a:gd name="T10" fmla="*/ 431 w 431"/>
              <a:gd name="T11" fmla="*/ 52 h 635"/>
              <a:gd name="T12" fmla="*/ 411 w 431"/>
              <a:gd name="T13" fmla="*/ 96 h 635"/>
              <a:gd name="T14" fmla="*/ 339 w 431"/>
              <a:gd name="T15" fmla="*/ 144 h 635"/>
              <a:gd name="T16" fmla="*/ 293 w 431"/>
              <a:gd name="T17" fmla="*/ 223 h 635"/>
              <a:gd name="T18" fmla="*/ 282 w 431"/>
              <a:gd name="T19" fmla="*/ 285 h 635"/>
              <a:gd name="T20" fmla="*/ 268 w 431"/>
              <a:gd name="T21" fmla="*/ 359 h 635"/>
              <a:gd name="T22" fmla="*/ 286 w 431"/>
              <a:gd name="T23" fmla="*/ 387 h 635"/>
              <a:gd name="T24" fmla="*/ 306 w 431"/>
              <a:gd name="T25" fmla="*/ 454 h 635"/>
              <a:gd name="T26" fmla="*/ 334 w 431"/>
              <a:gd name="T27" fmla="*/ 491 h 635"/>
              <a:gd name="T28" fmla="*/ 279 w 431"/>
              <a:gd name="T29" fmla="*/ 568 h 635"/>
              <a:gd name="T30" fmla="*/ 178 w 431"/>
              <a:gd name="T31" fmla="*/ 634 h 635"/>
              <a:gd name="T32" fmla="*/ 178 w 431"/>
              <a:gd name="T33" fmla="*/ 629 h 635"/>
              <a:gd name="T34" fmla="*/ 182 w 431"/>
              <a:gd name="T35" fmla="*/ 622 h 635"/>
              <a:gd name="T36" fmla="*/ 178 w 431"/>
              <a:gd name="T37" fmla="*/ 607 h 635"/>
              <a:gd name="T38" fmla="*/ 169 w 431"/>
              <a:gd name="T39" fmla="*/ 598 h 635"/>
              <a:gd name="T40" fmla="*/ 158 w 431"/>
              <a:gd name="T41" fmla="*/ 601 h 635"/>
              <a:gd name="T42" fmla="*/ 153 w 431"/>
              <a:gd name="T43" fmla="*/ 594 h 635"/>
              <a:gd name="T44" fmla="*/ 156 w 431"/>
              <a:gd name="T45" fmla="*/ 585 h 635"/>
              <a:gd name="T46" fmla="*/ 149 w 431"/>
              <a:gd name="T47" fmla="*/ 574 h 635"/>
              <a:gd name="T48" fmla="*/ 145 w 431"/>
              <a:gd name="T49" fmla="*/ 568 h 635"/>
              <a:gd name="T50" fmla="*/ 130 w 431"/>
              <a:gd name="T51" fmla="*/ 564 h 635"/>
              <a:gd name="T52" fmla="*/ 116 w 431"/>
              <a:gd name="T53" fmla="*/ 563 h 635"/>
              <a:gd name="T54" fmla="*/ 105 w 431"/>
              <a:gd name="T55" fmla="*/ 561 h 635"/>
              <a:gd name="T56" fmla="*/ 95 w 431"/>
              <a:gd name="T57" fmla="*/ 552 h 635"/>
              <a:gd name="T58" fmla="*/ 81 w 431"/>
              <a:gd name="T59" fmla="*/ 536 h 635"/>
              <a:gd name="T60" fmla="*/ 79 w 431"/>
              <a:gd name="T61" fmla="*/ 528 h 635"/>
              <a:gd name="T62" fmla="*/ 74 w 431"/>
              <a:gd name="T63" fmla="*/ 527 h 635"/>
              <a:gd name="T64" fmla="*/ 66 w 431"/>
              <a:gd name="T65" fmla="*/ 521 h 635"/>
              <a:gd name="T66" fmla="*/ 70 w 431"/>
              <a:gd name="T67" fmla="*/ 506 h 635"/>
              <a:gd name="T68" fmla="*/ 72 w 431"/>
              <a:gd name="T69" fmla="*/ 497 h 635"/>
              <a:gd name="T70" fmla="*/ 63 w 431"/>
              <a:gd name="T71" fmla="*/ 490 h 635"/>
              <a:gd name="T72" fmla="*/ 57 w 431"/>
              <a:gd name="T73" fmla="*/ 479 h 635"/>
              <a:gd name="T74" fmla="*/ 54 w 431"/>
              <a:gd name="T75" fmla="*/ 468 h 635"/>
              <a:gd name="T76" fmla="*/ 40 w 431"/>
              <a:gd name="T77" fmla="*/ 461 h 635"/>
              <a:gd name="T78" fmla="*/ 35 w 431"/>
              <a:gd name="T79" fmla="*/ 455 h 635"/>
              <a:gd name="T80" fmla="*/ 22 w 431"/>
              <a:gd name="T81" fmla="*/ 442 h 635"/>
              <a:gd name="T82" fmla="*/ 13 w 431"/>
              <a:gd name="T83" fmla="*/ 428 h 635"/>
              <a:gd name="T84" fmla="*/ 7 w 431"/>
              <a:gd name="T85" fmla="*/ 417 h 6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431" h="635">
                <a:moveTo>
                  <a:pt x="0" y="409"/>
                </a:moveTo>
                <a:lnTo>
                  <a:pt x="0" y="406"/>
                </a:lnTo>
                <a:lnTo>
                  <a:pt x="77" y="406"/>
                </a:lnTo>
                <a:lnTo>
                  <a:pt x="150" y="377"/>
                </a:lnTo>
                <a:lnTo>
                  <a:pt x="222" y="366"/>
                </a:lnTo>
                <a:lnTo>
                  <a:pt x="248" y="297"/>
                </a:lnTo>
                <a:lnTo>
                  <a:pt x="208" y="249"/>
                </a:lnTo>
                <a:lnTo>
                  <a:pt x="211" y="219"/>
                </a:lnTo>
                <a:lnTo>
                  <a:pt x="196" y="197"/>
                </a:lnTo>
                <a:lnTo>
                  <a:pt x="211" y="176"/>
                </a:lnTo>
                <a:lnTo>
                  <a:pt x="187" y="128"/>
                </a:lnTo>
                <a:lnTo>
                  <a:pt x="282" y="94"/>
                </a:lnTo>
                <a:lnTo>
                  <a:pt x="369" y="48"/>
                </a:lnTo>
                <a:lnTo>
                  <a:pt x="403" y="7"/>
                </a:lnTo>
                <a:lnTo>
                  <a:pt x="429" y="0"/>
                </a:lnTo>
                <a:lnTo>
                  <a:pt x="429" y="7"/>
                </a:lnTo>
                <a:lnTo>
                  <a:pt x="420" y="11"/>
                </a:lnTo>
                <a:lnTo>
                  <a:pt x="431" y="52"/>
                </a:lnTo>
                <a:lnTo>
                  <a:pt x="420" y="77"/>
                </a:lnTo>
                <a:lnTo>
                  <a:pt x="429" y="85"/>
                </a:lnTo>
                <a:lnTo>
                  <a:pt x="411" y="96"/>
                </a:lnTo>
                <a:lnTo>
                  <a:pt x="383" y="92"/>
                </a:lnTo>
                <a:lnTo>
                  <a:pt x="339" y="131"/>
                </a:lnTo>
                <a:lnTo>
                  <a:pt x="339" y="144"/>
                </a:lnTo>
                <a:lnTo>
                  <a:pt x="312" y="169"/>
                </a:lnTo>
                <a:lnTo>
                  <a:pt x="293" y="198"/>
                </a:lnTo>
                <a:lnTo>
                  <a:pt x="293" y="223"/>
                </a:lnTo>
                <a:lnTo>
                  <a:pt x="271" y="234"/>
                </a:lnTo>
                <a:lnTo>
                  <a:pt x="270" y="245"/>
                </a:lnTo>
                <a:lnTo>
                  <a:pt x="282" y="285"/>
                </a:lnTo>
                <a:lnTo>
                  <a:pt x="270" y="305"/>
                </a:lnTo>
                <a:lnTo>
                  <a:pt x="279" y="351"/>
                </a:lnTo>
                <a:lnTo>
                  <a:pt x="268" y="359"/>
                </a:lnTo>
                <a:lnTo>
                  <a:pt x="289" y="371"/>
                </a:lnTo>
                <a:lnTo>
                  <a:pt x="278" y="381"/>
                </a:lnTo>
                <a:lnTo>
                  <a:pt x="286" y="387"/>
                </a:lnTo>
                <a:lnTo>
                  <a:pt x="278" y="396"/>
                </a:lnTo>
                <a:lnTo>
                  <a:pt x="296" y="402"/>
                </a:lnTo>
                <a:lnTo>
                  <a:pt x="306" y="454"/>
                </a:lnTo>
                <a:lnTo>
                  <a:pt x="322" y="457"/>
                </a:lnTo>
                <a:lnTo>
                  <a:pt x="321" y="479"/>
                </a:lnTo>
                <a:lnTo>
                  <a:pt x="334" y="491"/>
                </a:lnTo>
                <a:lnTo>
                  <a:pt x="326" y="532"/>
                </a:lnTo>
                <a:lnTo>
                  <a:pt x="292" y="554"/>
                </a:lnTo>
                <a:lnTo>
                  <a:pt x="279" y="568"/>
                </a:lnTo>
                <a:lnTo>
                  <a:pt x="238" y="576"/>
                </a:lnTo>
                <a:lnTo>
                  <a:pt x="178" y="635"/>
                </a:lnTo>
                <a:lnTo>
                  <a:pt x="178" y="634"/>
                </a:lnTo>
                <a:lnTo>
                  <a:pt x="176" y="634"/>
                </a:lnTo>
                <a:lnTo>
                  <a:pt x="176" y="631"/>
                </a:lnTo>
                <a:lnTo>
                  <a:pt x="178" y="629"/>
                </a:lnTo>
                <a:lnTo>
                  <a:pt x="180" y="627"/>
                </a:lnTo>
                <a:lnTo>
                  <a:pt x="182" y="624"/>
                </a:lnTo>
                <a:lnTo>
                  <a:pt x="182" y="622"/>
                </a:lnTo>
                <a:lnTo>
                  <a:pt x="183" y="619"/>
                </a:lnTo>
                <a:lnTo>
                  <a:pt x="180" y="613"/>
                </a:lnTo>
                <a:lnTo>
                  <a:pt x="178" y="607"/>
                </a:lnTo>
                <a:lnTo>
                  <a:pt x="175" y="600"/>
                </a:lnTo>
                <a:lnTo>
                  <a:pt x="172" y="598"/>
                </a:lnTo>
                <a:lnTo>
                  <a:pt x="169" y="598"/>
                </a:lnTo>
                <a:lnTo>
                  <a:pt x="167" y="600"/>
                </a:lnTo>
                <a:lnTo>
                  <a:pt x="163" y="601"/>
                </a:lnTo>
                <a:lnTo>
                  <a:pt x="158" y="601"/>
                </a:lnTo>
                <a:lnTo>
                  <a:pt x="157" y="600"/>
                </a:lnTo>
                <a:lnTo>
                  <a:pt x="154" y="596"/>
                </a:lnTo>
                <a:lnTo>
                  <a:pt x="153" y="594"/>
                </a:lnTo>
                <a:lnTo>
                  <a:pt x="154" y="593"/>
                </a:lnTo>
                <a:lnTo>
                  <a:pt x="156" y="589"/>
                </a:lnTo>
                <a:lnTo>
                  <a:pt x="156" y="585"/>
                </a:lnTo>
                <a:lnTo>
                  <a:pt x="153" y="579"/>
                </a:lnTo>
                <a:lnTo>
                  <a:pt x="149" y="576"/>
                </a:lnTo>
                <a:lnTo>
                  <a:pt x="149" y="574"/>
                </a:lnTo>
                <a:lnTo>
                  <a:pt x="147" y="571"/>
                </a:lnTo>
                <a:lnTo>
                  <a:pt x="147" y="569"/>
                </a:lnTo>
                <a:lnTo>
                  <a:pt x="145" y="568"/>
                </a:lnTo>
                <a:lnTo>
                  <a:pt x="141" y="567"/>
                </a:lnTo>
                <a:lnTo>
                  <a:pt x="135" y="564"/>
                </a:lnTo>
                <a:lnTo>
                  <a:pt x="130" y="564"/>
                </a:lnTo>
                <a:lnTo>
                  <a:pt x="125" y="564"/>
                </a:lnTo>
                <a:lnTo>
                  <a:pt x="120" y="564"/>
                </a:lnTo>
                <a:lnTo>
                  <a:pt x="116" y="563"/>
                </a:lnTo>
                <a:lnTo>
                  <a:pt x="112" y="563"/>
                </a:lnTo>
                <a:lnTo>
                  <a:pt x="109" y="563"/>
                </a:lnTo>
                <a:lnTo>
                  <a:pt x="105" y="561"/>
                </a:lnTo>
                <a:lnTo>
                  <a:pt x="102" y="561"/>
                </a:lnTo>
                <a:lnTo>
                  <a:pt x="98" y="557"/>
                </a:lnTo>
                <a:lnTo>
                  <a:pt x="95" y="552"/>
                </a:lnTo>
                <a:lnTo>
                  <a:pt x="92" y="547"/>
                </a:lnTo>
                <a:lnTo>
                  <a:pt x="85" y="542"/>
                </a:lnTo>
                <a:lnTo>
                  <a:pt x="81" y="536"/>
                </a:lnTo>
                <a:lnTo>
                  <a:pt x="79" y="531"/>
                </a:lnTo>
                <a:lnTo>
                  <a:pt x="79" y="528"/>
                </a:lnTo>
                <a:lnTo>
                  <a:pt x="79" y="528"/>
                </a:lnTo>
                <a:lnTo>
                  <a:pt x="79" y="527"/>
                </a:lnTo>
                <a:lnTo>
                  <a:pt x="77" y="525"/>
                </a:lnTo>
                <a:lnTo>
                  <a:pt x="74" y="527"/>
                </a:lnTo>
                <a:lnTo>
                  <a:pt x="72" y="527"/>
                </a:lnTo>
                <a:lnTo>
                  <a:pt x="68" y="524"/>
                </a:lnTo>
                <a:lnTo>
                  <a:pt x="66" y="521"/>
                </a:lnTo>
                <a:lnTo>
                  <a:pt x="65" y="520"/>
                </a:lnTo>
                <a:lnTo>
                  <a:pt x="69" y="509"/>
                </a:lnTo>
                <a:lnTo>
                  <a:pt x="70" y="506"/>
                </a:lnTo>
                <a:lnTo>
                  <a:pt x="69" y="501"/>
                </a:lnTo>
                <a:lnTo>
                  <a:pt x="70" y="499"/>
                </a:lnTo>
                <a:lnTo>
                  <a:pt x="72" y="497"/>
                </a:lnTo>
                <a:lnTo>
                  <a:pt x="69" y="494"/>
                </a:lnTo>
                <a:lnTo>
                  <a:pt x="66" y="491"/>
                </a:lnTo>
                <a:lnTo>
                  <a:pt x="63" y="490"/>
                </a:lnTo>
                <a:lnTo>
                  <a:pt x="58" y="486"/>
                </a:lnTo>
                <a:lnTo>
                  <a:pt x="57" y="481"/>
                </a:lnTo>
                <a:lnTo>
                  <a:pt x="57" y="479"/>
                </a:lnTo>
                <a:lnTo>
                  <a:pt x="57" y="476"/>
                </a:lnTo>
                <a:lnTo>
                  <a:pt x="55" y="472"/>
                </a:lnTo>
                <a:lnTo>
                  <a:pt x="54" y="468"/>
                </a:lnTo>
                <a:lnTo>
                  <a:pt x="51" y="465"/>
                </a:lnTo>
                <a:lnTo>
                  <a:pt x="43" y="461"/>
                </a:lnTo>
                <a:lnTo>
                  <a:pt x="40" y="461"/>
                </a:lnTo>
                <a:lnTo>
                  <a:pt x="37" y="461"/>
                </a:lnTo>
                <a:lnTo>
                  <a:pt x="36" y="458"/>
                </a:lnTo>
                <a:lnTo>
                  <a:pt x="35" y="455"/>
                </a:lnTo>
                <a:lnTo>
                  <a:pt x="26" y="453"/>
                </a:lnTo>
                <a:lnTo>
                  <a:pt x="25" y="450"/>
                </a:lnTo>
                <a:lnTo>
                  <a:pt x="22" y="442"/>
                </a:lnTo>
                <a:lnTo>
                  <a:pt x="17" y="435"/>
                </a:lnTo>
                <a:lnTo>
                  <a:pt x="15" y="429"/>
                </a:lnTo>
                <a:lnTo>
                  <a:pt x="13" y="428"/>
                </a:lnTo>
                <a:lnTo>
                  <a:pt x="11" y="425"/>
                </a:lnTo>
                <a:lnTo>
                  <a:pt x="10" y="421"/>
                </a:lnTo>
                <a:lnTo>
                  <a:pt x="7" y="417"/>
                </a:lnTo>
                <a:lnTo>
                  <a:pt x="2" y="411"/>
                </a:lnTo>
                <a:lnTo>
                  <a:pt x="0" y="409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2" name="Freeform 128"/>
          <p:cNvSpPr>
            <a:spLocks/>
          </p:cNvSpPr>
          <p:nvPr>
            <p:custDataLst>
              <p:tags r:id="rId48"/>
            </p:custDataLst>
          </p:nvPr>
        </p:nvSpPr>
        <p:spPr bwMode="gray">
          <a:xfrm>
            <a:off x="2835475" y="3916100"/>
            <a:ext cx="554833" cy="422057"/>
          </a:xfrm>
          <a:custGeom>
            <a:avLst/>
            <a:gdLst>
              <a:gd name="T0" fmla="*/ 11 w 583"/>
              <a:gd name="T1" fmla="*/ 69 h 472"/>
              <a:gd name="T2" fmla="*/ 17 w 583"/>
              <a:gd name="T3" fmla="*/ 59 h 472"/>
              <a:gd name="T4" fmla="*/ 22 w 583"/>
              <a:gd name="T5" fmla="*/ 47 h 472"/>
              <a:gd name="T6" fmla="*/ 30 w 583"/>
              <a:gd name="T7" fmla="*/ 43 h 472"/>
              <a:gd name="T8" fmla="*/ 38 w 583"/>
              <a:gd name="T9" fmla="*/ 32 h 472"/>
              <a:gd name="T10" fmla="*/ 315 w 583"/>
              <a:gd name="T11" fmla="*/ 187 h 472"/>
              <a:gd name="T12" fmla="*/ 335 w 583"/>
              <a:gd name="T13" fmla="*/ 472 h 472"/>
              <a:gd name="T14" fmla="*/ 332 w 583"/>
              <a:gd name="T15" fmla="*/ 451 h 472"/>
              <a:gd name="T16" fmla="*/ 331 w 583"/>
              <a:gd name="T17" fmla="*/ 433 h 472"/>
              <a:gd name="T18" fmla="*/ 338 w 583"/>
              <a:gd name="T19" fmla="*/ 415 h 472"/>
              <a:gd name="T20" fmla="*/ 346 w 583"/>
              <a:gd name="T21" fmla="*/ 403 h 472"/>
              <a:gd name="T22" fmla="*/ 346 w 583"/>
              <a:gd name="T23" fmla="*/ 389 h 472"/>
              <a:gd name="T24" fmla="*/ 337 w 583"/>
              <a:gd name="T25" fmla="*/ 384 h 472"/>
              <a:gd name="T26" fmla="*/ 327 w 583"/>
              <a:gd name="T27" fmla="*/ 380 h 472"/>
              <a:gd name="T28" fmla="*/ 327 w 583"/>
              <a:gd name="T29" fmla="*/ 364 h 472"/>
              <a:gd name="T30" fmla="*/ 324 w 583"/>
              <a:gd name="T31" fmla="*/ 353 h 472"/>
              <a:gd name="T32" fmla="*/ 316 w 583"/>
              <a:gd name="T33" fmla="*/ 341 h 472"/>
              <a:gd name="T34" fmla="*/ 309 w 583"/>
              <a:gd name="T35" fmla="*/ 333 h 472"/>
              <a:gd name="T36" fmla="*/ 302 w 583"/>
              <a:gd name="T37" fmla="*/ 326 h 472"/>
              <a:gd name="T38" fmla="*/ 293 w 583"/>
              <a:gd name="T39" fmla="*/ 320 h 472"/>
              <a:gd name="T40" fmla="*/ 282 w 583"/>
              <a:gd name="T41" fmla="*/ 312 h 472"/>
              <a:gd name="T42" fmla="*/ 268 w 583"/>
              <a:gd name="T43" fmla="*/ 315 h 472"/>
              <a:gd name="T44" fmla="*/ 261 w 583"/>
              <a:gd name="T45" fmla="*/ 308 h 472"/>
              <a:gd name="T46" fmla="*/ 253 w 583"/>
              <a:gd name="T47" fmla="*/ 300 h 472"/>
              <a:gd name="T48" fmla="*/ 240 w 583"/>
              <a:gd name="T49" fmla="*/ 294 h 472"/>
              <a:gd name="T50" fmla="*/ 227 w 583"/>
              <a:gd name="T51" fmla="*/ 292 h 472"/>
              <a:gd name="T52" fmla="*/ 221 w 583"/>
              <a:gd name="T53" fmla="*/ 282 h 472"/>
              <a:gd name="T54" fmla="*/ 205 w 583"/>
              <a:gd name="T55" fmla="*/ 282 h 472"/>
              <a:gd name="T56" fmla="*/ 192 w 583"/>
              <a:gd name="T57" fmla="*/ 282 h 472"/>
              <a:gd name="T58" fmla="*/ 188 w 583"/>
              <a:gd name="T59" fmla="*/ 272 h 472"/>
              <a:gd name="T60" fmla="*/ 188 w 583"/>
              <a:gd name="T61" fmla="*/ 261 h 472"/>
              <a:gd name="T62" fmla="*/ 183 w 583"/>
              <a:gd name="T63" fmla="*/ 252 h 472"/>
              <a:gd name="T64" fmla="*/ 173 w 583"/>
              <a:gd name="T65" fmla="*/ 248 h 472"/>
              <a:gd name="T66" fmla="*/ 163 w 583"/>
              <a:gd name="T67" fmla="*/ 243 h 472"/>
              <a:gd name="T68" fmla="*/ 151 w 583"/>
              <a:gd name="T69" fmla="*/ 243 h 472"/>
              <a:gd name="T70" fmla="*/ 140 w 583"/>
              <a:gd name="T71" fmla="*/ 239 h 472"/>
              <a:gd name="T72" fmla="*/ 130 w 583"/>
              <a:gd name="T73" fmla="*/ 246 h 472"/>
              <a:gd name="T74" fmla="*/ 119 w 583"/>
              <a:gd name="T75" fmla="*/ 241 h 472"/>
              <a:gd name="T76" fmla="*/ 103 w 583"/>
              <a:gd name="T77" fmla="*/ 237 h 472"/>
              <a:gd name="T78" fmla="*/ 93 w 583"/>
              <a:gd name="T79" fmla="*/ 228 h 472"/>
              <a:gd name="T80" fmla="*/ 88 w 583"/>
              <a:gd name="T81" fmla="*/ 217 h 472"/>
              <a:gd name="T82" fmla="*/ 79 w 583"/>
              <a:gd name="T83" fmla="*/ 208 h 472"/>
              <a:gd name="T84" fmla="*/ 64 w 583"/>
              <a:gd name="T85" fmla="*/ 213 h 472"/>
              <a:gd name="T86" fmla="*/ 57 w 583"/>
              <a:gd name="T87" fmla="*/ 221 h 472"/>
              <a:gd name="T88" fmla="*/ 59 w 583"/>
              <a:gd name="T89" fmla="*/ 208 h 472"/>
              <a:gd name="T90" fmla="*/ 71 w 583"/>
              <a:gd name="T91" fmla="*/ 198 h 472"/>
              <a:gd name="T92" fmla="*/ 84 w 583"/>
              <a:gd name="T93" fmla="*/ 184 h 472"/>
              <a:gd name="T94" fmla="*/ 81 w 583"/>
              <a:gd name="T95" fmla="*/ 164 h 472"/>
              <a:gd name="T96" fmla="*/ 68 w 583"/>
              <a:gd name="T97" fmla="*/ 169 h 472"/>
              <a:gd name="T98" fmla="*/ 66 w 583"/>
              <a:gd name="T99" fmla="*/ 157 h 472"/>
              <a:gd name="T100" fmla="*/ 60 w 583"/>
              <a:gd name="T101" fmla="*/ 146 h 472"/>
              <a:gd name="T102" fmla="*/ 48 w 583"/>
              <a:gd name="T103" fmla="*/ 142 h 472"/>
              <a:gd name="T104" fmla="*/ 31 w 583"/>
              <a:gd name="T105" fmla="*/ 133 h 472"/>
              <a:gd name="T106" fmla="*/ 23 w 583"/>
              <a:gd name="T107" fmla="*/ 124 h 472"/>
              <a:gd name="T108" fmla="*/ 8 w 583"/>
              <a:gd name="T109" fmla="*/ 116 h 472"/>
              <a:gd name="T110" fmla="*/ 4 w 583"/>
              <a:gd name="T111" fmla="*/ 105 h 472"/>
              <a:gd name="T112" fmla="*/ 6 w 583"/>
              <a:gd name="T113" fmla="*/ 89 h 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583" h="472">
                <a:moveTo>
                  <a:pt x="0" y="78"/>
                </a:moveTo>
                <a:lnTo>
                  <a:pt x="1" y="77"/>
                </a:lnTo>
                <a:lnTo>
                  <a:pt x="2" y="77"/>
                </a:lnTo>
                <a:lnTo>
                  <a:pt x="4" y="76"/>
                </a:lnTo>
                <a:lnTo>
                  <a:pt x="6" y="76"/>
                </a:lnTo>
                <a:lnTo>
                  <a:pt x="9" y="74"/>
                </a:lnTo>
                <a:lnTo>
                  <a:pt x="11" y="73"/>
                </a:lnTo>
                <a:lnTo>
                  <a:pt x="12" y="72"/>
                </a:lnTo>
                <a:lnTo>
                  <a:pt x="12" y="70"/>
                </a:lnTo>
                <a:lnTo>
                  <a:pt x="11" y="69"/>
                </a:lnTo>
                <a:lnTo>
                  <a:pt x="11" y="67"/>
                </a:lnTo>
                <a:lnTo>
                  <a:pt x="12" y="67"/>
                </a:lnTo>
                <a:lnTo>
                  <a:pt x="13" y="66"/>
                </a:lnTo>
                <a:lnTo>
                  <a:pt x="15" y="65"/>
                </a:lnTo>
                <a:lnTo>
                  <a:pt x="15" y="65"/>
                </a:lnTo>
                <a:lnTo>
                  <a:pt x="13" y="63"/>
                </a:lnTo>
                <a:lnTo>
                  <a:pt x="13" y="62"/>
                </a:lnTo>
                <a:lnTo>
                  <a:pt x="13" y="61"/>
                </a:lnTo>
                <a:lnTo>
                  <a:pt x="15" y="59"/>
                </a:lnTo>
                <a:lnTo>
                  <a:pt x="17" y="59"/>
                </a:lnTo>
                <a:lnTo>
                  <a:pt x="20" y="59"/>
                </a:lnTo>
                <a:lnTo>
                  <a:pt x="23" y="59"/>
                </a:lnTo>
                <a:lnTo>
                  <a:pt x="22" y="56"/>
                </a:lnTo>
                <a:lnTo>
                  <a:pt x="23" y="55"/>
                </a:lnTo>
                <a:lnTo>
                  <a:pt x="23" y="54"/>
                </a:lnTo>
                <a:lnTo>
                  <a:pt x="23" y="52"/>
                </a:lnTo>
                <a:lnTo>
                  <a:pt x="23" y="51"/>
                </a:lnTo>
                <a:lnTo>
                  <a:pt x="22" y="50"/>
                </a:lnTo>
                <a:lnTo>
                  <a:pt x="20" y="48"/>
                </a:lnTo>
                <a:lnTo>
                  <a:pt x="22" y="47"/>
                </a:lnTo>
                <a:lnTo>
                  <a:pt x="23" y="45"/>
                </a:lnTo>
                <a:lnTo>
                  <a:pt x="24" y="44"/>
                </a:lnTo>
                <a:lnTo>
                  <a:pt x="26" y="44"/>
                </a:lnTo>
                <a:lnTo>
                  <a:pt x="27" y="44"/>
                </a:lnTo>
                <a:lnTo>
                  <a:pt x="28" y="44"/>
                </a:lnTo>
                <a:lnTo>
                  <a:pt x="28" y="45"/>
                </a:lnTo>
                <a:lnTo>
                  <a:pt x="30" y="45"/>
                </a:lnTo>
                <a:lnTo>
                  <a:pt x="30" y="45"/>
                </a:lnTo>
                <a:lnTo>
                  <a:pt x="30" y="44"/>
                </a:lnTo>
                <a:lnTo>
                  <a:pt x="30" y="43"/>
                </a:lnTo>
                <a:lnTo>
                  <a:pt x="30" y="41"/>
                </a:lnTo>
                <a:lnTo>
                  <a:pt x="31" y="40"/>
                </a:lnTo>
                <a:lnTo>
                  <a:pt x="31" y="39"/>
                </a:lnTo>
                <a:lnTo>
                  <a:pt x="33" y="37"/>
                </a:lnTo>
                <a:lnTo>
                  <a:pt x="34" y="36"/>
                </a:lnTo>
                <a:lnTo>
                  <a:pt x="35" y="34"/>
                </a:lnTo>
                <a:lnTo>
                  <a:pt x="35" y="33"/>
                </a:lnTo>
                <a:lnTo>
                  <a:pt x="35" y="32"/>
                </a:lnTo>
                <a:lnTo>
                  <a:pt x="37" y="32"/>
                </a:lnTo>
                <a:lnTo>
                  <a:pt x="38" y="32"/>
                </a:lnTo>
                <a:lnTo>
                  <a:pt x="41" y="32"/>
                </a:lnTo>
                <a:lnTo>
                  <a:pt x="41" y="30"/>
                </a:lnTo>
                <a:lnTo>
                  <a:pt x="41" y="28"/>
                </a:lnTo>
                <a:lnTo>
                  <a:pt x="42" y="26"/>
                </a:lnTo>
                <a:lnTo>
                  <a:pt x="44" y="25"/>
                </a:lnTo>
                <a:lnTo>
                  <a:pt x="44" y="21"/>
                </a:lnTo>
                <a:lnTo>
                  <a:pt x="263" y="0"/>
                </a:lnTo>
                <a:lnTo>
                  <a:pt x="260" y="21"/>
                </a:lnTo>
                <a:lnTo>
                  <a:pt x="263" y="64"/>
                </a:lnTo>
                <a:lnTo>
                  <a:pt x="315" y="187"/>
                </a:lnTo>
                <a:lnTo>
                  <a:pt x="543" y="241"/>
                </a:lnTo>
                <a:lnTo>
                  <a:pt x="546" y="242"/>
                </a:lnTo>
                <a:lnTo>
                  <a:pt x="531" y="263"/>
                </a:lnTo>
                <a:lnTo>
                  <a:pt x="546" y="285"/>
                </a:lnTo>
                <a:lnTo>
                  <a:pt x="543" y="315"/>
                </a:lnTo>
                <a:lnTo>
                  <a:pt x="583" y="363"/>
                </a:lnTo>
                <a:lnTo>
                  <a:pt x="557" y="432"/>
                </a:lnTo>
                <a:lnTo>
                  <a:pt x="485" y="443"/>
                </a:lnTo>
                <a:lnTo>
                  <a:pt x="412" y="472"/>
                </a:lnTo>
                <a:lnTo>
                  <a:pt x="335" y="472"/>
                </a:lnTo>
                <a:lnTo>
                  <a:pt x="337" y="469"/>
                </a:lnTo>
                <a:lnTo>
                  <a:pt x="335" y="465"/>
                </a:lnTo>
                <a:lnTo>
                  <a:pt x="335" y="462"/>
                </a:lnTo>
                <a:lnTo>
                  <a:pt x="335" y="462"/>
                </a:lnTo>
                <a:lnTo>
                  <a:pt x="332" y="459"/>
                </a:lnTo>
                <a:lnTo>
                  <a:pt x="332" y="458"/>
                </a:lnTo>
                <a:lnTo>
                  <a:pt x="331" y="455"/>
                </a:lnTo>
                <a:lnTo>
                  <a:pt x="330" y="454"/>
                </a:lnTo>
                <a:lnTo>
                  <a:pt x="331" y="453"/>
                </a:lnTo>
                <a:lnTo>
                  <a:pt x="332" y="451"/>
                </a:lnTo>
                <a:lnTo>
                  <a:pt x="332" y="450"/>
                </a:lnTo>
                <a:lnTo>
                  <a:pt x="331" y="448"/>
                </a:lnTo>
                <a:lnTo>
                  <a:pt x="330" y="446"/>
                </a:lnTo>
                <a:lnTo>
                  <a:pt x="330" y="444"/>
                </a:lnTo>
                <a:lnTo>
                  <a:pt x="331" y="443"/>
                </a:lnTo>
                <a:lnTo>
                  <a:pt x="331" y="442"/>
                </a:lnTo>
                <a:lnTo>
                  <a:pt x="330" y="440"/>
                </a:lnTo>
                <a:lnTo>
                  <a:pt x="330" y="439"/>
                </a:lnTo>
                <a:lnTo>
                  <a:pt x="330" y="436"/>
                </a:lnTo>
                <a:lnTo>
                  <a:pt x="331" y="433"/>
                </a:lnTo>
                <a:lnTo>
                  <a:pt x="331" y="432"/>
                </a:lnTo>
                <a:lnTo>
                  <a:pt x="334" y="431"/>
                </a:lnTo>
                <a:lnTo>
                  <a:pt x="334" y="429"/>
                </a:lnTo>
                <a:lnTo>
                  <a:pt x="334" y="428"/>
                </a:lnTo>
                <a:lnTo>
                  <a:pt x="334" y="424"/>
                </a:lnTo>
                <a:lnTo>
                  <a:pt x="335" y="421"/>
                </a:lnTo>
                <a:lnTo>
                  <a:pt x="335" y="420"/>
                </a:lnTo>
                <a:lnTo>
                  <a:pt x="335" y="418"/>
                </a:lnTo>
                <a:lnTo>
                  <a:pt x="337" y="417"/>
                </a:lnTo>
                <a:lnTo>
                  <a:pt x="338" y="415"/>
                </a:lnTo>
                <a:lnTo>
                  <a:pt x="339" y="415"/>
                </a:lnTo>
                <a:lnTo>
                  <a:pt x="339" y="414"/>
                </a:lnTo>
                <a:lnTo>
                  <a:pt x="341" y="413"/>
                </a:lnTo>
                <a:lnTo>
                  <a:pt x="342" y="411"/>
                </a:lnTo>
                <a:lnTo>
                  <a:pt x="342" y="410"/>
                </a:lnTo>
                <a:lnTo>
                  <a:pt x="343" y="409"/>
                </a:lnTo>
                <a:lnTo>
                  <a:pt x="343" y="407"/>
                </a:lnTo>
                <a:lnTo>
                  <a:pt x="345" y="406"/>
                </a:lnTo>
                <a:lnTo>
                  <a:pt x="346" y="406"/>
                </a:lnTo>
                <a:lnTo>
                  <a:pt x="346" y="403"/>
                </a:lnTo>
                <a:lnTo>
                  <a:pt x="346" y="402"/>
                </a:lnTo>
                <a:lnTo>
                  <a:pt x="346" y="400"/>
                </a:lnTo>
                <a:lnTo>
                  <a:pt x="345" y="399"/>
                </a:lnTo>
                <a:lnTo>
                  <a:pt x="345" y="397"/>
                </a:lnTo>
                <a:lnTo>
                  <a:pt x="343" y="396"/>
                </a:lnTo>
                <a:lnTo>
                  <a:pt x="343" y="396"/>
                </a:lnTo>
                <a:lnTo>
                  <a:pt x="345" y="395"/>
                </a:lnTo>
                <a:lnTo>
                  <a:pt x="346" y="393"/>
                </a:lnTo>
                <a:lnTo>
                  <a:pt x="346" y="391"/>
                </a:lnTo>
                <a:lnTo>
                  <a:pt x="346" y="389"/>
                </a:lnTo>
                <a:lnTo>
                  <a:pt x="348" y="389"/>
                </a:lnTo>
                <a:lnTo>
                  <a:pt x="348" y="388"/>
                </a:lnTo>
                <a:lnTo>
                  <a:pt x="348" y="386"/>
                </a:lnTo>
                <a:lnTo>
                  <a:pt x="346" y="385"/>
                </a:lnTo>
                <a:lnTo>
                  <a:pt x="345" y="385"/>
                </a:lnTo>
                <a:lnTo>
                  <a:pt x="343" y="385"/>
                </a:lnTo>
                <a:lnTo>
                  <a:pt x="342" y="385"/>
                </a:lnTo>
                <a:lnTo>
                  <a:pt x="341" y="385"/>
                </a:lnTo>
                <a:lnTo>
                  <a:pt x="339" y="385"/>
                </a:lnTo>
                <a:lnTo>
                  <a:pt x="337" y="384"/>
                </a:lnTo>
                <a:lnTo>
                  <a:pt x="335" y="382"/>
                </a:lnTo>
                <a:lnTo>
                  <a:pt x="334" y="384"/>
                </a:lnTo>
                <a:lnTo>
                  <a:pt x="332" y="385"/>
                </a:lnTo>
                <a:lnTo>
                  <a:pt x="331" y="385"/>
                </a:lnTo>
                <a:lnTo>
                  <a:pt x="330" y="385"/>
                </a:lnTo>
                <a:lnTo>
                  <a:pt x="328" y="385"/>
                </a:lnTo>
                <a:lnTo>
                  <a:pt x="328" y="382"/>
                </a:lnTo>
                <a:lnTo>
                  <a:pt x="327" y="382"/>
                </a:lnTo>
                <a:lnTo>
                  <a:pt x="327" y="381"/>
                </a:lnTo>
                <a:lnTo>
                  <a:pt x="327" y="380"/>
                </a:lnTo>
                <a:lnTo>
                  <a:pt x="327" y="377"/>
                </a:lnTo>
                <a:lnTo>
                  <a:pt x="328" y="375"/>
                </a:lnTo>
                <a:lnTo>
                  <a:pt x="328" y="374"/>
                </a:lnTo>
                <a:lnTo>
                  <a:pt x="328" y="373"/>
                </a:lnTo>
                <a:lnTo>
                  <a:pt x="330" y="371"/>
                </a:lnTo>
                <a:lnTo>
                  <a:pt x="330" y="370"/>
                </a:lnTo>
                <a:lnTo>
                  <a:pt x="330" y="369"/>
                </a:lnTo>
                <a:lnTo>
                  <a:pt x="328" y="367"/>
                </a:lnTo>
                <a:lnTo>
                  <a:pt x="327" y="366"/>
                </a:lnTo>
                <a:lnTo>
                  <a:pt x="327" y="364"/>
                </a:lnTo>
                <a:lnTo>
                  <a:pt x="327" y="363"/>
                </a:lnTo>
                <a:lnTo>
                  <a:pt x="326" y="362"/>
                </a:lnTo>
                <a:lnTo>
                  <a:pt x="327" y="362"/>
                </a:lnTo>
                <a:lnTo>
                  <a:pt x="327" y="360"/>
                </a:lnTo>
                <a:lnTo>
                  <a:pt x="326" y="359"/>
                </a:lnTo>
                <a:lnTo>
                  <a:pt x="324" y="359"/>
                </a:lnTo>
                <a:lnTo>
                  <a:pt x="324" y="358"/>
                </a:lnTo>
                <a:lnTo>
                  <a:pt x="324" y="356"/>
                </a:lnTo>
                <a:lnTo>
                  <a:pt x="324" y="355"/>
                </a:lnTo>
                <a:lnTo>
                  <a:pt x="324" y="353"/>
                </a:lnTo>
                <a:lnTo>
                  <a:pt x="324" y="351"/>
                </a:lnTo>
                <a:lnTo>
                  <a:pt x="324" y="349"/>
                </a:lnTo>
                <a:lnTo>
                  <a:pt x="323" y="349"/>
                </a:lnTo>
                <a:lnTo>
                  <a:pt x="321" y="348"/>
                </a:lnTo>
                <a:lnTo>
                  <a:pt x="321" y="347"/>
                </a:lnTo>
                <a:lnTo>
                  <a:pt x="320" y="345"/>
                </a:lnTo>
                <a:lnTo>
                  <a:pt x="319" y="345"/>
                </a:lnTo>
                <a:lnTo>
                  <a:pt x="319" y="344"/>
                </a:lnTo>
                <a:lnTo>
                  <a:pt x="316" y="342"/>
                </a:lnTo>
                <a:lnTo>
                  <a:pt x="316" y="341"/>
                </a:lnTo>
                <a:lnTo>
                  <a:pt x="315" y="341"/>
                </a:lnTo>
                <a:lnTo>
                  <a:pt x="316" y="340"/>
                </a:lnTo>
                <a:lnTo>
                  <a:pt x="316" y="338"/>
                </a:lnTo>
                <a:lnTo>
                  <a:pt x="315" y="338"/>
                </a:lnTo>
                <a:lnTo>
                  <a:pt x="315" y="337"/>
                </a:lnTo>
                <a:lnTo>
                  <a:pt x="315" y="336"/>
                </a:lnTo>
                <a:lnTo>
                  <a:pt x="313" y="334"/>
                </a:lnTo>
                <a:lnTo>
                  <a:pt x="312" y="334"/>
                </a:lnTo>
                <a:lnTo>
                  <a:pt x="310" y="334"/>
                </a:lnTo>
                <a:lnTo>
                  <a:pt x="309" y="333"/>
                </a:lnTo>
                <a:lnTo>
                  <a:pt x="308" y="334"/>
                </a:lnTo>
                <a:lnTo>
                  <a:pt x="306" y="334"/>
                </a:lnTo>
                <a:lnTo>
                  <a:pt x="305" y="334"/>
                </a:lnTo>
                <a:lnTo>
                  <a:pt x="304" y="334"/>
                </a:lnTo>
                <a:lnTo>
                  <a:pt x="304" y="333"/>
                </a:lnTo>
                <a:lnTo>
                  <a:pt x="302" y="331"/>
                </a:lnTo>
                <a:lnTo>
                  <a:pt x="301" y="329"/>
                </a:lnTo>
                <a:lnTo>
                  <a:pt x="299" y="329"/>
                </a:lnTo>
                <a:lnTo>
                  <a:pt x="301" y="327"/>
                </a:lnTo>
                <a:lnTo>
                  <a:pt x="302" y="326"/>
                </a:lnTo>
                <a:lnTo>
                  <a:pt x="302" y="325"/>
                </a:lnTo>
                <a:lnTo>
                  <a:pt x="301" y="325"/>
                </a:lnTo>
                <a:lnTo>
                  <a:pt x="299" y="323"/>
                </a:lnTo>
                <a:lnTo>
                  <a:pt x="298" y="323"/>
                </a:lnTo>
                <a:lnTo>
                  <a:pt x="297" y="323"/>
                </a:lnTo>
                <a:lnTo>
                  <a:pt x="294" y="325"/>
                </a:lnTo>
                <a:lnTo>
                  <a:pt x="294" y="323"/>
                </a:lnTo>
                <a:lnTo>
                  <a:pt x="294" y="322"/>
                </a:lnTo>
                <a:lnTo>
                  <a:pt x="294" y="320"/>
                </a:lnTo>
                <a:lnTo>
                  <a:pt x="293" y="320"/>
                </a:lnTo>
                <a:lnTo>
                  <a:pt x="291" y="319"/>
                </a:lnTo>
                <a:lnTo>
                  <a:pt x="290" y="319"/>
                </a:lnTo>
                <a:lnTo>
                  <a:pt x="290" y="318"/>
                </a:lnTo>
                <a:lnTo>
                  <a:pt x="290" y="316"/>
                </a:lnTo>
                <a:lnTo>
                  <a:pt x="288" y="316"/>
                </a:lnTo>
                <a:lnTo>
                  <a:pt x="287" y="315"/>
                </a:lnTo>
                <a:lnTo>
                  <a:pt x="286" y="315"/>
                </a:lnTo>
                <a:lnTo>
                  <a:pt x="284" y="315"/>
                </a:lnTo>
                <a:lnTo>
                  <a:pt x="283" y="312"/>
                </a:lnTo>
                <a:lnTo>
                  <a:pt x="282" y="312"/>
                </a:lnTo>
                <a:lnTo>
                  <a:pt x="280" y="314"/>
                </a:lnTo>
                <a:lnTo>
                  <a:pt x="279" y="314"/>
                </a:lnTo>
                <a:lnTo>
                  <a:pt x="277" y="314"/>
                </a:lnTo>
                <a:lnTo>
                  <a:pt x="276" y="314"/>
                </a:lnTo>
                <a:lnTo>
                  <a:pt x="275" y="315"/>
                </a:lnTo>
                <a:lnTo>
                  <a:pt x="273" y="316"/>
                </a:lnTo>
                <a:lnTo>
                  <a:pt x="272" y="316"/>
                </a:lnTo>
                <a:lnTo>
                  <a:pt x="271" y="316"/>
                </a:lnTo>
                <a:lnTo>
                  <a:pt x="269" y="316"/>
                </a:lnTo>
                <a:lnTo>
                  <a:pt x="268" y="315"/>
                </a:lnTo>
                <a:lnTo>
                  <a:pt x="268" y="314"/>
                </a:lnTo>
                <a:lnTo>
                  <a:pt x="266" y="314"/>
                </a:lnTo>
                <a:lnTo>
                  <a:pt x="265" y="314"/>
                </a:lnTo>
                <a:lnTo>
                  <a:pt x="264" y="314"/>
                </a:lnTo>
                <a:lnTo>
                  <a:pt x="262" y="312"/>
                </a:lnTo>
                <a:lnTo>
                  <a:pt x="262" y="311"/>
                </a:lnTo>
                <a:lnTo>
                  <a:pt x="262" y="309"/>
                </a:lnTo>
                <a:lnTo>
                  <a:pt x="262" y="308"/>
                </a:lnTo>
                <a:lnTo>
                  <a:pt x="261" y="308"/>
                </a:lnTo>
                <a:lnTo>
                  <a:pt x="261" y="308"/>
                </a:lnTo>
                <a:lnTo>
                  <a:pt x="260" y="308"/>
                </a:lnTo>
                <a:lnTo>
                  <a:pt x="258" y="307"/>
                </a:lnTo>
                <a:lnTo>
                  <a:pt x="258" y="305"/>
                </a:lnTo>
                <a:lnTo>
                  <a:pt x="258" y="304"/>
                </a:lnTo>
                <a:lnTo>
                  <a:pt x="258" y="303"/>
                </a:lnTo>
                <a:lnTo>
                  <a:pt x="257" y="301"/>
                </a:lnTo>
                <a:lnTo>
                  <a:pt x="255" y="301"/>
                </a:lnTo>
                <a:lnTo>
                  <a:pt x="254" y="300"/>
                </a:lnTo>
                <a:lnTo>
                  <a:pt x="254" y="298"/>
                </a:lnTo>
                <a:lnTo>
                  <a:pt x="253" y="300"/>
                </a:lnTo>
                <a:lnTo>
                  <a:pt x="251" y="300"/>
                </a:lnTo>
                <a:lnTo>
                  <a:pt x="250" y="297"/>
                </a:lnTo>
                <a:lnTo>
                  <a:pt x="249" y="297"/>
                </a:lnTo>
                <a:lnTo>
                  <a:pt x="247" y="296"/>
                </a:lnTo>
                <a:lnTo>
                  <a:pt x="247" y="296"/>
                </a:lnTo>
                <a:lnTo>
                  <a:pt x="247" y="294"/>
                </a:lnTo>
                <a:lnTo>
                  <a:pt x="246" y="294"/>
                </a:lnTo>
                <a:lnTo>
                  <a:pt x="244" y="296"/>
                </a:lnTo>
                <a:lnTo>
                  <a:pt x="242" y="294"/>
                </a:lnTo>
                <a:lnTo>
                  <a:pt x="240" y="294"/>
                </a:lnTo>
                <a:lnTo>
                  <a:pt x="238" y="294"/>
                </a:lnTo>
                <a:lnTo>
                  <a:pt x="238" y="296"/>
                </a:lnTo>
                <a:lnTo>
                  <a:pt x="235" y="296"/>
                </a:lnTo>
                <a:lnTo>
                  <a:pt x="233" y="296"/>
                </a:lnTo>
                <a:lnTo>
                  <a:pt x="232" y="296"/>
                </a:lnTo>
                <a:lnTo>
                  <a:pt x="231" y="294"/>
                </a:lnTo>
                <a:lnTo>
                  <a:pt x="231" y="293"/>
                </a:lnTo>
                <a:lnTo>
                  <a:pt x="228" y="293"/>
                </a:lnTo>
                <a:lnTo>
                  <a:pt x="228" y="292"/>
                </a:lnTo>
                <a:lnTo>
                  <a:pt x="227" y="292"/>
                </a:lnTo>
                <a:lnTo>
                  <a:pt x="225" y="292"/>
                </a:lnTo>
                <a:lnTo>
                  <a:pt x="224" y="290"/>
                </a:lnTo>
                <a:lnTo>
                  <a:pt x="222" y="290"/>
                </a:lnTo>
                <a:lnTo>
                  <a:pt x="222" y="287"/>
                </a:lnTo>
                <a:lnTo>
                  <a:pt x="222" y="286"/>
                </a:lnTo>
                <a:lnTo>
                  <a:pt x="222" y="285"/>
                </a:lnTo>
                <a:lnTo>
                  <a:pt x="224" y="283"/>
                </a:lnTo>
                <a:lnTo>
                  <a:pt x="224" y="282"/>
                </a:lnTo>
                <a:lnTo>
                  <a:pt x="222" y="282"/>
                </a:lnTo>
                <a:lnTo>
                  <a:pt x="221" y="282"/>
                </a:lnTo>
                <a:lnTo>
                  <a:pt x="220" y="281"/>
                </a:lnTo>
                <a:lnTo>
                  <a:pt x="218" y="281"/>
                </a:lnTo>
                <a:lnTo>
                  <a:pt x="217" y="281"/>
                </a:lnTo>
                <a:lnTo>
                  <a:pt x="216" y="281"/>
                </a:lnTo>
                <a:lnTo>
                  <a:pt x="214" y="281"/>
                </a:lnTo>
                <a:lnTo>
                  <a:pt x="213" y="282"/>
                </a:lnTo>
                <a:lnTo>
                  <a:pt x="210" y="282"/>
                </a:lnTo>
                <a:lnTo>
                  <a:pt x="209" y="282"/>
                </a:lnTo>
                <a:lnTo>
                  <a:pt x="206" y="282"/>
                </a:lnTo>
                <a:lnTo>
                  <a:pt x="205" y="282"/>
                </a:lnTo>
                <a:lnTo>
                  <a:pt x="203" y="282"/>
                </a:lnTo>
                <a:lnTo>
                  <a:pt x="202" y="282"/>
                </a:lnTo>
                <a:lnTo>
                  <a:pt x="200" y="283"/>
                </a:lnTo>
                <a:lnTo>
                  <a:pt x="199" y="283"/>
                </a:lnTo>
                <a:lnTo>
                  <a:pt x="198" y="283"/>
                </a:lnTo>
                <a:lnTo>
                  <a:pt x="196" y="282"/>
                </a:lnTo>
                <a:lnTo>
                  <a:pt x="195" y="282"/>
                </a:lnTo>
                <a:lnTo>
                  <a:pt x="195" y="281"/>
                </a:lnTo>
                <a:lnTo>
                  <a:pt x="194" y="281"/>
                </a:lnTo>
                <a:lnTo>
                  <a:pt x="192" y="282"/>
                </a:lnTo>
                <a:lnTo>
                  <a:pt x="191" y="282"/>
                </a:lnTo>
                <a:lnTo>
                  <a:pt x="189" y="282"/>
                </a:lnTo>
                <a:lnTo>
                  <a:pt x="189" y="281"/>
                </a:lnTo>
                <a:lnTo>
                  <a:pt x="188" y="279"/>
                </a:lnTo>
                <a:lnTo>
                  <a:pt x="188" y="278"/>
                </a:lnTo>
                <a:lnTo>
                  <a:pt x="189" y="276"/>
                </a:lnTo>
                <a:lnTo>
                  <a:pt x="189" y="275"/>
                </a:lnTo>
                <a:lnTo>
                  <a:pt x="189" y="274"/>
                </a:lnTo>
                <a:lnTo>
                  <a:pt x="188" y="274"/>
                </a:lnTo>
                <a:lnTo>
                  <a:pt x="188" y="272"/>
                </a:lnTo>
                <a:lnTo>
                  <a:pt x="188" y="270"/>
                </a:lnTo>
                <a:lnTo>
                  <a:pt x="188" y="268"/>
                </a:lnTo>
                <a:lnTo>
                  <a:pt x="188" y="267"/>
                </a:lnTo>
                <a:lnTo>
                  <a:pt x="189" y="265"/>
                </a:lnTo>
                <a:lnTo>
                  <a:pt x="189" y="264"/>
                </a:lnTo>
                <a:lnTo>
                  <a:pt x="188" y="264"/>
                </a:lnTo>
                <a:lnTo>
                  <a:pt x="187" y="264"/>
                </a:lnTo>
                <a:lnTo>
                  <a:pt x="187" y="263"/>
                </a:lnTo>
                <a:lnTo>
                  <a:pt x="187" y="263"/>
                </a:lnTo>
                <a:lnTo>
                  <a:pt x="188" y="261"/>
                </a:lnTo>
                <a:lnTo>
                  <a:pt x="188" y="260"/>
                </a:lnTo>
                <a:lnTo>
                  <a:pt x="188" y="259"/>
                </a:lnTo>
                <a:lnTo>
                  <a:pt x="189" y="259"/>
                </a:lnTo>
                <a:lnTo>
                  <a:pt x="189" y="257"/>
                </a:lnTo>
                <a:lnTo>
                  <a:pt x="189" y="254"/>
                </a:lnTo>
                <a:lnTo>
                  <a:pt x="188" y="253"/>
                </a:lnTo>
                <a:lnTo>
                  <a:pt x="187" y="252"/>
                </a:lnTo>
                <a:lnTo>
                  <a:pt x="185" y="250"/>
                </a:lnTo>
                <a:lnTo>
                  <a:pt x="184" y="250"/>
                </a:lnTo>
                <a:lnTo>
                  <a:pt x="183" y="252"/>
                </a:lnTo>
                <a:lnTo>
                  <a:pt x="181" y="252"/>
                </a:lnTo>
                <a:lnTo>
                  <a:pt x="180" y="252"/>
                </a:lnTo>
                <a:lnTo>
                  <a:pt x="178" y="252"/>
                </a:lnTo>
                <a:lnTo>
                  <a:pt x="178" y="253"/>
                </a:lnTo>
                <a:lnTo>
                  <a:pt x="177" y="252"/>
                </a:lnTo>
                <a:lnTo>
                  <a:pt x="176" y="252"/>
                </a:lnTo>
                <a:lnTo>
                  <a:pt x="174" y="250"/>
                </a:lnTo>
                <a:lnTo>
                  <a:pt x="173" y="250"/>
                </a:lnTo>
                <a:lnTo>
                  <a:pt x="173" y="249"/>
                </a:lnTo>
                <a:lnTo>
                  <a:pt x="173" y="248"/>
                </a:lnTo>
                <a:lnTo>
                  <a:pt x="172" y="248"/>
                </a:lnTo>
                <a:lnTo>
                  <a:pt x="170" y="248"/>
                </a:lnTo>
                <a:lnTo>
                  <a:pt x="170" y="249"/>
                </a:lnTo>
                <a:lnTo>
                  <a:pt x="169" y="249"/>
                </a:lnTo>
                <a:lnTo>
                  <a:pt x="167" y="248"/>
                </a:lnTo>
                <a:lnTo>
                  <a:pt x="167" y="245"/>
                </a:lnTo>
                <a:lnTo>
                  <a:pt x="166" y="245"/>
                </a:lnTo>
                <a:lnTo>
                  <a:pt x="165" y="245"/>
                </a:lnTo>
                <a:lnTo>
                  <a:pt x="163" y="245"/>
                </a:lnTo>
                <a:lnTo>
                  <a:pt x="163" y="243"/>
                </a:lnTo>
                <a:lnTo>
                  <a:pt x="162" y="243"/>
                </a:lnTo>
                <a:lnTo>
                  <a:pt x="161" y="245"/>
                </a:lnTo>
                <a:lnTo>
                  <a:pt x="159" y="245"/>
                </a:lnTo>
                <a:lnTo>
                  <a:pt x="158" y="245"/>
                </a:lnTo>
                <a:lnTo>
                  <a:pt x="156" y="245"/>
                </a:lnTo>
                <a:lnTo>
                  <a:pt x="155" y="246"/>
                </a:lnTo>
                <a:lnTo>
                  <a:pt x="154" y="245"/>
                </a:lnTo>
                <a:lnTo>
                  <a:pt x="152" y="245"/>
                </a:lnTo>
                <a:lnTo>
                  <a:pt x="151" y="245"/>
                </a:lnTo>
                <a:lnTo>
                  <a:pt x="151" y="243"/>
                </a:lnTo>
                <a:lnTo>
                  <a:pt x="151" y="242"/>
                </a:lnTo>
                <a:lnTo>
                  <a:pt x="150" y="241"/>
                </a:lnTo>
                <a:lnTo>
                  <a:pt x="150" y="239"/>
                </a:lnTo>
                <a:lnTo>
                  <a:pt x="148" y="239"/>
                </a:lnTo>
                <a:lnTo>
                  <a:pt x="147" y="239"/>
                </a:lnTo>
                <a:lnTo>
                  <a:pt x="145" y="239"/>
                </a:lnTo>
                <a:lnTo>
                  <a:pt x="144" y="239"/>
                </a:lnTo>
                <a:lnTo>
                  <a:pt x="143" y="239"/>
                </a:lnTo>
                <a:lnTo>
                  <a:pt x="141" y="239"/>
                </a:lnTo>
                <a:lnTo>
                  <a:pt x="140" y="239"/>
                </a:lnTo>
                <a:lnTo>
                  <a:pt x="139" y="239"/>
                </a:lnTo>
                <a:lnTo>
                  <a:pt x="137" y="241"/>
                </a:lnTo>
                <a:lnTo>
                  <a:pt x="136" y="241"/>
                </a:lnTo>
                <a:lnTo>
                  <a:pt x="134" y="241"/>
                </a:lnTo>
                <a:lnTo>
                  <a:pt x="134" y="242"/>
                </a:lnTo>
                <a:lnTo>
                  <a:pt x="133" y="243"/>
                </a:lnTo>
                <a:lnTo>
                  <a:pt x="132" y="243"/>
                </a:lnTo>
                <a:lnTo>
                  <a:pt x="132" y="245"/>
                </a:lnTo>
                <a:lnTo>
                  <a:pt x="130" y="245"/>
                </a:lnTo>
                <a:lnTo>
                  <a:pt x="130" y="246"/>
                </a:lnTo>
                <a:lnTo>
                  <a:pt x="129" y="246"/>
                </a:lnTo>
                <a:lnTo>
                  <a:pt x="129" y="246"/>
                </a:lnTo>
                <a:lnTo>
                  <a:pt x="129" y="245"/>
                </a:lnTo>
                <a:lnTo>
                  <a:pt x="128" y="243"/>
                </a:lnTo>
                <a:lnTo>
                  <a:pt x="125" y="242"/>
                </a:lnTo>
                <a:lnTo>
                  <a:pt x="123" y="241"/>
                </a:lnTo>
                <a:lnTo>
                  <a:pt x="122" y="241"/>
                </a:lnTo>
                <a:lnTo>
                  <a:pt x="121" y="242"/>
                </a:lnTo>
                <a:lnTo>
                  <a:pt x="121" y="241"/>
                </a:lnTo>
                <a:lnTo>
                  <a:pt x="119" y="241"/>
                </a:lnTo>
                <a:lnTo>
                  <a:pt x="117" y="241"/>
                </a:lnTo>
                <a:lnTo>
                  <a:pt x="115" y="239"/>
                </a:lnTo>
                <a:lnTo>
                  <a:pt x="114" y="238"/>
                </a:lnTo>
                <a:lnTo>
                  <a:pt x="112" y="237"/>
                </a:lnTo>
                <a:lnTo>
                  <a:pt x="111" y="235"/>
                </a:lnTo>
                <a:lnTo>
                  <a:pt x="110" y="234"/>
                </a:lnTo>
                <a:lnTo>
                  <a:pt x="108" y="234"/>
                </a:lnTo>
                <a:lnTo>
                  <a:pt x="107" y="235"/>
                </a:lnTo>
                <a:lnTo>
                  <a:pt x="104" y="237"/>
                </a:lnTo>
                <a:lnTo>
                  <a:pt x="103" y="237"/>
                </a:lnTo>
                <a:lnTo>
                  <a:pt x="101" y="235"/>
                </a:lnTo>
                <a:lnTo>
                  <a:pt x="100" y="235"/>
                </a:lnTo>
                <a:lnTo>
                  <a:pt x="99" y="235"/>
                </a:lnTo>
                <a:lnTo>
                  <a:pt x="97" y="234"/>
                </a:lnTo>
                <a:lnTo>
                  <a:pt x="96" y="234"/>
                </a:lnTo>
                <a:lnTo>
                  <a:pt x="95" y="234"/>
                </a:lnTo>
                <a:lnTo>
                  <a:pt x="93" y="232"/>
                </a:lnTo>
                <a:lnTo>
                  <a:pt x="93" y="231"/>
                </a:lnTo>
                <a:lnTo>
                  <a:pt x="93" y="230"/>
                </a:lnTo>
                <a:lnTo>
                  <a:pt x="93" y="228"/>
                </a:lnTo>
                <a:lnTo>
                  <a:pt x="93" y="227"/>
                </a:lnTo>
                <a:lnTo>
                  <a:pt x="92" y="227"/>
                </a:lnTo>
                <a:lnTo>
                  <a:pt x="92" y="226"/>
                </a:lnTo>
                <a:lnTo>
                  <a:pt x="89" y="226"/>
                </a:lnTo>
                <a:lnTo>
                  <a:pt x="88" y="223"/>
                </a:lnTo>
                <a:lnTo>
                  <a:pt x="88" y="221"/>
                </a:lnTo>
                <a:lnTo>
                  <a:pt x="88" y="220"/>
                </a:lnTo>
                <a:lnTo>
                  <a:pt x="88" y="219"/>
                </a:lnTo>
                <a:lnTo>
                  <a:pt x="86" y="219"/>
                </a:lnTo>
                <a:lnTo>
                  <a:pt x="88" y="217"/>
                </a:lnTo>
                <a:lnTo>
                  <a:pt x="88" y="216"/>
                </a:lnTo>
                <a:lnTo>
                  <a:pt x="86" y="215"/>
                </a:lnTo>
                <a:lnTo>
                  <a:pt x="88" y="213"/>
                </a:lnTo>
                <a:lnTo>
                  <a:pt x="88" y="212"/>
                </a:lnTo>
                <a:lnTo>
                  <a:pt x="86" y="210"/>
                </a:lnTo>
                <a:lnTo>
                  <a:pt x="85" y="210"/>
                </a:lnTo>
                <a:lnTo>
                  <a:pt x="84" y="210"/>
                </a:lnTo>
                <a:lnTo>
                  <a:pt x="82" y="210"/>
                </a:lnTo>
                <a:lnTo>
                  <a:pt x="81" y="209"/>
                </a:lnTo>
                <a:lnTo>
                  <a:pt x="79" y="208"/>
                </a:lnTo>
                <a:lnTo>
                  <a:pt x="78" y="206"/>
                </a:lnTo>
                <a:lnTo>
                  <a:pt x="77" y="206"/>
                </a:lnTo>
                <a:lnTo>
                  <a:pt x="75" y="206"/>
                </a:lnTo>
                <a:lnTo>
                  <a:pt x="73" y="208"/>
                </a:lnTo>
                <a:lnTo>
                  <a:pt x="71" y="208"/>
                </a:lnTo>
                <a:lnTo>
                  <a:pt x="70" y="208"/>
                </a:lnTo>
                <a:lnTo>
                  <a:pt x="68" y="209"/>
                </a:lnTo>
                <a:lnTo>
                  <a:pt x="67" y="210"/>
                </a:lnTo>
                <a:lnTo>
                  <a:pt x="66" y="212"/>
                </a:lnTo>
                <a:lnTo>
                  <a:pt x="64" y="213"/>
                </a:lnTo>
                <a:lnTo>
                  <a:pt x="63" y="215"/>
                </a:lnTo>
                <a:lnTo>
                  <a:pt x="63" y="215"/>
                </a:lnTo>
                <a:lnTo>
                  <a:pt x="63" y="216"/>
                </a:lnTo>
                <a:lnTo>
                  <a:pt x="63" y="217"/>
                </a:lnTo>
                <a:lnTo>
                  <a:pt x="63" y="219"/>
                </a:lnTo>
                <a:lnTo>
                  <a:pt x="62" y="219"/>
                </a:lnTo>
                <a:lnTo>
                  <a:pt x="60" y="219"/>
                </a:lnTo>
                <a:lnTo>
                  <a:pt x="60" y="220"/>
                </a:lnTo>
                <a:lnTo>
                  <a:pt x="59" y="221"/>
                </a:lnTo>
                <a:lnTo>
                  <a:pt x="57" y="221"/>
                </a:lnTo>
                <a:lnTo>
                  <a:pt x="56" y="221"/>
                </a:lnTo>
                <a:lnTo>
                  <a:pt x="55" y="221"/>
                </a:lnTo>
                <a:lnTo>
                  <a:pt x="55" y="220"/>
                </a:lnTo>
                <a:lnTo>
                  <a:pt x="55" y="219"/>
                </a:lnTo>
                <a:lnTo>
                  <a:pt x="56" y="217"/>
                </a:lnTo>
                <a:lnTo>
                  <a:pt x="56" y="216"/>
                </a:lnTo>
                <a:lnTo>
                  <a:pt x="57" y="213"/>
                </a:lnTo>
                <a:lnTo>
                  <a:pt x="57" y="212"/>
                </a:lnTo>
                <a:lnTo>
                  <a:pt x="57" y="210"/>
                </a:lnTo>
                <a:lnTo>
                  <a:pt x="59" y="208"/>
                </a:lnTo>
                <a:lnTo>
                  <a:pt x="59" y="206"/>
                </a:lnTo>
                <a:lnTo>
                  <a:pt x="60" y="205"/>
                </a:lnTo>
                <a:lnTo>
                  <a:pt x="62" y="204"/>
                </a:lnTo>
                <a:lnTo>
                  <a:pt x="63" y="202"/>
                </a:lnTo>
                <a:lnTo>
                  <a:pt x="64" y="201"/>
                </a:lnTo>
                <a:lnTo>
                  <a:pt x="66" y="201"/>
                </a:lnTo>
                <a:lnTo>
                  <a:pt x="67" y="199"/>
                </a:lnTo>
                <a:lnTo>
                  <a:pt x="68" y="199"/>
                </a:lnTo>
                <a:lnTo>
                  <a:pt x="70" y="198"/>
                </a:lnTo>
                <a:lnTo>
                  <a:pt x="71" y="198"/>
                </a:lnTo>
                <a:lnTo>
                  <a:pt x="70" y="197"/>
                </a:lnTo>
                <a:lnTo>
                  <a:pt x="71" y="197"/>
                </a:lnTo>
                <a:lnTo>
                  <a:pt x="71" y="195"/>
                </a:lnTo>
                <a:lnTo>
                  <a:pt x="74" y="195"/>
                </a:lnTo>
                <a:lnTo>
                  <a:pt x="75" y="194"/>
                </a:lnTo>
                <a:lnTo>
                  <a:pt x="78" y="194"/>
                </a:lnTo>
                <a:lnTo>
                  <a:pt x="78" y="193"/>
                </a:lnTo>
                <a:lnTo>
                  <a:pt x="79" y="190"/>
                </a:lnTo>
                <a:lnTo>
                  <a:pt x="81" y="188"/>
                </a:lnTo>
                <a:lnTo>
                  <a:pt x="84" y="184"/>
                </a:lnTo>
                <a:lnTo>
                  <a:pt x="85" y="180"/>
                </a:lnTo>
                <a:lnTo>
                  <a:pt x="85" y="176"/>
                </a:lnTo>
                <a:lnTo>
                  <a:pt x="86" y="175"/>
                </a:lnTo>
                <a:lnTo>
                  <a:pt x="86" y="173"/>
                </a:lnTo>
                <a:lnTo>
                  <a:pt x="86" y="172"/>
                </a:lnTo>
                <a:lnTo>
                  <a:pt x="85" y="169"/>
                </a:lnTo>
                <a:lnTo>
                  <a:pt x="85" y="166"/>
                </a:lnTo>
                <a:lnTo>
                  <a:pt x="84" y="165"/>
                </a:lnTo>
                <a:lnTo>
                  <a:pt x="82" y="164"/>
                </a:lnTo>
                <a:lnTo>
                  <a:pt x="81" y="164"/>
                </a:lnTo>
                <a:lnTo>
                  <a:pt x="78" y="164"/>
                </a:lnTo>
                <a:lnTo>
                  <a:pt x="77" y="165"/>
                </a:lnTo>
                <a:lnTo>
                  <a:pt x="77" y="166"/>
                </a:lnTo>
                <a:lnTo>
                  <a:pt x="75" y="168"/>
                </a:lnTo>
                <a:lnTo>
                  <a:pt x="75" y="169"/>
                </a:lnTo>
                <a:lnTo>
                  <a:pt x="74" y="171"/>
                </a:lnTo>
                <a:lnTo>
                  <a:pt x="73" y="171"/>
                </a:lnTo>
                <a:lnTo>
                  <a:pt x="71" y="169"/>
                </a:lnTo>
                <a:lnTo>
                  <a:pt x="70" y="169"/>
                </a:lnTo>
                <a:lnTo>
                  <a:pt x="68" y="169"/>
                </a:lnTo>
                <a:lnTo>
                  <a:pt x="66" y="169"/>
                </a:lnTo>
                <a:lnTo>
                  <a:pt x="66" y="168"/>
                </a:lnTo>
                <a:lnTo>
                  <a:pt x="64" y="168"/>
                </a:lnTo>
                <a:lnTo>
                  <a:pt x="64" y="166"/>
                </a:lnTo>
                <a:lnTo>
                  <a:pt x="63" y="166"/>
                </a:lnTo>
                <a:lnTo>
                  <a:pt x="63" y="165"/>
                </a:lnTo>
                <a:lnTo>
                  <a:pt x="63" y="164"/>
                </a:lnTo>
                <a:lnTo>
                  <a:pt x="63" y="162"/>
                </a:lnTo>
                <a:lnTo>
                  <a:pt x="64" y="158"/>
                </a:lnTo>
                <a:lnTo>
                  <a:pt x="66" y="157"/>
                </a:lnTo>
                <a:lnTo>
                  <a:pt x="67" y="153"/>
                </a:lnTo>
                <a:lnTo>
                  <a:pt x="67" y="151"/>
                </a:lnTo>
                <a:lnTo>
                  <a:pt x="66" y="151"/>
                </a:lnTo>
                <a:lnTo>
                  <a:pt x="64" y="150"/>
                </a:lnTo>
                <a:lnTo>
                  <a:pt x="64" y="149"/>
                </a:lnTo>
                <a:lnTo>
                  <a:pt x="64" y="147"/>
                </a:lnTo>
                <a:lnTo>
                  <a:pt x="63" y="146"/>
                </a:lnTo>
                <a:lnTo>
                  <a:pt x="63" y="146"/>
                </a:lnTo>
                <a:lnTo>
                  <a:pt x="62" y="146"/>
                </a:lnTo>
                <a:lnTo>
                  <a:pt x="60" y="146"/>
                </a:lnTo>
                <a:lnTo>
                  <a:pt x="59" y="146"/>
                </a:lnTo>
                <a:lnTo>
                  <a:pt x="57" y="144"/>
                </a:lnTo>
                <a:lnTo>
                  <a:pt x="56" y="144"/>
                </a:lnTo>
                <a:lnTo>
                  <a:pt x="55" y="144"/>
                </a:lnTo>
                <a:lnTo>
                  <a:pt x="53" y="143"/>
                </a:lnTo>
                <a:lnTo>
                  <a:pt x="52" y="142"/>
                </a:lnTo>
                <a:lnTo>
                  <a:pt x="52" y="140"/>
                </a:lnTo>
                <a:lnTo>
                  <a:pt x="51" y="140"/>
                </a:lnTo>
                <a:lnTo>
                  <a:pt x="49" y="140"/>
                </a:lnTo>
                <a:lnTo>
                  <a:pt x="48" y="142"/>
                </a:lnTo>
                <a:lnTo>
                  <a:pt x="46" y="142"/>
                </a:lnTo>
                <a:lnTo>
                  <a:pt x="45" y="140"/>
                </a:lnTo>
                <a:lnTo>
                  <a:pt x="42" y="140"/>
                </a:lnTo>
                <a:lnTo>
                  <a:pt x="39" y="140"/>
                </a:lnTo>
                <a:lnTo>
                  <a:pt x="38" y="140"/>
                </a:lnTo>
                <a:lnTo>
                  <a:pt x="37" y="139"/>
                </a:lnTo>
                <a:lnTo>
                  <a:pt x="35" y="139"/>
                </a:lnTo>
                <a:lnTo>
                  <a:pt x="34" y="138"/>
                </a:lnTo>
                <a:lnTo>
                  <a:pt x="33" y="135"/>
                </a:lnTo>
                <a:lnTo>
                  <a:pt x="31" y="133"/>
                </a:lnTo>
                <a:lnTo>
                  <a:pt x="30" y="132"/>
                </a:lnTo>
                <a:lnTo>
                  <a:pt x="30" y="131"/>
                </a:lnTo>
                <a:lnTo>
                  <a:pt x="30" y="129"/>
                </a:lnTo>
                <a:lnTo>
                  <a:pt x="28" y="129"/>
                </a:lnTo>
                <a:lnTo>
                  <a:pt x="27" y="129"/>
                </a:lnTo>
                <a:lnTo>
                  <a:pt x="26" y="131"/>
                </a:lnTo>
                <a:lnTo>
                  <a:pt x="26" y="129"/>
                </a:lnTo>
                <a:lnTo>
                  <a:pt x="26" y="128"/>
                </a:lnTo>
                <a:lnTo>
                  <a:pt x="24" y="127"/>
                </a:lnTo>
                <a:lnTo>
                  <a:pt x="23" y="124"/>
                </a:lnTo>
                <a:lnTo>
                  <a:pt x="22" y="122"/>
                </a:lnTo>
                <a:lnTo>
                  <a:pt x="20" y="122"/>
                </a:lnTo>
                <a:lnTo>
                  <a:pt x="17" y="121"/>
                </a:lnTo>
                <a:lnTo>
                  <a:pt x="16" y="121"/>
                </a:lnTo>
                <a:lnTo>
                  <a:pt x="15" y="120"/>
                </a:lnTo>
                <a:lnTo>
                  <a:pt x="13" y="118"/>
                </a:lnTo>
                <a:lnTo>
                  <a:pt x="12" y="117"/>
                </a:lnTo>
                <a:lnTo>
                  <a:pt x="11" y="116"/>
                </a:lnTo>
                <a:lnTo>
                  <a:pt x="9" y="116"/>
                </a:lnTo>
                <a:lnTo>
                  <a:pt x="8" y="116"/>
                </a:lnTo>
                <a:lnTo>
                  <a:pt x="8" y="117"/>
                </a:lnTo>
                <a:lnTo>
                  <a:pt x="6" y="116"/>
                </a:lnTo>
                <a:lnTo>
                  <a:pt x="6" y="114"/>
                </a:lnTo>
                <a:lnTo>
                  <a:pt x="6" y="113"/>
                </a:lnTo>
                <a:lnTo>
                  <a:pt x="6" y="111"/>
                </a:lnTo>
                <a:lnTo>
                  <a:pt x="5" y="110"/>
                </a:lnTo>
                <a:lnTo>
                  <a:pt x="4" y="110"/>
                </a:lnTo>
                <a:lnTo>
                  <a:pt x="4" y="109"/>
                </a:lnTo>
                <a:lnTo>
                  <a:pt x="4" y="106"/>
                </a:lnTo>
                <a:lnTo>
                  <a:pt x="4" y="105"/>
                </a:lnTo>
                <a:lnTo>
                  <a:pt x="5" y="103"/>
                </a:lnTo>
                <a:lnTo>
                  <a:pt x="6" y="102"/>
                </a:lnTo>
                <a:lnTo>
                  <a:pt x="8" y="100"/>
                </a:lnTo>
                <a:lnTo>
                  <a:pt x="8" y="98"/>
                </a:lnTo>
                <a:lnTo>
                  <a:pt x="9" y="96"/>
                </a:lnTo>
                <a:lnTo>
                  <a:pt x="9" y="95"/>
                </a:lnTo>
                <a:lnTo>
                  <a:pt x="9" y="94"/>
                </a:lnTo>
                <a:lnTo>
                  <a:pt x="8" y="92"/>
                </a:lnTo>
                <a:lnTo>
                  <a:pt x="8" y="91"/>
                </a:lnTo>
                <a:lnTo>
                  <a:pt x="6" y="89"/>
                </a:lnTo>
                <a:lnTo>
                  <a:pt x="5" y="87"/>
                </a:lnTo>
                <a:lnTo>
                  <a:pt x="4" y="85"/>
                </a:lnTo>
                <a:lnTo>
                  <a:pt x="4" y="83"/>
                </a:lnTo>
                <a:lnTo>
                  <a:pt x="2" y="81"/>
                </a:lnTo>
                <a:lnTo>
                  <a:pt x="1" y="80"/>
                </a:lnTo>
                <a:lnTo>
                  <a:pt x="0" y="7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3" name="Freeform 129"/>
          <p:cNvSpPr>
            <a:spLocks/>
          </p:cNvSpPr>
          <p:nvPr>
            <p:custDataLst>
              <p:tags r:id="rId49"/>
            </p:custDataLst>
          </p:nvPr>
        </p:nvSpPr>
        <p:spPr bwMode="gray">
          <a:xfrm>
            <a:off x="3081962" y="3884804"/>
            <a:ext cx="471084" cy="242324"/>
          </a:xfrm>
          <a:custGeom>
            <a:avLst/>
            <a:gdLst>
              <a:gd name="T0" fmla="*/ 3 w 495"/>
              <a:gd name="T1" fmla="*/ 39 h 271"/>
              <a:gd name="T2" fmla="*/ 6 w 495"/>
              <a:gd name="T3" fmla="*/ 31 h 271"/>
              <a:gd name="T4" fmla="*/ 300 w 495"/>
              <a:gd name="T5" fmla="*/ 0 h 271"/>
              <a:gd name="T6" fmla="*/ 341 w 495"/>
              <a:gd name="T7" fmla="*/ 22 h 271"/>
              <a:gd name="T8" fmla="*/ 495 w 495"/>
              <a:gd name="T9" fmla="*/ 14 h 271"/>
              <a:gd name="T10" fmla="*/ 495 w 495"/>
              <a:gd name="T11" fmla="*/ 98 h 271"/>
              <a:gd name="T12" fmla="*/ 469 w 495"/>
              <a:gd name="T13" fmla="*/ 105 h 271"/>
              <a:gd name="T14" fmla="*/ 435 w 495"/>
              <a:gd name="T15" fmla="*/ 146 h 271"/>
              <a:gd name="T16" fmla="*/ 348 w 495"/>
              <a:gd name="T17" fmla="*/ 192 h 271"/>
              <a:gd name="T18" fmla="*/ 253 w 495"/>
              <a:gd name="T19" fmla="*/ 226 h 271"/>
              <a:gd name="T20" fmla="*/ 275 w 495"/>
              <a:gd name="T21" fmla="*/ 271 h 271"/>
              <a:gd name="T22" fmla="*/ 57 w 495"/>
              <a:gd name="T23" fmla="*/ 223 h 271"/>
              <a:gd name="T24" fmla="*/ 4 w 495"/>
              <a:gd name="T25" fmla="*/ 91 h 271"/>
              <a:gd name="T26" fmla="*/ 0 w 495"/>
              <a:gd name="T27" fmla="*/ 50 h 271"/>
              <a:gd name="T28" fmla="*/ 3 w 495"/>
              <a:gd name="T29" fmla="*/ 39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95" h="271">
                <a:moveTo>
                  <a:pt x="3" y="39"/>
                </a:moveTo>
                <a:lnTo>
                  <a:pt x="6" y="31"/>
                </a:lnTo>
                <a:lnTo>
                  <a:pt x="300" y="0"/>
                </a:lnTo>
                <a:lnTo>
                  <a:pt x="341" y="22"/>
                </a:lnTo>
                <a:lnTo>
                  <a:pt x="495" y="14"/>
                </a:lnTo>
                <a:lnTo>
                  <a:pt x="495" y="98"/>
                </a:lnTo>
                <a:lnTo>
                  <a:pt x="469" y="105"/>
                </a:lnTo>
                <a:lnTo>
                  <a:pt x="435" y="146"/>
                </a:lnTo>
                <a:lnTo>
                  <a:pt x="348" y="192"/>
                </a:lnTo>
                <a:lnTo>
                  <a:pt x="253" y="226"/>
                </a:lnTo>
                <a:lnTo>
                  <a:pt x="275" y="271"/>
                </a:lnTo>
                <a:lnTo>
                  <a:pt x="57" y="223"/>
                </a:lnTo>
                <a:lnTo>
                  <a:pt x="4" y="91"/>
                </a:lnTo>
                <a:lnTo>
                  <a:pt x="0" y="50"/>
                </a:lnTo>
                <a:lnTo>
                  <a:pt x="3" y="3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4" name="Freeform 130"/>
          <p:cNvSpPr>
            <a:spLocks/>
          </p:cNvSpPr>
          <p:nvPr>
            <p:custDataLst>
              <p:tags r:id="rId50"/>
            </p:custDataLst>
          </p:nvPr>
        </p:nvSpPr>
        <p:spPr bwMode="gray">
          <a:xfrm>
            <a:off x="2878300" y="3468113"/>
            <a:ext cx="542461" cy="462295"/>
          </a:xfrm>
          <a:custGeom>
            <a:avLst/>
            <a:gdLst>
              <a:gd name="T0" fmla="*/ 5 w 570"/>
              <a:gd name="T1" fmla="*/ 443 h 517"/>
              <a:gd name="T2" fmla="*/ 8 w 570"/>
              <a:gd name="T3" fmla="*/ 431 h 517"/>
              <a:gd name="T4" fmla="*/ 23 w 570"/>
              <a:gd name="T5" fmla="*/ 410 h 517"/>
              <a:gd name="T6" fmla="*/ 26 w 570"/>
              <a:gd name="T7" fmla="*/ 387 h 517"/>
              <a:gd name="T8" fmla="*/ 56 w 570"/>
              <a:gd name="T9" fmla="*/ 334 h 517"/>
              <a:gd name="T10" fmla="*/ 73 w 570"/>
              <a:gd name="T11" fmla="*/ 327 h 517"/>
              <a:gd name="T12" fmla="*/ 97 w 570"/>
              <a:gd name="T13" fmla="*/ 296 h 517"/>
              <a:gd name="T14" fmla="*/ 107 w 570"/>
              <a:gd name="T15" fmla="*/ 228 h 517"/>
              <a:gd name="T16" fmla="*/ 130 w 570"/>
              <a:gd name="T17" fmla="*/ 172 h 517"/>
              <a:gd name="T18" fmla="*/ 148 w 570"/>
              <a:gd name="T19" fmla="*/ 158 h 517"/>
              <a:gd name="T20" fmla="*/ 167 w 570"/>
              <a:gd name="T21" fmla="*/ 62 h 517"/>
              <a:gd name="T22" fmla="*/ 276 w 570"/>
              <a:gd name="T23" fmla="*/ 0 h 517"/>
              <a:gd name="T24" fmla="*/ 290 w 570"/>
              <a:gd name="T25" fmla="*/ 25 h 517"/>
              <a:gd name="T26" fmla="*/ 315 w 570"/>
              <a:gd name="T27" fmla="*/ 43 h 517"/>
              <a:gd name="T28" fmla="*/ 330 w 570"/>
              <a:gd name="T29" fmla="*/ 66 h 517"/>
              <a:gd name="T30" fmla="*/ 320 w 570"/>
              <a:gd name="T31" fmla="*/ 81 h 517"/>
              <a:gd name="T32" fmla="*/ 326 w 570"/>
              <a:gd name="T33" fmla="*/ 95 h 517"/>
              <a:gd name="T34" fmla="*/ 407 w 570"/>
              <a:gd name="T35" fmla="*/ 118 h 517"/>
              <a:gd name="T36" fmla="*/ 421 w 570"/>
              <a:gd name="T37" fmla="*/ 102 h 517"/>
              <a:gd name="T38" fmla="*/ 422 w 570"/>
              <a:gd name="T39" fmla="*/ 77 h 517"/>
              <a:gd name="T40" fmla="*/ 469 w 570"/>
              <a:gd name="T41" fmla="*/ 121 h 517"/>
              <a:gd name="T42" fmla="*/ 471 w 570"/>
              <a:gd name="T43" fmla="*/ 135 h 517"/>
              <a:gd name="T44" fmla="*/ 495 w 570"/>
              <a:gd name="T45" fmla="*/ 142 h 517"/>
              <a:gd name="T46" fmla="*/ 507 w 570"/>
              <a:gd name="T47" fmla="*/ 136 h 517"/>
              <a:gd name="T48" fmla="*/ 542 w 570"/>
              <a:gd name="T49" fmla="*/ 145 h 517"/>
              <a:gd name="T50" fmla="*/ 542 w 570"/>
              <a:gd name="T51" fmla="*/ 156 h 517"/>
              <a:gd name="T52" fmla="*/ 554 w 570"/>
              <a:gd name="T53" fmla="*/ 164 h 517"/>
              <a:gd name="T54" fmla="*/ 543 w 570"/>
              <a:gd name="T55" fmla="*/ 194 h 517"/>
              <a:gd name="T56" fmla="*/ 555 w 570"/>
              <a:gd name="T57" fmla="*/ 200 h 517"/>
              <a:gd name="T58" fmla="*/ 536 w 570"/>
              <a:gd name="T59" fmla="*/ 205 h 517"/>
              <a:gd name="T60" fmla="*/ 536 w 570"/>
              <a:gd name="T61" fmla="*/ 217 h 517"/>
              <a:gd name="T62" fmla="*/ 553 w 570"/>
              <a:gd name="T63" fmla="*/ 211 h 517"/>
              <a:gd name="T64" fmla="*/ 561 w 570"/>
              <a:gd name="T65" fmla="*/ 220 h 517"/>
              <a:gd name="T66" fmla="*/ 537 w 570"/>
              <a:gd name="T67" fmla="*/ 228 h 517"/>
              <a:gd name="T68" fmla="*/ 540 w 570"/>
              <a:gd name="T69" fmla="*/ 275 h 517"/>
              <a:gd name="T70" fmla="*/ 522 w 570"/>
              <a:gd name="T71" fmla="*/ 356 h 517"/>
              <a:gd name="T72" fmla="*/ 535 w 570"/>
              <a:gd name="T73" fmla="*/ 392 h 517"/>
              <a:gd name="T74" fmla="*/ 570 w 570"/>
              <a:gd name="T75" fmla="*/ 420 h 517"/>
              <a:gd name="T76" fmla="*/ 570 w 570"/>
              <a:gd name="T77" fmla="*/ 443 h 517"/>
              <a:gd name="T78" fmla="*/ 551 w 570"/>
              <a:gd name="T79" fmla="*/ 442 h 517"/>
              <a:gd name="T80" fmla="*/ 557 w 570"/>
              <a:gd name="T81" fmla="*/ 464 h 517"/>
              <a:gd name="T82" fmla="*/ 550 w 570"/>
              <a:gd name="T83" fmla="*/ 486 h 517"/>
              <a:gd name="T84" fmla="*/ 514 w 570"/>
              <a:gd name="T85" fmla="*/ 466 h 517"/>
              <a:gd name="T86" fmla="*/ 4 w 570"/>
              <a:gd name="T87" fmla="*/ 517 h 517"/>
              <a:gd name="T88" fmla="*/ 1 w 570"/>
              <a:gd name="T89" fmla="*/ 510 h 517"/>
              <a:gd name="T90" fmla="*/ 8 w 570"/>
              <a:gd name="T91" fmla="*/ 497 h 517"/>
              <a:gd name="T92" fmla="*/ 0 w 570"/>
              <a:gd name="T93" fmla="*/ 458 h 517"/>
              <a:gd name="T94" fmla="*/ 5 w 570"/>
              <a:gd name="T95" fmla="*/ 443 h 5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570" h="517">
                <a:moveTo>
                  <a:pt x="5" y="443"/>
                </a:moveTo>
                <a:lnTo>
                  <a:pt x="8" y="431"/>
                </a:lnTo>
                <a:lnTo>
                  <a:pt x="23" y="410"/>
                </a:lnTo>
                <a:lnTo>
                  <a:pt x="26" y="387"/>
                </a:lnTo>
                <a:lnTo>
                  <a:pt x="56" y="334"/>
                </a:lnTo>
                <a:lnTo>
                  <a:pt x="73" y="327"/>
                </a:lnTo>
                <a:lnTo>
                  <a:pt x="97" y="296"/>
                </a:lnTo>
                <a:lnTo>
                  <a:pt x="107" y="228"/>
                </a:lnTo>
                <a:lnTo>
                  <a:pt x="130" y="172"/>
                </a:lnTo>
                <a:lnTo>
                  <a:pt x="148" y="158"/>
                </a:lnTo>
                <a:lnTo>
                  <a:pt x="167" y="62"/>
                </a:lnTo>
                <a:lnTo>
                  <a:pt x="276" y="0"/>
                </a:lnTo>
                <a:lnTo>
                  <a:pt x="290" y="25"/>
                </a:lnTo>
                <a:lnTo>
                  <a:pt x="315" y="43"/>
                </a:lnTo>
                <a:lnTo>
                  <a:pt x="330" y="66"/>
                </a:lnTo>
                <a:lnTo>
                  <a:pt x="320" y="81"/>
                </a:lnTo>
                <a:lnTo>
                  <a:pt x="326" y="95"/>
                </a:lnTo>
                <a:lnTo>
                  <a:pt x="407" y="118"/>
                </a:lnTo>
                <a:lnTo>
                  <a:pt x="421" y="102"/>
                </a:lnTo>
                <a:lnTo>
                  <a:pt x="422" y="77"/>
                </a:lnTo>
                <a:lnTo>
                  <a:pt x="469" y="121"/>
                </a:lnTo>
                <a:lnTo>
                  <a:pt x="471" y="135"/>
                </a:lnTo>
                <a:lnTo>
                  <a:pt x="495" y="142"/>
                </a:lnTo>
                <a:lnTo>
                  <a:pt x="507" y="136"/>
                </a:lnTo>
                <a:lnTo>
                  <a:pt x="542" y="145"/>
                </a:lnTo>
                <a:lnTo>
                  <a:pt x="542" y="156"/>
                </a:lnTo>
                <a:lnTo>
                  <a:pt x="554" y="164"/>
                </a:lnTo>
                <a:lnTo>
                  <a:pt x="543" y="194"/>
                </a:lnTo>
                <a:lnTo>
                  <a:pt x="555" y="200"/>
                </a:lnTo>
                <a:lnTo>
                  <a:pt x="536" y="205"/>
                </a:lnTo>
                <a:lnTo>
                  <a:pt x="536" y="217"/>
                </a:lnTo>
                <a:lnTo>
                  <a:pt x="553" y="211"/>
                </a:lnTo>
                <a:lnTo>
                  <a:pt x="561" y="220"/>
                </a:lnTo>
                <a:lnTo>
                  <a:pt x="537" y="228"/>
                </a:lnTo>
                <a:lnTo>
                  <a:pt x="540" y="275"/>
                </a:lnTo>
                <a:lnTo>
                  <a:pt x="522" y="356"/>
                </a:lnTo>
                <a:lnTo>
                  <a:pt x="535" y="392"/>
                </a:lnTo>
                <a:lnTo>
                  <a:pt x="570" y="420"/>
                </a:lnTo>
                <a:lnTo>
                  <a:pt x="570" y="443"/>
                </a:lnTo>
                <a:lnTo>
                  <a:pt x="551" y="442"/>
                </a:lnTo>
                <a:lnTo>
                  <a:pt x="557" y="464"/>
                </a:lnTo>
                <a:lnTo>
                  <a:pt x="550" y="486"/>
                </a:lnTo>
                <a:lnTo>
                  <a:pt x="514" y="466"/>
                </a:lnTo>
                <a:lnTo>
                  <a:pt x="4" y="517"/>
                </a:lnTo>
                <a:lnTo>
                  <a:pt x="1" y="510"/>
                </a:lnTo>
                <a:lnTo>
                  <a:pt x="8" y="497"/>
                </a:lnTo>
                <a:lnTo>
                  <a:pt x="0" y="458"/>
                </a:lnTo>
                <a:lnTo>
                  <a:pt x="5" y="44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5" name="Freeform 131"/>
          <p:cNvSpPr>
            <a:spLocks/>
          </p:cNvSpPr>
          <p:nvPr>
            <p:custDataLst>
              <p:tags r:id="rId51"/>
            </p:custDataLst>
          </p:nvPr>
        </p:nvSpPr>
        <p:spPr bwMode="gray">
          <a:xfrm>
            <a:off x="3824275" y="4223700"/>
            <a:ext cx="307394" cy="355887"/>
          </a:xfrm>
          <a:custGeom>
            <a:avLst/>
            <a:gdLst>
              <a:gd name="T0" fmla="*/ 7 w 323"/>
              <a:gd name="T1" fmla="*/ 6 h 398"/>
              <a:gd name="T2" fmla="*/ 183 w 323"/>
              <a:gd name="T3" fmla="*/ 19 h 398"/>
              <a:gd name="T4" fmla="*/ 168 w 323"/>
              <a:gd name="T5" fmla="*/ 162 h 398"/>
              <a:gd name="T6" fmla="*/ 274 w 323"/>
              <a:gd name="T7" fmla="*/ 273 h 398"/>
              <a:gd name="T8" fmla="*/ 323 w 323"/>
              <a:gd name="T9" fmla="*/ 350 h 398"/>
              <a:gd name="T10" fmla="*/ 171 w 323"/>
              <a:gd name="T11" fmla="*/ 397 h 398"/>
              <a:gd name="T12" fmla="*/ 165 w 323"/>
              <a:gd name="T13" fmla="*/ 397 h 398"/>
              <a:gd name="T14" fmla="*/ 162 w 323"/>
              <a:gd name="T15" fmla="*/ 393 h 398"/>
              <a:gd name="T16" fmla="*/ 160 w 323"/>
              <a:gd name="T17" fmla="*/ 390 h 398"/>
              <a:gd name="T18" fmla="*/ 155 w 323"/>
              <a:gd name="T19" fmla="*/ 389 h 398"/>
              <a:gd name="T20" fmla="*/ 153 w 323"/>
              <a:gd name="T21" fmla="*/ 393 h 398"/>
              <a:gd name="T22" fmla="*/ 147 w 323"/>
              <a:gd name="T23" fmla="*/ 393 h 398"/>
              <a:gd name="T24" fmla="*/ 143 w 323"/>
              <a:gd name="T25" fmla="*/ 389 h 398"/>
              <a:gd name="T26" fmla="*/ 140 w 323"/>
              <a:gd name="T27" fmla="*/ 386 h 398"/>
              <a:gd name="T28" fmla="*/ 136 w 323"/>
              <a:gd name="T29" fmla="*/ 381 h 398"/>
              <a:gd name="T30" fmla="*/ 135 w 323"/>
              <a:gd name="T31" fmla="*/ 378 h 398"/>
              <a:gd name="T32" fmla="*/ 129 w 323"/>
              <a:gd name="T33" fmla="*/ 378 h 398"/>
              <a:gd name="T34" fmla="*/ 125 w 323"/>
              <a:gd name="T35" fmla="*/ 374 h 398"/>
              <a:gd name="T36" fmla="*/ 122 w 323"/>
              <a:gd name="T37" fmla="*/ 374 h 398"/>
              <a:gd name="T38" fmla="*/ 118 w 323"/>
              <a:gd name="T39" fmla="*/ 370 h 398"/>
              <a:gd name="T40" fmla="*/ 113 w 323"/>
              <a:gd name="T41" fmla="*/ 367 h 398"/>
              <a:gd name="T42" fmla="*/ 109 w 323"/>
              <a:gd name="T43" fmla="*/ 365 h 398"/>
              <a:gd name="T44" fmla="*/ 105 w 323"/>
              <a:gd name="T45" fmla="*/ 364 h 398"/>
              <a:gd name="T46" fmla="*/ 99 w 323"/>
              <a:gd name="T47" fmla="*/ 367 h 398"/>
              <a:gd name="T48" fmla="*/ 95 w 323"/>
              <a:gd name="T49" fmla="*/ 365 h 398"/>
              <a:gd name="T50" fmla="*/ 91 w 323"/>
              <a:gd name="T51" fmla="*/ 363 h 398"/>
              <a:gd name="T52" fmla="*/ 85 w 323"/>
              <a:gd name="T53" fmla="*/ 363 h 398"/>
              <a:gd name="T54" fmla="*/ 80 w 323"/>
              <a:gd name="T55" fmla="*/ 361 h 398"/>
              <a:gd name="T56" fmla="*/ 76 w 323"/>
              <a:gd name="T57" fmla="*/ 365 h 398"/>
              <a:gd name="T58" fmla="*/ 72 w 323"/>
              <a:gd name="T59" fmla="*/ 361 h 398"/>
              <a:gd name="T60" fmla="*/ 69 w 323"/>
              <a:gd name="T61" fmla="*/ 357 h 398"/>
              <a:gd name="T62" fmla="*/ 67 w 323"/>
              <a:gd name="T63" fmla="*/ 353 h 398"/>
              <a:gd name="T64" fmla="*/ 65 w 323"/>
              <a:gd name="T65" fmla="*/ 350 h 398"/>
              <a:gd name="T66" fmla="*/ 61 w 323"/>
              <a:gd name="T67" fmla="*/ 352 h 398"/>
              <a:gd name="T68" fmla="*/ 59 w 323"/>
              <a:gd name="T69" fmla="*/ 356 h 398"/>
              <a:gd name="T70" fmla="*/ 58 w 323"/>
              <a:gd name="T71" fmla="*/ 360 h 398"/>
              <a:gd name="T72" fmla="*/ 54 w 323"/>
              <a:gd name="T73" fmla="*/ 360 h 398"/>
              <a:gd name="T74" fmla="*/ 51 w 323"/>
              <a:gd name="T75" fmla="*/ 361 h 398"/>
              <a:gd name="T76" fmla="*/ 54 w 323"/>
              <a:gd name="T77" fmla="*/ 368 h 398"/>
              <a:gd name="T78" fmla="*/ 55 w 323"/>
              <a:gd name="T79" fmla="*/ 372 h 398"/>
              <a:gd name="T80" fmla="*/ 55 w 323"/>
              <a:gd name="T81" fmla="*/ 378 h 398"/>
              <a:gd name="T82" fmla="*/ 55 w 323"/>
              <a:gd name="T83" fmla="*/ 382 h 398"/>
              <a:gd name="T84" fmla="*/ 55 w 323"/>
              <a:gd name="T85" fmla="*/ 386 h 398"/>
              <a:gd name="T86" fmla="*/ 54 w 323"/>
              <a:gd name="T87" fmla="*/ 390 h 398"/>
              <a:gd name="T88" fmla="*/ 18 w 323"/>
              <a:gd name="T89" fmla="*/ 320 h 398"/>
              <a:gd name="T90" fmla="*/ 15 w 323"/>
              <a:gd name="T91" fmla="*/ 254 h 398"/>
              <a:gd name="T92" fmla="*/ 25 w 323"/>
              <a:gd name="T93" fmla="*/ 178 h 398"/>
              <a:gd name="T94" fmla="*/ 7 w 323"/>
              <a:gd name="T95" fmla="*/ 81 h 3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23" h="398">
                <a:moveTo>
                  <a:pt x="7" y="81"/>
                </a:moveTo>
                <a:lnTo>
                  <a:pt x="14" y="67"/>
                </a:lnTo>
                <a:lnTo>
                  <a:pt x="1" y="35"/>
                </a:lnTo>
                <a:lnTo>
                  <a:pt x="7" y="6"/>
                </a:lnTo>
                <a:lnTo>
                  <a:pt x="88" y="12"/>
                </a:lnTo>
                <a:lnTo>
                  <a:pt x="91" y="0"/>
                </a:lnTo>
                <a:lnTo>
                  <a:pt x="105" y="12"/>
                </a:lnTo>
                <a:lnTo>
                  <a:pt x="183" y="19"/>
                </a:lnTo>
                <a:lnTo>
                  <a:pt x="171" y="34"/>
                </a:lnTo>
                <a:lnTo>
                  <a:pt x="175" y="82"/>
                </a:lnTo>
                <a:lnTo>
                  <a:pt x="158" y="107"/>
                </a:lnTo>
                <a:lnTo>
                  <a:pt x="168" y="162"/>
                </a:lnTo>
                <a:lnTo>
                  <a:pt x="216" y="166"/>
                </a:lnTo>
                <a:lnTo>
                  <a:pt x="242" y="205"/>
                </a:lnTo>
                <a:lnTo>
                  <a:pt x="259" y="214"/>
                </a:lnTo>
                <a:lnTo>
                  <a:pt x="274" y="273"/>
                </a:lnTo>
                <a:lnTo>
                  <a:pt x="270" y="277"/>
                </a:lnTo>
                <a:lnTo>
                  <a:pt x="288" y="304"/>
                </a:lnTo>
                <a:lnTo>
                  <a:pt x="286" y="326"/>
                </a:lnTo>
                <a:lnTo>
                  <a:pt x="323" y="350"/>
                </a:lnTo>
                <a:lnTo>
                  <a:pt x="308" y="346"/>
                </a:lnTo>
                <a:lnTo>
                  <a:pt x="266" y="368"/>
                </a:lnTo>
                <a:lnTo>
                  <a:pt x="221" y="367"/>
                </a:lnTo>
                <a:lnTo>
                  <a:pt x="171" y="397"/>
                </a:lnTo>
                <a:lnTo>
                  <a:pt x="169" y="397"/>
                </a:lnTo>
                <a:lnTo>
                  <a:pt x="168" y="398"/>
                </a:lnTo>
                <a:lnTo>
                  <a:pt x="166" y="398"/>
                </a:lnTo>
                <a:lnTo>
                  <a:pt x="165" y="397"/>
                </a:lnTo>
                <a:lnTo>
                  <a:pt x="165" y="396"/>
                </a:lnTo>
                <a:lnTo>
                  <a:pt x="162" y="396"/>
                </a:lnTo>
                <a:lnTo>
                  <a:pt x="162" y="394"/>
                </a:lnTo>
                <a:lnTo>
                  <a:pt x="162" y="393"/>
                </a:lnTo>
                <a:lnTo>
                  <a:pt x="161" y="392"/>
                </a:lnTo>
                <a:lnTo>
                  <a:pt x="160" y="392"/>
                </a:lnTo>
                <a:lnTo>
                  <a:pt x="158" y="392"/>
                </a:lnTo>
                <a:lnTo>
                  <a:pt x="160" y="390"/>
                </a:lnTo>
                <a:lnTo>
                  <a:pt x="158" y="389"/>
                </a:lnTo>
                <a:lnTo>
                  <a:pt x="157" y="389"/>
                </a:lnTo>
                <a:lnTo>
                  <a:pt x="155" y="387"/>
                </a:lnTo>
                <a:lnTo>
                  <a:pt x="155" y="389"/>
                </a:lnTo>
                <a:lnTo>
                  <a:pt x="155" y="390"/>
                </a:lnTo>
                <a:lnTo>
                  <a:pt x="154" y="392"/>
                </a:lnTo>
                <a:lnTo>
                  <a:pt x="153" y="392"/>
                </a:lnTo>
                <a:lnTo>
                  <a:pt x="153" y="393"/>
                </a:lnTo>
                <a:lnTo>
                  <a:pt x="151" y="394"/>
                </a:lnTo>
                <a:lnTo>
                  <a:pt x="150" y="394"/>
                </a:lnTo>
                <a:lnTo>
                  <a:pt x="149" y="394"/>
                </a:lnTo>
                <a:lnTo>
                  <a:pt x="147" y="393"/>
                </a:lnTo>
                <a:lnTo>
                  <a:pt x="146" y="392"/>
                </a:lnTo>
                <a:lnTo>
                  <a:pt x="146" y="390"/>
                </a:lnTo>
                <a:lnTo>
                  <a:pt x="144" y="390"/>
                </a:lnTo>
                <a:lnTo>
                  <a:pt x="143" y="389"/>
                </a:lnTo>
                <a:lnTo>
                  <a:pt x="142" y="389"/>
                </a:lnTo>
                <a:lnTo>
                  <a:pt x="142" y="387"/>
                </a:lnTo>
                <a:lnTo>
                  <a:pt x="142" y="386"/>
                </a:lnTo>
                <a:lnTo>
                  <a:pt x="140" y="386"/>
                </a:lnTo>
                <a:lnTo>
                  <a:pt x="138" y="385"/>
                </a:lnTo>
                <a:lnTo>
                  <a:pt x="138" y="383"/>
                </a:lnTo>
                <a:lnTo>
                  <a:pt x="138" y="382"/>
                </a:lnTo>
                <a:lnTo>
                  <a:pt x="136" y="381"/>
                </a:lnTo>
                <a:lnTo>
                  <a:pt x="138" y="379"/>
                </a:lnTo>
                <a:lnTo>
                  <a:pt x="138" y="379"/>
                </a:lnTo>
                <a:lnTo>
                  <a:pt x="136" y="379"/>
                </a:lnTo>
                <a:lnTo>
                  <a:pt x="135" y="378"/>
                </a:lnTo>
                <a:lnTo>
                  <a:pt x="133" y="378"/>
                </a:lnTo>
                <a:lnTo>
                  <a:pt x="132" y="379"/>
                </a:lnTo>
                <a:lnTo>
                  <a:pt x="131" y="378"/>
                </a:lnTo>
                <a:lnTo>
                  <a:pt x="129" y="378"/>
                </a:lnTo>
                <a:lnTo>
                  <a:pt x="128" y="378"/>
                </a:lnTo>
                <a:lnTo>
                  <a:pt x="128" y="376"/>
                </a:lnTo>
                <a:lnTo>
                  <a:pt x="127" y="375"/>
                </a:lnTo>
                <a:lnTo>
                  <a:pt x="125" y="374"/>
                </a:lnTo>
                <a:lnTo>
                  <a:pt x="125" y="372"/>
                </a:lnTo>
                <a:lnTo>
                  <a:pt x="124" y="372"/>
                </a:lnTo>
                <a:lnTo>
                  <a:pt x="124" y="374"/>
                </a:lnTo>
                <a:lnTo>
                  <a:pt x="122" y="374"/>
                </a:lnTo>
                <a:lnTo>
                  <a:pt x="121" y="374"/>
                </a:lnTo>
                <a:lnTo>
                  <a:pt x="120" y="372"/>
                </a:lnTo>
                <a:lnTo>
                  <a:pt x="118" y="371"/>
                </a:lnTo>
                <a:lnTo>
                  <a:pt x="118" y="370"/>
                </a:lnTo>
                <a:lnTo>
                  <a:pt x="117" y="368"/>
                </a:lnTo>
                <a:lnTo>
                  <a:pt x="116" y="368"/>
                </a:lnTo>
                <a:lnTo>
                  <a:pt x="114" y="368"/>
                </a:lnTo>
                <a:lnTo>
                  <a:pt x="113" y="367"/>
                </a:lnTo>
                <a:lnTo>
                  <a:pt x="111" y="367"/>
                </a:lnTo>
                <a:lnTo>
                  <a:pt x="110" y="367"/>
                </a:lnTo>
                <a:lnTo>
                  <a:pt x="109" y="367"/>
                </a:lnTo>
                <a:lnTo>
                  <a:pt x="109" y="365"/>
                </a:lnTo>
                <a:lnTo>
                  <a:pt x="107" y="365"/>
                </a:lnTo>
                <a:lnTo>
                  <a:pt x="106" y="364"/>
                </a:lnTo>
                <a:lnTo>
                  <a:pt x="105" y="364"/>
                </a:lnTo>
                <a:lnTo>
                  <a:pt x="105" y="364"/>
                </a:lnTo>
                <a:lnTo>
                  <a:pt x="103" y="365"/>
                </a:lnTo>
                <a:lnTo>
                  <a:pt x="102" y="365"/>
                </a:lnTo>
                <a:lnTo>
                  <a:pt x="100" y="365"/>
                </a:lnTo>
                <a:lnTo>
                  <a:pt x="99" y="367"/>
                </a:lnTo>
                <a:lnTo>
                  <a:pt x="98" y="367"/>
                </a:lnTo>
                <a:lnTo>
                  <a:pt x="98" y="365"/>
                </a:lnTo>
                <a:lnTo>
                  <a:pt x="96" y="365"/>
                </a:lnTo>
                <a:lnTo>
                  <a:pt x="95" y="365"/>
                </a:lnTo>
                <a:lnTo>
                  <a:pt x="94" y="364"/>
                </a:lnTo>
                <a:lnTo>
                  <a:pt x="94" y="363"/>
                </a:lnTo>
                <a:lnTo>
                  <a:pt x="92" y="363"/>
                </a:lnTo>
                <a:lnTo>
                  <a:pt x="91" y="363"/>
                </a:lnTo>
                <a:lnTo>
                  <a:pt x="89" y="363"/>
                </a:lnTo>
                <a:lnTo>
                  <a:pt x="88" y="363"/>
                </a:lnTo>
                <a:lnTo>
                  <a:pt x="87" y="363"/>
                </a:lnTo>
                <a:lnTo>
                  <a:pt x="85" y="363"/>
                </a:lnTo>
                <a:lnTo>
                  <a:pt x="85" y="361"/>
                </a:lnTo>
                <a:lnTo>
                  <a:pt x="83" y="360"/>
                </a:lnTo>
                <a:lnTo>
                  <a:pt x="81" y="360"/>
                </a:lnTo>
                <a:lnTo>
                  <a:pt x="80" y="361"/>
                </a:lnTo>
                <a:lnTo>
                  <a:pt x="78" y="361"/>
                </a:lnTo>
                <a:lnTo>
                  <a:pt x="78" y="363"/>
                </a:lnTo>
                <a:lnTo>
                  <a:pt x="77" y="364"/>
                </a:lnTo>
                <a:lnTo>
                  <a:pt x="76" y="365"/>
                </a:lnTo>
                <a:lnTo>
                  <a:pt x="74" y="364"/>
                </a:lnTo>
                <a:lnTo>
                  <a:pt x="73" y="364"/>
                </a:lnTo>
                <a:lnTo>
                  <a:pt x="72" y="363"/>
                </a:lnTo>
                <a:lnTo>
                  <a:pt x="72" y="361"/>
                </a:lnTo>
                <a:lnTo>
                  <a:pt x="72" y="360"/>
                </a:lnTo>
                <a:lnTo>
                  <a:pt x="72" y="359"/>
                </a:lnTo>
                <a:lnTo>
                  <a:pt x="70" y="357"/>
                </a:lnTo>
                <a:lnTo>
                  <a:pt x="69" y="357"/>
                </a:lnTo>
                <a:lnTo>
                  <a:pt x="69" y="356"/>
                </a:lnTo>
                <a:lnTo>
                  <a:pt x="69" y="354"/>
                </a:lnTo>
                <a:lnTo>
                  <a:pt x="69" y="353"/>
                </a:lnTo>
                <a:lnTo>
                  <a:pt x="67" y="353"/>
                </a:lnTo>
                <a:lnTo>
                  <a:pt x="66" y="353"/>
                </a:lnTo>
                <a:lnTo>
                  <a:pt x="66" y="352"/>
                </a:lnTo>
                <a:lnTo>
                  <a:pt x="66" y="350"/>
                </a:lnTo>
                <a:lnTo>
                  <a:pt x="65" y="350"/>
                </a:lnTo>
                <a:lnTo>
                  <a:pt x="63" y="350"/>
                </a:lnTo>
                <a:lnTo>
                  <a:pt x="62" y="350"/>
                </a:lnTo>
                <a:lnTo>
                  <a:pt x="61" y="350"/>
                </a:lnTo>
                <a:lnTo>
                  <a:pt x="61" y="352"/>
                </a:lnTo>
                <a:lnTo>
                  <a:pt x="61" y="353"/>
                </a:lnTo>
                <a:lnTo>
                  <a:pt x="59" y="353"/>
                </a:lnTo>
                <a:lnTo>
                  <a:pt x="59" y="354"/>
                </a:lnTo>
                <a:lnTo>
                  <a:pt x="59" y="356"/>
                </a:lnTo>
                <a:lnTo>
                  <a:pt x="59" y="357"/>
                </a:lnTo>
                <a:lnTo>
                  <a:pt x="59" y="359"/>
                </a:lnTo>
                <a:lnTo>
                  <a:pt x="59" y="360"/>
                </a:lnTo>
                <a:lnTo>
                  <a:pt x="58" y="360"/>
                </a:lnTo>
                <a:lnTo>
                  <a:pt x="56" y="360"/>
                </a:lnTo>
                <a:lnTo>
                  <a:pt x="55" y="361"/>
                </a:lnTo>
                <a:lnTo>
                  <a:pt x="55" y="360"/>
                </a:lnTo>
                <a:lnTo>
                  <a:pt x="54" y="360"/>
                </a:lnTo>
                <a:lnTo>
                  <a:pt x="54" y="359"/>
                </a:lnTo>
                <a:lnTo>
                  <a:pt x="52" y="360"/>
                </a:lnTo>
                <a:lnTo>
                  <a:pt x="52" y="361"/>
                </a:lnTo>
                <a:lnTo>
                  <a:pt x="51" y="361"/>
                </a:lnTo>
                <a:lnTo>
                  <a:pt x="52" y="363"/>
                </a:lnTo>
                <a:lnTo>
                  <a:pt x="54" y="365"/>
                </a:lnTo>
                <a:lnTo>
                  <a:pt x="54" y="367"/>
                </a:lnTo>
                <a:lnTo>
                  <a:pt x="54" y="368"/>
                </a:lnTo>
                <a:lnTo>
                  <a:pt x="54" y="370"/>
                </a:lnTo>
                <a:lnTo>
                  <a:pt x="54" y="371"/>
                </a:lnTo>
                <a:lnTo>
                  <a:pt x="54" y="372"/>
                </a:lnTo>
                <a:lnTo>
                  <a:pt x="55" y="372"/>
                </a:lnTo>
                <a:lnTo>
                  <a:pt x="55" y="374"/>
                </a:lnTo>
                <a:lnTo>
                  <a:pt x="54" y="375"/>
                </a:lnTo>
                <a:lnTo>
                  <a:pt x="55" y="376"/>
                </a:lnTo>
                <a:lnTo>
                  <a:pt x="55" y="378"/>
                </a:lnTo>
                <a:lnTo>
                  <a:pt x="55" y="379"/>
                </a:lnTo>
                <a:lnTo>
                  <a:pt x="55" y="379"/>
                </a:lnTo>
                <a:lnTo>
                  <a:pt x="55" y="381"/>
                </a:lnTo>
                <a:lnTo>
                  <a:pt x="55" y="382"/>
                </a:lnTo>
                <a:lnTo>
                  <a:pt x="56" y="383"/>
                </a:lnTo>
                <a:lnTo>
                  <a:pt x="56" y="385"/>
                </a:lnTo>
                <a:lnTo>
                  <a:pt x="56" y="386"/>
                </a:lnTo>
                <a:lnTo>
                  <a:pt x="55" y="386"/>
                </a:lnTo>
                <a:lnTo>
                  <a:pt x="55" y="387"/>
                </a:lnTo>
                <a:lnTo>
                  <a:pt x="55" y="389"/>
                </a:lnTo>
                <a:lnTo>
                  <a:pt x="55" y="390"/>
                </a:lnTo>
                <a:lnTo>
                  <a:pt x="54" y="390"/>
                </a:lnTo>
                <a:lnTo>
                  <a:pt x="39" y="371"/>
                </a:lnTo>
                <a:lnTo>
                  <a:pt x="40" y="346"/>
                </a:lnTo>
                <a:lnTo>
                  <a:pt x="34" y="346"/>
                </a:lnTo>
                <a:lnTo>
                  <a:pt x="18" y="320"/>
                </a:lnTo>
                <a:lnTo>
                  <a:pt x="29" y="306"/>
                </a:lnTo>
                <a:lnTo>
                  <a:pt x="22" y="293"/>
                </a:lnTo>
                <a:lnTo>
                  <a:pt x="28" y="269"/>
                </a:lnTo>
                <a:lnTo>
                  <a:pt x="15" y="254"/>
                </a:lnTo>
                <a:lnTo>
                  <a:pt x="28" y="243"/>
                </a:lnTo>
                <a:lnTo>
                  <a:pt x="14" y="216"/>
                </a:lnTo>
                <a:lnTo>
                  <a:pt x="21" y="210"/>
                </a:lnTo>
                <a:lnTo>
                  <a:pt x="25" y="178"/>
                </a:lnTo>
                <a:lnTo>
                  <a:pt x="19" y="143"/>
                </a:lnTo>
                <a:lnTo>
                  <a:pt x="7" y="123"/>
                </a:lnTo>
                <a:lnTo>
                  <a:pt x="0" y="95"/>
                </a:lnTo>
                <a:lnTo>
                  <a:pt x="7" y="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6" name="Freeform 132"/>
          <p:cNvSpPr>
            <a:spLocks/>
          </p:cNvSpPr>
          <p:nvPr>
            <p:custDataLst>
              <p:tags r:id="rId52"/>
            </p:custDataLst>
          </p:nvPr>
        </p:nvSpPr>
        <p:spPr bwMode="gray">
          <a:xfrm>
            <a:off x="3974642" y="4228172"/>
            <a:ext cx="267423" cy="336214"/>
          </a:xfrm>
          <a:custGeom>
            <a:avLst/>
            <a:gdLst>
              <a:gd name="T0" fmla="*/ 0 w 281"/>
              <a:gd name="T1" fmla="*/ 102 h 376"/>
              <a:gd name="T2" fmla="*/ 17 w 281"/>
              <a:gd name="T3" fmla="*/ 77 h 376"/>
              <a:gd name="T4" fmla="*/ 13 w 281"/>
              <a:gd name="T5" fmla="*/ 29 h 376"/>
              <a:gd name="T6" fmla="*/ 25 w 281"/>
              <a:gd name="T7" fmla="*/ 14 h 376"/>
              <a:gd name="T8" fmla="*/ 26 w 281"/>
              <a:gd name="T9" fmla="*/ 14 h 376"/>
              <a:gd name="T10" fmla="*/ 61 w 281"/>
              <a:gd name="T11" fmla="*/ 47 h 376"/>
              <a:gd name="T12" fmla="*/ 95 w 281"/>
              <a:gd name="T13" fmla="*/ 54 h 376"/>
              <a:gd name="T14" fmla="*/ 97 w 281"/>
              <a:gd name="T15" fmla="*/ 34 h 376"/>
              <a:gd name="T16" fmla="*/ 135 w 281"/>
              <a:gd name="T17" fmla="*/ 21 h 376"/>
              <a:gd name="T18" fmla="*/ 178 w 281"/>
              <a:gd name="T19" fmla="*/ 29 h 376"/>
              <a:gd name="T20" fmla="*/ 168 w 281"/>
              <a:gd name="T21" fmla="*/ 10 h 376"/>
              <a:gd name="T22" fmla="*/ 171 w 281"/>
              <a:gd name="T23" fmla="*/ 0 h 376"/>
              <a:gd name="T24" fmla="*/ 198 w 281"/>
              <a:gd name="T25" fmla="*/ 10 h 376"/>
              <a:gd name="T26" fmla="*/ 200 w 281"/>
              <a:gd name="T27" fmla="*/ 8 h 376"/>
              <a:gd name="T28" fmla="*/ 245 w 281"/>
              <a:gd name="T29" fmla="*/ 25 h 376"/>
              <a:gd name="T30" fmla="*/ 281 w 281"/>
              <a:gd name="T31" fmla="*/ 70 h 376"/>
              <a:gd name="T32" fmla="*/ 223 w 281"/>
              <a:gd name="T33" fmla="*/ 81 h 376"/>
              <a:gd name="T34" fmla="*/ 233 w 281"/>
              <a:gd name="T35" fmla="*/ 113 h 376"/>
              <a:gd name="T36" fmla="*/ 219 w 281"/>
              <a:gd name="T37" fmla="*/ 146 h 376"/>
              <a:gd name="T38" fmla="*/ 233 w 281"/>
              <a:gd name="T39" fmla="*/ 162 h 376"/>
              <a:gd name="T40" fmla="*/ 224 w 281"/>
              <a:gd name="T41" fmla="*/ 209 h 376"/>
              <a:gd name="T42" fmla="*/ 252 w 281"/>
              <a:gd name="T43" fmla="*/ 271 h 376"/>
              <a:gd name="T44" fmla="*/ 246 w 281"/>
              <a:gd name="T45" fmla="*/ 283 h 376"/>
              <a:gd name="T46" fmla="*/ 257 w 281"/>
              <a:gd name="T47" fmla="*/ 286 h 376"/>
              <a:gd name="T48" fmla="*/ 266 w 281"/>
              <a:gd name="T49" fmla="*/ 310 h 376"/>
              <a:gd name="T50" fmla="*/ 257 w 281"/>
              <a:gd name="T51" fmla="*/ 355 h 376"/>
              <a:gd name="T52" fmla="*/ 218 w 281"/>
              <a:gd name="T53" fmla="*/ 376 h 376"/>
              <a:gd name="T54" fmla="*/ 183 w 281"/>
              <a:gd name="T55" fmla="*/ 351 h 376"/>
              <a:gd name="T56" fmla="*/ 165 w 281"/>
              <a:gd name="T57" fmla="*/ 345 h 376"/>
              <a:gd name="T58" fmla="*/ 128 w 281"/>
              <a:gd name="T59" fmla="*/ 321 h 376"/>
              <a:gd name="T60" fmla="*/ 130 w 281"/>
              <a:gd name="T61" fmla="*/ 299 h 376"/>
              <a:gd name="T62" fmla="*/ 112 w 281"/>
              <a:gd name="T63" fmla="*/ 272 h 376"/>
              <a:gd name="T64" fmla="*/ 116 w 281"/>
              <a:gd name="T65" fmla="*/ 268 h 376"/>
              <a:gd name="T66" fmla="*/ 101 w 281"/>
              <a:gd name="T67" fmla="*/ 209 h 376"/>
              <a:gd name="T68" fmla="*/ 84 w 281"/>
              <a:gd name="T69" fmla="*/ 200 h 376"/>
              <a:gd name="T70" fmla="*/ 58 w 281"/>
              <a:gd name="T71" fmla="*/ 161 h 376"/>
              <a:gd name="T72" fmla="*/ 10 w 281"/>
              <a:gd name="T73" fmla="*/ 157 h 376"/>
              <a:gd name="T74" fmla="*/ 0 w 281"/>
              <a:gd name="T75" fmla="*/ 102 h 3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281" h="376">
                <a:moveTo>
                  <a:pt x="0" y="102"/>
                </a:moveTo>
                <a:lnTo>
                  <a:pt x="17" y="77"/>
                </a:lnTo>
                <a:lnTo>
                  <a:pt x="13" y="29"/>
                </a:lnTo>
                <a:lnTo>
                  <a:pt x="25" y="14"/>
                </a:lnTo>
                <a:lnTo>
                  <a:pt x="26" y="14"/>
                </a:lnTo>
                <a:lnTo>
                  <a:pt x="61" y="47"/>
                </a:lnTo>
                <a:lnTo>
                  <a:pt x="95" y="54"/>
                </a:lnTo>
                <a:lnTo>
                  <a:pt x="97" y="34"/>
                </a:lnTo>
                <a:lnTo>
                  <a:pt x="135" y="21"/>
                </a:lnTo>
                <a:lnTo>
                  <a:pt x="178" y="29"/>
                </a:lnTo>
                <a:lnTo>
                  <a:pt x="168" y="10"/>
                </a:lnTo>
                <a:lnTo>
                  <a:pt x="171" y="0"/>
                </a:lnTo>
                <a:lnTo>
                  <a:pt x="198" y="10"/>
                </a:lnTo>
                <a:lnTo>
                  <a:pt x="200" y="8"/>
                </a:lnTo>
                <a:lnTo>
                  <a:pt x="245" y="25"/>
                </a:lnTo>
                <a:lnTo>
                  <a:pt x="281" y="70"/>
                </a:lnTo>
                <a:lnTo>
                  <a:pt x="223" y="81"/>
                </a:lnTo>
                <a:lnTo>
                  <a:pt x="233" y="113"/>
                </a:lnTo>
                <a:lnTo>
                  <a:pt x="219" y="146"/>
                </a:lnTo>
                <a:lnTo>
                  <a:pt x="233" y="162"/>
                </a:lnTo>
                <a:lnTo>
                  <a:pt x="224" y="209"/>
                </a:lnTo>
                <a:lnTo>
                  <a:pt x="252" y="271"/>
                </a:lnTo>
                <a:lnTo>
                  <a:pt x="246" y="283"/>
                </a:lnTo>
                <a:lnTo>
                  <a:pt x="257" y="286"/>
                </a:lnTo>
                <a:lnTo>
                  <a:pt x="266" y="310"/>
                </a:lnTo>
                <a:lnTo>
                  <a:pt x="257" y="355"/>
                </a:lnTo>
                <a:lnTo>
                  <a:pt x="218" y="376"/>
                </a:lnTo>
                <a:lnTo>
                  <a:pt x="183" y="351"/>
                </a:lnTo>
                <a:lnTo>
                  <a:pt x="165" y="345"/>
                </a:lnTo>
                <a:lnTo>
                  <a:pt x="128" y="321"/>
                </a:lnTo>
                <a:lnTo>
                  <a:pt x="130" y="299"/>
                </a:lnTo>
                <a:lnTo>
                  <a:pt x="112" y="272"/>
                </a:lnTo>
                <a:lnTo>
                  <a:pt x="116" y="268"/>
                </a:lnTo>
                <a:lnTo>
                  <a:pt x="101" y="209"/>
                </a:lnTo>
                <a:lnTo>
                  <a:pt x="84" y="200"/>
                </a:lnTo>
                <a:lnTo>
                  <a:pt x="58" y="161"/>
                </a:lnTo>
                <a:lnTo>
                  <a:pt x="10" y="157"/>
                </a:lnTo>
                <a:lnTo>
                  <a:pt x="0" y="10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7" name="Freeform 133"/>
          <p:cNvSpPr>
            <a:spLocks/>
          </p:cNvSpPr>
          <p:nvPr>
            <p:custDataLst>
              <p:tags r:id="rId53"/>
            </p:custDataLst>
          </p:nvPr>
        </p:nvSpPr>
        <p:spPr bwMode="gray">
          <a:xfrm>
            <a:off x="4164978" y="4195086"/>
            <a:ext cx="221743" cy="310283"/>
          </a:xfrm>
          <a:custGeom>
            <a:avLst/>
            <a:gdLst>
              <a:gd name="T0" fmla="*/ 44 w 233"/>
              <a:gd name="T1" fmla="*/ 22 h 347"/>
              <a:gd name="T2" fmla="*/ 85 w 233"/>
              <a:gd name="T3" fmla="*/ 0 h 347"/>
              <a:gd name="T4" fmla="*/ 107 w 233"/>
              <a:gd name="T5" fmla="*/ 19 h 347"/>
              <a:gd name="T6" fmla="*/ 233 w 233"/>
              <a:gd name="T7" fmla="*/ 80 h 347"/>
              <a:gd name="T8" fmla="*/ 225 w 233"/>
              <a:gd name="T9" fmla="*/ 144 h 347"/>
              <a:gd name="T10" fmla="*/ 200 w 233"/>
              <a:gd name="T11" fmla="*/ 144 h 347"/>
              <a:gd name="T12" fmla="*/ 203 w 233"/>
              <a:gd name="T13" fmla="*/ 188 h 347"/>
              <a:gd name="T14" fmla="*/ 213 w 233"/>
              <a:gd name="T15" fmla="*/ 206 h 347"/>
              <a:gd name="T16" fmla="*/ 205 w 233"/>
              <a:gd name="T17" fmla="*/ 226 h 347"/>
              <a:gd name="T18" fmla="*/ 194 w 233"/>
              <a:gd name="T19" fmla="*/ 226 h 347"/>
              <a:gd name="T20" fmla="*/ 188 w 233"/>
              <a:gd name="T21" fmla="*/ 249 h 347"/>
              <a:gd name="T22" fmla="*/ 195 w 233"/>
              <a:gd name="T23" fmla="*/ 265 h 347"/>
              <a:gd name="T24" fmla="*/ 178 w 233"/>
              <a:gd name="T25" fmla="*/ 303 h 347"/>
              <a:gd name="T26" fmla="*/ 158 w 233"/>
              <a:gd name="T27" fmla="*/ 303 h 347"/>
              <a:gd name="T28" fmla="*/ 123 w 233"/>
              <a:gd name="T29" fmla="*/ 330 h 347"/>
              <a:gd name="T30" fmla="*/ 66 w 233"/>
              <a:gd name="T31" fmla="*/ 347 h 347"/>
              <a:gd name="T32" fmla="*/ 57 w 233"/>
              <a:gd name="T33" fmla="*/ 323 h 347"/>
              <a:gd name="T34" fmla="*/ 46 w 233"/>
              <a:gd name="T35" fmla="*/ 320 h 347"/>
              <a:gd name="T36" fmla="*/ 52 w 233"/>
              <a:gd name="T37" fmla="*/ 308 h 347"/>
              <a:gd name="T38" fmla="*/ 24 w 233"/>
              <a:gd name="T39" fmla="*/ 246 h 347"/>
              <a:gd name="T40" fmla="*/ 33 w 233"/>
              <a:gd name="T41" fmla="*/ 199 h 347"/>
              <a:gd name="T42" fmla="*/ 19 w 233"/>
              <a:gd name="T43" fmla="*/ 183 h 347"/>
              <a:gd name="T44" fmla="*/ 33 w 233"/>
              <a:gd name="T45" fmla="*/ 150 h 347"/>
              <a:gd name="T46" fmla="*/ 23 w 233"/>
              <a:gd name="T47" fmla="*/ 118 h 347"/>
              <a:gd name="T48" fmla="*/ 81 w 233"/>
              <a:gd name="T49" fmla="*/ 107 h 347"/>
              <a:gd name="T50" fmla="*/ 45 w 233"/>
              <a:gd name="T51" fmla="*/ 62 h 347"/>
              <a:gd name="T52" fmla="*/ 0 w 233"/>
              <a:gd name="T53" fmla="*/ 45 h 347"/>
              <a:gd name="T54" fmla="*/ 44 w 233"/>
              <a:gd name="T55" fmla="*/ 22 h 3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233" h="347">
                <a:moveTo>
                  <a:pt x="44" y="22"/>
                </a:moveTo>
                <a:lnTo>
                  <a:pt x="85" y="0"/>
                </a:lnTo>
                <a:lnTo>
                  <a:pt x="107" y="19"/>
                </a:lnTo>
                <a:lnTo>
                  <a:pt x="233" y="80"/>
                </a:lnTo>
                <a:lnTo>
                  <a:pt x="225" y="144"/>
                </a:lnTo>
                <a:lnTo>
                  <a:pt x="200" y="144"/>
                </a:lnTo>
                <a:lnTo>
                  <a:pt x="203" y="188"/>
                </a:lnTo>
                <a:lnTo>
                  <a:pt x="213" y="206"/>
                </a:lnTo>
                <a:lnTo>
                  <a:pt x="205" y="226"/>
                </a:lnTo>
                <a:lnTo>
                  <a:pt x="194" y="226"/>
                </a:lnTo>
                <a:lnTo>
                  <a:pt x="188" y="249"/>
                </a:lnTo>
                <a:lnTo>
                  <a:pt x="195" y="265"/>
                </a:lnTo>
                <a:lnTo>
                  <a:pt x="178" y="303"/>
                </a:lnTo>
                <a:lnTo>
                  <a:pt x="158" y="303"/>
                </a:lnTo>
                <a:lnTo>
                  <a:pt x="123" y="330"/>
                </a:lnTo>
                <a:lnTo>
                  <a:pt x="66" y="347"/>
                </a:lnTo>
                <a:lnTo>
                  <a:pt x="57" y="323"/>
                </a:lnTo>
                <a:lnTo>
                  <a:pt x="46" y="320"/>
                </a:lnTo>
                <a:lnTo>
                  <a:pt x="52" y="308"/>
                </a:lnTo>
                <a:lnTo>
                  <a:pt x="24" y="246"/>
                </a:lnTo>
                <a:lnTo>
                  <a:pt x="33" y="199"/>
                </a:lnTo>
                <a:lnTo>
                  <a:pt x="19" y="183"/>
                </a:lnTo>
                <a:lnTo>
                  <a:pt x="33" y="150"/>
                </a:lnTo>
                <a:lnTo>
                  <a:pt x="23" y="118"/>
                </a:lnTo>
                <a:lnTo>
                  <a:pt x="81" y="107"/>
                </a:lnTo>
                <a:lnTo>
                  <a:pt x="45" y="62"/>
                </a:lnTo>
                <a:lnTo>
                  <a:pt x="0" y="45"/>
                </a:lnTo>
                <a:lnTo>
                  <a:pt x="44" y="2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8" name="Freeform 134"/>
          <p:cNvSpPr>
            <a:spLocks/>
          </p:cNvSpPr>
          <p:nvPr>
            <p:custDataLst>
              <p:tags r:id="rId54"/>
            </p:custDataLst>
          </p:nvPr>
        </p:nvSpPr>
        <p:spPr bwMode="gray">
          <a:xfrm>
            <a:off x="3910879" y="4020720"/>
            <a:ext cx="334993" cy="255738"/>
          </a:xfrm>
          <a:custGeom>
            <a:avLst/>
            <a:gdLst>
              <a:gd name="T0" fmla="*/ 9 w 352"/>
              <a:gd name="T1" fmla="*/ 180 h 286"/>
              <a:gd name="T2" fmla="*/ 18 w 352"/>
              <a:gd name="T3" fmla="*/ 136 h 286"/>
              <a:gd name="T4" fmla="*/ 74 w 352"/>
              <a:gd name="T5" fmla="*/ 97 h 286"/>
              <a:gd name="T6" fmla="*/ 75 w 352"/>
              <a:gd name="T7" fmla="*/ 19 h 286"/>
              <a:gd name="T8" fmla="*/ 97 w 352"/>
              <a:gd name="T9" fmla="*/ 18 h 286"/>
              <a:gd name="T10" fmla="*/ 103 w 352"/>
              <a:gd name="T11" fmla="*/ 35 h 286"/>
              <a:gd name="T12" fmla="*/ 115 w 352"/>
              <a:gd name="T13" fmla="*/ 38 h 286"/>
              <a:gd name="T14" fmla="*/ 113 w 352"/>
              <a:gd name="T15" fmla="*/ 18 h 286"/>
              <a:gd name="T16" fmla="*/ 130 w 352"/>
              <a:gd name="T17" fmla="*/ 0 h 286"/>
              <a:gd name="T18" fmla="*/ 188 w 352"/>
              <a:gd name="T19" fmla="*/ 4 h 286"/>
              <a:gd name="T20" fmla="*/ 201 w 352"/>
              <a:gd name="T21" fmla="*/ 44 h 286"/>
              <a:gd name="T22" fmla="*/ 219 w 352"/>
              <a:gd name="T23" fmla="*/ 73 h 286"/>
              <a:gd name="T24" fmla="*/ 213 w 352"/>
              <a:gd name="T25" fmla="*/ 93 h 286"/>
              <a:gd name="T26" fmla="*/ 252 w 352"/>
              <a:gd name="T27" fmla="*/ 99 h 286"/>
              <a:gd name="T28" fmla="*/ 352 w 352"/>
              <a:gd name="T29" fmla="*/ 195 h 286"/>
              <a:gd name="T30" fmla="*/ 265 w 352"/>
              <a:gd name="T31" fmla="*/ 242 h 286"/>
              <a:gd name="T32" fmla="*/ 238 w 352"/>
              <a:gd name="T33" fmla="*/ 232 h 286"/>
              <a:gd name="T34" fmla="*/ 235 w 352"/>
              <a:gd name="T35" fmla="*/ 242 h 286"/>
              <a:gd name="T36" fmla="*/ 245 w 352"/>
              <a:gd name="T37" fmla="*/ 261 h 286"/>
              <a:gd name="T38" fmla="*/ 202 w 352"/>
              <a:gd name="T39" fmla="*/ 253 h 286"/>
              <a:gd name="T40" fmla="*/ 164 w 352"/>
              <a:gd name="T41" fmla="*/ 266 h 286"/>
              <a:gd name="T42" fmla="*/ 162 w 352"/>
              <a:gd name="T43" fmla="*/ 286 h 286"/>
              <a:gd name="T44" fmla="*/ 128 w 352"/>
              <a:gd name="T45" fmla="*/ 279 h 286"/>
              <a:gd name="T46" fmla="*/ 93 w 352"/>
              <a:gd name="T47" fmla="*/ 246 h 286"/>
              <a:gd name="T48" fmla="*/ 14 w 352"/>
              <a:gd name="T49" fmla="*/ 239 h 286"/>
              <a:gd name="T50" fmla="*/ 0 w 352"/>
              <a:gd name="T51" fmla="*/ 227 h 286"/>
              <a:gd name="T52" fmla="*/ 9 w 352"/>
              <a:gd name="T53" fmla="*/ 180 h 2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352" h="286">
                <a:moveTo>
                  <a:pt x="9" y="180"/>
                </a:moveTo>
                <a:lnTo>
                  <a:pt x="18" y="136"/>
                </a:lnTo>
                <a:lnTo>
                  <a:pt x="74" y="97"/>
                </a:lnTo>
                <a:lnTo>
                  <a:pt x="75" y="19"/>
                </a:lnTo>
                <a:lnTo>
                  <a:pt x="97" y="18"/>
                </a:lnTo>
                <a:lnTo>
                  <a:pt x="103" y="35"/>
                </a:lnTo>
                <a:lnTo>
                  <a:pt x="115" y="38"/>
                </a:lnTo>
                <a:lnTo>
                  <a:pt x="113" y="18"/>
                </a:lnTo>
                <a:lnTo>
                  <a:pt x="130" y="0"/>
                </a:lnTo>
                <a:lnTo>
                  <a:pt x="188" y="4"/>
                </a:lnTo>
                <a:lnTo>
                  <a:pt x="201" y="44"/>
                </a:lnTo>
                <a:lnTo>
                  <a:pt x="219" y="73"/>
                </a:lnTo>
                <a:lnTo>
                  <a:pt x="213" y="93"/>
                </a:lnTo>
                <a:lnTo>
                  <a:pt x="252" y="99"/>
                </a:lnTo>
                <a:lnTo>
                  <a:pt x="352" y="195"/>
                </a:lnTo>
                <a:lnTo>
                  <a:pt x="265" y="242"/>
                </a:lnTo>
                <a:lnTo>
                  <a:pt x="238" y="232"/>
                </a:lnTo>
                <a:lnTo>
                  <a:pt x="235" y="242"/>
                </a:lnTo>
                <a:lnTo>
                  <a:pt x="245" y="261"/>
                </a:lnTo>
                <a:lnTo>
                  <a:pt x="202" y="253"/>
                </a:lnTo>
                <a:lnTo>
                  <a:pt x="164" y="266"/>
                </a:lnTo>
                <a:lnTo>
                  <a:pt x="162" y="286"/>
                </a:lnTo>
                <a:lnTo>
                  <a:pt x="128" y="279"/>
                </a:lnTo>
                <a:lnTo>
                  <a:pt x="93" y="246"/>
                </a:lnTo>
                <a:lnTo>
                  <a:pt x="14" y="239"/>
                </a:lnTo>
                <a:lnTo>
                  <a:pt x="0" y="227"/>
                </a:lnTo>
                <a:lnTo>
                  <a:pt x="9" y="180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89" name="Freeform 135"/>
          <p:cNvSpPr>
            <a:spLocks/>
          </p:cNvSpPr>
          <p:nvPr>
            <p:custDataLst>
              <p:tags r:id="rId55"/>
            </p:custDataLst>
          </p:nvPr>
        </p:nvSpPr>
        <p:spPr bwMode="gray">
          <a:xfrm>
            <a:off x="4145945" y="4056488"/>
            <a:ext cx="601465" cy="348733"/>
          </a:xfrm>
          <a:custGeom>
            <a:avLst/>
            <a:gdLst>
              <a:gd name="T0" fmla="*/ 42 w 632"/>
              <a:gd name="T1" fmla="*/ 55 h 390"/>
              <a:gd name="T2" fmla="*/ 82 w 632"/>
              <a:gd name="T3" fmla="*/ 55 h 390"/>
              <a:gd name="T4" fmla="*/ 112 w 632"/>
              <a:gd name="T5" fmla="*/ 0 h 390"/>
              <a:gd name="T6" fmla="*/ 255 w 632"/>
              <a:gd name="T7" fmla="*/ 118 h 390"/>
              <a:gd name="T8" fmla="*/ 632 w 632"/>
              <a:gd name="T9" fmla="*/ 137 h 390"/>
              <a:gd name="T10" fmla="*/ 628 w 632"/>
              <a:gd name="T11" fmla="*/ 305 h 390"/>
              <a:gd name="T12" fmla="*/ 533 w 632"/>
              <a:gd name="T13" fmla="*/ 271 h 390"/>
              <a:gd name="T14" fmla="*/ 501 w 632"/>
              <a:gd name="T15" fmla="*/ 390 h 390"/>
              <a:gd name="T16" fmla="*/ 333 w 632"/>
              <a:gd name="T17" fmla="*/ 324 h 390"/>
              <a:gd name="T18" fmla="*/ 310 w 632"/>
              <a:gd name="T19" fmla="*/ 324 h 390"/>
              <a:gd name="T20" fmla="*/ 247 w 632"/>
              <a:gd name="T21" fmla="*/ 338 h 390"/>
              <a:gd name="T22" fmla="*/ 220 w 632"/>
              <a:gd name="T23" fmla="*/ 299 h 390"/>
              <a:gd name="T24" fmla="*/ 245 w 632"/>
              <a:gd name="T25" fmla="*/ 299 h 390"/>
              <a:gd name="T26" fmla="*/ 253 w 632"/>
              <a:gd name="T27" fmla="*/ 235 h 390"/>
              <a:gd name="T28" fmla="*/ 127 w 632"/>
              <a:gd name="T29" fmla="*/ 174 h 390"/>
              <a:gd name="T30" fmla="*/ 0 w 632"/>
              <a:gd name="T31" fmla="*/ 55 h 390"/>
              <a:gd name="T32" fmla="*/ 42 w 632"/>
              <a:gd name="T33" fmla="*/ 55 h 3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632" h="390">
                <a:moveTo>
                  <a:pt x="42" y="55"/>
                </a:moveTo>
                <a:lnTo>
                  <a:pt x="82" y="55"/>
                </a:lnTo>
                <a:lnTo>
                  <a:pt x="112" y="0"/>
                </a:lnTo>
                <a:lnTo>
                  <a:pt x="255" y="118"/>
                </a:lnTo>
                <a:lnTo>
                  <a:pt x="632" y="137"/>
                </a:lnTo>
                <a:lnTo>
                  <a:pt x="628" y="305"/>
                </a:lnTo>
                <a:lnTo>
                  <a:pt x="533" y="271"/>
                </a:lnTo>
                <a:lnTo>
                  <a:pt x="501" y="390"/>
                </a:lnTo>
                <a:lnTo>
                  <a:pt x="333" y="324"/>
                </a:lnTo>
                <a:lnTo>
                  <a:pt x="310" y="324"/>
                </a:lnTo>
                <a:lnTo>
                  <a:pt x="247" y="338"/>
                </a:lnTo>
                <a:lnTo>
                  <a:pt x="220" y="299"/>
                </a:lnTo>
                <a:lnTo>
                  <a:pt x="245" y="299"/>
                </a:lnTo>
                <a:lnTo>
                  <a:pt x="253" y="235"/>
                </a:lnTo>
                <a:lnTo>
                  <a:pt x="127" y="174"/>
                </a:lnTo>
                <a:lnTo>
                  <a:pt x="0" y="55"/>
                </a:lnTo>
                <a:lnTo>
                  <a:pt x="42" y="55"/>
                </a:lnTo>
              </a:path>
            </a:pathLst>
          </a:custGeom>
          <a:noFill/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0" name="Freeform 136"/>
          <p:cNvSpPr>
            <a:spLocks/>
          </p:cNvSpPr>
          <p:nvPr>
            <p:custDataLst>
              <p:tags r:id="rId56"/>
            </p:custDataLst>
          </p:nvPr>
        </p:nvSpPr>
        <p:spPr bwMode="gray">
          <a:xfrm>
            <a:off x="4483794" y="3792703"/>
            <a:ext cx="434920" cy="386289"/>
          </a:xfrm>
          <a:custGeom>
            <a:avLst/>
            <a:gdLst>
              <a:gd name="T0" fmla="*/ 2 w 457"/>
              <a:gd name="T1" fmla="*/ 158 h 432"/>
              <a:gd name="T2" fmla="*/ 3 w 457"/>
              <a:gd name="T3" fmla="*/ 146 h 432"/>
              <a:gd name="T4" fmla="*/ 43 w 457"/>
              <a:gd name="T5" fmla="*/ 109 h 432"/>
              <a:gd name="T6" fmla="*/ 98 w 457"/>
              <a:gd name="T7" fmla="*/ 102 h 432"/>
              <a:gd name="T8" fmla="*/ 165 w 457"/>
              <a:gd name="T9" fmla="*/ 28 h 432"/>
              <a:gd name="T10" fmla="*/ 277 w 457"/>
              <a:gd name="T11" fmla="*/ 15 h 432"/>
              <a:gd name="T12" fmla="*/ 292 w 457"/>
              <a:gd name="T13" fmla="*/ 0 h 432"/>
              <a:gd name="T14" fmla="*/ 434 w 457"/>
              <a:gd name="T15" fmla="*/ 10 h 432"/>
              <a:gd name="T16" fmla="*/ 442 w 457"/>
              <a:gd name="T17" fmla="*/ 3 h 432"/>
              <a:gd name="T18" fmla="*/ 457 w 457"/>
              <a:gd name="T19" fmla="*/ 11 h 432"/>
              <a:gd name="T20" fmla="*/ 412 w 457"/>
              <a:gd name="T21" fmla="*/ 47 h 432"/>
              <a:gd name="T22" fmla="*/ 424 w 457"/>
              <a:gd name="T23" fmla="*/ 70 h 432"/>
              <a:gd name="T24" fmla="*/ 403 w 457"/>
              <a:gd name="T25" fmla="*/ 110 h 432"/>
              <a:gd name="T26" fmla="*/ 406 w 457"/>
              <a:gd name="T27" fmla="*/ 204 h 432"/>
              <a:gd name="T28" fmla="*/ 379 w 457"/>
              <a:gd name="T29" fmla="*/ 220 h 432"/>
              <a:gd name="T30" fmla="*/ 372 w 457"/>
              <a:gd name="T31" fmla="*/ 251 h 432"/>
              <a:gd name="T32" fmla="*/ 395 w 457"/>
              <a:gd name="T33" fmla="*/ 329 h 432"/>
              <a:gd name="T34" fmla="*/ 416 w 457"/>
              <a:gd name="T35" fmla="*/ 340 h 432"/>
              <a:gd name="T36" fmla="*/ 418 w 457"/>
              <a:gd name="T37" fmla="*/ 432 h 432"/>
              <a:gd name="T38" fmla="*/ 281 w 457"/>
              <a:gd name="T39" fmla="*/ 431 h 432"/>
              <a:gd name="T40" fmla="*/ 277 w 457"/>
              <a:gd name="T41" fmla="*/ 432 h 432"/>
              <a:gd name="T42" fmla="*/ 134 w 457"/>
              <a:gd name="T43" fmla="*/ 425 h 432"/>
              <a:gd name="T44" fmla="*/ 55 w 457"/>
              <a:gd name="T45" fmla="*/ 260 h 432"/>
              <a:gd name="T46" fmla="*/ 0 w 457"/>
              <a:gd name="T47" fmla="*/ 169 h 432"/>
              <a:gd name="T48" fmla="*/ 2 w 457"/>
              <a:gd name="T49" fmla="*/ 158 h 4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57" h="432">
                <a:moveTo>
                  <a:pt x="2" y="158"/>
                </a:moveTo>
                <a:lnTo>
                  <a:pt x="3" y="146"/>
                </a:lnTo>
                <a:lnTo>
                  <a:pt x="43" y="109"/>
                </a:lnTo>
                <a:lnTo>
                  <a:pt x="98" y="102"/>
                </a:lnTo>
                <a:lnTo>
                  <a:pt x="165" y="28"/>
                </a:lnTo>
                <a:lnTo>
                  <a:pt x="277" y="15"/>
                </a:lnTo>
                <a:lnTo>
                  <a:pt x="292" y="0"/>
                </a:lnTo>
                <a:lnTo>
                  <a:pt x="434" y="10"/>
                </a:lnTo>
                <a:lnTo>
                  <a:pt x="442" y="3"/>
                </a:lnTo>
                <a:lnTo>
                  <a:pt x="457" y="11"/>
                </a:lnTo>
                <a:lnTo>
                  <a:pt x="412" y="47"/>
                </a:lnTo>
                <a:lnTo>
                  <a:pt x="424" y="70"/>
                </a:lnTo>
                <a:lnTo>
                  <a:pt x="403" y="110"/>
                </a:lnTo>
                <a:lnTo>
                  <a:pt x="406" y="204"/>
                </a:lnTo>
                <a:lnTo>
                  <a:pt x="379" y="220"/>
                </a:lnTo>
                <a:lnTo>
                  <a:pt x="372" y="251"/>
                </a:lnTo>
                <a:lnTo>
                  <a:pt x="395" y="329"/>
                </a:lnTo>
                <a:lnTo>
                  <a:pt x="416" y="340"/>
                </a:lnTo>
                <a:lnTo>
                  <a:pt x="418" y="432"/>
                </a:lnTo>
                <a:lnTo>
                  <a:pt x="281" y="431"/>
                </a:lnTo>
                <a:lnTo>
                  <a:pt x="277" y="432"/>
                </a:lnTo>
                <a:lnTo>
                  <a:pt x="134" y="425"/>
                </a:lnTo>
                <a:lnTo>
                  <a:pt x="55" y="260"/>
                </a:lnTo>
                <a:lnTo>
                  <a:pt x="0" y="169"/>
                </a:lnTo>
                <a:lnTo>
                  <a:pt x="2" y="15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1" name="Freeform 137"/>
          <p:cNvSpPr>
            <a:spLocks/>
          </p:cNvSpPr>
          <p:nvPr>
            <p:custDataLst>
              <p:tags r:id="rId57"/>
            </p:custDataLst>
          </p:nvPr>
        </p:nvSpPr>
        <p:spPr bwMode="gray">
          <a:xfrm>
            <a:off x="4255389" y="3976011"/>
            <a:ext cx="355930" cy="196721"/>
          </a:xfrm>
          <a:custGeom>
            <a:avLst/>
            <a:gdLst>
              <a:gd name="T0" fmla="*/ 11 w 374"/>
              <a:gd name="T1" fmla="*/ 94 h 220"/>
              <a:gd name="T2" fmla="*/ 20 w 374"/>
              <a:gd name="T3" fmla="*/ 94 h 220"/>
              <a:gd name="T4" fmla="*/ 38 w 374"/>
              <a:gd name="T5" fmla="*/ 101 h 220"/>
              <a:gd name="T6" fmla="*/ 70 w 374"/>
              <a:gd name="T7" fmla="*/ 101 h 220"/>
              <a:gd name="T8" fmla="*/ 82 w 374"/>
              <a:gd name="T9" fmla="*/ 95 h 220"/>
              <a:gd name="T10" fmla="*/ 82 w 374"/>
              <a:gd name="T11" fmla="*/ 81 h 220"/>
              <a:gd name="T12" fmla="*/ 114 w 374"/>
              <a:gd name="T13" fmla="*/ 90 h 220"/>
              <a:gd name="T14" fmla="*/ 134 w 374"/>
              <a:gd name="T15" fmla="*/ 69 h 220"/>
              <a:gd name="T16" fmla="*/ 136 w 374"/>
              <a:gd name="T17" fmla="*/ 61 h 220"/>
              <a:gd name="T18" fmla="*/ 143 w 374"/>
              <a:gd name="T19" fmla="*/ 50 h 220"/>
              <a:gd name="T20" fmla="*/ 166 w 374"/>
              <a:gd name="T21" fmla="*/ 24 h 220"/>
              <a:gd name="T22" fmla="*/ 176 w 374"/>
              <a:gd name="T23" fmla="*/ 30 h 220"/>
              <a:gd name="T24" fmla="*/ 196 w 374"/>
              <a:gd name="T25" fmla="*/ 15 h 220"/>
              <a:gd name="T26" fmla="*/ 191 w 374"/>
              <a:gd name="T27" fmla="*/ 7 h 220"/>
              <a:gd name="T28" fmla="*/ 198 w 374"/>
              <a:gd name="T29" fmla="*/ 6 h 220"/>
              <a:gd name="T30" fmla="*/ 262 w 374"/>
              <a:gd name="T31" fmla="*/ 0 h 220"/>
              <a:gd name="T32" fmla="*/ 295 w 374"/>
              <a:gd name="T33" fmla="*/ 55 h 220"/>
              <a:gd name="T34" fmla="*/ 374 w 374"/>
              <a:gd name="T35" fmla="*/ 220 h 220"/>
              <a:gd name="T36" fmla="*/ 140 w 374"/>
              <a:gd name="T37" fmla="*/ 208 h 220"/>
              <a:gd name="T38" fmla="*/ 0 w 374"/>
              <a:gd name="T39" fmla="*/ 92 h 220"/>
              <a:gd name="T40" fmla="*/ 11 w 374"/>
              <a:gd name="T41" fmla="*/ 94 h 2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374" h="220">
                <a:moveTo>
                  <a:pt x="11" y="94"/>
                </a:moveTo>
                <a:lnTo>
                  <a:pt x="20" y="94"/>
                </a:lnTo>
                <a:lnTo>
                  <a:pt x="38" y="101"/>
                </a:lnTo>
                <a:lnTo>
                  <a:pt x="70" y="101"/>
                </a:lnTo>
                <a:lnTo>
                  <a:pt x="82" y="95"/>
                </a:lnTo>
                <a:lnTo>
                  <a:pt x="82" y="81"/>
                </a:lnTo>
                <a:lnTo>
                  <a:pt x="114" y="90"/>
                </a:lnTo>
                <a:lnTo>
                  <a:pt x="134" y="69"/>
                </a:lnTo>
                <a:lnTo>
                  <a:pt x="136" y="61"/>
                </a:lnTo>
                <a:lnTo>
                  <a:pt x="143" y="50"/>
                </a:lnTo>
                <a:lnTo>
                  <a:pt x="166" y="24"/>
                </a:lnTo>
                <a:lnTo>
                  <a:pt x="176" y="30"/>
                </a:lnTo>
                <a:lnTo>
                  <a:pt x="196" y="15"/>
                </a:lnTo>
                <a:lnTo>
                  <a:pt x="191" y="7"/>
                </a:lnTo>
                <a:lnTo>
                  <a:pt x="198" y="6"/>
                </a:lnTo>
                <a:lnTo>
                  <a:pt x="262" y="0"/>
                </a:lnTo>
                <a:lnTo>
                  <a:pt x="295" y="55"/>
                </a:lnTo>
                <a:lnTo>
                  <a:pt x="374" y="220"/>
                </a:lnTo>
                <a:lnTo>
                  <a:pt x="140" y="208"/>
                </a:lnTo>
                <a:lnTo>
                  <a:pt x="0" y="92"/>
                </a:lnTo>
                <a:lnTo>
                  <a:pt x="11" y="9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2" name="Freeform 138"/>
          <p:cNvSpPr>
            <a:spLocks/>
          </p:cNvSpPr>
          <p:nvPr>
            <p:custDataLst>
              <p:tags r:id="rId58"/>
            </p:custDataLst>
          </p:nvPr>
        </p:nvSpPr>
        <p:spPr bwMode="gray">
          <a:xfrm>
            <a:off x="3544481" y="3897322"/>
            <a:ext cx="496779" cy="337109"/>
          </a:xfrm>
          <a:custGeom>
            <a:avLst/>
            <a:gdLst>
              <a:gd name="T0" fmla="*/ 4 w 522"/>
              <a:gd name="T1" fmla="*/ 149 h 377"/>
              <a:gd name="T2" fmla="*/ 11 w 522"/>
              <a:gd name="T3" fmla="*/ 136 h 377"/>
              <a:gd name="T4" fmla="*/ 0 w 522"/>
              <a:gd name="T5" fmla="*/ 95 h 377"/>
              <a:gd name="T6" fmla="*/ 9 w 522"/>
              <a:gd name="T7" fmla="*/ 91 h 377"/>
              <a:gd name="T8" fmla="*/ 112 w 522"/>
              <a:gd name="T9" fmla="*/ 129 h 377"/>
              <a:gd name="T10" fmla="*/ 150 w 522"/>
              <a:gd name="T11" fmla="*/ 123 h 377"/>
              <a:gd name="T12" fmla="*/ 180 w 522"/>
              <a:gd name="T13" fmla="*/ 80 h 377"/>
              <a:gd name="T14" fmla="*/ 183 w 522"/>
              <a:gd name="T15" fmla="*/ 47 h 377"/>
              <a:gd name="T16" fmla="*/ 181 w 522"/>
              <a:gd name="T17" fmla="*/ 25 h 377"/>
              <a:gd name="T18" fmla="*/ 232 w 522"/>
              <a:gd name="T19" fmla="*/ 14 h 377"/>
              <a:gd name="T20" fmla="*/ 242 w 522"/>
              <a:gd name="T21" fmla="*/ 0 h 377"/>
              <a:gd name="T22" fmla="*/ 250 w 522"/>
              <a:gd name="T23" fmla="*/ 0 h 377"/>
              <a:gd name="T24" fmla="*/ 272 w 522"/>
              <a:gd name="T25" fmla="*/ 28 h 377"/>
              <a:gd name="T26" fmla="*/ 315 w 522"/>
              <a:gd name="T27" fmla="*/ 11 h 377"/>
              <a:gd name="T28" fmla="*/ 315 w 522"/>
              <a:gd name="T29" fmla="*/ 12 h 377"/>
              <a:gd name="T30" fmla="*/ 337 w 522"/>
              <a:gd name="T31" fmla="*/ 15 h 377"/>
              <a:gd name="T32" fmla="*/ 334 w 522"/>
              <a:gd name="T33" fmla="*/ 30 h 377"/>
              <a:gd name="T34" fmla="*/ 342 w 522"/>
              <a:gd name="T35" fmla="*/ 32 h 377"/>
              <a:gd name="T36" fmla="*/ 353 w 522"/>
              <a:gd name="T37" fmla="*/ 18 h 377"/>
              <a:gd name="T38" fmla="*/ 370 w 522"/>
              <a:gd name="T39" fmla="*/ 32 h 377"/>
              <a:gd name="T40" fmla="*/ 383 w 522"/>
              <a:gd name="T41" fmla="*/ 25 h 377"/>
              <a:gd name="T42" fmla="*/ 389 w 522"/>
              <a:gd name="T43" fmla="*/ 33 h 377"/>
              <a:gd name="T44" fmla="*/ 382 w 522"/>
              <a:gd name="T45" fmla="*/ 50 h 377"/>
              <a:gd name="T46" fmla="*/ 396 w 522"/>
              <a:gd name="T47" fmla="*/ 63 h 377"/>
              <a:gd name="T48" fmla="*/ 393 w 522"/>
              <a:gd name="T49" fmla="*/ 76 h 377"/>
              <a:gd name="T50" fmla="*/ 404 w 522"/>
              <a:gd name="T51" fmla="*/ 76 h 377"/>
              <a:gd name="T52" fmla="*/ 405 w 522"/>
              <a:gd name="T53" fmla="*/ 63 h 377"/>
              <a:gd name="T54" fmla="*/ 422 w 522"/>
              <a:gd name="T55" fmla="*/ 72 h 377"/>
              <a:gd name="T56" fmla="*/ 443 w 522"/>
              <a:gd name="T57" fmla="*/ 110 h 377"/>
              <a:gd name="T58" fmla="*/ 445 w 522"/>
              <a:gd name="T59" fmla="*/ 127 h 377"/>
              <a:gd name="T60" fmla="*/ 471 w 522"/>
              <a:gd name="T61" fmla="*/ 132 h 377"/>
              <a:gd name="T62" fmla="*/ 499 w 522"/>
              <a:gd name="T63" fmla="*/ 134 h 377"/>
              <a:gd name="T64" fmla="*/ 506 w 522"/>
              <a:gd name="T65" fmla="*/ 121 h 377"/>
              <a:gd name="T66" fmla="*/ 518 w 522"/>
              <a:gd name="T67" fmla="*/ 117 h 377"/>
              <a:gd name="T68" fmla="*/ 522 w 522"/>
              <a:gd name="T69" fmla="*/ 127 h 377"/>
              <a:gd name="T70" fmla="*/ 521 w 522"/>
              <a:gd name="T71" fmla="*/ 138 h 377"/>
              <a:gd name="T72" fmla="*/ 515 w 522"/>
              <a:gd name="T73" fmla="*/ 138 h 377"/>
              <a:gd name="T74" fmla="*/ 498 w 522"/>
              <a:gd name="T75" fmla="*/ 156 h 377"/>
              <a:gd name="T76" fmla="*/ 500 w 522"/>
              <a:gd name="T77" fmla="*/ 176 h 377"/>
              <a:gd name="T78" fmla="*/ 488 w 522"/>
              <a:gd name="T79" fmla="*/ 173 h 377"/>
              <a:gd name="T80" fmla="*/ 482 w 522"/>
              <a:gd name="T81" fmla="*/ 156 h 377"/>
              <a:gd name="T82" fmla="*/ 460 w 522"/>
              <a:gd name="T83" fmla="*/ 157 h 377"/>
              <a:gd name="T84" fmla="*/ 459 w 522"/>
              <a:gd name="T85" fmla="*/ 235 h 377"/>
              <a:gd name="T86" fmla="*/ 403 w 522"/>
              <a:gd name="T87" fmla="*/ 274 h 377"/>
              <a:gd name="T88" fmla="*/ 382 w 522"/>
              <a:gd name="T89" fmla="*/ 377 h 377"/>
              <a:gd name="T90" fmla="*/ 191 w 522"/>
              <a:gd name="T91" fmla="*/ 363 h 377"/>
              <a:gd name="T92" fmla="*/ 122 w 522"/>
              <a:gd name="T93" fmla="*/ 327 h 377"/>
              <a:gd name="T94" fmla="*/ 66 w 522"/>
              <a:gd name="T95" fmla="*/ 244 h 377"/>
              <a:gd name="T96" fmla="*/ 35 w 522"/>
              <a:gd name="T97" fmla="*/ 238 h 377"/>
              <a:gd name="T98" fmla="*/ 20 w 522"/>
              <a:gd name="T99" fmla="*/ 178 h 377"/>
              <a:gd name="T100" fmla="*/ 0 w 522"/>
              <a:gd name="T101" fmla="*/ 161 h 377"/>
              <a:gd name="T102" fmla="*/ 4 w 522"/>
              <a:gd name="T103" fmla="*/ 149 h 37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22" h="377">
                <a:moveTo>
                  <a:pt x="4" y="149"/>
                </a:moveTo>
                <a:lnTo>
                  <a:pt x="11" y="136"/>
                </a:lnTo>
                <a:lnTo>
                  <a:pt x="0" y="95"/>
                </a:lnTo>
                <a:lnTo>
                  <a:pt x="9" y="91"/>
                </a:lnTo>
                <a:lnTo>
                  <a:pt x="112" y="129"/>
                </a:lnTo>
                <a:lnTo>
                  <a:pt x="150" y="123"/>
                </a:lnTo>
                <a:lnTo>
                  <a:pt x="180" y="80"/>
                </a:lnTo>
                <a:lnTo>
                  <a:pt x="183" y="47"/>
                </a:lnTo>
                <a:lnTo>
                  <a:pt x="181" y="25"/>
                </a:lnTo>
                <a:lnTo>
                  <a:pt x="232" y="14"/>
                </a:lnTo>
                <a:lnTo>
                  <a:pt x="242" y="0"/>
                </a:lnTo>
                <a:lnTo>
                  <a:pt x="250" y="0"/>
                </a:lnTo>
                <a:lnTo>
                  <a:pt x="272" y="28"/>
                </a:lnTo>
                <a:lnTo>
                  <a:pt x="315" y="11"/>
                </a:lnTo>
                <a:lnTo>
                  <a:pt x="315" y="12"/>
                </a:lnTo>
                <a:lnTo>
                  <a:pt x="337" y="15"/>
                </a:lnTo>
                <a:lnTo>
                  <a:pt x="334" y="30"/>
                </a:lnTo>
                <a:lnTo>
                  <a:pt x="342" y="32"/>
                </a:lnTo>
                <a:lnTo>
                  <a:pt x="353" y="18"/>
                </a:lnTo>
                <a:lnTo>
                  <a:pt x="370" y="32"/>
                </a:lnTo>
                <a:lnTo>
                  <a:pt x="383" y="25"/>
                </a:lnTo>
                <a:lnTo>
                  <a:pt x="389" y="33"/>
                </a:lnTo>
                <a:lnTo>
                  <a:pt x="382" y="50"/>
                </a:lnTo>
                <a:lnTo>
                  <a:pt x="396" y="63"/>
                </a:lnTo>
                <a:lnTo>
                  <a:pt x="393" y="76"/>
                </a:lnTo>
                <a:lnTo>
                  <a:pt x="404" y="76"/>
                </a:lnTo>
                <a:lnTo>
                  <a:pt x="405" y="63"/>
                </a:lnTo>
                <a:lnTo>
                  <a:pt x="422" y="72"/>
                </a:lnTo>
                <a:lnTo>
                  <a:pt x="443" y="110"/>
                </a:lnTo>
                <a:lnTo>
                  <a:pt x="445" y="127"/>
                </a:lnTo>
                <a:lnTo>
                  <a:pt x="471" y="132"/>
                </a:lnTo>
                <a:lnTo>
                  <a:pt x="499" y="134"/>
                </a:lnTo>
                <a:lnTo>
                  <a:pt x="506" y="121"/>
                </a:lnTo>
                <a:lnTo>
                  <a:pt x="518" y="117"/>
                </a:lnTo>
                <a:lnTo>
                  <a:pt x="522" y="127"/>
                </a:lnTo>
                <a:lnTo>
                  <a:pt x="521" y="138"/>
                </a:lnTo>
                <a:lnTo>
                  <a:pt x="515" y="138"/>
                </a:lnTo>
                <a:lnTo>
                  <a:pt x="498" y="156"/>
                </a:lnTo>
                <a:lnTo>
                  <a:pt x="500" y="176"/>
                </a:lnTo>
                <a:lnTo>
                  <a:pt x="488" y="173"/>
                </a:lnTo>
                <a:lnTo>
                  <a:pt x="482" y="156"/>
                </a:lnTo>
                <a:lnTo>
                  <a:pt x="460" y="157"/>
                </a:lnTo>
                <a:lnTo>
                  <a:pt x="459" y="235"/>
                </a:lnTo>
                <a:lnTo>
                  <a:pt x="403" y="274"/>
                </a:lnTo>
                <a:lnTo>
                  <a:pt x="382" y="377"/>
                </a:lnTo>
                <a:lnTo>
                  <a:pt x="191" y="363"/>
                </a:lnTo>
                <a:lnTo>
                  <a:pt x="122" y="327"/>
                </a:lnTo>
                <a:lnTo>
                  <a:pt x="66" y="244"/>
                </a:lnTo>
                <a:lnTo>
                  <a:pt x="35" y="238"/>
                </a:lnTo>
                <a:lnTo>
                  <a:pt x="20" y="178"/>
                </a:lnTo>
                <a:lnTo>
                  <a:pt x="0" y="161"/>
                </a:lnTo>
                <a:lnTo>
                  <a:pt x="4" y="14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3" name="Freeform 139"/>
          <p:cNvSpPr>
            <a:spLocks/>
          </p:cNvSpPr>
          <p:nvPr>
            <p:custDataLst>
              <p:tags r:id="rId59"/>
            </p:custDataLst>
          </p:nvPr>
        </p:nvSpPr>
        <p:spPr bwMode="gray">
          <a:xfrm>
            <a:off x="4034598" y="3917889"/>
            <a:ext cx="350220" cy="191356"/>
          </a:xfrm>
          <a:custGeom>
            <a:avLst/>
            <a:gdLst>
              <a:gd name="T0" fmla="*/ 2 w 368"/>
              <a:gd name="T1" fmla="*/ 82 h 214"/>
              <a:gd name="T2" fmla="*/ 5 w 368"/>
              <a:gd name="T3" fmla="*/ 79 h 214"/>
              <a:gd name="T4" fmla="*/ 23 w 368"/>
              <a:gd name="T5" fmla="*/ 86 h 214"/>
              <a:gd name="T6" fmla="*/ 27 w 368"/>
              <a:gd name="T7" fmla="*/ 67 h 214"/>
              <a:gd name="T8" fmla="*/ 42 w 368"/>
              <a:gd name="T9" fmla="*/ 67 h 214"/>
              <a:gd name="T10" fmla="*/ 49 w 368"/>
              <a:gd name="T11" fmla="*/ 73 h 214"/>
              <a:gd name="T12" fmla="*/ 61 w 368"/>
              <a:gd name="T13" fmla="*/ 60 h 214"/>
              <a:gd name="T14" fmla="*/ 65 w 368"/>
              <a:gd name="T15" fmla="*/ 43 h 214"/>
              <a:gd name="T16" fmla="*/ 58 w 368"/>
              <a:gd name="T17" fmla="*/ 38 h 214"/>
              <a:gd name="T18" fmla="*/ 144 w 368"/>
              <a:gd name="T19" fmla="*/ 5 h 214"/>
              <a:gd name="T20" fmla="*/ 163 w 368"/>
              <a:gd name="T21" fmla="*/ 18 h 214"/>
              <a:gd name="T22" fmla="*/ 166 w 368"/>
              <a:gd name="T23" fmla="*/ 29 h 214"/>
              <a:gd name="T24" fmla="*/ 183 w 368"/>
              <a:gd name="T25" fmla="*/ 35 h 214"/>
              <a:gd name="T26" fmla="*/ 214 w 368"/>
              <a:gd name="T27" fmla="*/ 29 h 214"/>
              <a:gd name="T28" fmla="*/ 236 w 368"/>
              <a:gd name="T29" fmla="*/ 9 h 214"/>
              <a:gd name="T30" fmla="*/ 270 w 368"/>
              <a:gd name="T31" fmla="*/ 0 h 214"/>
              <a:gd name="T32" fmla="*/ 289 w 368"/>
              <a:gd name="T33" fmla="*/ 6 h 214"/>
              <a:gd name="T34" fmla="*/ 315 w 368"/>
              <a:gd name="T35" fmla="*/ 34 h 214"/>
              <a:gd name="T36" fmla="*/ 314 w 368"/>
              <a:gd name="T37" fmla="*/ 43 h 214"/>
              <a:gd name="T38" fmla="*/ 307 w 368"/>
              <a:gd name="T39" fmla="*/ 53 h 214"/>
              <a:gd name="T40" fmla="*/ 346 w 368"/>
              <a:gd name="T41" fmla="*/ 87 h 214"/>
              <a:gd name="T42" fmla="*/ 339 w 368"/>
              <a:gd name="T43" fmla="*/ 106 h 214"/>
              <a:gd name="T44" fmla="*/ 368 w 368"/>
              <a:gd name="T45" fmla="*/ 126 h 214"/>
              <a:gd name="T46" fmla="*/ 366 w 368"/>
              <a:gd name="T47" fmla="*/ 134 h 214"/>
              <a:gd name="T48" fmla="*/ 346 w 368"/>
              <a:gd name="T49" fmla="*/ 155 h 214"/>
              <a:gd name="T50" fmla="*/ 314 w 368"/>
              <a:gd name="T51" fmla="*/ 146 h 214"/>
              <a:gd name="T52" fmla="*/ 314 w 368"/>
              <a:gd name="T53" fmla="*/ 160 h 214"/>
              <a:gd name="T54" fmla="*/ 302 w 368"/>
              <a:gd name="T55" fmla="*/ 166 h 214"/>
              <a:gd name="T56" fmla="*/ 270 w 368"/>
              <a:gd name="T57" fmla="*/ 166 h 214"/>
              <a:gd name="T58" fmla="*/ 252 w 368"/>
              <a:gd name="T59" fmla="*/ 159 h 214"/>
              <a:gd name="T60" fmla="*/ 232 w 368"/>
              <a:gd name="T61" fmla="*/ 157 h 214"/>
              <a:gd name="T62" fmla="*/ 229 w 368"/>
              <a:gd name="T63" fmla="*/ 155 h 214"/>
              <a:gd name="T64" fmla="*/ 199 w 368"/>
              <a:gd name="T65" fmla="*/ 210 h 214"/>
              <a:gd name="T66" fmla="*/ 117 w 368"/>
              <a:gd name="T67" fmla="*/ 210 h 214"/>
              <a:gd name="T68" fmla="*/ 122 w 368"/>
              <a:gd name="T69" fmla="*/ 214 h 214"/>
              <a:gd name="T70" fmla="*/ 83 w 368"/>
              <a:gd name="T71" fmla="*/ 208 h 214"/>
              <a:gd name="T72" fmla="*/ 89 w 368"/>
              <a:gd name="T73" fmla="*/ 188 h 214"/>
              <a:gd name="T74" fmla="*/ 71 w 368"/>
              <a:gd name="T75" fmla="*/ 159 h 214"/>
              <a:gd name="T76" fmla="*/ 58 w 368"/>
              <a:gd name="T77" fmla="*/ 119 h 214"/>
              <a:gd name="T78" fmla="*/ 6 w 368"/>
              <a:gd name="T79" fmla="*/ 115 h 214"/>
              <a:gd name="T80" fmla="*/ 7 w 368"/>
              <a:gd name="T81" fmla="*/ 104 h 214"/>
              <a:gd name="T82" fmla="*/ 3 w 368"/>
              <a:gd name="T83" fmla="*/ 94 h 214"/>
              <a:gd name="T84" fmla="*/ 2 w 368"/>
              <a:gd name="T85" fmla="*/ 94 h 214"/>
              <a:gd name="T86" fmla="*/ 0 w 368"/>
              <a:gd name="T87" fmla="*/ 83 h 214"/>
              <a:gd name="T88" fmla="*/ 2 w 368"/>
              <a:gd name="T89" fmla="*/ 82 h 2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368" h="214">
                <a:moveTo>
                  <a:pt x="2" y="82"/>
                </a:moveTo>
                <a:lnTo>
                  <a:pt x="5" y="79"/>
                </a:lnTo>
                <a:lnTo>
                  <a:pt x="23" y="86"/>
                </a:lnTo>
                <a:lnTo>
                  <a:pt x="27" y="67"/>
                </a:lnTo>
                <a:lnTo>
                  <a:pt x="42" y="67"/>
                </a:lnTo>
                <a:lnTo>
                  <a:pt x="49" y="73"/>
                </a:lnTo>
                <a:lnTo>
                  <a:pt x="61" y="60"/>
                </a:lnTo>
                <a:lnTo>
                  <a:pt x="65" y="43"/>
                </a:lnTo>
                <a:lnTo>
                  <a:pt x="58" y="38"/>
                </a:lnTo>
                <a:lnTo>
                  <a:pt x="144" y="5"/>
                </a:lnTo>
                <a:lnTo>
                  <a:pt x="163" y="18"/>
                </a:lnTo>
                <a:lnTo>
                  <a:pt x="166" y="29"/>
                </a:lnTo>
                <a:lnTo>
                  <a:pt x="183" y="35"/>
                </a:lnTo>
                <a:lnTo>
                  <a:pt x="214" y="29"/>
                </a:lnTo>
                <a:lnTo>
                  <a:pt x="236" y="9"/>
                </a:lnTo>
                <a:lnTo>
                  <a:pt x="270" y="0"/>
                </a:lnTo>
                <a:lnTo>
                  <a:pt x="289" y="6"/>
                </a:lnTo>
                <a:lnTo>
                  <a:pt x="315" y="34"/>
                </a:lnTo>
                <a:lnTo>
                  <a:pt x="314" y="43"/>
                </a:lnTo>
                <a:lnTo>
                  <a:pt x="307" y="53"/>
                </a:lnTo>
                <a:lnTo>
                  <a:pt x="346" y="87"/>
                </a:lnTo>
                <a:lnTo>
                  <a:pt x="339" y="106"/>
                </a:lnTo>
                <a:lnTo>
                  <a:pt x="368" y="126"/>
                </a:lnTo>
                <a:lnTo>
                  <a:pt x="366" y="134"/>
                </a:lnTo>
                <a:lnTo>
                  <a:pt x="346" y="155"/>
                </a:lnTo>
                <a:lnTo>
                  <a:pt x="314" y="146"/>
                </a:lnTo>
                <a:lnTo>
                  <a:pt x="314" y="160"/>
                </a:lnTo>
                <a:lnTo>
                  <a:pt x="302" y="166"/>
                </a:lnTo>
                <a:lnTo>
                  <a:pt x="270" y="166"/>
                </a:lnTo>
                <a:lnTo>
                  <a:pt x="252" y="159"/>
                </a:lnTo>
                <a:lnTo>
                  <a:pt x="232" y="157"/>
                </a:lnTo>
                <a:lnTo>
                  <a:pt x="229" y="155"/>
                </a:lnTo>
                <a:lnTo>
                  <a:pt x="199" y="210"/>
                </a:lnTo>
                <a:lnTo>
                  <a:pt x="117" y="210"/>
                </a:lnTo>
                <a:lnTo>
                  <a:pt x="122" y="214"/>
                </a:lnTo>
                <a:lnTo>
                  <a:pt x="83" y="208"/>
                </a:lnTo>
                <a:lnTo>
                  <a:pt x="89" y="188"/>
                </a:lnTo>
                <a:lnTo>
                  <a:pt x="71" y="159"/>
                </a:lnTo>
                <a:lnTo>
                  <a:pt x="58" y="119"/>
                </a:lnTo>
                <a:lnTo>
                  <a:pt x="6" y="115"/>
                </a:lnTo>
                <a:lnTo>
                  <a:pt x="7" y="104"/>
                </a:lnTo>
                <a:lnTo>
                  <a:pt x="3" y="94"/>
                </a:lnTo>
                <a:lnTo>
                  <a:pt x="2" y="94"/>
                </a:lnTo>
                <a:lnTo>
                  <a:pt x="0" y="83"/>
                </a:lnTo>
                <a:lnTo>
                  <a:pt x="2" y="8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4" name="Freeform 140"/>
          <p:cNvSpPr>
            <a:spLocks/>
          </p:cNvSpPr>
          <p:nvPr>
            <p:custDataLst>
              <p:tags r:id="rId60"/>
            </p:custDataLst>
          </p:nvPr>
        </p:nvSpPr>
        <p:spPr bwMode="gray">
          <a:xfrm>
            <a:off x="4155462" y="3755147"/>
            <a:ext cx="349268" cy="275410"/>
          </a:xfrm>
          <a:custGeom>
            <a:avLst/>
            <a:gdLst>
              <a:gd name="T0" fmla="*/ 6 w 367"/>
              <a:gd name="T1" fmla="*/ 162 h 308"/>
              <a:gd name="T2" fmla="*/ 10 w 367"/>
              <a:gd name="T3" fmla="*/ 148 h 308"/>
              <a:gd name="T4" fmla="*/ 1 w 367"/>
              <a:gd name="T5" fmla="*/ 111 h 308"/>
              <a:gd name="T6" fmla="*/ 1 w 367"/>
              <a:gd name="T7" fmla="*/ 71 h 308"/>
              <a:gd name="T8" fmla="*/ 12 w 367"/>
              <a:gd name="T9" fmla="*/ 66 h 308"/>
              <a:gd name="T10" fmla="*/ 19 w 367"/>
              <a:gd name="T11" fmla="*/ 48 h 308"/>
              <a:gd name="T12" fmla="*/ 76 w 367"/>
              <a:gd name="T13" fmla="*/ 53 h 308"/>
              <a:gd name="T14" fmla="*/ 105 w 367"/>
              <a:gd name="T15" fmla="*/ 6 h 308"/>
              <a:gd name="T16" fmla="*/ 133 w 367"/>
              <a:gd name="T17" fmla="*/ 0 h 308"/>
              <a:gd name="T18" fmla="*/ 135 w 367"/>
              <a:gd name="T19" fmla="*/ 2 h 308"/>
              <a:gd name="T20" fmla="*/ 303 w 367"/>
              <a:gd name="T21" fmla="*/ 143 h 308"/>
              <a:gd name="T22" fmla="*/ 367 w 367"/>
              <a:gd name="T23" fmla="*/ 247 h 308"/>
              <a:gd name="T24" fmla="*/ 303 w 367"/>
              <a:gd name="T25" fmla="*/ 253 h 308"/>
              <a:gd name="T26" fmla="*/ 296 w 367"/>
              <a:gd name="T27" fmla="*/ 254 h 308"/>
              <a:gd name="T28" fmla="*/ 301 w 367"/>
              <a:gd name="T29" fmla="*/ 262 h 308"/>
              <a:gd name="T30" fmla="*/ 281 w 367"/>
              <a:gd name="T31" fmla="*/ 277 h 308"/>
              <a:gd name="T32" fmla="*/ 271 w 367"/>
              <a:gd name="T33" fmla="*/ 271 h 308"/>
              <a:gd name="T34" fmla="*/ 248 w 367"/>
              <a:gd name="T35" fmla="*/ 297 h 308"/>
              <a:gd name="T36" fmla="*/ 241 w 367"/>
              <a:gd name="T37" fmla="*/ 308 h 308"/>
              <a:gd name="T38" fmla="*/ 212 w 367"/>
              <a:gd name="T39" fmla="*/ 288 h 308"/>
              <a:gd name="T40" fmla="*/ 219 w 367"/>
              <a:gd name="T41" fmla="*/ 269 h 308"/>
              <a:gd name="T42" fmla="*/ 180 w 367"/>
              <a:gd name="T43" fmla="*/ 235 h 308"/>
              <a:gd name="T44" fmla="*/ 187 w 367"/>
              <a:gd name="T45" fmla="*/ 225 h 308"/>
              <a:gd name="T46" fmla="*/ 188 w 367"/>
              <a:gd name="T47" fmla="*/ 216 h 308"/>
              <a:gd name="T48" fmla="*/ 162 w 367"/>
              <a:gd name="T49" fmla="*/ 188 h 308"/>
              <a:gd name="T50" fmla="*/ 143 w 367"/>
              <a:gd name="T51" fmla="*/ 182 h 308"/>
              <a:gd name="T52" fmla="*/ 109 w 367"/>
              <a:gd name="T53" fmla="*/ 191 h 308"/>
              <a:gd name="T54" fmla="*/ 87 w 367"/>
              <a:gd name="T55" fmla="*/ 211 h 308"/>
              <a:gd name="T56" fmla="*/ 56 w 367"/>
              <a:gd name="T57" fmla="*/ 217 h 308"/>
              <a:gd name="T58" fmla="*/ 39 w 367"/>
              <a:gd name="T59" fmla="*/ 211 h 308"/>
              <a:gd name="T60" fmla="*/ 36 w 367"/>
              <a:gd name="T61" fmla="*/ 200 h 308"/>
              <a:gd name="T62" fmla="*/ 17 w 367"/>
              <a:gd name="T63" fmla="*/ 187 h 308"/>
              <a:gd name="T64" fmla="*/ 17 w 367"/>
              <a:gd name="T65" fmla="*/ 178 h 308"/>
              <a:gd name="T66" fmla="*/ 0 w 367"/>
              <a:gd name="T67" fmla="*/ 174 h 308"/>
              <a:gd name="T68" fmla="*/ 6 w 367"/>
              <a:gd name="T69" fmla="*/ 162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67" h="308">
                <a:moveTo>
                  <a:pt x="6" y="162"/>
                </a:moveTo>
                <a:lnTo>
                  <a:pt x="10" y="148"/>
                </a:lnTo>
                <a:lnTo>
                  <a:pt x="1" y="111"/>
                </a:lnTo>
                <a:lnTo>
                  <a:pt x="1" y="71"/>
                </a:lnTo>
                <a:lnTo>
                  <a:pt x="12" y="66"/>
                </a:lnTo>
                <a:lnTo>
                  <a:pt x="19" y="48"/>
                </a:lnTo>
                <a:lnTo>
                  <a:pt x="76" y="53"/>
                </a:lnTo>
                <a:lnTo>
                  <a:pt x="105" y="6"/>
                </a:lnTo>
                <a:lnTo>
                  <a:pt x="133" y="0"/>
                </a:lnTo>
                <a:lnTo>
                  <a:pt x="135" y="2"/>
                </a:lnTo>
                <a:lnTo>
                  <a:pt x="303" y="143"/>
                </a:lnTo>
                <a:lnTo>
                  <a:pt x="367" y="247"/>
                </a:lnTo>
                <a:lnTo>
                  <a:pt x="303" y="253"/>
                </a:lnTo>
                <a:lnTo>
                  <a:pt x="296" y="254"/>
                </a:lnTo>
                <a:lnTo>
                  <a:pt x="301" y="262"/>
                </a:lnTo>
                <a:lnTo>
                  <a:pt x="281" y="277"/>
                </a:lnTo>
                <a:lnTo>
                  <a:pt x="271" y="271"/>
                </a:lnTo>
                <a:lnTo>
                  <a:pt x="248" y="297"/>
                </a:lnTo>
                <a:lnTo>
                  <a:pt x="241" y="308"/>
                </a:lnTo>
                <a:lnTo>
                  <a:pt x="212" y="288"/>
                </a:lnTo>
                <a:lnTo>
                  <a:pt x="219" y="269"/>
                </a:lnTo>
                <a:lnTo>
                  <a:pt x="180" y="235"/>
                </a:lnTo>
                <a:lnTo>
                  <a:pt x="187" y="225"/>
                </a:lnTo>
                <a:lnTo>
                  <a:pt x="188" y="216"/>
                </a:lnTo>
                <a:lnTo>
                  <a:pt x="162" y="188"/>
                </a:lnTo>
                <a:lnTo>
                  <a:pt x="143" y="182"/>
                </a:lnTo>
                <a:lnTo>
                  <a:pt x="109" y="191"/>
                </a:lnTo>
                <a:lnTo>
                  <a:pt x="87" y="211"/>
                </a:lnTo>
                <a:lnTo>
                  <a:pt x="56" y="217"/>
                </a:lnTo>
                <a:lnTo>
                  <a:pt x="39" y="211"/>
                </a:lnTo>
                <a:lnTo>
                  <a:pt x="36" y="200"/>
                </a:lnTo>
                <a:lnTo>
                  <a:pt x="17" y="187"/>
                </a:lnTo>
                <a:lnTo>
                  <a:pt x="17" y="178"/>
                </a:lnTo>
                <a:lnTo>
                  <a:pt x="0" y="174"/>
                </a:lnTo>
                <a:lnTo>
                  <a:pt x="6" y="16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5" name="Freeform 141"/>
          <p:cNvSpPr>
            <a:spLocks/>
          </p:cNvSpPr>
          <p:nvPr>
            <p:custDataLst>
              <p:tags r:id="rId61"/>
            </p:custDataLst>
          </p:nvPr>
        </p:nvSpPr>
        <p:spPr bwMode="gray">
          <a:xfrm>
            <a:off x="3140965" y="3357233"/>
            <a:ext cx="426355" cy="547242"/>
          </a:xfrm>
          <a:custGeom>
            <a:avLst/>
            <a:gdLst>
              <a:gd name="T0" fmla="*/ 0 w 448"/>
              <a:gd name="T1" fmla="*/ 124 h 612"/>
              <a:gd name="T2" fmla="*/ 32 w 448"/>
              <a:gd name="T3" fmla="*/ 108 h 612"/>
              <a:gd name="T4" fmla="*/ 165 w 448"/>
              <a:gd name="T5" fmla="*/ 59 h 612"/>
              <a:gd name="T6" fmla="*/ 194 w 448"/>
              <a:gd name="T7" fmla="*/ 2 h 612"/>
              <a:gd name="T8" fmla="*/ 227 w 448"/>
              <a:gd name="T9" fmla="*/ 0 h 612"/>
              <a:gd name="T10" fmla="*/ 233 w 448"/>
              <a:gd name="T11" fmla="*/ 59 h 612"/>
              <a:gd name="T12" fmla="*/ 220 w 448"/>
              <a:gd name="T13" fmla="*/ 79 h 612"/>
              <a:gd name="T14" fmla="*/ 215 w 448"/>
              <a:gd name="T15" fmla="*/ 146 h 612"/>
              <a:gd name="T16" fmla="*/ 315 w 448"/>
              <a:gd name="T17" fmla="*/ 167 h 612"/>
              <a:gd name="T18" fmla="*/ 370 w 448"/>
              <a:gd name="T19" fmla="*/ 251 h 612"/>
              <a:gd name="T20" fmla="*/ 362 w 448"/>
              <a:gd name="T21" fmla="*/ 275 h 612"/>
              <a:gd name="T22" fmla="*/ 365 w 448"/>
              <a:gd name="T23" fmla="*/ 292 h 612"/>
              <a:gd name="T24" fmla="*/ 448 w 448"/>
              <a:gd name="T25" fmla="*/ 370 h 612"/>
              <a:gd name="T26" fmla="*/ 432 w 448"/>
              <a:gd name="T27" fmla="*/ 460 h 612"/>
              <a:gd name="T28" fmla="*/ 433 w 448"/>
              <a:gd name="T29" fmla="*/ 604 h 612"/>
              <a:gd name="T30" fmla="*/ 279 w 448"/>
              <a:gd name="T31" fmla="*/ 612 h 612"/>
              <a:gd name="T32" fmla="*/ 274 w 448"/>
              <a:gd name="T33" fmla="*/ 610 h 612"/>
              <a:gd name="T34" fmla="*/ 281 w 448"/>
              <a:gd name="T35" fmla="*/ 588 h 612"/>
              <a:gd name="T36" fmla="*/ 275 w 448"/>
              <a:gd name="T37" fmla="*/ 566 h 612"/>
              <a:gd name="T38" fmla="*/ 294 w 448"/>
              <a:gd name="T39" fmla="*/ 567 h 612"/>
              <a:gd name="T40" fmla="*/ 294 w 448"/>
              <a:gd name="T41" fmla="*/ 544 h 612"/>
              <a:gd name="T42" fmla="*/ 259 w 448"/>
              <a:gd name="T43" fmla="*/ 516 h 612"/>
              <a:gd name="T44" fmla="*/ 246 w 448"/>
              <a:gd name="T45" fmla="*/ 480 h 612"/>
              <a:gd name="T46" fmla="*/ 264 w 448"/>
              <a:gd name="T47" fmla="*/ 399 h 612"/>
              <a:gd name="T48" fmla="*/ 261 w 448"/>
              <a:gd name="T49" fmla="*/ 352 h 612"/>
              <a:gd name="T50" fmla="*/ 285 w 448"/>
              <a:gd name="T51" fmla="*/ 344 h 612"/>
              <a:gd name="T52" fmla="*/ 277 w 448"/>
              <a:gd name="T53" fmla="*/ 335 h 612"/>
              <a:gd name="T54" fmla="*/ 260 w 448"/>
              <a:gd name="T55" fmla="*/ 341 h 612"/>
              <a:gd name="T56" fmla="*/ 260 w 448"/>
              <a:gd name="T57" fmla="*/ 329 h 612"/>
              <a:gd name="T58" fmla="*/ 279 w 448"/>
              <a:gd name="T59" fmla="*/ 324 h 612"/>
              <a:gd name="T60" fmla="*/ 267 w 448"/>
              <a:gd name="T61" fmla="*/ 318 h 612"/>
              <a:gd name="T62" fmla="*/ 278 w 448"/>
              <a:gd name="T63" fmla="*/ 288 h 612"/>
              <a:gd name="T64" fmla="*/ 266 w 448"/>
              <a:gd name="T65" fmla="*/ 280 h 612"/>
              <a:gd name="T66" fmla="*/ 266 w 448"/>
              <a:gd name="T67" fmla="*/ 269 h 612"/>
              <a:gd name="T68" fmla="*/ 231 w 448"/>
              <a:gd name="T69" fmla="*/ 260 h 612"/>
              <a:gd name="T70" fmla="*/ 219 w 448"/>
              <a:gd name="T71" fmla="*/ 266 h 612"/>
              <a:gd name="T72" fmla="*/ 195 w 448"/>
              <a:gd name="T73" fmla="*/ 259 h 612"/>
              <a:gd name="T74" fmla="*/ 193 w 448"/>
              <a:gd name="T75" fmla="*/ 245 h 612"/>
              <a:gd name="T76" fmla="*/ 146 w 448"/>
              <a:gd name="T77" fmla="*/ 201 h 612"/>
              <a:gd name="T78" fmla="*/ 145 w 448"/>
              <a:gd name="T79" fmla="*/ 226 h 612"/>
              <a:gd name="T80" fmla="*/ 131 w 448"/>
              <a:gd name="T81" fmla="*/ 242 h 612"/>
              <a:gd name="T82" fmla="*/ 50 w 448"/>
              <a:gd name="T83" fmla="*/ 219 h 612"/>
              <a:gd name="T84" fmla="*/ 44 w 448"/>
              <a:gd name="T85" fmla="*/ 205 h 612"/>
              <a:gd name="T86" fmla="*/ 54 w 448"/>
              <a:gd name="T87" fmla="*/ 190 h 612"/>
              <a:gd name="T88" fmla="*/ 39 w 448"/>
              <a:gd name="T89" fmla="*/ 167 h 612"/>
              <a:gd name="T90" fmla="*/ 14 w 448"/>
              <a:gd name="T91" fmla="*/ 149 h 612"/>
              <a:gd name="T92" fmla="*/ 0 w 448"/>
              <a:gd name="T93" fmla="*/ 124 h 6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48" h="612">
                <a:moveTo>
                  <a:pt x="0" y="124"/>
                </a:moveTo>
                <a:lnTo>
                  <a:pt x="32" y="108"/>
                </a:lnTo>
                <a:lnTo>
                  <a:pt x="165" y="59"/>
                </a:lnTo>
                <a:lnTo>
                  <a:pt x="194" y="2"/>
                </a:lnTo>
                <a:lnTo>
                  <a:pt x="227" y="0"/>
                </a:lnTo>
                <a:lnTo>
                  <a:pt x="233" y="59"/>
                </a:lnTo>
                <a:lnTo>
                  <a:pt x="220" y="79"/>
                </a:lnTo>
                <a:lnTo>
                  <a:pt x="215" y="146"/>
                </a:lnTo>
                <a:lnTo>
                  <a:pt x="315" y="167"/>
                </a:lnTo>
                <a:lnTo>
                  <a:pt x="370" y="251"/>
                </a:lnTo>
                <a:lnTo>
                  <a:pt x="362" y="275"/>
                </a:lnTo>
                <a:lnTo>
                  <a:pt x="365" y="292"/>
                </a:lnTo>
                <a:lnTo>
                  <a:pt x="448" y="370"/>
                </a:lnTo>
                <a:lnTo>
                  <a:pt x="432" y="460"/>
                </a:lnTo>
                <a:lnTo>
                  <a:pt x="433" y="604"/>
                </a:lnTo>
                <a:lnTo>
                  <a:pt x="279" y="612"/>
                </a:lnTo>
                <a:lnTo>
                  <a:pt x="274" y="610"/>
                </a:lnTo>
                <a:lnTo>
                  <a:pt x="281" y="588"/>
                </a:lnTo>
                <a:lnTo>
                  <a:pt x="275" y="566"/>
                </a:lnTo>
                <a:lnTo>
                  <a:pt x="294" y="567"/>
                </a:lnTo>
                <a:lnTo>
                  <a:pt x="294" y="544"/>
                </a:lnTo>
                <a:lnTo>
                  <a:pt x="259" y="516"/>
                </a:lnTo>
                <a:lnTo>
                  <a:pt x="246" y="480"/>
                </a:lnTo>
                <a:lnTo>
                  <a:pt x="264" y="399"/>
                </a:lnTo>
                <a:lnTo>
                  <a:pt x="261" y="352"/>
                </a:lnTo>
                <a:lnTo>
                  <a:pt x="285" y="344"/>
                </a:lnTo>
                <a:lnTo>
                  <a:pt x="277" y="335"/>
                </a:lnTo>
                <a:lnTo>
                  <a:pt x="260" y="341"/>
                </a:lnTo>
                <a:lnTo>
                  <a:pt x="260" y="329"/>
                </a:lnTo>
                <a:lnTo>
                  <a:pt x="279" y="324"/>
                </a:lnTo>
                <a:lnTo>
                  <a:pt x="267" y="318"/>
                </a:lnTo>
                <a:lnTo>
                  <a:pt x="278" y="288"/>
                </a:lnTo>
                <a:lnTo>
                  <a:pt x="266" y="280"/>
                </a:lnTo>
                <a:lnTo>
                  <a:pt x="266" y="269"/>
                </a:lnTo>
                <a:lnTo>
                  <a:pt x="231" y="260"/>
                </a:lnTo>
                <a:lnTo>
                  <a:pt x="219" y="266"/>
                </a:lnTo>
                <a:lnTo>
                  <a:pt x="195" y="259"/>
                </a:lnTo>
                <a:lnTo>
                  <a:pt x="193" y="245"/>
                </a:lnTo>
                <a:lnTo>
                  <a:pt x="146" y="201"/>
                </a:lnTo>
                <a:lnTo>
                  <a:pt x="145" y="226"/>
                </a:lnTo>
                <a:lnTo>
                  <a:pt x="131" y="242"/>
                </a:lnTo>
                <a:lnTo>
                  <a:pt x="50" y="219"/>
                </a:lnTo>
                <a:lnTo>
                  <a:pt x="44" y="205"/>
                </a:lnTo>
                <a:lnTo>
                  <a:pt x="54" y="190"/>
                </a:lnTo>
                <a:lnTo>
                  <a:pt x="39" y="167"/>
                </a:lnTo>
                <a:lnTo>
                  <a:pt x="14" y="149"/>
                </a:lnTo>
                <a:lnTo>
                  <a:pt x="0" y="12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6" name="Freeform 142"/>
          <p:cNvSpPr>
            <a:spLocks/>
          </p:cNvSpPr>
          <p:nvPr>
            <p:custDataLst>
              <p:tags r:id="rId62"/>
            </p:custDataLst>
          </p:nvPr>
        </p:nvSpPr>
        <p:spPr bwMode="gray">
          <a:xfrm>
            <a:off x="3514027" y="3578992"/>
            <a:ext cx="256955" cy="433681"/>
          </a:xfrm>
          <a:custGeom>
            <a:avLst/>
            <a:gdLst>
              <a:gd name="T0" fmla="*/ 14 w 270"/>
              <a:gd name="T1" fmla="*/ 62 h 485"/>
              <a:gd name="T2" fmla="*/ 30 w 270"/>
              <a:gd name="T3" fmla="*/ 54 h 485"/>
              <a:gd name="T4" fmla="*/ 61 w 270"/>
              <a:gd name="T5" fmla="*/ 49 h 485"/>
              <a:gd name="T6" fmla="*/ 72 w 270"/>
              <a:gd name="T7" fmla="*/ 43 h 485"/>
              <a:gd name="T8" fmla="*/ 87 w 270"/>
              <a:gd name="T9" fmla="*/ 23 h 485"/>
              <a:gd name="T10" fmla="*/ 91 w 270"/>
              <a:gd name="T11" fmla="*/ 10 h 485"/>
              <a:gd name="T12" fmla="*/ 114 w 270"/>
              <a:gd name="T13" fmla="*/ 8 h 485"/>
              <a:gd name="T14" fmla="*/ 131 w 270"/>
              <a:gd name="T15" fmla="*/ 0 h 485"/>
              <a:gd name="T16" fmla="*/ 150 w 270"/>
              <a:gd name="T17" fmla="*/ 10 h 485"/>
              <a:gd name="T18" fmla="*/ 150 w 270"/>
              <a:gd name="T19" fmla="*/ 19 h 485"/>
              <a:gd name="T20" fmla="*/ 167 w 270"/>
              <a:gd name="T21" fmla="*/ 45 h 485"/>
              <a:gd name="T22" fmla="*/ 169 w 270"/>
              <a:gd name="T23" fmla="*/ 67 h 485"/>
              <a:gd name="T24" fmla="*/ 246 w 270"/>
              <a:gd name="T25" fmla="*/ 99 h 485"/>
              <a:gd name="T26" fmla="*/ 270 w 270"/>
              <a:gd name="T27" fmla="*/ 102 h 485"/>
              <a:gd name="T28" fmla="*/ 244 w 270"/>
              <a:gd name="T29" fmla="*/ 128 h 485"/>
              <a:gd name="T30" fmla="*/ 169 w 270"/>
              <a:gd name="T31" fmla="*/ 254 h 485"/>
              <a:gd name="T32" fmla="*/ 211 w 270"/>
              <a:gd name="T33" fmla="*/ 356 h 485"/>
              <a:gd name="T34" fmla="*/ 217 w 270"/>
              <a:gd name="T35" fmla="*/ 403 h 485"/>
              <a:gd name="T36" fmla="*/ 212 w 270"/>
              <a:gd name="T37" fmla="*/ 436 h 485"/>
              <a:gd name="T38" fmla="*/ 182 w 270"/>
              <a:gd name="T39" fmla="*/ 479 h 485"/>
              <a:gd name="T40" fmla="*/ 144 w 270"/>
              <a:gd name="T41" fmla="*/ 485 h 485"/>
              <a:gd name="T42" fmla="*/ 41 w 270"/>
              <a:gd name="T43" fmla="*/ 447 h 485"/>
              <a:gd name="T44" fmla="*/ 40 w 270"/>
              <a:gd name="T45" fmla="*/ 212 h 485"/>
              <a:gd name="T46" fmla="*/ 56 w 270"/>
              <a:gd name="T47" fmla="*/ 122 h 485"/>
              <a:gd name="T48" fmla="*/ 0 w 270"/>
              <a:gd name="T49" fmla="*/ 70 h 485"/>
              <a:gd name="T50" fmla="*/ 14 w 270"/>
              <a:gd name="T51" fmla="*/ 62 h 48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270" h="485">
                <a:moveTo>
                  <a:pt x="14" y="62"/>
                </a:moveTo>
                <a:lnTo>
                  <a:pt x="30" y="54"/>
                </a:lnTo>
                <a:lnTo>
                  <a:pt x="61" y="49"/>
                </a:lnTo>
                <a:lnTo>
                  <a:pt x="72" y="43"/>
                </a:lnTo>
                <a:lnTo>
                  <a:pt x="87" y="23"/>
                </a:lnTo>
                <a:lnTo>
                  <a:pt x="91" y="10"/>
                </a:lnTo>
                <a:lnTo>
                  <a:pt x="114" y="8"/>
                </a:lnTo>
                <a:lnTo>
                  <a:pt x="131" y="0"/>
                </a:lnTo>
                <a:lnTo>
                  <a:pt x="150" y="10"/>
                </a:lnTo>
                <a:lnTo>
                  <a:pt x="150" y="19"/>
                </a:lnTo>
                <a:lnTo>
                  <a:pt x="167" y="45"/>
                </a:lnTo>
                <a:lnTo>
                  <a:pt x="169" y="67"/>
                </a:lnTo>
                <a:lnTo>
                  <a:pt x="246" y="99"/>
                </a:lnTo>
                <a:lnTo>
                  <a:pt x="270" y="102"/>
                </a:lnTo>
                <a:lnTo>
                  <a:pt x="244" y="128"/>
                </a:lnTo>
                <a:lnTo>
                  <a:pt x="169" y="254"/>
                </a:lnTo>
                <a:lnTo>
                  <a:pt x="211" y="356"/>
                </a:lnTo>
                <a:lnTo>
                  <a:pt x="217" y="403"/>
                </a:lnTo>
                <a:lnTo>
                  <a:pt x="212" y="436"/>
                </a:lnTo>
                <a:lnTo>
                  <a:pt x="182" y="479"/>
                </a:lnTo>
                <a:lnTo>
                  <a:pt x="144" y="485"/>
                </a:lnTo>
                <a:lnTo>
                  <a:pt x="41" y="447"/>
                </a:lnTo>
                <a:lnTo>
                  <a:pt x="40" y="212"/>
                </a:lnTo>
                <a:lnTo>
                  <a:pt x="56" y="122"/>
                </a:lnTo>
                <a:lnTo>
                  <a:pt x="0" y="70"/>
                </a:lnTo>
                <a:lnTo>
                  <a:pt x="14" y="62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7" name="Freeform 143"/>
          <p:cNvSpPr>
            <a:spLocks/>
          </p:cNvSpPr>
          <p:nvPr>
            <p:custDataLst>
              <p:tags r:id="rId63"/>
            </p:custDataLst>
          </p:nvPr>
        </p:nvSpPr>
        <p:spPr bwMode="gray">
          <a:xfrm>
            <a:off x="3908024" y="3788231"/>
            <a:ext cx="265520" cy="228912"/>
          </a:xfrm>
          <a:custGeom>
            <a:avLst/>
            <a:gdLst>
              <a:gd name="T0" fmla="*/ 3 w 279"/>
              <a:gd name="T1" fmla="*/ 163 h 256"/>
              <a:gd name="T2" fmla="*/ 7 w 279"/>
              <a:gd name="T3" fmla="*/ 155 h 256"/>
              <a:gd name="T4" fmla="*/ 54 w 279"/>
              <a:gd name="T5" fmla="*/ 133 h 256"/>
              <a:gd name="T6" fmla="*/ 76 w 279"/>
              <a:gd name="T7" fmla="*/ 108 h 256"/>
              <a:gd name="T8" fmla="*/ 106 w 279"/>
              <a:gd name="T9" fmla="*/ 110 h 256"/>
              <a:gd name="T10" fmla="*/ 144 w 279"/>
              <a:gd name="T11" fmla="*/ 75 h 256"/>
              <a:gd name="T12" fmla="*/ 167 w 279"/>
              <a:gd name="T13" fmla="*/ 46 h 256"/>
              <a:gd name="T14" fmla="*/ 187 w 279"/>
              <a:gd name="T15" fmla="*/ 46 h 256"/>
              <a:gd name="T16" fmla="*/ 208 w 279"/>
              <a:gd name="T17" fmla="*/ 7 h 256"/>
              <a:gd name="T18" fmla="*/ 227 w 279"/>
              <a:gd name="T19" fmla="*/ 0 h 256"/>
              <a:gd name="T20" fmla="*/ 230 w 279"/>
              <a:gd name="T21" fmla="*/ 5 h 256"/>
              <a:gd name="T22" fmla="*/ 279 w 279"/>
              <a:gd name="T23" fmla="*/ 11 h 256"/>
              <a:gd name="T24" fmla="*/ 272 w 279"/>
              <a:gd name="T25" fmla="*/ 29 h 256"/>
              <a:gd name="T26" fmla="*/ 261 w 279"/>
              <a:gd name="T27" fmla="*/ 34 h 256"/>
              <a:gd name="T28" fmla="*/ 261 w 279"/>
              <a:gd name="T29" fmla="*/ 74 h 256"/>
              <a:gd name="T30" fmla="*/ 270 w 279"/>
              <a:gd name="T31" fmla="*/ 111 h 256"/>
              <a:gd name="T32" fmla="*/ 260 w 279"/>
              <a:gd name="T33" fmla="*/ 137 h 256"/>
              <a:gd name="T34" fmla="*/ 277 w 279"/>
              <a:gd name="T35" fmla="*/ 141 h 256"/>
              <a:gd name="T36" fmla="*/ 277 w 279"/>
              <a:gd name="T37" fmla="*/ 150 h 256"/>
              <a:gd name="T38" fmla="*/ 191 w 279"/>
              <a:gd name="T39" fmla="*/ 183 h 256"/>
              <a:gd name="T40" fmla="*/ 198 w 279"/>
              <a:gd name="T41" fmla="*/ 188 h 256"/>
              <a:gd name="T42" fmla="*/ 194 w 279"/>
              <a:gd name="T43" fmla="*/ 205 h 256"/>
              <a:gd name="T44" fmla="*/ 182 w 279"/>
              <a:gd name="T45" fmla="*/ 218 h 256"/>
              <a:gd name="T46" fmla="*/ 175 w 279"/>
              <a:gd name="T47" fmla="*/ 212 h 256"/>
              <a:gd name="T48" fmla="*/ 160 w 279"/>
              <a:gd name="T49" fmla="*/ 212 h 256"/>
              <a:gd name="T50" fmla="*/ 156 w 279"/>
              <a:gd name="T51" fmla="*/ 231 h 256"/>
              <a:gd name="T52" fmla="*/ 138 w 279"/>
              <a:gd name="T53" fmla="*/ 224 h 256"/>
              <a:gd name="T54" fmla="*/ 133 w 279"/>
              <a:gd name="T55" fmla="*/ 228 h 256"/>
              <a:gd name="T56" fmla="*/ 135 w 279"/>
              <a:gd name="T57" fmla="*/ 239 h 256"/>
              <a:gd name="T58" fmla="*/ 124 w 279"/>
              <a:gd name="T59" fmla="*/ 243 h 256"/>
              <a:gd name="T60" fmla="*/ 117 w 279"/>
              <a:gd name="T61" fmla="*/ 256 h 256"/>
              <a:gd name="T62" fmla="*/ 89 w 279"/>
              <a:gd name="T63" fmla="*/ 254 h 256"/>
              <a:gd name="T64" fmla="*/ 63 w 279"/>
              <a:gd name="T65" fmla="*/ 249 h 256"/>
              <a:gd name="T66" fmla="*/ 61 w 279"/>
              <a:gd name="T67" fmla="*/ 232 h 256"/>
              <a:gd name="T68" fmla="*/ 40 w 279"/>
              <a:gd name="T69" fmla="*/ 194 h 256"/>
              <a:gd name="T70" fmla="*/ 23 w 279"/>
              <a:gd name="T71" fmla="*/ 185 h 256"/>
              <a:gd name="T72" fmla="*/ 22 w 279"/>
              <a:gd name="T73" fmla="*/ 198 h 256"/>
              <a:gd name="T74" fmla="*/ 11 w 279"/>
              <a:gd name="T75" fmla="*/ 198 h 256"/>
              <a:gd name="T76" fmla="*/ 14 w 279"/>
              <a:gd name="T77" fmla="*/ 185 h 256"/>
              <a:gd name="T78" fmla="*/ 0 w 279"/>
              <a:gd name="T79" fmla="*/ 172 h 256"/>
              <a:gd name="T80" fmla="*/ 3 w 279"/>
              <a:gd name="T81" fmla="*/ 163 h 2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79" h="256">
                <a:moveTo>
                  <a:pt x="3" y="163"/>
                </a:moveTo>
                <a:lnTo>
                  <a:pt x="7" y="155"/>
                </a:lnTo>
                <a:lnTo>
                  <a:pt x="54" y="133"/>
                </a:lnTo>
                <a:lnTo>
                  <a:pt x="76" y="108"/>
                </a:lnTo>
                <a:lnTo>
                  <a:pt x="106" y="110"/>
                </a:lnTo>
                <a:lnTo>
                  <a:pt x="144" y="75"/>
                </a:lnTo>
                <a:lnTo>
                  <a:pt x="167" y="46"/>
                </a:lnTo>
                <a:lnTo>
                  <a:pt x="187" y="46"/>
                </a:lnTo>
                <a:lnTo>
                  <a:pt x="208" y="7"/>
                </a:lnTo>
                <a:lnTo>
                  <a:pt x="227" y="0"/>
                </a:lnTo>
                <a:lnTo>
                  <a:pt x="230" y="5"/>
                </a:lnTo>
                <a:lnTo>
                  <a:pt x="279" y="11"/>
                </a:lnTo>
                <a:lnTo>
                  <a:pt x="272" y="29"/>
                </a:lnTo>
                <a:lnTo>
                  <a:pt x="261" y="34"/>
                </a:lnTo>
                <a:lnTo>
                  <a:pt x="261" y="74"/>
                </a:lnTo>
                <a:lnTo>
                  <a:pt x="270" y="111"/>
                </a:lnTo>
                <a:lnTo>
                  <a:pt x="260" y="137"/>
                </a:lnTo>
                <a:lnTo>
                  <a:pt x="277" y="141"/>
                </a:lnTo>
                <a:lnTo>
                  <a:pt x="277" y="150"/>
                </a:lnTo>
                <a:lnTo>
                  <a:pt x="191" y="183"/>
                </a:lnTo>
                <a:lnTo>
                  <a:pt x="198" y="188"/>
                </a:lnTo>
                <a:lnTo>
                  <a:pt x="194" y="205"/>
                </a:lnTo>
                <a:lnTo>
                  <a:pt x="182" y="218"/>
                </a:lnTo>
                <a:lnTo>
                  <a:pt x="175" y="212"/>
                </a:lnTo>
                <a:lnTo>
                  <a:pt x="160" y="212"/>
                </a:lnTo>
                <a:lnTo>
                  <a:pt x="156" y="231"/>
                </a:lnTo>
                <a:lnTo>
                  <a:pt x="138" y="224"/>
                </a:lnTo>
                <a:lnTo>
                  <a:pt x="133" y="228"/>
                </a:lnTo>
                <a:lnTo>
                  <a:pt x="135" y="239"/>
                </a:lnTo>
                <a:lnTo>
                  <a:pt x="124" y="243"/>
                </a:lnTo>
                <a:lnTo>
                  <a:pt x="117" y="256"/>
                </a:lnTo>
                <a:lnTo>
                  <a:pt x="89" y="254"/>
                </a:lnTo>
                <a:lnTo>
                  <a:pt x="63" y="249"/>
                </a:lnTo>
                <a:lnTo>
                  <a:pt x="61" y="232"/>
                </a:lnTo>
                <a:lnTo>
                  <a:pt x="40" y="194"/>
                </a:lnTo>
                <a:lnTo>
                  <a:pt x="23" y="185"/>
                </a:lnTo>
                <a:lnTo>
                  <a:pt x="22" y="198"/>
                </a:lnTo>
                <a:lnTo>
                  <a:pt x="11" y="198"/>
                </a:lnTo>
                <a:lnTo>
                  <a:pt x="14" y="185"/>
                </a:lnTo>
                <a:lnTo>
                  <a:pt x="0" y="172"/>
                </a:lnTo>
                <a:lnTo>
                  <a:pt x="3" y="16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8" name="Freeform 144"/>
          <p:cNvSpPr>
            <a:spLocks/>
          </p:cNvSpPr>
          <p:nvPr>
            <p:custDataLst>
              <p:tags r:id="rId64"/>
            </p:custDataLst>
          </p:nvPr>
        </p:nvSpPr>
        <p:spPr bwMode="gray">
          <a:xfrm>
            <a:off x="3674861" y="3664834"/>
            <a:ext cx="242680" cy="257526"/>
          </a:xfrm>
          <a:custGeom>
            <a:avLst/>
            <a:gdLst>
              <a:gd name="T0" fmla="*/ 0 w 255"/>
              <a:gd name="T1" fmla="*/ 158 h 288"/>
              <a:gd name="T2" fmla="*/ 75 w 255"/>
              <a:gd name="T3" fmla="*/ 32 h 288"/>
              <a:gd name="T4" fmla="*/ 106 w 255"/>
              <a:gd name="T5" fmla="*/ 0 h 288"/>
              <a:gd name="T6" fmla="*/ 145 w 255"/>
              <a:gd name="T7" fmla="*/ 8 h 288"/>
              <a:gd name="T8" fmla="*/ 145 w 255"/>
              <a:gd name="T9" fmla="*/ 17 h 288"/>
              <a:gd name="T10" fmla="*/ 252 w 255"/>
              <a:gd name="T11" fmla="*/ 77 h 288"/>
              <a:gd name="T12" fmla="*/ 255 w 255"/>
              <a:gd name="T13" fmla="*/ 107 h 288"/>
              <a:gd name="T14" fmla="*/ 205 w 255"/>
              <a:gd name="T15" fmla="*/ 183 h 288"/>
              <a:gd name="T16" fmla="*/ 230 w 255"/>
              <a:gd name="T17" fmla="*/ 211 h 288"/>
              <a:gd name="T18" fmla="*/ 224 w 255"/>
              <a:gd name="T19" fmla="*/ 231 h 288"/>
              <a:gd name="T20" fmla="*/ 193 w 255"/>
              <a:gd name="T21" fmla="*/ 239 h 288"/>
              <a:gd name="T22" fmla="*/ 178 w 255"/>
              <a:gd name="T23" fmla="*/ 271 h 288"/>
              <a:gd name="T24" fmla="*/ 135 w 255"/>
              <a:gd name="T25" fmla="*/ 288 h 288"/>
              <a:gd name="T26" fmla="*/ 113 w 255"/>
              <a:gd name="T27" fmla="*/ 260 h 288"/>
              <a:gd name="T28" fmla="*/ 105 w 255"/>
              <a:gd name="T29" fmla="*/ 260 h 288"/>
              <a:gd name="T30" fmla="*/ 95 w 255"/>
              <a:gd name="T31" fmla="*/ 274 h 288"/>
              <a:gd name="T32" fmla="*/ 44 w 255"/>
              <a:gd name="T33" fmla="*/ 285 h 288"/>
              <a:gd name="T34" fmla="*/ 42 w 255"/>
              <a:gd name="T35" fmla="*/ 260 h 288"/>
              <a:gd name="T36" fmla="*/ 0 w 255"/>
              <a:gd name="T37" fmla="*/ 158 h 2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55" h="288">
                <a:moveTo>
                  <a:pt x="0" y="158"/>
                </a:moveTo>
                <a:lnTo>
                  <a:pt x="75" y="32"/>
                </a:lnTo>
                <a:lnTo>
                  <a:pt x="106" y="0"/>
                </a:lnTo>
                <a:lnTo>
                  <a:pt x="145" y="8"/>
                </a:lnTo>
                <a:lnTo>
                  <a:pt x="145" y="17"/>
                </a:lnTo>
                <a:lnTo>
                  <a:pt x="252" y="77"/>
                </a:lnTo>
                <a:lnTo>
                  <a:pt x="255" y="107"/>
                </a:lnTo>
                <a:lnTo>
                  <a:pt x="205" y="183"/>
                </a:lnTo>
                <a:lnTo>
                  <a:pt x="230" y="211"/>
                </a:lnTo>
                <a:lnTo>
                  <a:pt x="224" y="231"/>
                </a:lnTo>
                <a:lnTo>
                  <a:pt x="193" y="239"/>
                </a:lnTo>
                <a:lnTo>
                  <a:pt x="178" y="271"/>
                </a:lnTo>
                <a:lnTo>
                  <a:pt x="135" y="288"/>
                </a:lnTo>
                <a:lnTo>
                  <a:pt x="113" y="260"/>
                </a:lnTo>
                <a:lnTo>
                  <a:pt x="105" y="260"/>
                </a:lnTo>
                <a:lnTo>
                  <a:pt x="95" y="274"/>
                </a:lnTo>
                <a:lnTo>
                  <a:pt x="44" y="285"/>
                </a:lnTo>
                <a:lnTo>
                  <a:pt x="42" y="260"/>
                </a:lnTo>
                <a:lnTo>
                  <a:pt x="0" y="15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99" name="Freeform 145"/>
          <p:cNvSpPr>
            <a:spLocks/>
          </p:cNvSpPr>
          <p:nvPr>
            <p:custDataLst>
              <p:tags r:id="rId65"/>
            </p:custDataLst>
          </p:nvPr>
        </p:nvSpPr>
        <p:spPr bwMode="gray">
          <a:xfrm>
            <a:off x="3844261" y="3729216"/>
            <a:ext cx="279796" cy="197615"/>
          </a:xfrm>
          <a:custGeom>
            <a:avLst/>
            <a:gdLst>
              <a:gd name="T0" fmla="*/ 7 w 294"/>
              <a:gd name="T1" fmla="*/ 184 h 221"/>
              <a:gd name="T2" fmla="*/ 15 w 294"/>
              <a:gd name="T3" fmla="*/ 167 h 221"/>
              <a:gd name="T4" fmla="*/ 46 w 294"/>
              <a:gd name="T5" fmla="*/ 159 h 221"/>
              <a:gd name="T6" fmla="*/ 52 w 294"/>
              <a:gd name="T7" fmla="*/ 139 h 221"/>
              <a:gd name="T8" fmla="*/ 27 w 294"/>
              <a:gd name="T9" fmla="*/ 111 h 221"/>
              <a:gd name="T10" fmla="*/ 77 w 294"/>
              <a:gd name="T11" fmla="*/ 35 h 221"/>
              <a:gd name="T12" fmla="*/ 74 w 294"/>
              <a:gd name="T13" fmla="*/ 5 h 221"/>
              <a:gd name="T14" fmla="*/ 75 w 294"/>
              <a:gd name="T15" fmla="*/ 5 h 221"/>
              <a:gd name="T16" fmla="*/ 123 w 294"/>
              <a:gd name="T17" fmla="*/ 0 h 221"/>
              <a:gd name="T18" fmla="*/ 176 w 294"/>
              <a:gd name="T19" fmla="*/ 8 h 221"/>
              <a:gd name="T20" fmla="*/ 206 w 294"/>
              <a:gd name="T21" fmla="*/ 7 h 221"/>
              <a:gd name="T22" fmla="*/ 221 w 294"/>
              <a:gd name="T23" fmla="*/ 19 h 221"/>
              <a:gd name="T24" fmla="*/ 236 w 294"/>
              <a:gd name="T25" fmla="*/ 19 h 221"/>
              <a:gd name="T26" fmla="*/ 236 w 294"/>
              <a:gd name="T27" fmla="*/ 11 h 221"/>
              <a:gd name="T28" fmla="*/ 267 w 294"/>
              <a:gd name="T29" fmla="*/ 4 h 221"/>
              <a:gd name="T30" fmla="*/ 294 w 294"/>
              <a:gd name="T31" fmla="*/ 66 h 221"/>
              <a:gd name="T32" fmla="*/ 275 w 294"/>
              <a:gd name="T33" fmla="*/ 73 h 221"/>
              <a:gd name="T34" fmla="*/ 254 w 294"/>
              <a:gd name="T35" fmla="*/ 112 h 221"/>
              <a:gd name="T36" fmla="*/ 234 w 294"/>
              <a:gd name="T37" fmla="*/ 112 h 221"/>
              <a:gd name="T38" fmla="*/ 211 w 294"/>
              <a:gd name="T39" fmla="*/ 141 h 221"/>
              <a:gd name="T40" fmla="*/ 173 w 294"/>
              <a:gd name="T41" fmla="*/ 176 h 221"/>
              <a:gd name="T42" fmla="*/ 143 w 294"/>
              <a:gd name="T43" fmla="*/ 174 h 221"/>
              <a:gd name="T44" fmla="*/ 121 w 294"/>
              <a:gd name="T45" fmla="*/ 199 h 221"/>
              <a:gd name="T46" fmla="*/ 74 w 294"/>
              <a:gd name="T47" fmla="*/ 221 h 221"/>
              <a:gd name="T48" fmla="*/ 68 w 294"/>
              <a:gd name="T49" fmla="*/ 213 h 221"/>
              <a:gd name="T50" fmla="*/ 55 w 294"/>
              <a:gd name="T51" fmla="*/ 220 h 221"/>
              <a:gd name="T52" fmla="*/ 38 w 294"/>
              <a:gd name="T53" fmla="*/ 206 h 221"/>
              <a:gd name="T54" fmla="*/ 27 w 294"/>
              <a:gd name="T55" fmla="*/ 220 h 221"/>
              <a:gd name="T56" fmla="*/ 19 w 294"/>
              <a:gd name="T57" fmla="*/ 218 h 221"/>
              <a:gd name="T58" fmla="*/ 22 w 294"/>
              <a:gd name="T59" fmla="*/ 203 h 221"/>
              <a:gd name="T60" fmla="*/ 0 w 294"/>
              <a:gd name="T61" fmla="*/ 200 h 221"/>
              <a:gd name="T62" fmla="*/ 7 w 294"/>
              <a:gd name="T63" fmla="*/ 184 h 2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4" h="221">
                <a:moveTo>
                  <a:pt x="7" y="184"/>
                </a:moveTo>
                <a:lnTo>
                  <a:pt x="15" y="167"/>
                </a:lnTo>
                <a:lnTo>
                  <a:pt x="46" y="159"/>
                </a:lnTo>
                <a:lnTo>
                  <a:pt x="52" y="139"/>
                </a:lnTo>
                <a:lnTo>
                  <a:pt x="27" y="111"/>
                </a:lnTo>
                <a:lnTo>
                  <a:pt x="77" y="35"/>
                </a:lnTo>
                <a:lnTo>
                  <a:pt x="74" y="5"/>
                </a:lnTo>
                <a:lnTo>
                  <a:pt x="75" y="5"/>
                </a:lnTo>
                <a:lnTo>
                  <a:pt x="123" y="0"/>
                </a:lnTo>
                <a:lnTo>
                  <a:pt x="176" y="8"/>
                </a:lnTo>
                <a:lnTo>
                  <a:pt x="206" y="7"/>
                </a:lnTo>
                <a:lnTo>
                  <a:pt x="221" y="19"/>
                </a:lnTo>
                <a:lnTo>
                  <a:pt x="236" y="19"/>
                </a:lnTo>
                <a:lnTo>
                  <a:pt x="236" y="11"/>
                </a:lnTo>
                <a:lnTo>
                  <a:pt x="267" y="4"/>
                </a:lnTo>
                <a:lnTo>
                  <a:pt x="294" y="66"/>
                </a:lnTo>
                <a:lnTo>
                  <a:pt x="275" y="73"/>
                </a:lnTo>
                <a:lnTo>
                  <a:pt x="254" y="112"/>
                </a:lnTo>
                <a:lnTo>
                  <a:pt x="234" y="112"/>
                </a:lnTo>
                <a:lnTo>
                  <a:pt x="211" y="141"/>
                </a:lnTo>
                <a:lnTo>
                  <a:pt x="173" y="176"/>
                </a:lnTo>
                <a:lnTo>
                  <a:pt x="143" y="174"/>
                </a:lnTo>
                <a:lnTo>
                  <a:pt x="121" y="199"/>
                </a:lnTo>
                <a:lnTo>
                  <a:pt x="74" y="221"/>
                </a:lnTo>
                <a:lnTo>
                  <a:pt x="68" y="213"/>
                </a:lnTo>
                <a:lnTo>
                  <a:pt x="55" y="220"/>
                </a:lnTo>
                <a:lnTo>
                  <a:pt x="38" y="206"/>
                </a:lnTo>
                <a:lnTo>
                  <a:pt x="27" y="220"/>
                </a:lnTo>
                <a:lnTo>
                  <a:pt x="19" y="218"/>
                </a:lnTo>
                <a:lnTo>
                  <a:pt x="22" y="203"/>
                </a:lnTo>
                <a:lnTo>
                  <a:pt x="0" y="200"/>
                </a:lnTo>
                <a:lnTo>
                  <a:pt x="7" y="18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0" name="Freeform 146"/>
          <p:cNvSpPr>
            <a:spLocks/>
          </p:cNvSpPr>
          <p:nvPr>
            <p:custDataLst>
              <p:tags r:id="rId66"/>
            </p:custDataLst>
          </p:nvPr>
        </p:nvSpPr>
        <p:spPr bwMode="gray">
          <a:xfrm>
            <a:off x="4278229" y="3684506"/>
            <a:ext cx="362592" cy="259314"/>
          </a:xfrm>
          <a:custGeom>
            <a:avLst/>
            <a:gdLst>
              <a:gd name="T0" fmla="*/ 70 w 381"/>
              <a:gd name="T1" fmla="*/ 51 h 290"/>
              <a:gd name="T2" fmla="*/ 142 w 381"/>
              <a:gd name="T3" fmla="*/ 44 h 290"/>
              <a:gd name="T4" fmla="*/ 153 w 381"/>
              <a:gd name="T5" fmla="*/ 51 h 290"/>
              <a:gd name="T6" fmla="*/ 214 w 381"/>
              <a:gd name="T7" fmla="*/ 19 h 290"/>
              <a:gd name="T8" fmla="*/ 339 w 381"/>
              <a:gd name="T9" fmla="*/ 0 h 290"/>
              <a:gd name="T10" fmla="*/ 355 w 381"/>
              <a:gd name="T11" fmla="*/ 35 h 290"/>
              <a:gd name="T12" fmla="*/ 358 w 381"/>
              <a:gd name="T13" fmla="*/ 85 h 290"/>
              <a:gd name="T14" fmla="*/ 381 w 381"/>
              <a:gd name="T15" fmla="*/ 149 h 290"/>
              <a:gd name="T16" fmla="*/ 314 w 381"/>
              <a:gd name="T17" fmla="*/ 223 h 290"/>
              <a:gd name="T18" fmla="*/ 259 w 381"/>
              <a:gd name="T19" fmla="*/ 230 h 290"/>
              <a:gd name="T20" fmla="*/ 219 w 381"/>
              <a:gd name="T21" fmla="*/ 267 h 290"/>
              <a:gd name="T22" fmla="*/ 216 w 381"/>
              <a:gd name="T23" fmla="*/ 290 h 290"/>
              <a:gd name="T24" fmla="*/ 174 w 381"/>
              <a:gd name="T25" fmla="*/ 222 h 290"/>
              <a:gd name="T26" fmla="*/ 6 w 381"/>
              <a:gd name="T27" fmla="*/ 81 h 290"/>
              <a:gd name="T28" fmla="*/ 0 w 381"/>
              <a:gd name="T29" fmla="*/ 57 h 290"/>
              <a:gd name="T30" fmla="*/ 70 w 381"/>
              <a:gd name="T31" fmla="*/ 51 h 2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81" h="290">
                <a:moveTo>
                  <a:pt x="70" y="51"/>
                </a:moveTo>
                <a:lnTo>
                  <a:pt x="142" y="44"/>
                </a:lnTo>
                <a:lnTo>
                  <a:pt x="153" y="51"/>
                </a:lnTo>
                <a:lnTo>
                  <a:pt x="214" y="19"/>
                </a:lnTo>
                <a:lnTo>
                  <a:pt x="339" y="0"/>
                </a:lnTo>
                <a:lnTo>
                  <a:pt x="355" y="35"/>
                </a:lnTo>
                <a:lnTo>
                  <a:pt x="358" y="85"/>
                </a:lnTo>
                <a:lnTo>
                  <a:pt x="381" y="149"/>
                </a:lnTo>
                <a:lnTo>
                  <a:pt x="314" y="223"/>
                </a:lnTo>
                <a:lnTo>
                  <a:pt x="259" y="230"/>
                </a:lnTo>
                <a:lnTo>
                  <a:pt x="219" y="267"/>
                </a:lnTo>
                <a:lnTo>
                  <a:pt x="216" y="290"/>
                </a:lnTo>
                <a:lnTo>
                  <a:pt x="174" y="222"/>
                </a:lnTo>
                <a:lnTo>
                  <a:pt x="6" y="81"/>
                </a:lnTo>
                <a:lnTo>
                  <a:pt x="0" y="57"/>
                </a:lnTo>
                <a:lnTo>
                  <a:pt x="70" y="51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1" name="Freeform 147"/>
          <p:cNvSpPr>
            <a:spLocks/>
          </p:cNvSpPr>
          <p:nvPr>
            <p:custDataLst>
              <p:tags r:id="rId67"/>
            </p:custDataLst>
          </p:nvPr>
        </p:nvSpPr>
        <p:spPr bwMode="gray">
          <a:xfrm>
            <a:off x="4553266" y="3399260"/>
            <a:ext cx="410176" cy="418479"/>
          </a:xfrm>
          <a:custGeom>
            <a:avLst/>
            <a:gdLst>
              <a:gd name="T0" fmla="*/ 2 w 431"/>
              <a:gd name="T1" fmla="*/ 85 h 468"/>
              <a:gd name="T2" fmla="*/ 2 w 431"/>
              <a:gd name="T3" fmla="*/ 77 h 468"/>
              <a:gd name="T4" fmla="*/ 59 w 431"/>
              <a:gd name="T5" fmla="*/ 21 h 468"/>
              <a:gd name="T6" fmla="*/ 65 w 431"/>
              <a:gd name="T7" fmla="*/ 0 h 468"/>
              <a:gd name="T8" fmla="*/ 103 w 431"/>
              <a:gd name="T9" fmla="*/ 6 h 468"/>
              <a:gd name="T10" fmla="*/ 132 w 431"/>
              <a:gd name="T11" fmla="*/ 34 h 468"/>
              <a:gd name="T12" fmla="*/ 131 w 431"/>
              <a:gd name="T13" fmla="*/ 44 h 468"/>
              <a:gd name="T14" fmla="*/ 160 w 431"/>
              <a:gd name="T15" fmla="*/ 39 h 468"/>
              <a:gd name="T16" fmla="*/ 164 w 431"/>
              <a:gd name="T17" fmla="*/ 11 h 468"/>
              <a:gd name="T18" fmla="*/ 195 w 431"/>
              <a:gd name="T19" fmla="*/ 7 h 468"/>
              <a:gd name="T20" fmla="*/ 202 w 431"/>
              <a:gd name="T21" fmla="*/ 15 h 468"/>
              <a:gd name="T22" fmla="*/ 187 w 431"/>
              <a:gd name="T23" fmla="*/ 72 h 468"/>
              <a:gd name="T24" fmla="*/ 194 w 431"/>
              <a:gd name="T25" fmla="*/ 106 h 468"/>
              <a:gd name="T26" fmla="*/ 208 w 431"/>
              <a:gd name="T27" fmla="*/ 114 h 468"/>
              <a:gd name="T28" fmla="*/ 224 w 431"/>
              <a:gd name="T29" fmla="*/ 89 h 468"/>
              <a:gd name="T30" fmla="*/ 248 w 431"/>
              <a:gd name="T31" fmla="*/ 88 h 468"/>
              <a:gd name="T32" fmla="*/ 263 w 431"/>
              <a:gd name="T33" fmla="*/ 128 h 468"/>
              <a:gd name="T34" fmla="*/ 288 w 431"/>
              <a:gd name="T35" fmla="*/ 154 h 468"/>
              <a:gd name="T36" fmla="*/ 286 w 431"/>
              <a:gd name="T37" fmla="*/ 169 h 468"/>
              <a:gd name="T38" fmla="*/ 292 w 431"/>
              <a:gd name="T39" fmla="*/ 172 h 468"/>
              <a:gd name="T40" fmla="*/ 308 w 431"/>
              <a:gd name="T41" fmla="*/ 158 h 468"/>
              <a:gd name="T42" fmla="*/ 369 w 431"/>
              <a:gd name="T43" fmla="*/ 162 h 468"/>
              <a:gd name="T44" fmla="*/ 384 w 431"/>
              <a:gd name="T45" fmla="*/ 234 h 468"/>
              <a:gd name="T46" fmla="*/ 383 w 431"/>
              <a:gd name="T47" fmla="*/ 244 h 468"/>
              <a:gd name="T48" fmla="*/ 362 w 431"/>
              <a:gd name="T49" fmla="*/ 270 h 468"/>
              <a:gd name="T50" fmla="*/ 383 w 431"/>
              <a:gd name="T51" fmla="*/ 283 h 468"/>
              <a:gd name="T52" fmla="*/ 378 w 431"/>
              <a:gd name="T53" fmla="*/ 312 h 468"/>
              <a:gd name="T54" fmla="*/ 422 w 431"/>
              <a:gd name="T55" fmla="*/ 323 h 468"/>
              <a:gd name="T56" fmla="*/ 428 w 431"/>
              <a:gd name="T57" fmla="*/ 319 h 468"/>
              <a:gd name="T58" fmla="*/ 431 w 431"/>
              <a:gd name="T59" fmla="*/ 338 h 468"/>
              <a:gd name="T60" fmla="*/ 407 w 431"/>
              <a:gd name="T61" fmla="*/ 377 h 468"/>
              <a:gd name="T62" fmla="*/ 366 w 431"/>
              <a:gd name="T63" fmla="*/ 395 h 468"/>
              <a:gd name="T64" fmla="*/ 366 w 431"/>
              <a:gd name="T65" fmla="*/ 442 h 468"/>
              <a:gd name="T66" fmla="*/ 369 w 431"/>
              <a:gd name="T67" fmla="*/ 443 h 468"/>
              <a:gd name="T68" fmla="*/ 361 w 431"/>
              <a:gd name="T69" fmla="*/ 450 h 468"/>
              <a:gd name="T70" fmla="*/ 219 w 431"/>
              <a:gd name="T71" fmla="*/ 440 h 468"/>
              <a:gd name="T72" fmla="*/ 204 w 431"/>
              <a:gd name="T73" fmla="*/ 455 h 468"/>
              <a:gd name="T74" fmla="*/ 92 w 431"/>
              <a:gd name="T75" fmla="*/ 468 h 468"/>
              <a:gd name="T76" fmla="*/ 69 w 431"/>
              <a:gd name="T77" fmla="*/ 404 h 468"/>
              <a:gd name="T78" fmla="*/ 66 w 431"/>
              <a:gd name="T79" fmla="*/ 354 h 468"/>
              <a:gd name="T80" fmla="*/ 50 w 431"/>
              <a:gd name="T81" fmla="*/ 318 h 468"/>
              <a:gd name="T82" fmla="*/ 65 w 431"/>
              <a:gd name="T83" fmla="*/ 300 h 468"/>
              <a:gd name="T84" fmla="*/ 69 w 431"/>
              <a:gd name="T85" fmla="*/ 241 h 468"/>
              <a:gd name="T86" fmla="*/ 81 w 431"/>
              <a:gd name="T87" fmla="*/ 226 h 468"/>
              <a:gd name="T88" fmla="*/ 77 w 431"/>
              <a:gd name="T89" fmla="*/ 212 h 468"/>
              <a:gd name="T90" fmla="*/ 65 w 431"/>
              <a:gd name="T91" fmla="*/ 209 h 468"/>
              <a:gd name="T92" fmla="*/ 70 w 431"/>
              <a:gd name="T93" fmla="*/ 151 h 468"/>
              <a:gd name="T94" fmla="*/ 0 w 431"/>
              <a:gd name="T95" fmla="*/ 94 h 468"/>
              <a:gd name="T96" fmla="*/ 2 w 431"/>
              <a:gd name="T97" fmla="*/ 85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1" h="468">
                <a:moveTo>
                  <a:pt x="2" y="85"/>
                </a:moveTo>
                <a:lnTo>
                  <a:pt x="2" y="77"/>
                </a:lnTo>
                <a:lnTo>
                  <a:pt x="59" y="21"/>
                </a:lnTo>
                <a:lnTo>
                  <a:pt x="65" y="0"/>
                </a:lnTo>
                <a:lnTo>
                  <a:pt x="103" y="6"/>
                </a:lnTo>
                <a:lnTo>
                  <a:pt x="132" y="34"/>
                </a:lnTo>
                <a:lnTo>
                  <a:pt x="131" y="44"/>
                </a:lnTo>
                <a:lnTo>
                  <a:pt x="160" y="39"/>
                </a:lnTo>
                <a:lnTo>
                  <a:pt x="164" y="11"/>
                </a:lnTo>
                <a:lnTo>
                  <a:pt x="195" y="7"/>
                </a:lnTo>
                <a:lnTo>
                  <a:pt x="202" y="15"/>
                </a:lnTo>
                <a:lnTo>
                  <a:pt x="187" y="72"/>
                </a:lnTo>
                <a:lnTo>
                  <a:pt x="194" y="106"/>
                </a:lnTo>
                <a:lnTo>
                  <a:pt x="208" y="114"/>
                </a:lnTo>
                <a:lnTo>
                  <a:pt x="224" y="89"/>
                </a:lnTo>
                <a:lnTo>
                  <a:pt x="248" y="88"/>
                </a:lnTo>
                <a:lnTo>
                  <a:pt x="263" y="128"/>
                </a:lnTo>
                <a:lnTo>
                  <a:pt x="288" y="154"/>
                </a:lnTo>
                <a:lnTo>
                  <a:pt x="286" y="169"/>
                </a:lnTo>
                <a:lnTo>
                  <a:pt x="292" y="172"/>
                </a:lnTo>
                <a:lnTo>
                  <a:pt x="308" y="158"/>
                </a:lnTo>
                <a:lnTo>
                  <a:pt x="369" y="162"/>
                </a:lnTo>
                <a:lnTo>
                  <a:pt x="384" y="234"/>
                </a:lnTo>
                <a:lnTo>
                  <a:pt x="383" y="244"/>
                </a:lnTo>
                <a:lnTo>
                  <a:pt x="362" y="270"/>
                </a:lnTo>
                <a:lnTo>
                  <a:pt x="383" y="283"/>
                </a:lnTo>
                <a:lnTo>
                  <a:pt x="378" y="312"/>
                </a:lnTo>
                <a:lnTo>
                  <a:pt x="422" y="323"/>
                </a:lnTo>
                <a:lnTo>
                  <a:pt x="428" y="319"/>
                </a:lnTo>
                <a:lnTo>
                  <a:pt x="431" y="338"/>
                </a:lnTo>
                <a:lnTo>
                  <a:pt x="407" y="377"/>
                </a:lnTo>
                <a:lnTo>
                  <a:pt x="366" y="395"/>
                </a:lnTo>
                <a:lnTo>
                  <a:pt x="366" y="442"/>
                </a:lnTo>
                <a:lnTo>
                  <a:pt x="369" y="443"/>
                </a:lnTo>
                <a:lnTo>
                  <a:pt x="361" y="450"/>
                </a:lnTo>
                <a:lnTo>
                  <a:pt x="219" y="440"/>
                </a:lnTo>
                <a:lnTo>
                  <a:pt x="204" y="455"/>
                </a:lnTo>
                <a:lnTo>
                  <a:pt x="92" y="468"/>
                </a:lnTo>
                <a:lnTo>
                  <a:pt x="69" y="404"/>
                </a:lnTo>
                <a:lnTo>
                  <a:pt x="66" y="354"/>
                </a:lnTo>
                <a:lnTo>
                  <a:pt x="50" y="318"/>
                </a:lnTo>
                <a:lnTo>
                  <a:pt x="65" y="300"/>
                </a:lnTo>
                <a:lnTo>
                  <a:pt x="69" y="241"/>
                </a:lnTo>
                <a:lnTo>
                  <a:pt x="81" y="226"/>
                </a:lnTo>
                <a:lnTo>
                  <a:pt x="77" y="212"/>
                </a:lnTo>
                <a:lnTo>
                  <a:pt x="65" y="209"/>
                </a:lnTo>
                <a:lnTo>
                  <a:pt x="70" y="151"/>
                </a:lnTo>
                <a:lnTo>
                  <a:pt x="0" y="94"/>
                </a:lnTo>
                <a:lnTo>
                  <a:pt x="2" y="8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2" name="Freeform 148"/>
          <p:cNvSpPr>
            <a:spLocks/>
          </p:cNvSpPr>
          <p:nvPr>
            <p:custDataLst>
              <p:tags r:id="rId68"/>
            </p:custDataLst>
          </p:nvPr>
        </p:nvSpPr>
        <p:spPr bwMode="gray">
          <a:xfrm>
            <a:off x="4764540" y="3378694"/>
            <a:ext cx="450147" cy="384501"/>
          </a:xfrm>
          <a:custGeom>
            <a:avLst/>
            <a:gdLst>
              <a:gd name="T0" fmla="*/ 72 w 473"/>
              <a:gd name="T1" fmla="*/ 0 h 430"/>
              <a:gd name="T2" fmla="*/ 163 w 473"/>
              <a:gd name="T3" fmla="*/ 26 h 430"/>
              <a:gd name="T4" fmla="*/ 305 w 473"/>
              <a:gd name="T5" fmla="*/ 158 h 430"/>
              <a:gd name="T6" fmla="*/ 299 w 473"/>
              <a:gd name="T7" fmla="*/ 165 h 430"/>
              <a:gd name="T8" fmla="*/ 291 w 473"/>
              <a:gd name="T9" fmla="*/ 167 h 430"/>
              <a:gd name="T10" fmla="*/ 291 w 473"/>
              <a:gd name="T11" fmla="*/ 177 h 430"/>
              <a:gd name="T12" fmla="*/ 293 w 473"/>
              <a:gd name="T13" fmla="*/ 184 h 430"/>
              <a:gd name="T14" fmla="*/ 293 w 473"/>
              <a:gd name="T15" fmla="*/ 188 h 430"/>
              <a:gd name="T16" fmla="*/ 290 w 473"/>
              <a:gd name="T17" fmla="*/ 195 h 430"/>
              <a:gd name="T18" fmla="*/ 294 w 473"/>
              <a:gd name="T19" fmla="*/ 200 h 430"/>
              <a:gd name="T20" fmla="*/ 298 w 473"/>
              <a:gd name="T21" fmla="*/ 207 h 430"/>
              <a:gd name="T22" fmla="*/ 305 w 473"/>
              <a:gd name="T23" fmla="*/ 213 h 430"/>
              <a:gd name="T24" fmla="*/ 306 w 473"/>
              <a:gd name="T25" fmla="*/ 220 h 430"/>
              <a:gd name="T26" fmla="*/ 306 w 473"/>
              <a:gd name="T27" fmla="*/ 223 h 430"/>
              <a:gd name="T28" fmla="*/ 310 w 473"/>
              <a:gd name="T29" fmla="*/ 221 h 430"/>
              <a:gd name="T30" fmla="*/ 316 w 473"/>
              <a:gd name="T31" fmla="*/ 223 h 430"/>
              <a:gd name="T32" fmla="*/ 323 w 473"/>
              <a:gd name="T33" fmla="*/ 220 h 430"/>
              <a:gd name="T34" fmla="*/ 327 w 473"/>
              <a:gd name="T35" fmla="*/ 225 h 430"/>
              <a:gd name="T36" fmla="*/ 330 w 473"/>
              <a:gd name="T37" fmla="*/ 227 h 430"/>
              <a:gd name="T38" fmla="*/ 335 w 473"/>
              <a:gd name="T39" fmla="*/ 225 h 430"/>
              <a:gd name="T40" fmla="*/ 339 w 473"/>
              <a:gd name="T41" fmla="*/ 224 h 430"/>
              <a:gd name="T42" fmla="*/ 345 w 473"/>
              <a:gd name="T43" fmla="*/ 220 h 430"/>
              <a:gd name="T44" fmla="*/ 349 w 473"/>
              <a:gd name="T45" fmla="*/ 223 h 430"/>
              <a:gd name="T46" fmla="*/ 350 w 473"/>
              <a:gd name="T47" fmla="*/ 224 h 430"/>
              <a:gd name="T48" fmla="*/ 356 w 473"/>
              <a:gd name="T49" fmla="*/ 227 h 430"/>
              <a:gd name="T50" fmla="*/ 361 w 473"/>
              <a:gd name="T51" fmla="*/ 228 h 430"/>
              <a:gd name="T52" fmla="*/ 365 w 473"/>
              <a:gd name="T53" fmla="*/ 229 h 430"/>
              <a:gd name="T54" fmla="*/ 368 w 473"/>
              <a:gd name="T55" fmla="*/ 229 h 430"/>
              <a:gd name="T56" fmla="*/ 372 w 473"/>
              <a:gd name="T57" fmla="*/ 227 h 430"/>
              <a:gd name="T58" fmla="*/ 375 w 473"/>
              <a:gd name="T59" fmla="*/ 229 h 430"/>
              <a:gd name="T60" fmla="*/ 378 w 473"/>
              <a:gd name="T61" fmla="*/ 232 h 430"/>
              <a:gd name="T62" fmla="*/ 379 w 473"/>
              <a:gd name="T63" fmla="*/ 232 h 430"/>
              <a:gd name="T64" fmla="*/ 383 w 473"/>
              <a:gd name="T65" fmla="*/ 235 h 430"/>
              <a:gd name="T66" fmla="*/ 385 w 473"/>
              <a:gd name="T67" fmla="*/ 236 h 430"/>
              <a:gd name="T68" fmla="*/ 387 w 473"/>
              <a:gd name="T69" fmla="*/ 238 h 430"/>
              <a:gd name="T70" fmla="*/ 393 w 473"/>
              <a:gd name="T71" fmla="*/ 238 h 430"/>
              <a:gd name="T72" fmla="*/ 394 w 473"/>
              <a:gd name="T73" fmla="*/ 242 h 430"/>
              <a:gd name="T74" fmla="*/ 396 w 473"/>
              <a:gd name="T75" fmla="*/ 240 h 430"/>
              <a:gd name="T76" fmla="*/ 396 w 473"/>
              <a:gd name="T77" fmla="*/ 245 h 430"/>
              <a:gd name="T78" fmla="*/ 400 w 473"/>
              <a:gd name="T79" fmla="*/ 246 h 430"/>
              <a:gd name="T80" fmla="*/ 401 w 473"/>
              <a:gd name="T81" fmla="*/ 247 h 430"/>
              <a:gd name="T82" fmla="*/ 404 w 473"/>
              <a:gd name="T83" fmla="*/ 251 h 430"/>
              <a:gd name="T84" fmla="*/ 407 w 473"/>
              <a:gd name="T85" fmla="*/ 251 h 430"/>
              <a:gd name="T86" fmla="*/ 409 w 473"/>
              <a:gd name="T87" fmla="*/ 250 h 430"/>
              <a:gd name="T88" fmla="*/ 409 w 473"/>
              <a:gd name="T89" fmla="*/ 246 h 430"/>
              <a:gd name="T90" fmla="*/ 412 w 473"/>
              <a:gd name="T91" fmla="*/ 246 h 430"/>
              <a:gd name="T92" fmla="*/ 416 w 473"/>
              <a:gd name="T93" fmla="*/ 245 h 430"/>
              <a:gd name="T94" fmla="*/ 422 w 473"/>
              <a:gd name="T95" fmla="*/ 243 h 430"/>
              <a:gd name="T96" fmla="*/ 423 w 473"/>
              <a:gd name="T97" fmla="*/ 240 h 430"/>
              <a:gd name="T98" fmla="*/ 427 w 473"/>
              <a:gd name="T99" fmla="*/ 243 h 430"/>
              <a:gd name="T100" fmla="*/ 434 w 473"/>
              <a:gd name="T101" fmla="*/ 240 h 430"/>
              <a:gd name="T102" fmla="*/ 438 w 473"/>
              <a:gd name="T103" fmla="*/ 236 h 430"/>
              <a:gd name="T104" fmla="*/ 442 w 473"/>
              <a:gd name="T105" fmla="*/ 238 h 430"/>
              <a:gd name="T106" fmla="*/ 447 w 473"/>
              <a:gd name="T107" fmla="*/ 240 h 430"/>
              <a:gd name="T108" fmla="*/ 449 w 473"/>
              <a:gd name="T109" fmla="*/ 239 h 430"/>
              <a:gd name="T110" fmla="*/ 452 w 473"/>
              <a:gd name="T111" fmla="*/ 236 h 430"/>
              <a:gd name="T112" fmla="*/ 456 w 473"/>
              <a:gd name="T113" fmla="*/ 239 h 430"/>
              <a:gd name="T114" fmla="*/ 459 w 473"/>
              <a:gd name="T115" fmla="*/ 242 h 430"/>
              <a:gd name="T116" fmla="*/ 449 w 473"/>
              <a:gd name="T117" fmla="*/ 368 h 430"/>
              <a:gd name="T118" fmla="*/ 365 w 473"/>
              <a:gd name="T119" fmla="*/ 430 h 430"/>
              <a:gd name="T120" fmla="*/ 209 w 473"/>
              <a:gd name="T121" fmla="*/ 361 h 430"/>
              <a:gd name="T122" fmla="*/ 161 w 473"/>
              <a:gd name="T123" fmla="*/ 267 h 430"/>
              <a:gd name="T124" fmla="*/ 66 w 473"/>
              <a:gd name="T125" fmla="*/ 177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73" h="430">
                <a:moveTo>
                  <a:pt x="0" y="99"/>
                </a:moveTo>
                <a:lnTo>
                  <a:pt x="9" y="82"/>
                </a:lnTo>
                <a:lnTo>
                  <a:pt x="9" y="56"/>
                </a:lnTo>
                <a:lnTo>
                  <a:pt x="16" y="27"/>
                </a:lnTo>
                <a:lnTo>
                  <a:pt x="39" y="4"/>
                </a:lnTo>
                <a:lnTo>
                  <a:pt x="72" y="0"/>
                </a:lnTo>
                <a:lnTo>
                  <a:pt x="81" y="49"/>
                </a:lnTo>
                <a:lnTo>
                  <a:pt x="90" y="40"/>
                </a:lnTo>
                <a:lnTo>
                  <a:pt x="114" y="75"/>
                </a:lnTo>
                <a:lnTo>
                  <a:pt x="122" y="74"/>
                </a:lnTo>
                <a:lnTo>
                  <a:pt x="163" y="44"/>
                </a:lnTo>
                <a:lnTo>
                  <a:pt x="163" y="26"/>
                </a:lnTo>
                <a:lnTo>
                  <a:pt x="178" y="5"/>
                </a:lnTo>
                <a:lnTo>
                  <a:pt x="265" y="55"/>
                </a:lnTo>
                <a:lnTo>
                  <a:pt x="231" y="155"/>
                </a:lnTo>
                <a:lnTo>
                  <a:pt x="302" y="155"/>
                </a:lnTo>
                <a:lnTo>
                  <a:pt x="304" y="156"/>
                </a:lnTo>
                <a:lnTo>
                  <a:pt x="305" y="158"/>
                </a:lnTo>
                <a:lnTo>
                  <a:pt x="305" y="159"/>
                </a:lnTo>
                <a:lnTo>
                  <a:pt x="305" y="161"/>
                </a:lnTo>
                <a:lnTo>
                  <a:pt x="304" y="162"/>
                </a:lnTo>
                <a:lnTo>
                  <a:pt x="302" y="163"/>
                </a:lnTo>
                <a:lnTo>
                  <a:pt x="301" y="165"/>
                </a:lnTo>
                <a:lnTo>
                  <a:pt x="299" y="165"/>
                </a:lnTo>
                <a:lnTo>
                  <a:pt x="297" y="166"/>
                </a:lnTo>
                <a:lnTo>
                  <a:pt x="295" y="166"/>
                </a:lnTo>
                <a:lnTo>
                  <a:pt x="294" y="166"/>
                </a:lnTo>
                <a:lnTo>
                  <a:pt x="294" y="166"/>
                </a:lnTo>
                <a:lnTo>
                  <a:pt x="293" y="167"/>
                </a:lnTo>
                <a:lnTo>
                  <a:pt x="291" y="167"/>
                </a:lnTo>
                <a:lnTo>
                  <a:pt x="290" y="170"/>
                </a:lnTo>
                <a:lnTo>
                  <a:pt x="291" y="172"/>
                </a:lnTo>
                <a:lnTo>
                  <a:pt x="291" y="173"/>
                </a:lnTo>
                <a:lnTo>
                  <a:pt x="291" y="174"/>
                </a:lnTo>
                <a:lnTo>
                  <a:pt x="291" y="176"/>
                </a:lnTo>
                <a:lnTo>
                  <a:pt x="291" y="177"/>
                </a:lnTo>
                <a:lnTo>
                  <a:pt x="290" y="178"/>
                </a:lnTo>
                <a:lnTo>
                  <a:pt x="290" y="180"/>
                </a:lnTo>
                <a:lnTo>
                  <a:pt x="290" y="181"/>
                </a:lnTo>
                <a:lnTo>
                  <a:pt x="291" y="181"/>
                </a:lnTo>
                <a:lnTo>
                  <a:pt x="293" y="183"/>
                </a:lnTo>
                <a:lnTo>
                  <a:pt x="293" y="184"/>
                </a:lnTo>
                <a:lnTo>
                  <a:pt x="294" y="185"/>
                </a:lnTo>
                <a:lnTo>
                  <a:pt x="295" y="187"/>
                </a:lnTo>
                <a:lnTo>
                  <a:pt x="295" y="188"/>
                </a:lnTo>
                <a:lnTo>
                  <a:pt x="295" y="189"/>
                </a:lnTo>
                <a:lnTo>
                  <a:pt x="294" y="189"/>
                </a:lnTo>
                <a:lnTo>
                  <a:pt x="293" y="188"/>
                </a:lnTo>
                <a:lnTo>
                  <a:pt x="291" y="188"/>
                </a:lnTo>
                <a:lnTo>
                  <a:pt x="291" y="189"/>
                </a:lnTo>
                <a:lnTo>
                  <a:pt x="291" y="191"/>
                </a:lnTo>
                <a:lnTo>
                  <a:pt x="291" y="192"/>
                </a:lnTo>
                <a:lnTo>
                  <a:pt x="290" y="194"/>
                </a:lnTo>
                <a:lnTo>
                  <a:pt x="290" y="195"/>
                </a:lnTo>
                <a:lnTo>
                  <a:pt x="291" y="196"/>
                </a:lnTo>
                <a:lnTo>
                  <a:pt x="291" y="198"/>
                </a:lnTo>
                <a:lnTo>
                  <a:pt x="291" y="199"/>
                </a:lnTo>
                <a:lnTo>
                  <a:pt x="291" y="199"/>
                </a:lnTo>
                <a:lnTo>
                  <a:pt x="293" y="200"/>
                </a:lnTo>
                <a:lnTo>
                  <a:pt x="294" y="200"/>
                </a:lnTo>
                <a:lnTo>
                  <a:pt x="295" y="202"/>
                </a:lnTo>
                <a:lnTo>
                  <a:pt x="295" y="203"/>
                </a:lnTo>
                <a:lnTo>
                  <a:pt x="297" y="203"/>
                </a:lnTo>
                <a:lnTo>
                  <a:pt x="297" y="205"/>
                </a:lnTo>
                <a:lnTo>
                  <a:pt x="298" y="206"/>
                </a:lnTo>
                <a:lnTo>
                  <a:pt x="298" y="207"/>
                </a:lnTo>
                <a:lnTo>
                  <a:pt x="299" y="207"/>
                </a:lnTo>
                <a:lnTo>
                  <a:pt x="299" y="209"/>
                </a:lnTo>
                <a:lnTo>
                  <a:pt x="301" y="210"/>
                </a:lnTo>
                <a:lnTo>
                  <a:pt x="302" y="211"/>
                </a:lnTo>
                <a:lnTo>
                  <a:pt x="304" y="213"/>
                </a:lnTo>
                <a:lnTo>
                  <a:pt x="305" y="213"/>
                </a:lnTo>
                <a:lnTo>
                  <a:pt x="305" y="214"/>
                </a:lnTo>
                <a:lnTo>
                  <a:pt x="305" y="216"/>
                </a:lnTo>
                <a:lnTo>
                  <a:pt x="306" y="216"/>
                </a:lnTo>
                <a:lnTo>
                  <a:pt x="306" y="217"/>
                </a:lnTo>
                <a:lnTo>
                  <a:pt x="306" y="218"/>
                </a:lnTo>
                <a:lnTo>
                  <a:pt x="306" y="220"/>
                </a:lnTo>
                <a:lnTo>
                  <a:pt x="306" y="221"/>
                </a:lnTo>
                <a:lnTo>
                  <a:pt x="305" y="221"/>
                </a:lnTo>
                <a:lnTo>
                  <a:pt x="305" y="223"/>
                </a:lnTo>
                <a:lnTo>
                  <a:pt x="305" y="224"/>
                </a:lnTo>
                <a:lnTo>
                  <a:pt x="306" y="224"/>
                </a:lnTo>
                <a:lnTo>
                  <a:pt x="306" y="223"/>
                </a:lnTo>
                <a:lnTo>
                  <a:pt x="308" y="223"/>
                </a:lnTo>
                <a:lnTo>
                  <a:pt x="308" y="224"/>
                </a:lnTo>
                <a:lnTo>
                  <a:pt x="309" y="224"/>
                </a:lnTo>
                <a:lnTo>
                  <a:pt x="309" y="223"/>
                </a:lnTo>
                <a:lnTo>
                  <a:pt x="309" y="221"/>
                </a:lnTo>
                <a:lnTo>
                  <a:pt x="310" y="221"/>
                </a:lnTo>
                <a:lnTo>
                  <a:pt x="310" y="223"/>
                </a:lnTo>
                <a:lnTo>
                  <a:pt x="312" y="224"/>
                </a:lnTo>
                <a:lnTo>
                  <a:pt x="312" y="223"/>
                </a:lnTo>
                <a:lnTo>
                  <a:pt x="313" y="223"/>
                </a:lnTo>
                <a:lnTo>
                  <a:pt x="315" y="223"/>
                </a:lnTo>
                <a:lnTo>
                  <a:pt x="316" y="223"/>
                </a:lnTo>
                <a:lnTo>
                  <a:pt x="316" y="221"/>
                </a:lnTo>
                <a:lnTo>
                  <a:pt x="317" y="221"/>
                </a:lnTo>
                <a:lnTo>
                  <a:pt x="319" y="221"/>
                </a:lnTo>
                <a:lnTo>
                  <a:pt x="320" y="221"/>
                </a:lnTo>
                <a:lnTo>
                  <a:pt x="321" y="220"/>
                </a:lnTo>
                <a:lnTo>
                  <a:pt x="323" y="220"/>
                </a:lnTo>
                <a:lnTo>
                  <a:pt x="323" y="221"/>
                </a:lnTo>
                <a:lnTo>
                  <a:pt x="324" y="223"/>
                </a:lnTo>
                <a:lnTo>
                  <a:pt x="326" y="223"/>
                </a:lnTo>
                <a:lnTo>
                  <a:pt x="327" y="223"/>
                </a:lnTo>
                <a:lnTo>
                  <a:pt x="327" y="224"/>
                </a:lnTo>
                <a:lnTo>
                  <a:pt x="327" y="225"/>
                </a:lnTo>
                <a:lnTo>
                  <a:pt x="324" y="227"/>
                </a:lnTo>
                <a:lnTo>
                  <a:pt x="326" y="227"/>
                </a:lnTo>
                <a:lnTo>
                  <a:pt x="327" y="227"/>
                </a:lnTo>
                <a:lnTo>
                  <a:pt x="328" y="227"/>
                </a:lnTo>
                <a:lnTo>
                  <a:pt x="328" y="225"/>
                </a:lnTo>
                <a:lnTo>
                  <a:pt x="330" y="227"/>
                </a:lnTo>
                <a:lnTo>
                  <a:pt x="330" y="225"/>
                </a:lnTo>
                <a:lnTo>
                  <a:pt x="331" y="225"/>
                </a:lnTo>
                <a:lnTo>
                  <a:pt x="332" y="224"/>
                </a:lnTo>
                <a:lnTo>
                  <a:pt x="334" y="224"/>
                </a:lnTo>
                <a:lnTo>
                  <a:pt x="335" y="224"/>
                </a:lnTo>
                <a:lnTo>
                  <a:pt x="335" y="225"/>
                </a:lnTo>
                <a:lnTo>
                  <a:pt x="337" y="224"/>
                </a:lnTo>
                <a:lnTo>
                  <a:pt x="338" y="224"/>
                </a:lnTo>
                <a:lnTo>
                  <a:pt x="338" y="225"/>
                </a:lnTo>
                <a:lnTo>
                  <a:pt x="338" y="225"/>
                </a:lnTo>
                <a:lnTo>
                  <a:pt x="338" y="224"/>
                </a:lnTo>
                <a:lnTo>
                  <a:pt x="339" y="224"/>
                </a:lnTo>
                <a:lnTo>
                  <a:pt x="341" y="224"/>
                </a:lnTo>
                <a:lnTo>
                  <a:pt x="342" y="224"/>
                </a:lnTo>
                <a:lnTo>
                  <a:pt x="343" y="224"/>
                </a:lnTo>
                <a:lnTo>
                  <a:pt x="343" y="223"/>
                </a:lnTo>
                <a:lnTo>
                  <a:pt x="345" y="221"/>
                </a:lnTo>
                <a:lnTo>
                  <a:pt x="345" y="220"/>
                </a:lnTo>
                <a:lnTo>
                  <a:pt x="346" y="220"/>
                </a:lnTo>
                <a:lnTo>
                  <a:pt x="348" y="221"/>
                </a:lnTo>
                <a:lnTo>
                  <a:pt x="349" y="221"/>
                </a:lnTo>
                <a:lnTo>
                  <a:pt x="348" y="221"/>
                </a:lnTo>
                <a:lnTo>
                  <a:pt x="348" y="223"/>
                </a:lnTo>
                <a:lnTo>
                  <a:pt x="349" y="223"/>
                </a:lnTo>
                <a:lnTo>
                  <a:pt x="349" y="224"/>
                </a:lnTo>
                <a:lnTo>
                  <a:pt x="349" y="223"/>
                </a:lnTo>
                <a:lnTo>
                  <a:pt x="350" y="221"/>
                </a:lnTo>
                <a:lnTo>
                  <a:pt x="352" y="221"/>
                </a:lnTo>
                <a:lnTo>
                  <a:pt x="350" y="223"/>
                </a:lnTo>
                <a:lnTo>
                  <a:pt x="350" y="224"/>
                </a:lnTo>
                <a:lnTo>
                  <a:pt x="352" y="224"/>
                </a:lnTo>
                <a:lnTo>
                  <a:pt x="353" y="224"/>
                </a:lnTo>
                <a:lnTo>
                  <a:pt x="354" y="224"/>
                </a:lnTo>
                <a:lnTo>
                  <a:pt x="354" y="225"/>
                </a:lnTo>
                <a:lnTo>
                  <a:pt x="354" y="227"/>
                </a:lnTo>
                <a:lnTo>
                  <a:pt x="356" y="227"/>
                </a:lnTo>
                <a:lnTo>
                  <a:pt x="356" y="225"/>
                </a:lnTo>
                <a:lnTo>
                  <a:pt x="359" y="227"/>
                </a:lnTo>
                <a:lnTo>
                  <a:pt x="360" y="227"/>
                </a:lnTo>
                <a:lnTo>
                  <a:pt x="361" y="228"/>
                </a:lnTo>
                <a:lnTo>
                  <a:pt x="361" y="229"/>
                </a:lnTo>
                <a:lnTo>
                  <a:pt x="361" y="228"/>
                </a:lnTo>
                <a:lnTo>
                  <a:pt x="363" y="228"/>
                </a:lnTo>
                <a:lnTo>
                  <a:pt x="364" y="228"/>
                </a:lnTo>
                <a:lnTo>
                  <a:pt x="363" y="229"/>
                </a:lnTo>
                <a:lnTo>
                  <a:pt x="363" y="231"/>
                </a:lnTo>
                <a:lnTo>
                  <a:pt x="364" y="229"/>
                </a:lnTo>
                <a:lnTo>
                  <a:pt x="365" y="229"/>
                </a:lnTo>
                <a:lnTo>
                  <a:pt x="367" y="229"/>
                </a:lnTo>
                <a:lnTo>
                  <a:pt x="367" y="231"/>
                </a:lnTo>
                <a:lnTo>
                  <a:pt x="368" y="231"/>
                </a:lnTo>
                <a:lnTo>
                  <a:pt x="368" y="232"/>
                </a:lnTo>
                <a:lnTo>
                  <a:pt x="368" y="231"/>
                </a:lnTo>
                <a:lnTo>
                  <a:pt x="368" y="229"/>
                </a:lnTo>
                <a:lnTo>
                  <a:pt x="370" y="229"/>
                </a:lnTo>
                <a:lnTo>
                  <a:pt x="370" y="228"/>
                </a:lnTo>
                <a:lnTo>
                  <a:pt x="371" y="228"/>
                </a:lnTo>
                <a:lnTo>
                  <a:pt x="371" y="227"/>
                </a:lnTo>
                <a:lnTo>
                  <a:pt x="371" y="227"/>
                </a:lnTo>
                <a:lnTo>
                  <a:pt x="372" y="227"/>
                </a:lnTo>
                <a:lnTo>
                  <a:pt x="372" y="228"/>
                </a:lnTo>
                <a:lnTo>
                  <a:pt x="374" y="229"/>
                </a:lnTo>
                <a:lnTo>
                  <a:pt x="374" y="228"/>
                </a:lnTo>
                <a:lnTo>
                  <a:pt x="375" y="228"/>
                </a:lnTo>
                <a:lnTo>
                  <a:pt x="376" y="228"/>
                </a:lnTo>
                <a:lnTo>
                  <a:pt x="375" y="229"/>
                </a:lnTo>
                <a:lnTo>
                  <a:pt x="375" y="231"/>
                </a:lnTo>
                <a:lnTo>
                  <a:pt x="375" y="229"/>
                </a:lnTo>
                <a:lnTo>
                  <a:pt x="375" y="231"/>
                </a:lnTo>
                <a:lnTo>
                  <a:pt x="376" y="231"/>
                </a:lnTo>
                <a:lnTo>
                  <a:pt x="378" y="231"/>
                </a:lnTo>
                <a:lnTo>
                  <a:pt x="378" y="232"/>
                </a:lnTo>
                <a:lnTo>
                  <a:pt x="376" y="232"/>
                </a:lnTo>
                <a:lnTo>
                  <a:pt x="376" y="232"/>
                </a:lnTo>
                <a:lnTo>
                  <a:pt x="378" y="232"/>
                </a:lnTo>
                <a:lnTo>
                  <a:pt x="378" y="234"/>
                </a:lnTo>
                <a:lnTo>
                  <a:pt x="378" y="232"/>
                </a:lnTo>
                <a:lnTo>
                  <a:pt x="379" y="232"/>
                </a:lnTo>
                <a:lnTo>
                  <a:pt x="379" y="234"/>
                </a:lnTo>
                <a:lnTo>
                  <a:pt x="381" y="232"/>
                </a:lnTo>
                <a:lnTo>
                  <a:pt x="381" y="234"/>
                </a:lnTo>
                <a:lnTo>
                  <a:pt x="382" y="234"/>
                </a:lnTo>
                <a:lnTo>
                  <a:pt x="382" y="235"/>
                </a:lnTo>
                <a:lnTo>
                  <a:pt x="383" y="235"/>
                </a:lnTo>
                <a:lnTo>
                  <a:pt x="382" y="236"/>
                </a:lnTo>
                <a:lnTo>
                  <a:pt x="383" y="236"/>
                </a:lnTo>
                <a:lnTo>
                  <a:pt x="383" y="235"/>
                </a:lnTo>
                <a:lnTo>
                  <a:pt x="385" y="235"/>
                </a:lnTo>
                <a:lnTo>
                  <a:pt x="386" y="235"/>
                </a:lnTo>
                <a:lnTo>
                  <a:pt x="385" y="236"/>
                </a:lnTo>
                <a:lnTo>
                  <a:pt x="385" y="238"/>
                </a:lnTo>
                <a:lnTo>
                  <a:pt x="386" y="238"/>
                </a:lnTo>
                <a:lnTo>
                  <a:pt x="387" y="236"/>
                </a:lnTo>
                <a:lnTo>
                  <a:pt x="389" y="236"/>
                </a:lnTo>
                <a:lnTo>
                  <a:pt x="389" y="238"/>
                </a:lnTo>
                <a:lnTo>
                  <a:pt x="387" y="238"/>
                </a:lnTo>
                <a:lnTo>
                  <a:pt x="387" y="239"/>
                </a:lnTo>
                <a:lnTo>
                  <a:pt x="389" y="239"/>
                </a:lnTo>
                <a:lnTo>
                  <a:pt x="390" y="239"/>
                </a:lnTo>
                <a:lnTo>
                  <a:pt x="390" y="238"/>
                </a:lnTo>
                <a:lnTo>
                  <a:pt x="392" y="238"/>
                </a:lnTo>
                <a:lnTo>
                  <a:pt x="393" y="238"/>
                </a:lnTo>
                <a:lnTo>
                  <a:pt x="392" y="239"/>
                </a:lnTo>
                <a:lnTo>
                  <a:pt x="392" y="240"/>
                </a:lnTo>
                <a:lnTo>
                  <a:pt x="392" y="242"/>
                </a:lnTo>
                <a:lnTo>
                  <a:pt x="393" y="243"/>
                </a:lnTo>
                <a:lnTo>
                  <a:pt x="393" y="242"/>
                </a:lnTo>
                <a:lnTo>
                  <a:pt x="394" y="242"/>
                </a:lnTo>
                <a:lnTo>
                  <a:pt x="393" y="242"/>
                </a:lnTo>
                <a:lnTo>
                  <a:pt x="393" y="240"/>
                </a:lnTo>
                <a:lnTo>
                  <a:pt x="394" y="239"/>
                </a:lnTo>
                <a:lnTo>
                  <a:pt x="396" y="239"/>
                </a:lnTo>
                <a:lnTo>
                  <a:pt x="394" y="240"/>
                </a:lnTo>
                <a:lnTo>
                  <a:pt x="396" y="240"/>
                </a:lnTo>
                <a:lnTo>
                  <a:pt x="394" y="242"/>
                </a:lnTo>
                <a:lnTo>
                  <a:pt x="394" y="243"/>
                </a:lnTo>
                <a:lnTo>
                  <a:pt x="394" y="242"/>
                </a:lnTo>
                <a:lnTo>
                  <a:pt x="396" y="242"/>
                </a:lnTo>
                <a:lnTo>
                  <a:pt x="396" y="243"/>
                </a:lnTo>
                <a:lnTo>
                  <a:pt x="396" y="245"/>
                </a:lnTo>
                <a:lnTo>
                  <a:pt x="396" y="246"/>
                </a:lnTo>
                <a:lnTo>
                  <a:pt x="396" y="245"/>
                </a:lnTo>
                <a:lnTo>
                  <a:pt x="397" y="245"/>
                </a:lnTo>
                <a:lnTo>
                  <a:pt x="397" y="246"/>
                </a:lnTo>
                <a:lnTo>
                  <a:pt x="398" y="246"/>
                </a:lnTo>
                <a:lnTo>
                  <a:pt x="400" y="246"/>
                </a:lnTo>
                <a:lnTo>
                  <a:pt x="398" y="245"/>
                </a:lnTo>
                <a:lnTo>
                  <a:pt x="400" y="243"/>
                </a:lnTo>
                <a:lnTo>
                  <a:pt x="400" y="245"/>
                </a:lnTo>
                <a:lnTo>
                  <a:pt x="400" y="246"/>
                </a:lnTo>
                <a:lnTo>
                  <a:pt x="401" y="246"/>
                </a:lnTo>
                <a:lnTo>
                  <a:pt x="401" y="247"/>
                </a:lnTo>
                <a:lnTo>
                  <a:pt x="401" y="249"/>
                </a:lnTo>
                <a:lnTo>
                  <a:pt x="401" y="250"/>
                </a:lnTo>
                <a:lnTo>
                  <a:pt x="401" y="251"/>
                </a:lnTo>
                <a:lnTo>
                  <a:pt x="403" y="251"/>
                </a:lnTo>
                <a:lnTo>
                  <a:pt x="403" y="250"/>
                </a:lnTo>
                <a:lnTo>
                  <a:pt x="404" y="251"/>
                </a:lnTo>
                <a:lnTo>
                  <a:pt x="404" y="250"/>
                </a:lnTo>
                <a:lnTo>
                  <a:pt x="404" y="250"/>
                </a:lnTo>
                <a:lnTo>
                  <a:pt x="404" y="250"/>
                </a:lnTo>
                <a:lnTo>
                  <a:pt x="405" y="250"/>
                </a:lnTo>
                <a:lnTo>
                  <a:pt x="407" y="250"/>
                </a:lnTo>
                <a:lnTo>
                  <a:pt x="407" y="251"/>
                </a:lnTo>
                <a:lnTo>
                  <a:pt x="408" y="251"/>
                </a:lnTo>
                <a:lnTo>
                  <a:pt x="408" y="250"/>
                </a:lnTo>
                <a:lnTo>
                  <a:pt x="407" y="250"/>
                </a:lnTo>
                <a:lnTo>
                  <a:pt x="407" y="249"/>
                </a:lnTo>
                <a:lnTo>
                  <a:pt x="408" y="249"/>
                </a:lnTo>
                <a:lnTo>
                  <a:pt x="409" y="250"/>
                </a:lnTo>
                <a:lnTo>
                  <a:pt x="411" y="249"/>
                </a:lnTo>
                <a:lnTo>
                  <a:pt x="409" y="249"/>
                </a:lnTo>
                <a:lnTo>
                  <a:pt x="408" y="249"/>
                </a:lnTo>
                <a:lnTo>
                  <a:pt x="409" y="249"/>
                </a:lnTo>
                <a:lnTo>
                  <a:pt x="409" y="247"/>
                </a:lnTo>
                <a:lnTo>
                  <a:pt x="409" y="246"/>
                </a:lnTo>
                <a:lnTo>
                  <a:pt x="411" y="246"/>
                </a:lnTo>
                <a:lnTo>
                  <a:pt x="411" y="245"/>
                </a:lnTo>
                <a:lnTo>
                  <a:pt x="411" y="243"/>
                </a:lnTo>
                <a:lnTo>
                  <a:pt x="411" y="245"/>
                </a:lnTo>
                <a:lnTo>
                  <a:pt x="412" y="245"/>
                </a:lnTo>
                <a:lnTo>
                  <a:pt x="412" y="246"/>
                </a:lnTo>
                <a:lnTo>
                  <a:pt x="414" y="246"/>
                </a:lnTo>
                <a:lnTo>
                  <a:pt x="414" y="247"/>
                </a:lnTo>
                <a:lnTo>
                  <a:pt x="415" y="247"/>
                </a:lnTo>
                <a:lnTo>
                  <a:pt x="416" y="247"/>
                </a:lnTo>
                <a:lnTo>
                  <a:pt x="416" y="246"/>
                </a:lnTo>
                <a:lnTo>
                  <a:pt x="416" y="245"/>
                </a:lnTo>
                <a:lnTo>
                  <a:pt x="416" y="243"/>
                </a:lnTo>
                <a:lnTo>
                  <a:pt x="418" y="243"/>
                </a:lnTo>
                <a:lnTo>
                  <a:pt x="419" y="243"/>
                </a:lnTo>
                <a:lnTo>
                  <a:pt x="419" y="245"/>
                </a:lnTo>
                <a:lnTo>
                  <a:pt x="420" y="243"/>
                </a:lnTo>
                <a:lnTo>
                  <a:pt x="422" y="243"/>
                </a:lnTo>
                <a:lnTo>
                  <a:pt x="422" y="242"/>
                </a:lnTo>
                <a:lnTo>
                  <a:pt x="422" y="240"/>
                </a:lnTo>
                <a:lnTo>
                  <a:pt x="422" y="239"/>
                </a:lnTo>
                <a:lnTo>
                  <a:pt x="423" y="240"/>
                </a:lnTo>
                <a:lnTo>
                  <a:pt x="423" y="242"/>
                </a:lnTo>
                <a:lnTo>
                  <a:pt x="423" y="240"/>
                </a:lnTo>
                <a:lnTo>
                  <a:pt x="425" y="240"/>
                </a:lnTo>
                <a:lnTo>
                  <a:pt x="426" y="240"/>
                </a:lnTo>
                <a:lnTo>
                  <a:pt x="426" y="242"/>
                </a:lnTo>
                <a:lnTo>
                  <a:pt x="426" y="243"/>
                </a:lnTo>
                <a:lnTo>
                  <a:pt x="426" y="245"/>
                </a:lnTo>
                <a:lnTo>
                  <a:pt x="427" y="243"/>
                </a:lnTo>
                <a:lnTo>
                  <a:pt x="429" y="243"/>
                </a:lnTo>
                <a:lnTo>
                  <a:pt x="430" y="243"/>
                </a:lnTo>
                <a:lnTo>
                  <a:pt x="430" y="242"/>
                </a:lnTo>
                <a:lnTo>
                  <a:pt x="430" y="240"/>
                </a:lnTo>
                <a:lnTo>
                  <a:pt x="431" y="242"/>
                </a:lnTo>
                <a:lnTo>
                  <a:pt x="434" y="240"/>
                </a:lnTo>
                <a:lnTo>
                  <a:pt x="436" y="242"/>
                </a:lnTo>
                <a:lnTo>
                  <a:pt x="437" y="240"/>
                </a:lnTo>
                <a:lnTo>
                  <a:pt x="437" y="239"/>
                </a:lnTo>
                <a:lnTo>
                  <a:pt x="437" y="238"/>
                </a:lnTo>
                <a:lnTo>
                  <a:pt x="437" y="236"/>
                </a:lnTo>
                <a:lnTo>
                  <a:pt x="438" y="236"/>
                </a:lnTo>
                <a:lnTo>
                  <a:pt x="437" y="235"/>
                </a:lnTo>
                <a:lnTo>
                  <a:pt x="438" y="235"/>
                </a:lnTo>
                <a:lnTo>
                  <a:pt x="440" y="235"/>
                </a:lnTo>
                <a:lnTo>
                  <a:pt x="441" y="236"/>
                </a:lnTo>
                <a:lnTo>
                  <a:pt x="441" y="238"/>
                </a:lnTo>
                <a:lnTo>
                  <a:pt x="442" y="238"/>
                </a:lnTo>
                <a:lnTo>
                  <a:pt x="444" y="236"/>
                </a:lnTo>
                <a:lnTo>
                  <a:pt x="444" y="238"/>
                </a:lnTo>
                <a:lnTo>
                  <a:pt x="445" y="238"/>
                </a:lnTo>
                <a:lnTo>
                  <a:pt x="445" y="239"/>
                </a:lnTo>
                <a:lnTo>
                  <a:pt x="445" y="240"/>
                </a:lnTo>
                <a:lnTo>
                  <a:pt x="447" y="240"/>
                </a:lnTo>
                <a:lnTo>
                  <a:pt x="448" y="242"/>
                </a:lnTo>
                <a:lnTo>
                  <a:pt x="448" y="240"/>
                </a:lnTo>
                <a:lnTo>
                  <a:pt x="448" y="239"/>
                </a:lnTo>
                <a:lnTo>
                  <a:pt x="448" y="238"/>
                </a:lnTo>
                <a:lnTo>
                  <a:pt x="448" y="239"/>
                </a:lnTo>
                <a:lnTo>
                  <a:pt x="449" y="239"/>
                </a:lnTo>
                <a:lnTo>
                  <a:pt x="451" y="238"/>
                </a:lnTo>
                <a:lnTo>
                  <a:pt x="449" y="236"/>
                </a:lnTo>
                <a:lnTo>
                  <a:pt x="451" y="236"/>
                </a:lnTo>
                <a:lnTo>
                  <a:pt x="451" y="238"/>
                </a:lnTo>
                <a:lnTo>
                  <a:pt x="452" y="238"/>
                </a:lnTo>
                <a:lnTo>
                  <a:pt x="452" y="236"/>
                </a:lnTo>
                <a:lnTo>
                  <a:pt x="453" y="236"/>
                </a:lnTo>
                <a:lnTo>
                  <a:pt x="453" y="238"/>
                </a:lnTo>
                <a:lnTo>
                  <a:pt x="455" y="238"/>
                </a:lnTo>
                <a:lnTo>
                  <a:pt x="456" y="238"/>
                </a:lnTo>
                <a:lnTo>
                  <a:pt x="458" y="238"/>
                </a:lnTo>
                <a:lnTo>
                  <a:pt x="456" y="239"/>
                </a:lnTo>
                <a:lnTo>
                  <a:pt x="456" y="240"/>
                </a:lnTo>
                <a:lnTo>
                  <a:pt x="458" y="239"/>
                </a:lnTo>
                <a:lnTo>
                  <a:pt x="459" y="240"/>
                </a:lnTo>
                <a:lnTo>
                  <a:pt x="458" y="240"/>
                </a:lnTo>
                <a:lnTo>
                  <a:pt x="458" y="242"/>
                </a:lnTo>
                <a:lnTo>
                  <a:pt x="459" y="242"/>
                </a:lnTo>
                <a:lnTo>
                  <a:pt x="460" y="242"/>
                </a:lnTo>
                <a:lnTo>
                  <a:pt x="462" y="242"/>
                </a:lnTo>
                <a:lnTo>
                  <a:pt x="473" y="294"/>
                </a:lnTo>
                <a:lnTo>
                  <a:pt x="452" y="348"/>
                </a:lnTo>
                <a:lnTo>
                  <a:pt x="459" y="363"/>
                </a:lnTo>
                <a:lnTo>
                  <a:pt x="449" y="368"/>
                </a:lnTo>
                <a:lnTo>
                  <a:pt x="431" y="368"/>
                </a:lnTo>
                <a:lnTo>
                  <a:pt x="418" y="394"/>
                </a:lnTo>
                <a:lnTo>
                  <a:pt x="379" y="403"/>
                </a:lnTo>
                <a:lnTo>
                  <a:pt x="390" y="415"/>
                </a:lnTo>
                <a:lnTo>
                  <a:pt x="379" y="430"/>
                </a:lnTo>
                <a:lnTo>
                  <a:pt x="365" y="430"/>
                </a:lnTo>
                <a:lnTo>
                  <a:pt x="364" y="426"/>
                </a:lnTo>
                <a:lnTo>
                  <a:pt x="305" y="418"/>
                </a:lnTo>
                <a:lnTo>
                  <a:pt x="276" y="367"/>
                </a:lnTo>
                <a:lnTo>
                  <a:pt x="269" y="374"/>
                </a:lnTo>
                <a:lnTo>
                  <a:pt x="210" y="359"/>
                </a:lnTo>
                <a:lnTo>
                  <a:pt x="209" y="361"/>
                </a:lnTo>
                <a:lnTo>
                  <a:pt x="206" y="342"/>
                </a:lnTo>
                <a:lnTo>
                  <a:pt x="200" y="346"/>
                </a:lnTo>
                <a:lnTo>
                  <a:pt x="156" y="335"/>
                </a:lnTo>
                <a:lnTo>
                  <a:pt x="161" y="306"/>
                </a:lnTo>
                <a:lnTo>
                  <a:pt x="140" y="293"/>
                </a:lnTo>
                <a:lnTo>
                  <a:pt x="161" y="267"/>
                </a:lnTo>
                <a:lnTo>
                  <a:pt x="162" y="257"/>
                </a:lnTo>
                <a:lnTo>
                  <a:pt x="147" y="185"/>
                </a:lnTo>
                <a:lnTo>
                  <a:pt x="86" y="181"/>
                </a:lnTo>
                <a:lnTo>
                  <a:pt x="70" y="195"/>
                </a:lnTo>
                <a:lnTo>
                  <a:pt x="64" y="192"/>
                </a:lnTo>
                <a:lnTo>
                  <a:pt x="66" y="177"/>
                </a:lnTo>
                <a:lnTo>
                  <a:pt x="41" y="151"/>
                </a:lnTo>
                <a:lnTo>
                  <a:pt x="26" y="111"/>
                </a:lnTo>
                <a:lnTo>
                  <a:pt x="2" y="112"/>
                </a:lnTo>
                <a:lnTo>
                  <a:pt x="0" y="9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3" name="Freeform 149"/>
          <p:cNvSpPr>
            <a:spLocks/>
          </p:cNvSpPr>
          <p:nvPr>
            <p:custDataLst>
              <p:tags r:id="rId69"/>
            </p:custDataLst>
          </p:nvPr>
        </p:nvSpPr>
        <p:spPr bwMode="gray">
          <a:xfrm>
            <a:off x="4218274" y="3501198"/>
            <a:ext cx="412080" cy="234277"/>
          </a:xfrm>
          <a:custGeom>
            <a:avLst/>
            <a:gdLst>
              <a:gd name="T0" fmla="*/ 1 w 433"/>
              <a:gd name="T1" fmla="*/ 125 h 262"/>
              <a:gd name="T2" fmla="*/ 3 w 433"/>
              <a:gd name="T3" fmla="*/ 116 h 262"/>
              <a:gd name="T4" fmla="*/ 56 w 433"/>
              <a:gd name="T5" fmla="*/ 120 h 262"/>
              <a:gd name="T6" fmla="*/ 155 w 433"/>
              <a:gd name="T7" fmla="*/ 79 h 262"/>
              <a:gd name="T8" fmla="*/ 268 w 433"/>
              <a:gd name="T9" fmla="*/ 70 h 262"/>
              <a:gd name="T10" fmla="*/ 294 w 433"/>
              <a:gd name="T11" fmla="*/ 35 h 262"/>
              <a:gd name="T12" fmla="*/ 378 w 433"/>
              <a:gd name="T13" fmla="*/ 0 h 262"/>
              <a:gd name="T14" fmla="*/ 422 w 433"/>
              <a:gd name="T15" fmla="*/ 37 h 262"/>
              <a:gd name="T16" fmla="*/ 417 w 433"/>
              <a:gd name="T17" fmla="*/ 95 h 262"/>
              <a:gd name="T18" fmla="*/ 429 w 433"/>
              <a:gd name="T19" fmla="*/ 98 h 262"/>
              <a:gd name="T20" fmla="*/ 433 w 433"/>
              <a:gd name="T21" fmla="*/ 112 h 262"/>
              <a:gd name="T22" fmla="*/ 421 w 433"/>
              <a:gd name="T23" fmla="*/ 127 h 262"/>
              <a:gd name="T24" fmla="*/ 417 w 433"/>
              <a:gd name="T25" fmla="*/ 186 h 262"/>
              <a:gd name="T26" fmla="*/ 402 w 433"/>
              <a:gd name="T27" fmla="*/ 204 h 262"/>
              <a:gd name="T28" fmla="*/ 402 w 433"/>
              <a:gd name="T29" fmla="*/ 205 h 262"/>
              <a:gd name="T30" fmla="*/ 277 w 433"/>
              <a:gd name="T31" fmla="*/ 224 h 262"/>
              <a:gd name="T32" fmla="*/ 216 w 433"/>
              <a:gd name="T33" fmla="*/ 256 h 262"/>
              <a:gd name="T34" fmla="*/ 205 w 433"/>
              <a:gd name="T35" fmla="*/ 249 h 262"/>
              <a:gd name="T36" fmla="*/ 63 w 433"/>
              <a:gd name="T37" fmla="*/ 262 h 262"/>
              <a:gd name="T38" fmla="*/ 55 w 433"/>
              <a:gd name="T39" fmla="*/ 230 h 262"/>
              <a:gd name="T40" fmla="*/ 0 w 433"/>
              <a:gd name="T41" fmla="*/ 132 h 262"/>
              <a:gd name="T42" fmla="*/ 1 w 433"/>
              <a:gd name="T43" fmla="*/ 125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433" h="262">
                <a:moveTo>
                  <a:pt x="1" y="125"/>
                </a:moveTo>
                <a:lnTo>
                  <a:pt x="3" y="116"/>
                </a:lnTo>
                <a:lnTo>
                  <a:pt x="56" y="120"/>
                </a:lnTo>
                <a:lnTo>
                  <a:pt x="155" y="79"/>
                </a:lnTo>
                <a:lnTo>
                  <a:pt x="268" y="70"/>
                </a:lnTo>
                <a:lnTo>
                  <a:pt x="294" y="35"/>
                </a:lnTo>
                <a:lnTo>
                  <a:pt x="378" y="0"/>
                </a:lnTo>
                <a:lnTo>
                  <a:pt x="422" y="37"/>
                </a:lnTo>
                <a:lnTo>
                  <a:pt x="417" y="95"/>
                </a:lnTo>
                <a:lnTo>
                  <a:pt x="429" y="98"/>
                </a:lnTo>
                <a:lnTo>
                  <a:pt x="433" y="112"/>
                </a:lnTo>
                <a:lnTo>
                  <a:pt x="421" y="127"/>
                </a:lnTo>
                <a:lnTo>
                  <a:pt x="417" y="186"/>
                </a:lnTo>
                <a:lnTo>
                  <a:pt x="402" y="204"/>
                </a:lnTo>
                <a:lnTo>
                  <a:pt x="402" y="205"/>
                </a:lnTo>
                <a:lnTo>
                  <a:pt x="277" y="224"/>
                </a:lnTo>
                <a:lnTo>
                  <a:pt x="216" y="256"/>
                </a:lnTo>
                <a:lnTo>
                  <a:pt x="205" y="249"/>
                </a:lnTo>
                <a:lnTo>
                  <a:pt x="63" y="262"/>
                </a:lnTo>
                <a:lnTo>
                  <a:pt x="55" y="230"/>
                </a:lnTo>
                <a:lnTo>
                  <a:pt x="0" y="132"/>
                </a:lnTo>
                <a:lnTo>
                  <a:pt x="1" y="125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4" name="Freeform 150"/>
          <p:cNvSpPr>
            <a:spLocks/>
          </p:cNvSpPr>
          <p:nvPr>
            <p:custDataLst>
              <p:tags r:id="rId70"/>
            </p:custDataLst>
          </p:nvPr>
        </p:nvSpPr>
        <p:spPr bwMode="gray">
          <a:xfrm>
            <a:off x="4041260" y="3516399"/>
            <a:ext cx="240776" cy="286140"/>
          </a:xfrm>
          <a:custGeom>
            <a:avLst/>
            <a:gdLst>
              <a:gd name="T0" fmla="*/ 6 w 253"/>
              <a:gd name="T1" fmla="*/ 89 h 320"/>
              <a:gd name="T2" fmla="*/ 9 w 253"/>
              <a:gd name="T3" fmla="*/ 75 h 320"/>
              <a:gd name="T4" fmla="*/ 29 w 253"/>
              <a:gd name="T5" fmla="*/ 60 h 320"/>
              <a:gd name="T6" fmla="*/ 43 w 253"/>
              <a:gd name="T7" fmla="*/ 34 h 320"/>
              <a:gd name="T8" fmla="*/ 108 w 253"/>
              <a:gd name="T9" fmla="*/ 0 h 320"/>
              <a:gd name="T10" fmla="*/ 171 w 253"/>
              <a:gd name="T11" fmla="*/ 4 h 320"/>
              <a:gd name="T12" fmla="*/ 198 w 253"/>
              <a:gd name="T13" fmla="*/ 49 h 320"/>
              <a:gd name="T14" fmla="*/ 186 w 253"/>
              <a:gd name="T15" fmla="*/ 115 h 320"/>
              <a:gd name="T16" fmla="*/ 241 w 253"/>
              <a:gd name="T17" fmla="*/ 213 h 320"/>
              <a:gd name="T18" fmla="*/ 253 w 253"/>
              <a:gd name="T19" fmla="*/ 267 h 320"/>
              <a:gd name="T20" fmla="*/ 225 w 253"/>
              <a:gd name="T21" fmla="*/ 273 h 320"/>
              <a:gd name="T22" fmla="*/ 196 w 253"/>
              <a:gd name="T23" fmla="*/ 320 h 320"/>
              <a:gd name="T24" fmla="*/ 90 w 253"/>
              <a:gd name="T25" fmla="*/ 309 h 320"/>
              <a:gd name="T26" fmla="*/ 0 w 253"/>
              <a:gd name="T27" fmla="*/ 104 h 320"/>
              <a:gd name="T28" fmla="*/ 6 w 253"/>
              <a:gd name="T29" fmla="*/ 89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53" h="320">
                <a:moveTo>
                  <a:pt x="6" y="89"/>
                </a:moveTo>
                <a:lnTo>
                  <a:pt x="9" y="75"/>
                </a:lnTo>
                <a:lnTo>
                  <a:pt x="29" y="60"/>
                </a:lnTo>
                <a:lnTo>
                  <a:pt x="43" y="34"/>
                </a:lnTo>
                <a:lnTo>
                  <a:pt x="108" y="0"/>
                </a:lnTo>
                <a:lnTo>
                  <a:pt x="171" y="4"/>
                </a:lnTo>
                <a:lnTo>
                  <a:pt x="198" y="49"/>
                </a:lnTo>
                <a:lnTo>
                  <a:pt x="186" y="115"/>
                </a:lnTo>
                <a:lnTo>
                  <a:pt x="241" y="213"/>
                </a:lnTo>
                <a:lnTo>
                  <a:pt x="253" y="267"/>
                </a:lnTo>
                <a:lnTo>
                  <a:pt x="225" y="273"/>
                </a:lnTo>
                <a:lnTo>
                  <a:pt x="196" y="320"/>
                </a:lnTo>
                <a:lnTo>
                  <a:pt x="90" y="309"/>
                </a:lnTo>
                <a:lnTo>
                  <a:pt x="0" y="104"/>
                </a:lnTo>
                <a:lnTo>
                  <a:pt x="6" y="8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5" name="Freeform 151"/>
          <p:cNvSpPr>
            <a:spLocks/>
          </p:cNvSpPr>
          <p:nvPr>
            <p:custDataLst>
              <p:tags r:id="rId71"/>
            </p:custDataLst>
          </p:nvPr>
        </p:nvSpPr>
        <p:spPr bwMode="gray">
          <a:xfrm>
            <a:off x="3775739" y="3562897"/>
            <a:ext cx="322622" cy="183308"/>
          </a:xfrm>
          <a:custGeom>
            <a:avLst/>
            <a:gdLst>
              <a:gd name="T0" fmla="*/ 28 w 339"/>
              <a:gd name="T1" fmla="*/ 88 h 205"/>
              <a:gd name="T2" fmla="*/ 57 w 339"/>
              <a:gd name="T3" fmla="*/ 59 h 205"/>
              <a:gd name="T4" fmla="*/ 127 w 339"/>
              <a:gd name="T5" fmla="*/ 48 h 205"/>
              <a:gd name="T6" fmla="*/ 184 w 339"/>
              <a:gd name="T7" fmla="*/ 0 h 205"/>
              <a:gd name="T8" fmla="*/ 184 w 339"/>
              <a:gd name="T9" fmla="*/ 3 h 205"/>
              <a:gd name="T10" fmla="*/ 263 w 339"/>
              <a:gd name="T11" fmla="*/ 15 h 205"/>
              <a:gd name="T12" fmla="*/ 339 w 339"/>
              <a:gd name="T13" fmla="*/ 190 h 205"/>
              <a:gd name="T14" fmla="*/ 308 w 339"/>
              <a:gd name="T15" fmla="*/ 197 h 205"/>
              <a:gd name="T16" fmla="*/ 308 w 339"/>
              <a:gd name="T17" fmla="*/ 205 h 205"/>
              <a:gd name="T18" fmla="*/ 293 w 339"/>
              <a:gd name="T19" fmla="*/ 205 h 205"/>
              <a:gd name="T20" fmla="*/ 278 w 339"/>
              <a:gd name="T21" fmla="*/ 193 h 205"/>
              <a:gd name="T22" fmla="*/ 248 w 339"/>
              <a:gd name="T23" fmla="*/ 194 h 205"/>
              <a:gd name="T24" fmla="*/ 195 w 339"/>
              <a:gd name="T25" fmla="*/ 186 h 205"/>
              <a:gd name="T26" fmla="*/ 147 w 339"/>
              <a:gd name="T27" fmla="*/ 191 h 205"/>
              <a:gd name="T28" fmla="*/ 39 w 339"/>
              <a:gd name="T29" fmla="*/ 131 h 205"/>
              <a:gd name="T30" fmla="*/ 39 w 339"/>
              <a:gd name="T31" fmla="*/ 122 h 205"/>
              <a:gd name="T32" fmla="*/ 0 w 339"/>
              <a:gd name="T33" fmla="*/ 114 h 205"/>
              <a:gd name="T34" fmla="*/ 28 w 339"/>
              <a:gd name="T35" fmla="*/ 88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9" h="205">
                <a:moveTo>
                  <a:pt x="28" y="88"/>
                </a:moveTo>
                <a:lnTo>
                  <a:pt x="57" y="59"/>
                </a:lnTo>
                <a:lnTo>
                  <a:pt x="127" y="48"/>
                </a:lnTo>
                <a:lnTo>
                  <a:pt x="184" y="0"/>
                </a:lnTo>
                <a:lnTo>
                  <a:pt x="184" y="3"/>
                </a:lnTo>
                <a:lnTo>
                  <a:pt x="263" y="15"/>
                </a:lnTo>
                <a:lnTo>
                  <a:pt x="339" y="190"/>
                </a:lnTo>
                <a:lnTo>
                  <a:pt x="308" y="197"/>
                </a:lnTo>
                <a:lnTo>
                  <a:pt x="308" y="205"/>
                </a:lnTo>
                <a:lnTo>
                  <a:pt x="293" y="205"/>
                </a:lnTo>
                <a:lnTo>
                  <a:pt x="278" y="193"/>
                </a:lnTo>
                <a:lnTo>
                  <a:pt x="248" y="194"/>
                </a:lnTo>
                <a:lnTo>
                  <a:pt x="195" y="186"/>
                </a:lnTo>
                <a:lnTo>
                  <a:pt x="147" y="191"/>
                </a:lnTo>
                <a:lnTo>
                  <a:pt x="39" y="131"/>
                </a:lnTo>
                <a:lnTo>
                  <a:pt x="39" y="122"/>
                </a:lnTo>
                <a:lnTo>
                  <a:pt x="0" y="114"/>
                </a:lnTo>
                <a:lnTo>
                  <a:pt x="28" y="8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6" name="Freeform 152"/>
          <p:cNvSpPr>
            <a:spLocks/>
          </p:cNvSpPr>
          <p:nvPr>
            <p:custDataLst>
              <p:tags r:id="rId72"/>
            </p:custDataLst>
          </p:nvPr>
        </p:nvSpPr>
        <p:spPr bwMode="gray">
          <a:xfrm>
            <a:off x="3656779" y="3458276"/>
            <a:ext cx="294071" cy="211922"/>
          </a:xfrm>
          <a:custGeom>
            <a:avLst/>
            <a:gdLst>
              <a:gd name="T0" fmla="*/ 15 w 309"/>
              <a:gd name="T1" fmla="*/ 139 h 237"/>
              <a:gd name="T2" fmla="*/ 29 w 309"/>
              <a:gd name="T3" fmla="*/ 132 h 237"/>
              <a:gd name="T4" fmla="*/ 58 w 309"/>
              <a:gd name="T5" fmla="*/ 105 h 237"/>
              <a:gd name="T6" fmla="*/ 70 w 309"/>
              <a:gd name="T7" fmla="*/ 80 h 237"/>
              <a:gd name="T8" fmla="*/ 109 w 309"/>
              <a:gd name="T9" fmla="*/ 58 h 237"/>
              <a:gd name="T10" fmla="*/ 124 w 309"/>
              <a:gd name="T11" fmla="*/ 59 h 237"/>
              <a:gd name="T12" fmla="*/ 139 w 309"/>
              <a:gd name="T13" fmla="*/ 52 h 237"/>
              <a:gd name="T14" fmla="*/ 168 w 309"/>
              <a:gd name="T15" fmla="*/ 10 h 237"/>
              <a:gd name="T16" fmla="*/ 183 w 309"/>
              <a:gd name="T17" fmla="*/ 0 h 237"/>
              <a:gd name="T18" fmla="*/ 301 w 309"/>
              <a:gd name="T19" fmla="*/ 11 h 237"/>
              <a:gd name="T20" fmla="*/ 309 w 309"/>
              <a:gd name="T21" fmla="*/ 117 h 237"/>
              <a:gd name="T22" fmla="*/ 249 w 309"/>
              <a:gd name="T23" fmla="*/ 165 h 237"/>
              <a:gd name="T24" fmla="*/ 182 w 309"/>
              <a:gd name="T25" fmla="*/ 176 h 237"/>
              <a:gd name="T26" fmla="*/ 120 w 309"/>
              <a:gd name="T27" fmla="*/ 237 h 237"/>
              <a:gd name="T28" fmla="*/ 96 w 309"/>
              <a:gd name="T29" fmla="*/ 234 h 237"/>
              <a:gd name="T30" fmla="*/ 19 w 309"/>
              <a:gd name="T31" fmla="*/ 202 h 237"/>
              <a:gd name="T32" fmla="*/ 17 w 309"/>
              <a:gd name="T33" fmla="*/ 180 h 237"/>
              <a:gd name="T34" fmla="*/ 0 w 309"/>
              <a:gd name="T35" fmla="*/ 154 h 237"/>
              <a:gd name="T36" fmla="*/ 0 w 309"/>
              <a:gd name="T37" fmla="*/ 145 h 237"/>
              <a:gd name="T38" fmla="*/ 15 w 309"/>
              <a:gd name="T39" fmla="*/ 139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309" h="237">
                <a:moveTo>
                  <a:pt x="15" y="139"/>
                </a:moveTo>
                <a:lnTo>
                  <a:pt x="29" y="132"/>
                </a:lnTo>
                <a:lnTo>
                  <a:pt x="58" y="105"/>
                </a:lnTo>
                <a:lnTo>
                  <a:pt x="70" y="80"/>
                </a:lnTo>
                <a:lnTo>
                  <a:pt x="109" y="58"/>
                </a:lnTo>
                <a:lnTo>
                  <a:pt x="124" y="59"/>
                </a:lnTo>
                <a:lnTo>
                  <a:pt x="139" y="52"/>
                </a:lnTo>
                <a:lnTo>
                  <a:pt x="168" y="10"/>
                </a:lnTo>
                <a:lnTo>
                  <a:pt x="183" y="0"/>
                </a:lnTo>
                <a:lnTo>
                  <a:pt x="301" y="11"/>
                </a:lnTo>
                <a:lnTo>
                  <a:pt x="309" y="117"/>
                </a:lnTo>
                <a:lnTo>
                  <a:pt x="249" y="165"/>
                </a:lnTo>
                <a:lnTo>
                  <a:pt x="182" y="176"/>
                </a:lnTo>
                <a:lnTo>
                  <a:pt x="120" y="237"/>
                </a:lnTo>
                <a:lnTo>
                  <a:pt x="96" y="234"/>
                </a:lnTo>
                <a:lnTo>
                  <a:pt x="19" y="202"/>
                </a:lnTo>
                <a:lnTo>
                  <a:pt x="17" y="180"/>
                </a:lnTo>
                <a:lnTo>
                  <a:pt x="0" y="154"/>
                </a:lnTo>
                <a:lnTo>
                  <a:pt x="0" y="145"/>
                </a:lnTo>
                <a:lnTo>
                  <a:pt x="15" y="13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7" name="Freeform 153"/>
          <p:cNvSpPr>
            <a:spLocks/>
          </p:cNvSpPr>
          <p:nvPr>
            <p:custDataLst>
              <p:tags r:id="rId73"/>
            </p:custDataLst>
          </p:nvPr>
        </p:nvSpPr>
        <p:spPr bwMode="gray">
          <a:xfrm>
            <a:off x="3447408" y="3232047"/>
            <a:ext cx="495828" cy="409537"/>
          </a:xfrm>
          <a:custGeom>
            <a:avLst/>
            <a:gdLst>
              <a:gd name="T0" fmla="*/ 5 w 521"/>
              <a:gd name="T1" fmla="*/ 308 h 458"/>
              <a:gd name="T2" fmla="*/ 12 w 521"/>
              <a:gd name="T3" fmla="*/ 298 h 458"/>
              <a:gd name="T4" fmla="*/ 34 w 521"/>
              <a:gd name="T5" fmla="*/ 290 h 458"/>
              <a:gd name="T6" fmla="*/ 58 w 521"/>
              <a:gd name="T7" fmla="*/ 267 h 458"/>
              <a:gd name="T8" fmla="*/ 98 w 521"/>
              <a:gd name="T9" fmla="*/ 252 h 458"/>
              <a:gd name="T10" fmla="*/ 121 w 521"/>
              <a:gd name="T11" fmla="*/ 257 h 458"/>
              <a:gd name="T12" fmla="*/ 159 w 521"/>
              <a:gd name="T13" fmla="*/ 254 h 458"/>
              <a:gd name="T14" fmla="*/ 168 w 521"/>
              <a:gd name="T15" fmla="*/ 231 h 458"/>
              <a:gd name="T16" fmla="*/ 142 w 521"/>
              <a:gd name="T17" fmla="*/ 184 h 458"/>
              <a:gd name="T18" fmla="*/ 146 w 521"/>
              <a:gd name="T19" fmla="*/ 136 h 458"/>
              <a:gd name="T20" fmla="*/ 170 w 521"/>
              <a:gd name="T21" fmla="*/ 106 h 458"/>
              <a:gd name="T22" fmla="*/ 169 w 521"/>
              <a:gd name="T23" fmla="*/ 80 h 458"/>
              <a:gd name="T24" fmla="*/ 300 w 521"/>
              <a:gd name="T25" fmla="*/ 28 h 458"/>
              <a:gd name="T26" fmla="*/ 344 w 521"/>
              <a:gd name="T27" fmla="*/ 0 h 458"/>
              <a:gd name="T28" fmla="*/ 382 w 521"/>
              <a:gd name="T29" fmla="*/ 73 h 458"/>
              <a:gd name="T30" fmla="*/ 516 w 521"/>
              <a:gd name="T31" fmla="*/ 175 h 458"/>
              <a:gd name="T32" fmla="*/ 521 w 521"/>
              <a:gd name="T33" fmla="*/ 264 h 458"/>
              <a:gd name="T34" fmla="*/ 403 w 521"/>
              <a:gd name="T35" fmla="*/ 253 h 458"/>
              <a:gd name="T36" fmla="*/ 388 w 521"/>
              <a:gd name="T37" fmla="*/ 263 h 458"/>
              <a:gd name="T38" fmla="*/ 359 w 521"/>
              <a:gd name="T39" fmla="*/ 305 h 458"/>
              <a:gd name="T40" fmla="*/ 344 w 521"/>
              <a:gd name="T41" fmla="*/ 312 h 458"/>
              <a:gd name="T42" fmla="*/ 329 w 521"/>
              <a:gd name="T43" fmla="*/ 311 h 458"/>
              <a:gd name="T44" fmla="*/ 290 w 521"/>
              <a:gd name="T45" fmla="*/ 333 h 458"/>
              <a:gd name="T46" fmla="*/ 278 w 521"/>
              <a:gd name="T47" fmla="*/ 358 h 458"/>
              <a:gd name="T48" fmla="*/ 249 w 521"/>
              <a:gd name="T49" fmla="*/ 385 h 458"/>
              <a:gd name="T50" fmla="*/ 220 w 521"/>
              <a:gd name="T51" fmla="*/ 398 h 458"/>
              <a:gd name="T52" fmla="*/ 201 w 521"/>
              <a:gd name="T53" fmla="*/ 388 h 458"/>
              <a:gd name="T54" fmla="*/ 184 w 521"/>
              <a:gd name="T55" fmla="*/ 396 h 458"/>
              <a:gd name="T56" fmla="*/ 161 w 521"/>
              <a:gd name="T57" fmla="*/ 398 h 458"/>
              <a:gd name="T58" fmla="*/ 157 w 521"/>
              <a:gd name="T59" fmla="*/ 411 h 458"/>
              <a:gd name="T60" fmla="*/ 142 w 521"/>
              <a:gd name="T61" fmla="*/ 431 h 458"/>
              <a:gd name="T62" fmla="*/ 131 w 521"/>
              <a:gd name="T63" fmla="*/ 437 h 458"/>
              <a:gd name="T64" fmla="*/ 100 w 521"/>
              <a:gd name="T65" fmla="*/ 442 h 458"/>
              <a:gd name="T66" fmla="*/ 70 w 521"/>
              <a:gd name="T67" fmla="*/ 458 h 458"/>
              <a:gd name="T68" fmla="*/ 43 w 521"/>
              <a:gd name="T69" fmla="*/ 432 h 458"/>
              <a:gd name="T70" fmla="*/ 40 w 521"/>
              <a:gd name="T71" fmla="*/ 415 h 458"/>
              <a:gd name="T72" fmla="*/ 48 w 521"/>
              <a:gd name="T73" fmla="*/ 391 h 458"/>
              <a:gd name="T74" fmla="*/ 0 w 521"/>
              <a:gd name="T75" fmla="*/ 316 h 458"/>
              <a:gd name="T76" fmla="*/ 5 w 521"/>
              <a:gd name="T77" fmla="*/ 308 h 4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21" h="458">
                <a:moveTo>
                  <a:pt x="5" y="308"/>
                </a:moveTo>
                <a:lnTo>
                  <a:pt x="12" y="298"/>
                </a:lnTo>
                <a:lnTo>
                  <a:pt x="34" y="290"/>
                </a:lnTo>
                <a:lnTo>
                  <a:pt x="58" y="267"/>
                </a:lnTo>
                <a:lnTo>
                  <a:pt x="98" y="252"/>
                </a:lnTo>
                <a:lnTo>
                  <a:pt x="121" y="257"/>
                </a:lnTo>
                <a:lnTo>
                  <a:pt x="159" y="254"/>
                </a:lnTo>
                <a:lnTo>
                  <a:pt x="168" y="231"/>
                </a:lnTo>
                <a:lnTo>
                  <a:pt x="142" y="184"/>
                </a:lnTo>
                <a:lnTo>
                  <a:pt x="146" y="136"/>
                </a:lnTo>
                <a:lnTo>
                  <a:pt x="170" y="106"/>
                </a:lnTo>
                <a:lnTo>
                  <a:pt x="169" y="80"/>
                </a:lnTo>
                <a:lnTo>
                  <a:pt x="300" y="28"/>
                </a:lnTo>
                <a:lnTo>
                  <a:pt x="344" y="0"/>
                </a:lnTo>
                <a:lnTo>
                  <a:pt x="382" y="73"/>
                </a:lnTo>
                <a:lnTo>
                  <a:pt x="516" y="175"/>
                </a:lnTo>
                <a:lnTo>
                  <a:pt x="521" y="264"/>
                </a:lnTo>
                <a:lnTo>
                  <a:pt x="403" y="253"/>
                </a:lnTo>
                <a:lnTo>
                  <a:pt x="388" y="263"/>
                </a:lnTo>
                <a:lnTo>
                  <a:pt x="359" y="305"/>
                </a:lnTo>
                <a:lnTo>
                  <a:pt x="344" y="312"/>
                </a:lnTo>
                <a:lnTo>
                  <a:pt x="329" y="311"/>
                </a:lnTo>
                <a:lnTo>
                  <a:pt x="290" y="333"/>
                </a:lnTo>
                <a:lnTo>
                  <a:pt x="278" y="358"/>
                </a:lnTo>
                <a:lnTo>
                  <a:pt x="249" y="385"/>
                </a:lnTo>
                <a:lnTo>
                  <a:pt x="220" y="398"/>
                </a:lnTo>
                <a:lnTo>
                  <a:pt x="201" y="388"/>
                </a:lnTo>
                <a:lnTo>
                  <a:pt x="184" y="396"/>
                </a:lnTo>
                <a:lnTo>
                  <a:pt x="161" y="398"/>
                </a:lnTo>
                <a:lnTo>
                  <a:pt x="157" y="411"/>
                </a:lnTo>
                <a:lnTo>
                  <a:pt x="142" y="431"/>
                </a:lnTo>
                <a:lnTo>
                  <a:pt x="131" y="437"/>
                </a:lnTo>
                <a:lnTo>
                  <a:pt x="100" y="442"/>
                </a:lnTo>
                <a:lnTo>
                  <a:pt x="70" y="458"/>
                </a:lnTo>
                <a:lnTo>
                  <a:pt x="43" y="432"/>
                </a:lnTo>
                <a:lnTo>
                  <a:pt x="40" y="415"/>
                </a:lnTo>
                <a:lnTo>
                  <a:pt x="48" y="391"/>
                </a:lnTo>
                <a:lnTo>
                  <a:pt x="0" y="316"/>
                </a:lnTo>
                <a:lnTo>
                  <a:pt x="5" y="30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8" name="Freeform 154"/>
          <p:cNvSpPr>
            <a:spLocks/>
          </p:cNvSpPr>
          <p:nvPr>
            <p:custDataLst>
              <p:tags r:id="rId74"/>
            </p:custDataLst>
          </p:nvPr>
        </p:nvSpPr>
        <p:spPr bwMode="gray">
          <a:xfrm>
            <a:off x="3440747" y="3191809"/>
            <a:ext cx="334042" cy="322802"/>
          </a:xfrm>
          <a:custGeom>
            <a:avLst/>
            <a:gdLst>
              <a:gd name="T0" fmla="*/ 6 w 351"/>
              <a:gd name="T1" fmla="*/ 343 h 361"/>
              <a:gd name="T2" fmla="*/ 10 w 351"/>
              <a:gd name="T3" fmla="*/ 335 h 361"/>
              <a:gd name="T4" fmla="*/ 6 w 351"/>
              <a:gd name="T5" fmla="*/ 327 h 361"/>
              <a:gd name="T6" fmla="*/ 6 w 351"/>
              <a:gd name="T7" fmla="*/ 319 h 361"/>
              <a:gd name="T8" fmla="*/ 17 w 351"/>
              <a:gd name="T9" fmla="*/ 309 h 361"/>
              <a:gd name="T10" fmla="*/ 19 w 351"/>
              <a:gd name="T11" fmla="*/ 253 h 361"/>
              <a:gd name="T12" fmla="*/ 26 w 351"/>
              <a:gd name="T13" fmla="*/ 240 h 361"/>
              <a:gd name="T14" fmla="*/ 12 w 351"/>
              <a:gd name="T15" fmla="*/ 213 h 361"/>
              <a:gd name="T16" fmla="*/ 26 w 351"/>
              <a:gd name="T17" fmla="*/ 200 h 361"/>
              <a:gd name="T18" fmla="*/ 58 w 351"/>
              <a:gd name="T19" fmla="*/ 189 h 361"/>
              <a:gd name="T20" fmla="*/ 62 w 351"/>
              <a:gd name="T21" fmla="*/ 169 h 361"/>
              <a:gd name="T22" fmla="*/ 74 w 351"/>
              <a:gd name="T23" fmla="*/ 140 h 361"/>
              <a:gd name="T24" fmla="*/ 89 w 351"/>
              <a:gd name="T25" fmla="*/ 130 h 361"/>
              <a:gd name="T26" fmla="*/ 92 w 351"/>
              <a:gd name="T27" fmla="*/ 101 h 361"/>
              <a:gd name="T28" fmla="*/ 106 w 351"/>
              <a:gd name="T29" fmla="*/ 90 h 361"/>
              <a:gd name="T30" fmla="*/ 107 w 351"/>
              <a:gd name="T31" fmla="*/ 92 h 361"/>
              <a:gd name="T32" fmla="*/ 132 w 351"/>
              <a:gd name="T33" fmla="*/ 85 h 361"/>
              <a:gd name="T34" fmla="*/ 131 w 351"/>
              <a:gd name="T35" fmla="*/ 73 h 361"/>
              <a:gd name="T36" fmla="*/ 147 w 351"/>
              <a:gd name="T37" fmla="*/ 57 h 361"/>
              <a:gd name="T38" fmla="*/ 150 w 351"/>
              <a:gd name="T39" fmla="*/ 44 h 361"/>
              <a:gd name="T40" fmla="*/ 162 w 351"/>
              <a:gd name="T41" fmla="*/ 37 h 361"/>
              <a:gd name="T42" fmla="*/ 158 w 351"/>
              <a:gd name="T43" fmla="*/ 16 h 361"/>
              <a:gd name="T44" fmla="*/ 168 w 351"/>
              <a:gd name="T45" fmla="*/ 9 h 361"/>
              <a:gd name="T46" fmla="*/ 188 w 351"/>
              <a:gd name="T47" fmla="*/ 4 h 361"/>
              <a:gd name="T48" fmla="*/ 327 w 351"/>
              <a:gd name="T49" fmla="*/ 0 h 361"/>
              <a:gd name="T50" fmla="*/ 351 w 351"/>
              <a:gd name="T51" fmla="*/ 45 h 361"/>
              <a:gd name="T52" fmla="*/ 307 w 351"/>
              <a:gd name="T53" fmla="*/ 73 h 361"/>
              <a:gd name="T54" fmla="*/ 176 w 351"/>
              <a:gd name="T55" fmla="*/ 125 h 361"/>
              <a:gd name="T56" fmla="*/ 177 w 351"/>
              <a:gd name="T57" fmla="*/ 151 h 361"/>
              <a:gd name="T58" fmla="*/ 153 w 351"/>
              <a:gd name="T59" fmla="*/ 181 h 361"/>
              <a:gd name="T60" fmla="*/ 149 w 351"/>
              <a:gd name="T61" fmla="*/ 229 h 361"/>
              <a:gd name="T62" fmla="*/ 175 w 351"/>
              <a:gd name="T63" fmla="*/ 276 h 361"/>
              <a:gd name="T64" fmla="*/ 166 w 351"/>
              <a:gd name="T65" fmla="*/ 299 h 361"/>
              <a:gd name="T66" fmla="*/ 128 w 351"/>
              <a:gd name="T67" fmla="*/ 302 h 361"/>
              <a:gd name="T68" fmla="*/ 105 w 351"/>
              <a:gd name="T69" fmla="*/ 297 h 361"/>
              <a:gd name="T70" fmla="*/ 65 w 351"/>
              <a:gd name="T71" fmla="*/ 312 h 361"/>
              <a:gd name="T72" fmla="*/ 41 w 351"/>
              <a:gd name="T73" fmla="*/ 335 h 361"/>
              <a:gd name="T74" fmla="*/ 19 w 351"/>
              <a:gd name="T75" fmla="*/ 343 h 361"/>
              <a:gd name="T76" fmla="*/ 7 w 351"/>
              <a:gd name="T77" fmla="*/ 361 h 361"/>
              <a:gd name="T78" fmla="*/ 0 w 351"/>
              <a:gd name="T79" fmla="*/ 352 h 361"/>
              <a:gd name="T80" fmla="*/ 6 w 351"/>
              <a:gd name="T81" fmla="*/ 343 h 3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351" h="361">
                <a:moveTo>
                  <a:pt x="6" y="343"/>
                </a:moveTo>
                <a:lnTo>
                  <a:pt x="10" y="335"/>
                </a:lnTo>
                <a:lnTo>
                  <a:pt x="6" y="327"/>
                </a:lnTo>
                <a:lnTo>
                  <a:pt x="6" y="319"/>
                </a:lnTo>
                <a:lnTo>
                  <a:pt x="17" y="309"/>
                </a:lnTo>
                <a:lnTo>
                  <a:pt x="19" y="253"/>
                </a:lnTo>
                <a:lnTo>
                  <a:pt x="26" y="240"/>
                </a:lnTo>
                <a:lnTo>
                  <a:pt x="12" y="213"/>
                </a:lnTo>
                <a:lnTo>
                  <a:pt x="26" y="200"/>
                </a:lnTo>
                <a:lnTo>
                  <a:pt x="58" y="189"/>
                </a:lnTo>
                <a:lnTo>
                  <a:pt x="62" y="169"/>
                </a:lnTo>
                <a:lnTo>
                  <a:pt x="74" y="140"/>
                </a:lnTo>
                <a:lnTo>
                  <a:pt x="89" y="130"/>
                </a:lnTo>
                <a:lnTo>
                  <a:pt x="92" y="101"/>
                </a:lnTo>
                <a:lnTo>
                  <a:pt x="106" y="90"/>
                </a:lnTo>
                <a:lnTo>
                  <a:pt x="107" y="92"/>
                </a:lnTo>
                <a:lnTo>
                  <a:pt x="132" y="85"/>
                </a:lnTo>
                <a:lnTo>
                  <a:pt x="131" y="73"/>
                </a:lnTo>
                <a:lnTo>
                  <a:pt x="147" y="57"/>
                </a:lnTo>
                <a:lnTo>
                  <a:pt x="150" y="44"/>
                </a:lnTo>
                <a:lnTo>
                  <a:pt x="162" y="37"/>
                </a:lnTo>
                <a:lnTo>
                  <a:pt x="158" y="16"/>
                </a:lnTo>
                <a:lnTo>
                  <a:pt x="168" y="9"/>
                </a:lnTo>
                <a:lnTo>
                  <a:pt x="188" y="4"/>
                </a:lnTo>
                <a:lnTo>
                  <a:pt x="327" y="0"/>
                </a:lnTo>
                <a:lnTo>
                  <a:pt x="351" y="45"/>
                </a:lnTo>
                <a:lnTo>
                  <a:pt x="307" y="73"/>
                </a:lnTo>
                <a:lnTo>
                  <a:pt x="176" y="125"/>
                </a:lnTo>
                <a:lnTo>
                  <a:pt x="177" y="151"/>
                </a:lnTo>
                <a:lnTo>
                  <a:pt x="153" y="181"/>
                </a:lnTo>
                <a:lnTo>
                  <a:pt x="149" y="229"/>
                </a:lnTo>
                <a:lnTo>
                  <a:pt x="175" y="276"/>
                </a:lnTo>
                <a:lnTo>
                  <a:pt x="166" y="299"/>
                </a:lnTo>
                <a:lnTo>
                  <a:pt x="128" y="302"/>
                </a:lnTo>
                <a:lnTo>
                  <a:pt x="105" y="297"/>
                </a:lnTo>
                <a:lnTo>
                  <a:pt x="65" y="312"/>
                </a:lnTo>
                <a:lnTo>
                  <a:pt x="41" y="335"/>
                </a:lnTo>
                <a:lnTo>
                  <a:pt x="19" y="343"/>
                </a:lnTo>
                <a:lnTo>
                  <a:pt x="7" y="361"/>
                </a:lnTo>
                <a:lnTo>
                  <a:pt x="0" y="352"/>
                </a:lnTo>
                <a:lnTo>
                  <a:pt x="6" y="343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09" name="Freeform 155"/>
          <p:cNvSpPr>
            <a:spLocks/>
          </p:cNvSpPr>
          <p:nvPr>
            <p:custDataLst>
              <p:tags r:id="rId75"/>
            </p:custDataLst>
          </p:nvPr>
        </p:nvSpPr>
        <p:spPr bwMode="gray">
          <a:xfrm>
            <a:off x="3814759" y="3229365"/>
            <a:ext cx="341655" cy="194933"/>
          </a:xfrm>
          <a:custGeom>
            <a:avLst/>
            <a:gdLst>
              <a:gd name="T0" fmla="*/ 50 w 359"/>
              <a:gd name="T1" fmla="*/ 68 h 218"/>
              <a:gd name="T2" fmla="*/ 101 w 359"/>
              <a:gd name="T3" fmla="*/ 58 h 218"/>
              <a:gd name="T4" fmla="*/ 110 w 359"/>
              <a:gd name="T5" fmla="*/ 40 h 218"/>
              <a:gd name="T6" fmla="*/ 112 w 359"/>
              <a:gd name="T7" fmla="*/ 15 h 218"/>
              <a:gd name="T8" fmla="*/ 135 w 359"/>
              <a:gd name="T9" fmla="*/ 17 h 218"/>
              <a:gd name="T10" fmla="*/ 146 w 359"/>
              <a:gd name="T11" fmla="*/ 13 h 218"/>
              <a:gd name="T12" fmla="*/ 159 w 359"/>
              <a:gd name="T13" fmla="*/ 20 h 218"/>
              <a:gd name="T14" fmla="*/ 182 w 359"/>
              <a:gd name="T15" fmla="*/ 13 h 218"/>
              <a:gd name="T16" fmla="*/ 186 w 359"/>
              <a:gd name="T17" fmla="*/ 0 h 218"/>
              <a:gd name="T18" fmla="*/ 218 w 359"/>
              <a:gd name="T19" fmla="*/ 25 h 218"/>
              <a:gd name="T20" fmla="*/ 244 w 359"/>
              <a:gd name="T21" fmla="*/ 25 h 218"/>
              <a:gd name="T22" fmla="*/ 255 w 359"/>
              <a:gd name="T23" fmla="*/ 4 h 218"/>
              <a:gd name="T24" fmla="*/ 278 w 359"/>
              <a:gd name="T25" fmla="*/ 14 h 218"/>
              <a:gd name="T26" fmla="*/ 298 w 359"/>
              <a:gd name="T27" fmla="*/ 15 h 218"/>
              <a:gd name="T28" fmla="*/ 324 w 359"/>
              <a:gd name="T29" fmla="*/ 0 h 218"/>
              <a:gd name="T30" fmla="*/ 339 w 359"/>
              <a:gd name="T31" fmla="*/ 61 h 218"/>
              <a:gd name="T32" fmla="*/ 329 w 359"/>
              <a:gd name="T33" fmla="*/ 72 h 218"/>
              <a:gd name="T34" fmla="*/ 359 w 359"/>
              <a:gd name="T35" fmla="*/ 99 h 218"/>
              <a:gd name="T36" fmla="*/ 347 w 359"/>
              <a:gd name="T37" fmla="*/ 121 h 218"/>
              <a:gd name="T38" fmla="*/ 339 w 359"/>
              <a:gd name="T39" fmla="*/ 124 h 218"/>
              <a:gd name="T40" fmla="*/ 317 w 359"/>
              <a:gd name="T41" fmla="*/ 147 h 218"/>
              <a:gd name="T42" fmla="*/ 291 w 359"/>
              <a:gd name="T43" fmla="*/ 163 h 218"/>
              <a:gd name="T44" fmla="*/ 274 w 359"/>
              <a:gd name="T45" fmla="*/ 158 h 218"/>
              <a:gd name="T46" fmla="*/ 251 w 359"/>
              <a:gd name="T47" fmla="*/ 165 h 218"/>
              <a:gd name="T48" fmla="*/ 242 w 359"/>
              <a:gd name="T49" fmla="*/ 185 h 218"/>
              <a:gd name="T50" fmla="*/ 197 w 359"/>
              <a:gd name="T51" fmla="*/ 201 h 218"/>
              <a:gd name="T52" fmla="*/ 168 w 359"/>
              <a:gd name="T53" fmla="*/ 194 h 218"/>
              <a:gd name="T54" fmla="*/ 153 w 359"/>
              <a:gd name="T55" fmla="*/ 194 h 218"/>
              <a:gd name="T56" fmla="*/ 132 w 359"/>
              <a:gd name="T57" fmla="*/ 218 h 218"/>
              <a:gd name="T58" fmla="*/ 130 w 359"/>
              <a:gd name="T59" fmla="*/ 178 h 218"/>
              <a:gd name="T60" fmla="*/ 0 w 359"/>
              <a:gd name="T61" fmla="*/ 79 h 218"/>
              <a:gd name="T62" fmla="*/ 50 w 359"/>
              <a:gd name="T63" fmla="*/ 68 h 2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59" h="218">
                <a:moveTo>
                  <a:pt x="50" y="68"/>
                </a:moveTo>
                <a:lnTo>
                  <a:pt x="101" y="58"/>
                </a:lnTo>
                <a:lnTo>
                  <a:pt x="110" y="40"/>
                </a:lnTo>
                <a:lnTo>
                  <a:pt x="112" y="15"/>
                </a:lnTo>
                <a:lnTo>
                  <a:pt x="135" y="17"/>
                </a:lnTo>
                <a:lnTo>
                  <a:pt x="146" y="13"/>
                </a:lnTo>
                <a:lnTo>
                  <a:pt x="159" y="20"/>
                </a:lnTo>
                <a:lnTo>
                  <a:pt x="182" y="13"/>
                </a:lnTo>
                <a:lnTo>
                  <a:pt x="186" y="0"/>
                </a:lnTo>
                <a:lnTo>
                  <a:pt x="218" y="25"/>
                </a:lnTo>
                <a:lnTo>
                  <a:pt x="244" y="25"/>
                </a:lnTo>
                <a:lnTo>
                  <a:pt x="255" y="4"/>
                </a:lnTo>
                <a:lnTo>
                  <a:pt x="278" y="14"/>
                </a:lnTo>
                <a:lnTo>
                  <a:pt x="298" y="15"/>
                </a:lnTo>
                <a:lnTo>
                  <a:pt x="324" y="0"/>
                </a:lnTo>
                <a:lnTo>
                  <a:pt x="339" y="61"/>
                </a:lnTo>
                <a:lnTo>
                  <a:pt x="329" y="72"/>
                </a:lnTo>
                <a:lnTo>
                  <a:pt x="359" y="99"/>
                </a:lnTo>
                <a:lnTo>
                  <a:pt x="347" y="121"/>
                </a:lnTo>
                <a:lnTo>
                  <a:pt x="339" y="124"/>
                </a:lnTo>
                <a:lnTo>
                  <a:pt x="317" y="147"/>
                </a:lnTo>
                <a:lnTo>
                  <a:pt x="291" y="163"/>
                </a:lnTo>
                <a:lnTo>
                  <a:pt x="274" y="158"/>
                </a:lnTo>
                <a:lnTo>
                  <a:pt x="251" y="165"/>
                </a:lnTo>
                <a:lnTo>
                  <a:pt x="242" y="185"/>
                </a:lnTo>
                <a:lnTo>
                  <a:pt x="197" y="201"/>
                </a:lnTo>
                <a:lnTo>
                  <a:pt x="168" y="194"/>
                </a:lnTo>
                <a:lnTo>
                  <a:pt x="153" y="194"/>
                </a:lnTo>
                <a:lnTo>
                  <a:pt x="132" y="218"/>
                </a:lnTo>
                <a:lnTo>
                  <a:pt x="130" y="178"/>
                </a:lnTo>
                <a:lnTo>
                  <a:pt x="0" y="79"/>
                </a:lnTo>
                <a:lnTo>
                  <a:pt x="50" y="68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0" name="Freeform 156"/>
          <p:cNvSpPr>
            <a:spLocks/>
          </p:cNvSpPr>
          <p:nvPr>
            <p:custDataLst>
              <p:tags r:id="rId76"/>
            </p:custDataLst>
          </p:nvPr>
        </p:nvSpPr>
        <p:spPr bwMode="gray">
          <a:xfrm>
            <a:off x="3940381" y="3337561"/>
            <a:ext cx="228405" cy="271833"/>
          </a:xfrm>
          <a:custGeom>
            <a:avLst/>
            <a:gdLst>
              <a:gd name="T0" fmla="*/ 11 w 240"/>
              <a:gd name="T1" fmla="*/ 84 h 304"/>
              <a:gd name="T2" fmla="*/ 21 w 240"/>
              <a:gd name="T3" fmla="*/ 73 h 304"/>
              <a:gd name="T4" fmla="*/ 36 w 240"/>
              <a:gd name="T5" fmla="*/ 73 h 304"/>
              <a:gd name="T6" fmla="*/ 65 w 240"/>
              <a:gd name="T7" fmla="*/ 80 h 304"/>
              <a:gd name="T8" fmla="*/ 110 w 240"/>
              <a:gd name="T9" fmla="*/ 64 h 304"/>
              <a:gd name="T10" fmla="*/ 119 w 240"/>
              <a:gd name="T11" fmla="*/ 44 h 304"/>
              <a:gd name="T12" fmla="*/ 142 w 240"/>
              <a:gd name="T13" fmla="*/ 37 h 304"/>
              <a:gd name="T14" fmla="*/ 159 w 240"/>
              <a:gd name="T15" fmla="*/ 42 h 304"/>
              <a:gd name="T16" fmla="*/ 185 w 240"/>
              <a:gd name="T17" fmla="*/ 26 h 304"/>
              <a:gd name="T18" fmla="*/ 207 w 240"/>
              <a:gd name="T19" fmla="*/ 3 h 304"/>
              <a:gd name="T20" fmla="*/ 215 w 240"/>
              <a:gd name="T21" fmla="*/ 0 h 304"/>
              <a:gd name="T22" fmla="*/ 214 w 240"/>
              <a:gd name="T23" fmla="*/ 3 h 304"/>
              <a:gd name="T24" fmla="*/ 240 w 240"/>
              <a:gd name="T25" fmla="*/ 29 h 304"/>
              <a:gd name="T26" fmla="*/ 188 w 240"/>
              <a:gd name="T27" fmla="*/ 48 h 304"/>
              <a:gd name="T28" fmla="*/ 167 w 240"/>
              <a:gd name="T29" fmla="*/ 46 h 304"/>
              <a:gd name="T30" fmla="*/ 160 w 240"/>
              <a:gd name="T31" fmla="*/ 76 h 304"/>
              <a:gd name="T32" fmla="*/ 148 w 240"/>
              <a:gd name="T33" fmla="*/ 83 h 304"/>
              <a:gd name="T34" fmla="*/ 152 w 240"/>
              <a:gd name="T35" fmla="*/ 99 h 304"/>
              <a:gd name="T36" fmla="*/ 142 w 240"/>
              <a:gd name="T37" fmla="*/ 101 h 304"/>
              <a:gd name="T38" fmla="*/ 138 w 240"/>
              <a:gd name="T39" fmla="*/ 119 h 304"/>
              <a:gd name="T40" fmla="*/ 160 w 240"/>
              <a:gd name="T41" fmla="*/ 132 h 304"/>
              <a:gd name="T42" fmla="*/ 152 w 240"/>
              <a:gd name="T43" fmla="*/ 180 h 304"/>
              <a:gd name="T44" fmla="*/ 128 w 240"/>
              <a:gd name="T45" fmla="*/ 186 h 304"/>
              <a:gd name="T46" fmla="*/ 133 w 240"/>
              <a:gd name="T47" fmla="*/ 220 h 304"/>
              <a:gd name="T48" fmla="*/ 150 w 240"/>
              <a:gd name="T49" fmla="*/ 233 h 304"/>
              <a:gd name="T50" fmla="*/ 135 w 240"/>
              <a:gd name="T51" fmla="*/ 260 h 304"/>
              <a:gd name="T52" fmla="*/ 115 w 240"/>
              <a:gd name="T53" fmla="*/ 275 h 304"/>
              <a:gd name="T54" fmla="*/ 106 w 240"/>
              <a:gd name="T55" fmla="*/ 304 h 304"/>
              <a:gd name="T56" fmla="*/ 88 w 240"/>
              <a:gd name="T57" fmla="*/ 266 h 304"/>
              <a:gd name="T58" fmla="*/ 11 w 240"/>
              <a:gd name="T59" fmla="*/ 255 h 304"/>
              <a:gd name="T60" fmla="*/ 0 w 240"/>
              <a:gd name="T61" fmla="*/ 97 h 304"/>
              <a:gd name="T62" fmla="*/ 11 w 240"/>
              <a:gd name="T63" fmla="*/ 84 h 3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40" h="304">
                <a:moveTo>
                  <a:pt x="11" y="84"/>
                </a:moveTo>
                <a:lnTo>
                  <a:pt x="21" y="73"/>
                </a:lnTo>
                <a:lnTo>
                  <a:pt x="36" y="73"/>
                </a:lnTo>
                <a:lnTo>
                  <a:pt x="65" y="80"/>
                </a:lnTo>
                <a:lnTo>
                  <a:pt x="110" y="64"/>
                </a:lnTo>
                <a:lnTo>
                  <a:pt x="119" y="44"/>
                </a:lnTo>
                <a:lnTo>
                  <a:pt x="142" y="37"/>
                </a:lnTo>
                <a:lnTo>
                  <a:pt x="159" y="42"/>
                </a:lnTo>
                <a:lnTo>
                  <a:pt x="185" y="26"/>
                </a:lnTo>
                <a:lnTo>
                  <a:pt x="207" y="3"/>
                </a:lnTo>
                <a:lnTo>
                  <a:pt x="215" y="0"/>
                </a:lnTo>
                <a:lnTo>
                  <a:pt x="214" y="3"/>
                </a:lnTo>
                <a:lnTo>
                  <a:pt x="240" y="29"/>
                </a:lnTo>
                <a:lnTo>
                  <a:pt x="188" y="48"/>
                </a:lnTo>
                <a:lnTo>
                  <a:pt x="167" y="46"/>
                </a:lnTo>
                <a:lnTo>
                  <a:pt x="160" y="76"/>
                </a:lnTo>
                <a:lnTo>
                  <a:pt x="148" y="83"/>
                </a:lnTo>
                <a:lnTo>
                  <a:pt x="152" y="99"/>
                </a:lnTo>
                <a:lnTo>
                  <a:pt x="142" y="101"/>
                </a:lnTo>
                <a:lnTo>
                  <a:pt x="138" y="119"/>
                </a:lnTo>
                <a:lnTo>
                  <a:pt x="160" y="132"/>
                </a:lnTo>
                <a:lnTo>
                  <a:pt x="152" y="180"/>
                </a:lnTo>
                <a:lnTo>
                  <a:pt x="128" y="186"/>
                </a:lnTo>
                <a:lnTo>
                  <a:pt x="133" y="220"/>
                </a:lnTo>
                <a:lnTo>
                  <a:pt x="150" y="233"/>
                </a:lnTo>
                <a:lnTo>
                  <a:pt x="135" y="260"/>
                </a:lnTo>
                <a:lnTo>
                  <a:pt x="115" y="275"/>
                </a:lnTo>
                <a:lnTo>
                  <a:pt x="106" y="304"/>
                </a:lnTo>
                <a:lnTo>
                  <a:pt x="88" y="266"/>
                </a:lnTo>
                <a:lnTo>
                  <a:pt x="11" y="255"/>
                </a:lnTo>
                <a:lnTo>
                  <a:pt x="0" y="97"/>
                </a:lnTo>
                <a:lnTo>
                  <a:pt x="11" y="8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1" name="Freeform 157"/>
          <p:cNvSpPr>
            <a:spLocks/>
          </p:cNvSpPr>
          <p:nvPr>
            <p:custDataLst>
              <p:tags r:id="rId77"/>
            </p:custDataLst>
          </p:nvPr>
        </p:nvSpPr>
        <p:spPr bwMode="gray">
          <a:xfrm>
            <a:off x="4062197" y="3363493"/>
            <a:ext cx="141801" cy="183308"/>
          </a:xfrm>
          <a:custGeom>
            <a:avLst/>
            <a:gdLst>
              <a:gd name="T0" fmla="*/ 13 w 149"/>
              <a:gd name="T1" fmla="*/ 154 h 205"/>
              <a:gd name="T2" fmla="*/ 24 w 149"/>
              <a:gd name="T3" fmla="*/ 151 h 205"/>
              <a:gd name="T4" fmla="*/ 32 w 149"/>
              <a:gd name="T5" fmla="*/ 103 h 205"/>
              <a:gd name="T6" fmla="*/ 10 w 149"/>
              <a:gd name="T7" fmla="*/ 90 h 205"/>
              <a:gd name="T8" fmla="*/ 14 w 149"/>
              <a:gd name="T9" fmla="*/ 72 h 205"/>
              <a:gd name="T10" fmla="*/ 24 w 149"/>
              <a:gd name="T11" fmla="*/ 70 h 205"/>
              <a:gd name="T12" fmla="*/ 20 w 149"/>
              <a:gd name="T13" fmla="*/ 54 h 205"/>
              <a:gd name="T14" fmla="*/ 32 w 149"/>
              <a:gd name="T15" fmla="*/ 47 h 205"/>
              <a:gd name="T16" fmla="*/ 39 w 149"/>
              <a:gd name="T17" fmla="*/ 17 h 205"/>
              <a:gd name="T18" fmla="*/ 60 w 149"/>
              <a:gd name="T19" fmla="*/ 19 h 205"/>
              <a:gd name="T20" fmla="*/ 112 w 149"/>
              <a:gd name="T21" fmla="*/ 0 h 205"/>
              <a:gd name="T22" fmla="*/ 117 w 149"/>
              <a:gd name="T23" fmla="*/ 7 h 205"/>
              <a:gd name="T24" fmla="*/ 102 w 149"/>
              <a:gd name="T25" fmla="*/ 84 h 205"/>
              <a:gd name="T26" fmla="*/ 102 w 149"/>
              <a:gd name="T27" fmla="*/ 128 h 205"/>
              <a:gd name="T28" fmla="*/ 120 w 149"/>
              <a:gd name="T29" fmla="*/ 128 h 205"/>
              <a:gd name="T30" fmla="*/ 149 w 149"/>
              <a:gd name="T31" fmla="*/ 175 h 205"/>
              <a:gd name="T32" fmla="*/ 86 w 149"/>
              <a:gd name="T33" fmla="*/ 171 h 205"/>
              <a:gd name="T34" fmla="*/ 21 w 149"/>
              <a:gd name="T35" fmla="*/ 205 h 205"/>
              <a:gd name="T36" fmla="*/ 22 w 149"/>
              <a:gd name="T37" fmla="*/ 204 h 205"/>
              <a:gd name="T38" fmla="*/ 5 w 149"/>
              <a:gd name="T39" fmla="*/ 191 h 205"/>
              <a:gd name="T40" fmla="*/ 0 w 149"/>
              <a:gd name="T41" fmla="*/ 157 h 205"/>
              <a:gd name="T42" fmla="*/ 13 w 149"/>
              <a:gd name="T43" fmla="*/ 154 h 2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49" h="205">
                <a:moveTo>
                  <a:pt x="13" y="154"/>
                </a:moveTo>
                <a:lnTo>
                  <a:pt x="24" y="151"/>
                </a:lnTo>
                <a:lnTo>
                  <a:pt x="32" y="103"/>
                </a:lnTo>
                <a:lnTo>
                  <a:pt x="10" y="90"/>
                </a:lnTo>
                <a:lnTo>
                  <a:pt x="14" y="72"/>
                </a:lnTo>
                <a:lnTo>
                  <a:pt x="24" y="70"/>
                </a:lnTo>
                <a:lnTo>
                  <a:pt x="20" y="54"/>
                </a:lnTo>
                <a:lnTo>
                  <a:pt x="32" y="47"/>
                </a:lnTo>
                <a:lnTo>
                  <a:pt x="39" y="17"/>
                </a:lnTo>
                <a:lnTo>
                  <a:pt x="60" y="19"/>
                </a:lnTo>
                <a:lnTo>
                  <a:pt x="112" y="0"/>
                </a:lnTo>
                <a:lnTo>
                  <a:pt x="117" y="7"/>
                </a:lnTo>
                <a:lnTo>
                  <a:pt x="102" y="84"/>
                </a:lnTo>
                <a:lnTo>
                  <a:pt x="102" y="128"/>
                </a:lnTo>
                <a:lnTo>
                  <a:pt x="120" y="128"/>
                </a:lnTo>
                <a:lnTo>
                  <a:pt x="149" y="175"/>
                </a:lnTo>
                <a:lnTo>
                  <a:pt x="86" y="171"/>
                </a:lnTo>
                <a:lnTo>
                  <a:pt x="21" y="205"/>
                </a:lnTo>
                <a:lnTo>
                  <a:pt x="22" y="204"/>
                </a:lnTo>
                <a:lnTo>
                  <a:pt x="5" y="191"/>
                </a:lnTo>
                <a:lnTo>
                  <a:pt x="0" y="157"/>
                </a:lnTo>
                <a:lnTo>
                  <a:pt x="13" y="15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2" name="Freeform 158"/>
          <p:cNvSpPr>
            <a:spLocks/>
          </p:cNvSpPr>
          <p:nvPr>
            <p:custDataLst>
              <p:tags r:id="rId78"/>
            </p:custDataLst>
          </p:nvPr>
        </p:nvSpPr>
        <p:spPr bwMode="gray">
          <a:xfrm>
            <a:off x="4144041" y="3250825"/>
            <a:ext cx="471084" cy="357675"/>
          </a:xfrm>
          <a:custGeom>
            <a:avLst/>
            <a:gdLst>
              <a:gd name="T0" fmla="*/ 2 w 495"/>
              <a:gd name="T1" fmla="*/ 96 h 400"/>
              <a:gd name="T2" fmla="*/ 4 w 495"/>
              <a:gd name="T3" fmla="*/ 92 h 400"/>
              <a:gd name="T4" fmla="*/ 18 w 495"/>
              <a:gd name="T5" fmla="*/ 96 h 400"/>
              <a:gd name="T6" fmla="*/ 99 w 495"/>
              <a:gd name="T7" fmla="*/ 64 h 400"/>
              <a:gd name="T8" fmla="*/ 177 w 495"/>
              <a:gd name="T9" fmla="*/ 51 h 400"/>
              <a:gd name="T10" fmla="*/ 264 w 495"/>
              <a:gd name="T11" fmla="*/ 0 h 400"/>
              <a:gd name="T12" fmla="*/ 290 w 495"/>
              <a:gd name="T13" fmla="*/ 0 h 400"/>
              <a:gd name="T14" fmla="*/ 287 w 495"/>
              <a:gd name="T15" fmla="*/ 2 h 400"/>
              <a:gd name="T16" fmla="*/ 425 w 495"/>
              <a:gd name="T17" fmla="*/ 24 h 400"/>
              <a:gd name="T18" fmla="*/ 422 w 495"/>
              <a:gd name="T19" fmla="*/ 57 h 400"/>
              <a:gd name="T20" fmla="*/ 430 w 495"/>
              <a:gd name="T21" fmla="*/ 59 h 400"/>
              <a:gd name="T22" fmla="*/ 419 w 495"/>
              <a:gd name="T23" fmla="*/ 97 h 400"/>
              <a:gd name="T24" fmla="*/ 437 w 495"/>
              <a:gd name="T25" fmla="*/ 119 h 400"/>
              <a:gd name="T26" fmla="*/ 456 w 495"/>
              <a:gd name="T27" fmla="*/ 119 h 400"/>
              <a:gd name="T28" fmla="*/ 476 w 495"/>
              <a:gd name="T29" fmla="*/ 126 h 400"/>
              <a:gd name="T30" fmla="*/ 495 w 495"/>
              <a:gd name="T31" fmla="*/ 173 h 400"/>
              <a:gd name="T32" fmla="*/ 489 w 495"/>
              <a:gd name="T33" fmla="*/ 187 h 400"/>
              <a:gd name="T34" fmla="*/ 432 w 495"/>
              <a:gd name="T35" fmla="*/ 243 h 400"/>
              <a:gd name="T36" fmla="*/ 430 w 495"/>
              <a:gd name="T37" fmla="*/ 260 h 400"/>
              <a:gd name="T38" fmla="*/ 456 w 495"/>
              <a:gd name="T39" fmla="*/ 280 h 400"/>
              <a:gd name="T40" fmla="*/ 372 w 495"/>
              <a:gd name="T41" fmla="*/ 315 h 400"/>
              <a:gd name="T42" fmla="*/ 346 w 495"/>
              <a:gd name="T43" fmla="*/ 350 h 400"/>
              <a:gd name="T44" fmla="*/ 233 w 495"/>
              <a:gd name="T45" fmla="*/ 359 h 400"/>
              <a:gd name="T46" fmla="*/ 134 w 495"/>
              <a:gd name="T47" fmla="*/ 400 h 400"/>
              <a:gd name="T48" fmla="*/ 81 w 495"/>
              <a:gd name="T49" fmla="*/ 396 h 400"/>
              <a:gd name="T50" fmla="*/ 90 w 495"/>
              <a:gd name="T51" fmla="*/ 346 h 400"/>
              <a:gd name="T52" fmla="*/ 34 w 495"/>
              <a:gd name="T53" fmla="*/ 254 h 400"/>
              <a:gd name="T54" fmla="*/ 16 w 495"/>
              <a:gd name="T55" fmla="*/ 254 h 400"/>
              <a:gd name="T56" fmla="*/ 16 w 495"/>
              <a:gd name="T57" fmla="*/ 210 h 400"/>
              <a:gd name="T58" fmla="*/ 31 w 495"/>
              <a:gd name="T59" fmla="*/ 133 h 400"/>
              <a:gd name="T60" fmla="*/ 0 w 495"/>
              <a:gd name="T61" fmla="*/ 100 h 400"/>
              <a:gd name="T62" fmla="*/ 2 w 495"/>
              <a:gd name="T63" fmla="*/ 96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95" h="400">
                <a:moveTo>
                  <a:pt x="2" y="96"/>
                </a:moveTo>
                <a:lnTo>
                  <a:pt x="4" y="92"/>
                </a:lnTo>
                <a:lnTo>
                  <a:pt x="18" y="96"/>
                </a:lnTo>
                <a:lnTo>
                  <a:pt x="99" y="64"/>
                </a:lnTo>
                <a:lnTo>
                  <a:pt x="177" y="51"/>
                </a:lnTo>
                <a:lnTo>
                  <a:pt x="264" y="0"/>
                </a:lnTo>
                <a:lnTo>
                  <a:pt x="290" y="0"/>
                </a:lnTo>
                <a:lnTo>
                  <a:pt x="287" y="2"/>
                </a:lnTo>
                <a:lnTo>
                  <a:pt x="425" y="24"/>
                </a:lnTo>
                <a:lnTo>
                  <a:pt x="422" y="57"/>
                </a:lnTo>
                <a:lnTo>
                  <a:pt x="430" y="59"/>
                </a:lnTo>
                <a:lnTo>
                  <a:pt x="419" y="97"/>
                </a:lnTo>
                <a:lnTo>
                  <a:pt x="437" y="119"/>
                </a:lnTo>
                <a:lnTo>
                  <a:pt x="456" y="119"/>
                </a:lnTo>
                <a:lnTo>
                  <a:pt x="476" y="126"/>
                </a:lnTo>
                <a:lnTo>
                  <a:pt x="495" y="173"/>
                </a:lnTo>
                <a:lnTo>
                  <a:pt x="489" y="187"/>
                </a:lnTo>
                <a:lnTo>
                  <a:pt x="432" y="243"/>
                </a:lnTo>
                <a:lnTo>
                  <a:pt x="430" y="260"/>
                </a:lnTo>
                <a:lnTo>
                  <a:pt x="456" y="280"/>
                </a:lnTo>
                <a:lnTo>
                  <a:pt x="372" y="315"/>
                </a:lnTo>
                <a:lnTo>
                  <a:pt x="346" y="350"/>
                </a:lnTo>
                <a:lnTo>
                  <a:pt x="233" y="359"/>
                </a:lnTo>
                <a:lnTo>
                  <a:pt x="134" y="400"/>
                </a:lnTo>
                <a:lnTo>
                  <a:pt x="81" y="396"/>
                </a:lnTo>
                <a:lnTo>
                  <a:pt x="90" y="346"/>
                </a:lnTo>
                <a:lnTo>
                  <a:pt x="34" y="254"/>
                </a:lnTo>
                <a:lnTo>
                  <a:pt x="16" y="254"/>
                </a:lnTo>
                <a:lnTo>
                  <a:pt x="16" y="210"/>
                </a:lnTo>
                <a:lnTo>
                  <a:pt x="31" y="133"/>
                </a:lnTo>
                <a:lnTo>
                  <a:pt x="0" y="100"/>
                </a:lnTo>
                <a:lnTo>
                  <a:pt x="2" y="96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3" name="Freeform 159"/>
          <p:cNvSpPr>
            <a:spLocks/>
          </p:cNvSpPr>
          <p:nvPr>
            <p:custDataLst>
              <p:tags r:id="rId79"/>
            </p:custDataLst>
          </p:nvPr>
        </p:nvSpPr>
        <p:spPr bwMode="gray">
          <a:xfrm>
            <a:off x="4542798" y="3173031"/>
            <a:ext cx="391142" cy="328167"/>
          </a:xfrm>
          <a:custGeom>
            <a:avLst/>
            <a:gdLst>
              <a:gd name="T0" fmla="*/ 0 w 411"/>
              <a:gd name="T1" fmla="*/ 184 h 367"/>
              <a:gd name="T2" fmla="*/ 11 w 411"/>
              <a:gd name="T3" fmla="*/ 146 h 367"/>
              <a:gd name="T4" fmla="*/ 3 w 411"/>
              <a:gd name="T5" fmla="*/ 144 h 367"/>
              <a:gd name="T6" fmla="*/ 6 w 411"/>
              <a:gd name="T7" fmla="*/ 110 h 367"/>
              <a:gd name="T8" fmla="*/ 15 w 411"/>
              <a:gd name="T9" fmla="*/ 114 h 367"/>
              <a:gd name="T10" fmla="*/ 117 w 411"/>
              <a:gd name="T11" fmla="*/ 77 h 367"/>
              <a:gd name="T12" fmla="*/ 124 w 411"/>
              <a:gd name="T13" fmla="*/ 95 h 367"/>
              <a:gd name="T14" fmla="*/ 169 w 411"/>
              <a:gd name="T15" fmla="*/ 132 h 367"/>
              <a:gd name="T16" fmla="*/ 208 w 411"/>
              <a:gd name="T17" fmla="*/ 92 h 367"/>
              <a:gd name="T18" fmla="*/ 266 w 411"/>
              <a:gd name="T19" fmla="*/ 59 h 367"/>
              <a:gd name="T20" fmla="*/ 311 w 411"/>
              <a:gd name="T21" fmla="*/ 0 h 367"/>
              <a:gd name="T22" fmla="*/ 323 w 411"/>
              <a:gd name="T23" fmla="*/ 26 h 367"/>
              <a:gd name="T24" fmla="*/ 318 w 411"/>
              <a:gd name="T25" fmla="*/ 59 h 367"/>
              <a:gd name="T26" fmla="*/ 356 w 411"/>
              <a:gd name="T27" fmla="*/ 67 h 367"/>
              <a:gd name="T28" fmla="*/ 400 w 411"/>
              <a:gd name="T29" fmla="*/ 230 h 367"/>
              <a:gd name="T30" fmla="*/ 411 w 411"/>
              <a:gd name="T31" fmla="*/ 235 h 367"/>
              <a:gd name="T32" fmla="*/ 396 w 411"/>
              <a:gd name="T33" fmla="*/ 256 h 367"/>
              <a:gd name="T34" fmla="*/ 396 w 411"/>
              <a:gd name="T35" fmla="*/ 274 h 367"/>
              <a:gd name="T36" fmla="*/ 355 w 411"/>
              <a:gd name="T37" fmla="*/ 304 h 367"/>
              <a:gd name="T38" fmla="*/ 347 w 411"/>
              <a:gd name="T39" fmla="*/ 305 h 367"/>
              <a:gd name="T40" fmla="*/ 323 w 411"/>
              <a:gd name="T41" fmla="*/ 270 h 367"/>
              <a:gd name="T42" fmla="*/ 314 w 411"/>
              <a:gd name="T43" fmla="*/ 279 h 367"/>
              <a:gd name="T44" fmla="*/ 305 w 411"/>
              <a:gd name="T45" fmla="*/ 230 h 367"/>
              <a:gd name="T46" fmla="*/ 272 w 411"/>
              <a:gd name="T47" fmla="*/ 234 h 367"/>
              <a:gd name="T48" fmla="*/ 249 w 411"/>
              <a:gd name="T49" fmla="*/ 257 h 367"/>
              <a:gd name="T50" fmla="*/ 242 w 411"/>
              <a:gd name="T51" fmla="*/ 286 h 367"/>
              <a:gd name="T52" fmla="*/ 242 w 411"/>
              <a:gd name="T53" fmla="*/ 312 h 367"/>
              <a:gd name="T54" fmla="*/ 233 w 411"/>
              <a:gd name="T55" fmla="*/ 329 h 367"/>
              <a:gd name="T56" fmla="*/ 235 w 411"/>
              <a:gd name="T57" fmla="*/ 342 h 367"/>
              <a:gd name="T58" fmla="*/ 219 w 411"/>
              <a:gd name="T59" fmla="*/ 367 h 367"/>
              <a:gd name="T60" fmla="*/ 205 w 411"/>
              <a:gd name="T61" fmla="*/ 359 h 367"/>
              <a:gd name="T62" fmla="*/ 198 w 411"/>
              <a:gd name="T63" fmla="*/ 325 h 367"/>
              <a:gd name="T64" fmla="*/ 213 w 411"/>
              <a:gd name="T65" fmla="*/ 268 h 367"/>
              <a:gd name="T66" fmla="*/ 206 w 411"/>
              <a:gd name="T67" fmla="*/ 260 h 367"/>
              <a:gd name="T68" fmla="*/ 175 w 411"/>
              <a:gd name="T69" fmla="*/ 264 h 367"/>
              <a:gd name="T70" fmla="*/ 171 w 411"/>
              <a:gd name="T71" fmla="*/ 292 h 367"/>
              <a:gd name="T72" fmla="*/ 142 w 411"/>
              <a:gd name="T73" fmla="*/ 297 h 367"/>
              <a:gd name="T74" fmla="*/ 143 w 411"/>
              <a:gd name="T75" fmla="*/ 287 h 367"/>
              <a:gd name="T76" fmla="*/ 114 w 411"/>
              <a:gd name="T77" fmla="*/ 259 h 367"/>
              <a:gd name="T78" fmla="*/ 76 w 411"/>
              <a:gd name="T79" fmla="*/ 253 h 367"/>
              <a:gd name="T80" fmla="*/ 76 w 411"/>
              <a:gd name="T81" fmla="*/ 260 h 367"/>
              <a:gd name="T82" fmla="*/ 57 w 411"/>
              <a:gd name="T83" fmla="*/ 213 h 367"/>
              <a:gd name="T84" fmla="*/ 37 w 411"/>
              <a:gd name="T85" fmla="*/ 206 h 367"/>
              <a:gd name="T86" fmla="*/ 18 w 411"/>
              <a:gd name="T87" fmla="*/ 206 h 367"/>
              <a:gd name="T88" fmla="*/ 0 w 411"/>
              <a:gd name="T89" fmla="*/ 184 h 3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11" h="367">
                <a:moveTo>
                  <a:pt x="0" y="184"/>
                </a:moveTo>
                <a:lnTo>
                  <a:pt x="11" y="146"/>
                </a:lnTo>
                <a:lnTo>
                  <a:pt x="3" y="144"/>
                </a:lnTo>
                <a:lnTo>
                  <a:pt x="6" y="110"/>
                </a:lnTo>
                <a:lnTo>
                  <a:pt x="15" y="114"/>
                </a:lnTo>
                <a:lnTo>
                  <a:pt x="117" y="77"/>
                </a:lnTo>
                <a:lnTo>
                  <a:pt x="124" y="95"/>
                </a:lnTo>
                <a:lnTo>
                  <a:pt x="169" y="132"/>
                </a:lnTo>
                <a:lnTo>
                  <a:pt x="208" y="92"/>
                </a:lnTo>
                <a:lnTo>
                  <a:pt x="266" y="59"/>
                </a:lnTo>
                <a:lnTo>
                  <a:pt x="311" y="0"/>
                </a:lnTo>
                <a:lnTo>
                  <a:pt x="323" y="26"/>
                </a:lnTo>
                <a:lnTo>
                  <a:pt x="318" y="59"/>
                </a:lnTo>
                <a:lnTo>
                  <a:pt x="356" y="67"/>
                </a:lnTo>
                <a:lnTo>
                  <a:pt x="400" y="230"/>
                </a:lnTo>
                <a:lnTo>
                  <a:pt x="411" y="235"/>
                </a:lnTo>
                <a:lnTo>
                  <a:pt x="396" y="256"/>
                </a:lnTo>
                <a:lnTo>
                  <a:pt x="396" y="274"/>
                </a:lnTo>
                <a:lnTo>
                  <a:pt x="355" y="304"/>
                </a:lnTo>
                <a:lnTo>
                  <a:pt x="347" y="305"/>
                </a:lnTo>
                <a:lnTo>
                  <a:pt x="323" y="270"/>
                </a:lnTo>
                <a:lnTo>
                  <a:pt x="314" y="279"/>
                </a:lnTo>
                <a:lnTo>
                  <a:pt x="305" y="230"/>
                </a:lnTo>
                <a:lnTo>
                  <a:pt x="272" y="234"/>
                </a:lnTo>
                <a:lnTo>
                  <a:pt x="249" y="257"/>
                </a:lnTo>
                <a:lnTo>
                  <a:pt x="242" y="286"/>
                </a:lnTo>
                <a:lnTo>
                  <a:pt x="242" y="312"/>
                </a:lnTo>
                <a:lnTo>
                  <a:pt x="233" y="329"/>
                </a:lnTo>
                <a:lnTo>
                  <a:pt x="235" y="342"/>
                </a:lnTo>
                <a:lnTo>
                  <a:pt x="219" y="367"/>
                </a:lnTo>
                <a:lnTo>
                  <a:pt x="205" y="359"/>
                </a:lnTo>
                <a:lnTo>
                  <a:pt x="198" y="325"/>
                </a:lnTo>
                <a:lnTo>
                  <a:pt x="213" y="268"/>
                </a:lnTo>
                <a:lnTo>
                  <a:pt x="206" y="260"/>
                </a:lnTo>
                <a:lnTo>
                  <a:pt x="175" y="264"/>
                </a:lnTo>
                <a:lnTo>
                  <a:pt x="171" y="292"/>
                </a:lnTo>
                <a:lnTo>
                  <a:pt x="142" y="297"/>
                </a:lnTo>
                <a:lnTo>
                  <a:pt x="143" y="287"/>
                </a:lnTo>
                <a:lnTo>
                  <a:pt x="114" y="259"/>
                </a:lnTo>
                <a:lnTo>
                  <a:pt x="76" y="253"/>
                </a:lnTo>
                <a:lnTo>
                  <a:pt x="76" y="260"/>
                </a:lnTo>
                <a:lnTo>
                  <a:pt x="57" y="213"/>
                </a:lnTo>
                <a:lnTo>
                  <a:pt x="37" y="206"/>
                </a:lnTo>
                <a:lnTo>
                  <a:pt x="18" y="206"/>
                </a:lnTo>
                <a:lnTo>
                  <a:pt x="0" y="18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4" name="Freeform 160"/>
          <p:cNvSpPr>
            <a:spLocks/>
          </p:cNvSpPr>
          <p:nvPr>
            <p:custDataLst>
              <p:tags r:id="rId80"/>
            </p:custDataLst>
          </p:nvPr>
        </p:nvSpPr>
        <p:spPr bwMode="gray">
          <a:xfrm>
            <a:off x="5189944" y="3141734"/>
            <a:ext cx="227453" cy="259314"/>
          </a:xfrm>
          <a:custGeom>
            <a:avLst/>
            <a:gdLst>
              <a:gd name="T0" fmla="*/ 47 w 214"/>
              <a:gd name="T1" fmla="*/ 114 h 260"/>
              <a:gd name="T2" fmla="*/ 169 w 214"/>
              <a:gd name="T3" fmla="*/ 71 h 260"/>
              <a:gd name="T4" fmla="*/ 213 w 214"/>
              <a:gd name="T5" fmla="*/ 52 h 260"/>
              <a:gd name="T6" fmla="*/ 213 w 214"/>
              <a:gd name="T7" fmla="*/ 173 h 260"/>
              <a:gd name="T8" fmla="*/ 199 w 214"/>
              <a:gd name="T9" fmla="*/ 173 h 260"/>
              <a:gd name="T10" fmla="*/ 196 w 214"/>
              <a:gd name="T11" fmla="*/ 173 h 260"/>
              <a:gd name="T12" fmla="*/ 195 w 214"/>
              <a:gd name="T13" fmla="*/ 176 h 260"/>
              <a:gd name="T14" fmla="*/ 191 w 214"/>
              <a:gd name="T15" fmla="*/ 179 h 260"/>
              <a:gd name="T16" fmla="*/ 191 w 214"/>
              <a:gd name="T17" fmla="*/ 182 h 260"/>
              <a:gd name="T18" fmla="*/ 188 w 214"/>
              <a:gd name="T19" fmla="*/ 186 h 260"/>
              <a:gd name="T20" fmla="*/ 185 w 214"/>
              <a:gd name="T21" fmla="*/ 191 h 260"/>
              <a:gd name="T22" fmla="*/ 184 w 214"/>
              <a:gd name="T23" fmla="*/ 196 h 260"/>
              <a:gd name="T24" fmla="*/ 181 w 214"/>
              <a:gd name="T25" fmla="*/ 200 h 260"/>
              <a:gd name="T26" fmla="*/ 181 w 214"/>
              <a:gd name="T27" fmla="*/ 207 h 260"/>
              <a:gd name="T28" fmla="*/ 179 w 214"/>
              <a:gd name="T29" fmla="*/ 211 h 260"/>
              <a:gd name="T30" fmla="*/ 177 w 214"/>
              <a:gd name="T31" fmla="*/ 216 h 260"/>
              <a:gd name="T32" fmla="*/ 175 w 214"/>
              <a:gd name="T33" fmla="*/ 221 h 260"/>
              <a:gd name="T34" fmla="*/ 170 w 214"/>
              <a:gd name="T35" fmla="*/ 219 h 260"/>
              <a:gd name="T36" fmla="*/ 168 w 214"/>
              <a:gd name="T37" fmla="*/ 223 h 260"/>
              <a:gd name="T38" fmla="*/ 165 w 214"/>
              <a:gd name="T39" fmla="*/ 222 h 260"/>
              <a:gd name="T40" fmla="*/ 161 w 214"/>
              <a:gd name="T41" fmla="*/ 221 h 260"/>
              <a:gd name="T42" fmla="*/ 156 w 214"/>
              <a:gd name="T43" fmla="*/ 219 h 260"/>
              <a:gd name="T44" fmla="*/ 153 w 214"/>
              <a:gd name="T45" fmla="*/ 221 h 260"/>
              <a:gd name="T46" fmla="*/ 148 w 214"/>
              <a:gd name="T47" fmla="*/ 221 h 260"/>
              <a:gd name="T48" fmla="*/ 143 w 214"/>
              <a:gd name="T49" fmla="*/ 221 h 260"/>
              <a:gd name="T50" fmla="*/ 138 w 214"/>
              <a:gd name="T51" fmla="*/ 222 h 260"/>
              <a:gd name="T52" fmla="*/ 136 w 214"/>
              <a:gd name="T53" fmla="*/ 226 h 260"/>
              <a:gd name="T54" fmla="*/ 133 w 214"/>
              <a:gd name="T55" fmla="*/ 228 h 260"/>
              <a:gd name="T56" fmla="*/ 131 w 214"/>
              <a:gd name="T57" fmla="*/ 232 h 260"/>
              <a:gd name="T58" fmla="*/ 129 w 214"/>
              <a:gd name="T59" fmla="*/ 235 h 260"/>
              <a:gd name="T60" fmla="*/ 127 w 214"/>
              <a:gd name="T61" fmla="*/ 238 h 260"/>
              <a:gd name="T62" fmla="*/ 122 w 214"/>
              <a:gd name="T63" fmla="*/ 238 h 260"/>
              <a:gd name="T64" fmla="*/ 120 w 214"/>
              <a:gd name="T65" fmla="*/ 238 h 260"/>
              <a:gd name="T66" fmla="*/ 117 w 214"/>
              <a:gd name="T67" fmla="*/ 239 h 260"/>
              <a:gd name="T68" fmla="*/ 113 w 214"/>
              <a:gd name="T69" fmla="*/ 240 h 260"/>
              <a:gd name="T70" fmla="*/ 116 w 214"/>
              <a:gd name="T71" fmla="*/ 243 h 260"/>
              <a:gd name="T72" fmla="*/ 112 w 214"/>
              <a:gd name="T73" fmla="*/ 244 h 260"/>
              <a:gd name="T74" fmla="*/ 108 w 214"/>
              <a:gd name="T75" fmla="*/ 248 h 260"/>
              <a:gd name="T76" fmla="*/ 106 w 214"/>
              <a:gd name="T77" fmla="*/ 249 h 260"/>
              <a:gd name="T78" fmla="*/ 104 w 214"/>
              <a:gd name="T79" fmla="*/ 253 h 260"/>
              <a:gd name="T80" fmla="*/ 102 w 214"/>
              <a:gd name="T81" fmla="*/ 255 h 260"/>
              <a:gd name="T82" fmla="*/ 100 w 214"/>
              <a:gd name="T83" fmla="*/ 259 h 260"/>
              <a:gd name="T84" fmla="*/ 96 w 214"/>
              <a:gd name="T85" fmla="*/ 260 h 260"/>
              <a:gd name="T86" fmla="*/ 89 w 214"/>
              <a:gd name="T87" fmla="*/ 255 h 260"/>
              <a:gd name="T88" fmla="*/ 84 w 214"/>
              <a:gd name="T89" fmla="*/ 259 h 260"/>
              <a:gd name="T90" fmla="*/ 78 w 214"/>
              <a:gd name="T91" fmla="*/ 255 h 260"/>
              <a:gd name="T92" fmla="*/ 72 w 214"/>
              <a:gd name="T93" fmla="*/ 254 h 260"/>
              <a:gd name="T94" fmla="*/ 68 w 214"/>
              <a:gd name="T95" fmla="*/ 245 h 260"/>
              <a:gd name="T96" fmla="*/ 68 w 214"/>
              <a:gd name="T97" fmla="*/ 238 h 260"/>
              <a:gd name="T98" fmla="*/ 62 w 214"/>
              <a:gd name="T99" fmla="*/ 233 h 260"/>
              <a:gd name="T100" fmla="*/ 58 w 214"/>
              <a:gd name="T101" fmla="*/ 212 h 260"/>
              <a:gd name="T102" fmla="*/ 24 w 214"/>
              <a:gd name="T103" fmla="*/ 157 h 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214" h="260">
                <a:moveTo>
                  <a:pt x="0" y="89"/>
                </a:moveTo>
                <a:lnTo>
                  <a:pt x="4" y="77"/>
                </a:lnTo>
                <a:lnTo>
                  <a:pt x="36" y="96"/>
                </a:lnTo>
                <a:lnTo>
                  <a:pt x="47" y="114"/>
                </a:lnTo>
                <a:lnTo>
                  <a:pt x="63" y="112"/>
                </a:lnTo>
                <a:lnTo>
                  <a:pt x="73" y="98"/>
                </a:lnTo>
                <a:lnTo>
                  <a:pt x="129" y="94"/>
                </a:lnTo>
                <a:lnTo>
                  <a:pt x="169" y="71"/>
                </a:lnTo>
                <a:lnTo>
                  <a:pt x="156" y="0"/>
                </a:lnTo>
                <a:lnTo>
                  <a:pt x="209" y="2"/>
                </a:lnTo>
                <a:lnTo>
                  <a:pt x="209" y="2"/>
                </a:lnTo>
                <a:lnTo>
                  <a:pt x="213" y="52"/>
                </a:lnTo>
                <a:lnTo>
                  <a:pt x="213" y="61"/>
                </a:lnTo>
                <a:lnTo>
                  <a:pt x="214" y="79"/>
                </a:lnTo>
                <a:lnTo>
                  <a:pt x="214" y="109"/>
                </a:lnTo>
                <a:lnTo>
                  <a:pt x="213" y="173"/>
                </a:lnTo>
                <a:lnTo>
                  <a:pt x="203" y="174"/>
                </a:lnTo>
                <a:lnTo>
                  <a:pt x="202" y="174"/>
                </a:lnTo>
                <a:lnTo>
                  <a:pt x="201" y="174"/>
                </a:lnTo>
                <a:lnTo>
                  <a:pt x="199" y="173"/>
                </a:lnTo>
                <a:lnTo>
                  <a:pt x="198" y="173"/>
                </a:lnTo>
                <a:lnTo>
                  <a:pt x="197" y="173"/>
                </a:lnTo>
                <a:lnTo>
                  <a:pt x="196" y="173"/>
                </a:lnTo>
                <a:lnTo>
                  <a:pt x="196" y="173"/>
                </a:lnTo>
                <a:lnTo>
                  <a:pt x="196" y="174"/>
                </a:lnTo>
                <a:lnTo>
                  <a:pt x="196" y="175"/>
                </a:lnTo>
                <a:lnTo>
                  <a:pt x="195" y="175"/>
                </a:lnTo>
                <a:lnTo>
                  <a:pt x="195" y="176"/>
                </a:lnTo>
                <a:lnTo>
                  <a:pt x="193" y="176"/>
                </a:lnTo>
                <a:lnTo>
                  <a:pt x="192" y="178"/>
                </a:lnTo>
                <a:lnTo>
                  <a:pt x="192" y="179"/>
                </a:lnTo>
                <a:lnTo>
                  <a:pt x="191" y="179"/>
                </a:lnTo>
                <a:lnTo>
                  <a:pt x="191" y="179"/>
                </a:lnTo>
                <a:lnTo>
                  <a:pt x="191" y="180"/>
                </a:lnTo>
                <a:lnTo>
                  <a:pt x="191" y="181"/>
                </a:lnTo>
                <a:lnTo>
                  <a:pt x="191" y="182"/>
                </a:lnTo>
                <a:lnTo>
                  <a:pt x="190" y="184"/>
                </a:lnTo>
                <a:lnTo>
                  <a:pt x="190" y="185"/>
                </a:lnTo>
                <a:lnTo>
                  <a:pt x="188" y="185"/>
                </a:lnTo>
                <a:lnTo>
                  <a:pt x="188" y="186"/>
                </a:lnTo>
                <a:lnTo>
                  <a:pt x="187" y="187"/>
                </a:lnTo>
                <a:lnTo>
                  <a:pt x="186" y="189"/>
                </a:lnTo>
                <a:lnTo>
                  <a:pt x="186" y="190"/>
                </a:lnTo>
                <a:lnTo>
                  <a:pt x="185" y="191"/>
                </a:lnTo>
                <a:lnTo>
                  <a:pt x="185" y="192"/>
                </a:lnTo>
                <a:lnTo>
                  <a:pt x="184" y="194"/>
                </a:lnTo>
                <a:lnTo>
                  <a:pt x="184" y="195"/>
                </a:lnTo>
                <a:lnTo>
                  <a:pt x="184" y="196"/>
                </a:lnTo>
                <a:lnTo>
                  <a:pt x="182" y="197"/>
                </a:lnTo>
                <a:lnTo>
                  <a:pt x="182" y="198"/>
                </a:lnTo>
                <a:lnTo>
                  <a:pt x="181" y="198"/>
                </a:lnTo>
                <a:lnTo>
                  <a:pt x="181" y="200"/>
                </a:lnTo>
                <a:lnTo>
                  <a:pt x="182" y="201"/>
                </a:lnTo>
                <a:lnTo>
                  <a:pt x="182" y="203"/>
                </a:lnTo>
                <a:lnTo>
                  <a:pt x="182" y="206"/>
                </a:lnTo>
                <a:lnTo>
                  <a:pt x="181" y="207"/>
                </a:lnTo>
                <a:lnTo>
                  <a:pt x="181" y="208"/>
                </a:lnTo>
                <a:lnTo>
                  <a:pt x="180" y="208"/>
                </a:lnTo>
                <a:lnTo>
                  <a:pt x="180" y="211"/>
                </a:lnTo>
                <a:lnTo>
                  <a:pt x="179" y="211"/>
                </a:lnTo>
                <a:lnTo>
                  <a:pt x="179" y="212"/>
                </a:lnTo>
                <a:lnTo>
                  <a:pt x="177" y="213"/>
                </a:lnTo>
                <a:lnTo>
                  <a:pt x="177" y="214"/>
                </a:lnTo>
                <a:lnTo>
                  <a:pt x="177" y="216"/>
                </a:lnTo>
                <a:lnTo>
                  <a:pt x="177" y="217"/>
                </a:lnTo>
                <a:lnTo>
                  <a:pt x="177" y="218"/>
                </a:lnTo>
                <a:lnTo>
                  <a:pt x="176" y="219"/>
                </a:lnTo>
                <a:lnTo>
                  <a:pt x="175" y="221"/>
                </a:lnTo>
                <a:lnTo>
                  <a:pt x="172" y="221"/>
                </a:lnTo>
                <a:lnTo>
                  <a:pt x="171" y="221"/>
                </a:lnTo>
                <a:lnTo>
                  <a:pt x="171" y="219"/>
                </a:lnTo>
                <a:lnTo>
                  <a:pt x="170" y="219"/>
                </a:lnTo>
                <a:lnTo>
                  <a:pt x="169" y="219"/>
                </a:lnTo>
                <a:lnTo>
                  <a:pt x="169" y="221"/>
                </a:lnTo>
                <a:lnTo>
                  <a:pt x="169" y="222"/>
                </a:lnTo>
                <a:lnTo>
                  <a:pt x="168" y="223"/>
                </a:lnTo>
                <a:lnTo>
                  <a:pt x="166" y="223"/>
                </a:lnTo>
                <a:lnTo>
                  <a:pt x="166" y="223"/>
                </a:lnTo>
                <a:lnTo>
                  <a:pt x="165" y="223"/>
                </a:lnTo>
                <a:lnTo>
                  <a:pt x="165" y="222"/>
                </a:lnTo>
                <a:lnTo>
                  <a:pt x="164" y="222"/>
                </a:lnTo>
                <a:lnTo>
                  <a:pt x="163" y="222"/>
                </a:lnTo>
                <a:lnTo>
                  <a:pt x="161" y="222"/>
                </a:lnTo>
                <a:lnTo>
                  <a:pt x="161" y="221"/>
                </a:lnTo>
                <a:lnTo>
                  <a:pt x="160" y="221"/>
                </a:lnTo>
                <a:lnTo>
                  <a:pt x="159" y="219"/>
                </a:lnTo>
                <a:lnTo>
                  <a:pt x="158" y="219"/>
                </a:lnTo>
                <a:lnTo>
                  <a:pt x="156" y="219"/>
                </a:lnTo>
                <a:lnTo>
                  <a:pt x="155" y="221"/>
                </a:lnTo>
                <a:lnTo>
                  <a:pt x="155" y="219"/>
                </a:lnTo>
                <a:lnTo>
                  <a:pt x="154" y="219"/>
                </a:lnTo>
                <a:lnTo>
                  <a:pt x="153" y="221"/>
                </a:lnTo>
                <a:lnTo>
                  <a:pt x="152" y="221"/>
                </a:lnTo>
                <a:lnTo>
                  <a:pt x="150" y="221"/>
                </a:lnTo>
                <a:lnTo>
                  <a:pt x="149" y="221"/>
                </a:lnTo>
                <a:lnTo>
                  <a:pt x="148" y="221"/>
                </a:lnTo>
                <a:lnTo>
                  <a:pt x="147" y="219"/>
                </a:lnTo>
                <a:lnTo>
                  <a:pt x="145" y="219"/>
                </a:lnTo>
                <a:lnTo>
                  <a:pt x="144" y="221"/>
                </a:lnTo>
                <a:lnTo>
                  <a:pt x="143" y="221"/>
                </a:lnTo>
                <a:lnTo>
                  <a:pt x="142" y="221"/>
                </a:lnTo>
                <a:lnTo>
                  <a:pt x="140" y="221"/>
                </a:lnTo>
                <a:lnTo>
                  <a:pt x="139" y="221"/>
                </a:lnTo>
                <a:lnTo>
                  <a:pt x="138" y="222"/>
                </a:lnTo>
                <a:lnTo>
                  <a:pt x="137" y="222"/>
                </a:lnTo>
                <a:lnTo>
                  <a:pt x="136" y="223"/>
                </a:lnTo>
                <a:lnTo>
                  <a:pt x="136" y="224"/>
                </a:lnTo>
                <a:lnTo>
                  <a:pt x="136" y="226"/>
                </a:lnTo>
                <a:lnTo>
                  <a:pt x="134" y="226"/>
                </a:lnTo>
                <a:lnTo>
                  <a:pt x="134" y="227"/>
                </a:lnTo>
                <a:lnTo>
                  <a:pt x="134" y="228"/>
                </a:lnTo>
                <a:lnTo>
                  <a:pt x="133" y="228"/>
                </a:lnTo>
                <a:lnTo>
                  <a:pt x="133" y="229"/>
                </a:lnTo>
                <a:lnTo>
                  <a:pt x="133" y="230"/>
                </a:lnTo>
                <a:lnTo>
                  <a:pt x="132" y="230"/>
                </a:lnTo>
                <a:lnTo>
                  <a:pt x="131" y="232"/>
                </a:lnTo>
                <a:lnTo>
                  <a:pt x="131" y="233"/>
                </a:lnTo>
                <a:lnTo>
                  <a:pt x="129" y="233"/>
                </a:lnTo>
                <a:lnTo>
                  <a:pt x="129" y="234"/>
                </a:lnTo>
                <a:lnTo>
                  <a:pt x="129" y="235"/>
                </a:lnTo>
                <a:lnTo>
                  <a:pt x="129" y="237"/>
                </a:lnTo>
                <a:lnTo>
                  <a:pt x="129" y="238"/>
                </a:lnTo>
                <a:lnTo>
                  <a:pt x="128" y="238"/>
                </a:lnTo>
                <a:lnTo>
                  <a:pt x="127" y="238"/>
                </a:lnTo>
                <a:lnTo>
                  <a:pt x="126" y="238"/>
                </a:lnTo>
                <a:lnTo>
                  <a:pt x="124" y="238"/>
                </a:lnTo>
                <a:lnTo>
                  <a:pt x="123" y="238"/>
                </a:lnTo>
                <a:lnTo>
                  <a:pt x="122" y="238"/>
                </a:lnTo>
                <a:lnTo>
                  <a:pt x="121" y="238"/>
                </a:lnTo>
                <a:lnTo>
                  <a:pt x="121" y="239"/>
                </a:lnTo>
                <a:lnTo>
                  <a:pt x="120" y="239"/>
                </a:lnTo>
                <a:lnTo>
                  <a:pt x="120" y="238"/>
                </a:lnTo>
                <a:lnTo>
                  <a:pt x="118" y="238"/>
                </a:lnTo>
                <a:lnTo>
                  <a:pt x="118" y="239"/>
                </a:lnTo>
                <a:lnTo>
                  <a:pt x="117" y="239"/>
                </a:lnTo>
                <a:lnTo>
                  <a:pt x="117" y="239"/>
                </a:lnTo>
                <a:lnTo>
                  <a:pt x="116" y="239"/>
                </a:lnTo>
                <a:lnTo>
                  <a:pt x="116" y="239"/>
                </a:lnTo>
                <a:lnTo>
                  <a:pt x="115" y="239"/>
                </a:lnTo>
                <a:lnTo>
                  <a:pt x="113" y="240"/>
                </a:lnTo>
                <a:lnTo>
                  <a:pt x="115" y="240"/>
                </a:lnTo>
                <a:lnTo>
                  <a:pt x="115" y="242"/>
                </a:lnTo>
                <a:lnTo>
                  <a:pt x="116" y="242"/>
                </a:lnTo>
                <a:lnTo>
                  <a:pt x="116" y="243"/>
                </a:lnTo>
                <a:lnTo>
                  <a:pt x="115" y="243"/>
                </a:lnTo>
                <a:lnTo>
                  <a:pt x="115" y="244"/>
                </a:lnTo>
                <a:lnTo>
                  <a:pt x="113" y="244"/>
                </a:lnTo>
                <a:lnTo>
                  <a:pt x="112" y="244"/>
                </a:lnTo>
                <a:lnTo>
                  <a:pt x="111" y="245"/>
                </a:lnTo>
                <a:lnTo>
                  <a:pt x="111" y="246"/>
                </a:lnTo>
                <a:lnTo>
                  <a:pt x="110" y="248"/>
                </a:lnTo>
                <a:lnTo>
                  <a:pt x="108" y="248"/>
                </a:lnTo>
                <a:lnTo>
                  <a:pt x="108" y="249"/>
                </a:lnTo>
                <a:lnTo>
                  <a:pt x="107" y="249"/>
                </a:lnTo>
                <a:lnTo>
                  <a:pt x="107" y="249"/>
                </a:lnTo>
                <a:lnTo>
                  <a:pt x="106" y="249"/>
                </a:lnTo>
                <a:lnTo>
                  <a:pt x="106" y="250"/>
                </a:lnTo>
                <a:lnTo>
                  <a:pt x="105" y="250"/>
                </a:lnTo>
                <a:lnTo>
                  <a:pt x="104" y="251"/>
                </a:lnTo>
                <a:lnTo>
                  <a:pt x="104" y="253"/>
                </a:lnTo>
                <a:lnTo>
                  <a:pt x="102" y="253"/>
                </a:lnTo>
                <a:lnTo>
                  <a:pt x="104" y="254"/>
                </a:lnTo>
                <a:lnTo>
                  <a:pt x="102" y="254"/>
                </a:lnTo>
                <a:lnTo>
                  <a:pt x="102" y="255"/>
                </a:lnTo>
                <a:lnTo>
                  <a:pt x="102" y="257"/>
                </a:lnTo>
                <a:lnTo>
                  <a:pt x="101" y="257"/>
                </a:lnTo>
                <a:lnTo>
                  <a:pt x="100" y="257"/>
                </a:lnTo>
                <a:lnTo>
                  <a:pt x="100" y="259"/>
                </a:lnTo>
                <a:lnTo>
                  <a:pt x="99" y="259"/>
                </a:lnTo>
                <a:lnTo>
                  <a:pt x="99" y="260"/>
                </a:lnTo>
                <a:lnTo>
                  <a:pt x="97" y="259"/>
                </a:lnTo>
                <a:lnTo>
                  <a:pt x="96" y="260"/>
                </a:lnTo>
                <a:lnTo>
                  <a:pt x="94" y="257"/>
                </a:lnTo>
                <a:lnTo>
                  <a:pt x="91" y="256"/>
                </a:lnTo>
                <a:lnTo>
                  <a:pt x="90" y="255"/>
                </a:lnTo>
                <a:lnTo>
                  <a:pt x="89" y="255"/>
                </a:lnTo>
                <a:lnTo>
                  <a:pt x="88" y="256"/>
                </a:lnTo>
                <a:lnTo>
                  <a:pt x="86" y="257"/>
                </a:lnTo>
                <a:lnTo>
                  <a:pt x="85" y="259"/>
                </a:lnTo>
                <a:lnTo>
                  <a:pt x="84" y="259"/>
                </a:lnTo>
                <a:lnTo>
                  <a:pt x="80" y="257"/>
                </a:lnTo>
                <a:lnTo>
                  <a:pt x="79" y="257"/>
                </a:lnTo>
                <a:lnTo>
                  <a:pt x="78" y="256"/>
                </a:lnTo>
                <a:lnTo>
                  <a:pt x="78" y="255"/>
                </a:lnTo>
                <a:lnTo>
                  <a:pt x="75" y="256"/>
                </a:lnTo>
                <a:lnTo>
                  <a:pt x="75" y="255"/>
                </a:lnTo>
                <a:lnTo>
                  <a:pt x="74" y="254"/>
                </a:lnTo>
                <a:lnTo>
                  <a:pt x="72" y="254"/>
                </a:lnTo>
                <a:lnTo>
                  <a:pt x="72" y="251"/>
                </a:lnTo>
                <a:lnTo>
                  <a:pt x="72" y="250"/>
                </a:lnTo>
                <a:lnTo>
                  <a:pt x="70" y="246"/>
                </a:lnTo>
                <a:lnTo>
                  <a:pt x="68" y="245"/>
                </a:lnTo>
                <a:lnTo>
                  <a:pt x="68" y="242"/>
                </a:lnTo>
                <a:lnTo>
                  <a:pt x="67" y="240"/>
                </a:lnTo>
                <a:lnTo>
                  <a:pt x="67" y="239"/>
                </a:lnTo>
                <a:lnTo>
                  <a:pt x="68" y="238"/>
                </a:lnTo>
                <a:lnTo>
                  <a:pt x="68" y="237"/>
                </a:lnTo>
                <a:lnTo>
                  <a:pt x="68" y="235"/>
                </a:lnTo>
                <a:lnTo>
                  <a:pt x="63" y="234"/>
                </a:lnTo>
                <a:lnTo>
                  <a:pt x="62" y="233"/>
                </a:lnTo>
                <a:lnTo>
                  <a:pt x="62" y="232"/>
                </a:lnTo>
                <a:lnTo>
                  <a:pt x="57" y="229"/>
                </a:lnTo>
                <a:lnTo>
                  <a:pt x="56" y="229"/>
                </a:lnTo>
                <a:lnTo>
                  <a:pt x="58" y="212"/>
                </a:lnTo>
                <a:lnTo>
                  <a:pt x="48" y="205"/>
                </a:lnTo>
                <a:lnTo>
                  <a:pt x="33" y="203"/>
                </a:lnTo>
                <a:lnTo>
                  <a:pt x="19" y="189"/>
                </a:lnTo>
                <a:lnTo>
                  <a:pt x="24" y="157"/>
                </a:lnTo>
                <a:lnTo>
                  <a:pt x="13" y="123"/>
                </a:lnTo>
                <a:lnTo>
                  <a:pt x="17" y="120"/>
                </a:lnTo>
                <a:lnTo>
                  <a:pt x="0" y="89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5" name="Freeform 161"/>
          <p:cNvSpPr>
            <a:spLocks/>
          </p:cNvSpPr>
          <p:nvPr>
            <p:custDataLst>
              <p:tags r:id="rId81"/>
            </p:custDataLst>
          </p:nvPr>
        </p:nvSpPr>
        <p:spPr bwMode="gray">
          <a:xfrm>
            <a:off x="3196163" y="3232942"/>
            <a:ext cx="188434" cy="146647"/>
          </a:xfrm>
          <a:custGeom>
            <a:avLst/>
            <a:gdLst>
              <a:gd name="T0" fmla="*/ 2 w 186"/>
              <a:gd name="T1" fmla="*/ 64 h 154"/>
              <a:gd name="T2" fmla="*/ 4 w 186"/>
              <a:gd name="T3" fmla="*/ 59 h 154"/>
              <a:gd name="T4" fmla="*/ 11 w 186"/>
              <a:gd name="T5" fmla="*/ 52 h 154"/>
              <a:gd name="T6" fmla="*/ 22 w 186"/>
              <a:gd name="T7" fmla="*/ 57 h 154"/>
              <a:gd name="T8" fmla="*/ 38 w 186"/>
              <a:gd name="T9" fmla="*/ 57 h 154"/>
              <a:gd name="T10" fmla="*/ 74 w 186"/>
              <a:gd name="T11" fmla="*/ 44 h 154"/>
              <a:gd name="T12" fmla="*/ 87 w 186"/>
              <a:gd name="T13" fmla="*/ 26 h 154"/>
              <a:gd name="T14" fmla="*/ 97 w 186"/>
              <a:gd name="T15" fmla="*/ 28 h 154"/>
              <a:gd name="T16" fmla="*/ 96 w 186"/>
              <a:gd name="T17" fmla="*/ 37 h 154"/>
              <a:gd name="T18" fmla="*/ 103 w 186"/>
              <a:gd name="T19" fmla="*/ 37 h 154"/>
              <a:gd name="T20" fmla="*/ 120 w 186"/>
              <a:gd name="T21" fmla="*/ 26 h 154"/>
              <a:gd name="T22" fmla="*/ 120 w 186"/>
              <a:gd name="T23" fmla="*/ 15 h 154"/>
              <a:gd name="T24" fmla="*/ 160 w 186"/>
              <a:gd name="T25" fmla="*/ 0 h 154"/>
              <a:gd name="T26" fmla="*/ 176 w 186"/>
              <a:gd name="T27" fmla="*/ 11 h 154"/>
              <a:gd name="T28" fmla="*/ 186 w 186"/>
              <a:gd name="T29" fmla="*/ 66 h 154"/>
              <a:gd name="T30" fmla="*/ 162 w 186"/>
              <a:gd name="T31" fmla="*/ 82 h 154"/>
              <a:gd name="T32" fmla="*/ 175 w 186"/>
              <a:gd name="T33" fmla="*/ 109 h 154"/>
              <a:gd name="T34" fmla="*/ 155 w 186"/>
              <a:gd name="T35" fmla="*/ 127 h 154"/>
              <a:gd name="T36" fmla="*/ 155 w 186"/>
              <a:gd name="T37" fmla="*/ 128 h 154"/>
              <a:gd name="T38" fmla="*/ 125 w 186"/>
              <a:gd name="T39" fmla="*/ 130 h 154"/>
              <a:gd name="T40" fmla="*/ 125 w 186"/>
              <a:gd name="T41" fmla="*/ 133 h 154"/>
              <a:gd name="T42" fmla="*/ 116 w 186"/>
              <a:gd name="T43" fmla="*/ 133 h 154"/>
              <a:gd name="T44" fmla="*/ 102 w 186"/>
              <a:gd name="T45" fmla="*/ 124 h 154"/>
              <a:gd name="T46" fmla="*/ 96 w 186"/>
              <a:gd name="T47" fmla="*/ 124 h 154"/>
              <a:gd name="T48" fmla="*/ 90 w 186"/>
              <a:gd name="T49" fmla="*/ 132 h 154"/>
              <a:gd name="T50" fmla="*/ 63 w 186"/>
              <a:gd name="T51" fmla="*/ 138 h 154"/>
              <a:gd name="T52" fmla="*/ 53 w 186"/>
              <a:gd name="T53" fmla="*/ 154 h 154"/>
              <a:gd name="T54" fmla="*/ 43 w 186"/>
              <a:gd name="T55" fmla="*/ 150 h 154"/>
              <a:gd name="T56" fmla="*/ 39 w 186"/>
              <a:gd name="T57" fmla="*/ 129 h 154"/>
              <a:gd name="T58" fmla="*/ 44 w 186"/>
              <a:gd name="T59" fmla="*/ 124 h 154"/>
              <a:gd name="T60" fmla="*/ 36 w 186"/>
              <a:gd name="T61" fmla="*/ 95 h 154"/>
              <a:gd name="T62" fmla="*/ 18 w 186"/>
              <a:gd name="T63" fmla="*/ 90 h 154"/>
              <a:gd name="T64" fmla="*/ 0 w 186"/>
              <a:gd name="T65" fmla="*/ 71 h 154"/>
              <a:gd name="T66" fmla="*/ 2 w 186"/>
              <a:gd name="T67" fmla="*/ 64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6" h="154">
                <a:moveTo>
                  <a:pt x="2" y="64"/>
                </a:moveTo>
                <a:lnTo>
                  <a:pt x="4" y="59"/>
                </a:lnTo>
                <a:lnTo>
                  <a:pt x="11" y="52"/>
                </a:lnTo>
                <a:lnTo>
                  <a:pt x="22" y="57"/>
                </a:lnTo>
                <a:lnTo>
                  <a:pt x="38" y="57"/>
                </a:lnTo>
                <a:lnTo>
                  <a:pt x="74" y="44"/>
                </a:lnTo>
                <a:lnTo>
                  <a:pt x="87" y="26"/>
                </a:lnTo>
                <a:lnTo>
                  <a:pt x="97" y="28"/>
                </a:lnTo>
                <a:lnTo>
                  <a:pt x="96" y="37"/>
                </a:lnTo>
                <a:lnTo>
                  <a:pt x="103" y="37"/>
                </a:lnTo>
                <a:lnTo>
                  <a:pt x="120" y="26"/>
                </a:lnTo>
                <a:lnTo>
                  <a:pt x="120" y="15"/>
                </a:lnTo>
                <a:lnTo>
                  <a:pt x="160" y="0"/>
                </a:lnTo>
                <a:lnTo>
                  <a:pt x="176" y="11"/>
                </a:lnTo>
                <a:lnTo>
                  <a:pt x="186" y="66"/>
                </a:lnTo>
                <a:lnTo>
                  <a:pt x="162" y="82"/>
                </a:lnTo>
                <a:lnTo>
                  <a:pt x="175" y="109"/>
                </a:lnTo>
                <a:lnTo>
                  <a:pt x="155" y="127"/>
                </a:lnTo>
                <a:lnTo>
                  <a:pt x="155" y="128"/>
                </a:lnTo>
                <a:lnTo>
                  <a:pt x="125" y="130"/>
                </a:lnTo>
                <a:lnTo>
                  <a:pt x="125" y="133"/>
                </a:lnTo>
                <a:lnTo>
                  <a:pt x="116" y="133"/>
                </a:lnTo>
                <a:lnTo>
                  <a:pt x="102" y="124"/>
                </a:lnTo>
                <a:lnTo>
                  <a:pt x="96" y="124"/>
                </a:lnTo>
                <a:lnTo>
                  <a:pt x="90" y="132"/>
                </a:lnTo>
                <a:lnTo>
                  <a:pt x="63" y="138"/>
                </a:lnTo>
                <a:lnTo>
                  <a:pt x="53" y="154"/>
                </a:lnTo>
                <a:lnTo>
                  <a:pt x="43" y="150"/>
                </a:lnTo>
                <a:lnTo>
                  <a:pt x="39" y="129"/>
                </a:lnTo>
                <a:lnTo>
                  <a:pt x="44" y="124"/>
                </a:lnTo>
                <a:lnTo>
                  <a:pt x="36" y="95"/>
                </a:lnTo>
                <a:lnTo>
                  <a:pt x="18" y="90"/>
                </a:lnTo>
                <a:lnTo>
                  <a:pt x="0" y="71"/>
                </a:lnTo>
                <a:lnTo>
                  <a:pt x="2" y="64"/>
                </a:lnTo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6" name="Freeform 162"/>
          <p:cNvSpPr>
            <a:spLocks/>
          </p:cNvSpPr>
          <p:nvPr>
            <p:custDataLst>
              <p:tags r:id="rId82"/>
            </p:custDataLst>
          </p:nvPr>
        </p:nvSpPr>
        <p:spPr bwMode="gray">
          <a:xfrm>
            <a:off x="2127421" y="2759917"/>
            <a:ext cx="909811" cy="1170491"/>
          </a:xfrm>
          <a:custGeom>
            <a:avLst/>
            <a:gdLst>
              <a:gd name="T0" fmla="*/ 672 w 956"/>
              <a:gd name="T1" fmla="*/ 122 h 1309"/>
              <a:gd name="T2" fmla="*/ 728 w 956"/>
              <a:gd name="T3" fmla="*/ 694 h 1309"/>
              <a:gd name="T4" fmla="*/ 798 w 956"/>
              <a:gd name="T5" fmla="*/ 1290 h 1309"/>
              <a:gd name="T6" fmla="*/ 651 w 956"/>
              <a:gd name="T7" fmla="*/ 1186 h 1309"/>
              <a:gd name="T8" fmla="*/ 611 w 956"/>
              <a:gd name="T9" fmla="*/ 1171 h 1309"/>
              <a:gd name="T10" fmla="*/ 600 w 956"/>
              <a:gd name="T11" fmla="*/ 1150 h 1309"/>
              <a:gd name="T12" fmla="*/ 570 w 956"/>
              <a:gd name="T13" fmla="*/ 1135 h 1309"/>
              <a:gd name="T14" fmla="*/ 539 w 956"/>
              <a:gd name="T15" fmla="*/ 1120 h 1309"/>
              <a:gd name="T16" fmla="*/ 509 w 956"/>
              <a:gd name="T17" fmla="*/ 1115 h 1309"/>
              <a:gd name="T18" fmla="*/ 499 w 956"/>
              <a:gd name="T19" fmla="*/ 1105 h 1309"/>
              <a:gd name="T20" fmla="*/ 478 w 956"/>
              <a:gd name="T21" fmla="*/ 1095 h 1309"/>
              <a:gd name="T22" fmla="*/ 453 w 956"/>
              <a:gd name="T23" fmla="*/ 1085 h 1309"/>
              <a:gd name="T24" fmla="*/ 427 w 956"/>
              <a:gd name="T25" fmla="*/ 1069 h 1309"/>
              <a:gd name="T26" fmla="*/ 417 w 956"/>
              <a:gd name="T27" fmla="*/ 1049 h 1309"/>
              <a:gd name="T28" fmla="*/ 402 w 956"/>
              <a:gd name="T29" fmla="*/ 1039 h 1309"/>
              <a:gd name="T30" fmla="*/ 387 w 956"/>
              <a:gd name="T31" fmla="*/ 1024 h 1309"/>
              <a:gd name="T32" fmla="*/ 366 w 956"/>
              <a:gd name="T33" fmla="*/ 1014 h 1309"/>
              <a:gd name="T34" fmla="*/ 371 w 956"/>
              <a:gd name="T35" fmla="*/ 983 h 1309"/>
              <a:gd name="T36" fmla="*/ 397 w 956"/>
              <a:gd name="T37" fmla="*/ 968 h 1309"/>
              <a:gd name="T38" fmla="*/ 402 w 956"/>
              <a:gd name="T39" fmla="*/ 953 h 1309"/>
              <a:gd name="T40" fmla="*/ 402 w 956"/>
              <a:gd name="T41" fmla="*/ 927 h 1309"/>
              <a:gd name="T42" fmla="*/ 387 w 956"/>
              <a:gd name="T43" fmla="*/ 907 h 1309"/>
              <a:gd name="T44" fmla="*/ 366 w 956"/>
              <a:gd name="T45" fmla="*/ 877 h 1309"/>
              <a:gd name="T46" fmla="*/ 326 w 956"/>
              <a:gd name="T47" fmla="*/ 877 h 1309"/>
              <a:gd name="T48" fmla="*/ 290 w 956"/>
              <a:gd name="T49" fmla="*/ 846 h 1309"/>
              <a:gd name="T50" fmla="*/ 270 w 956"/>
              <a:gd name="T51" fmla="*/ 826 h 1309"/>
              <a:gd name="T52" fmla="*/ 254 w 956"/>
              <a:gd name="T53" fmla="*/ 780 h 1309"/>
              <a:gd name="T54" fmla="*/ 214 w 956"/>
              <a:gd name="T55" fmla="*/ 775 h 1309"/>
              <a:gd name="T56" fmla="*/ 183 w 956"/>
              <a:gd name="T57" fmla="*/ 765 h 1309"/>
              <a:gd name="T58" fmla="*/ 142 w 956"/>
              <a:gd name="T59" fmla="*/ 770 h 1309"/>
              <a:gd name="T60" fmla="*/ 112 w 956"/>
              <a:gd name="T61" fmla="*/ 745 h 1309"/>
              <a:gd name="T62" fmla="*/ 71 w 956"/>
              <a:gd name="T63" fmla="*/ 755 h 1309"/>
              <a:gd name="T64" fmla="*/ 41 w 956"/>
              <a:gd name="T65" fmla="*/ 745 h 1309"/>
              <a:gd name="T66" fmla="*/ 5 w 956"/>
              <a:gd name="T67" fmla="*/ 715 h 1309"/>
              <a:gd name="T68" fmla="*/ 10 w 956"/>
              <a:gd name="T69" fmla="*/ 679 h 1309"/>
              <a:gd name="T70" fmla="*/ 41 w 956"/>
              <a:gd name="T71" fmla="*/ 639 h 1309"/>
              <a:gd name="T72" fmla="*/ 31 w 956"/>
              <a:gd name="T73" fmla="*/ 623 h 1309"/>
              <a:gd name="T74" fmla="*/ 87 w 956"/>
              <a:gd name="T75" fmla="*/ 568 h 1309"/>
              <a:gd name="T76" fmla="*/ 140 w 956"/>
              <a:gd name="T77" fmla="*/ 495 h 1309"/>
              <a:gd name="T78" fmla="*/ 163 w 956"/>
              <a:gd name="T79" fmla="*/ 370 h 1309"/>
              <a:gd name="T80" fmla="*/ 214 w 956"/>
              <a:gd name="T81" fmla="*/ 284 h 1309"/>
              <a:gd name="T82" fmla="*/ 219 w 956"/>
              <a:gd name="T83" fmla="*/ 233 h 1309"/>
              <a:gd name="T84" fmla="*/ 239 w 956"/>
              <a:gd name="T85" fmla="*/ 208 h 1309"/>
              <a:gd name="T86" fmla="*/ 260 w 956"/>
              <a:gd name="T87" fmla="*/ 188 h 1309"/>
              <a:gd name="T88" fmla="*/ 285 w 956"/>
              <a:gd name="T89" fmla="*/ 167 h 1309"/>
              <a:gd name="T90" fmla="*/ 295 w 956"/>
              <a:gd name="T91" fmla="*/ 142 h 1309"/>
              <a:gd name="T92" fmla="*/ 305 w 956"/>
              <a:gd name="T93" fmla="*/ 111 h 1309"/>
              <a:gd name="T94" fmla="*/ 310 w 956"/>
              <a:gd name="T95" fmla="*/ 76 h 1309"/>
              <a:gd name="T96" fmla="*/ 321 w 956"/>
              <a:gd name="T97" fmla="*/ 46 h 1309"/>
              <a:gd name="T98" fmla="*/ 356 w 956"/>
              <a:gd name="T99" fmla="*/ 41 h 1309"/>
              <a:gd name="T100" fmla="*/ 387 w 956"/>
              <a:gd name="T101" fmla="*/ 35 h 1309"/>
              <a:gd name="T102" fmla="*/ 428 w 956"/>
              <a:gd name="T103" fmla="*/ 35 h 1309"/>
              <a:gd name="T104" fmla="*/ 448 w 956"/>
              <a:gd name="T105" fmla="*/ 25 h 1309"/>
              <a:gd name="T106" fmla="*/ 483 w 956"/>
              <a:gd name="T107" fmla="*/ 25 h 1309"/>
              <a:gd name="T108" fmla="*/ 514 w 956"/>
              <a:gd name="T109" fmla="*/ 15 h 1309"/>
              <a:gd name="T110" fmla="*/ 544 w 956"/>
              <a:gd name="T111" fmla="*/ 10 h 1309"/>
              <a:gd name="T112" fmla="*/ 575 w 956"/>
              <a:gd name="T113" fmla="*/ 5 h 1309"/>
              <a:gd name="T114" fmla="*/ 606 w 956"/>
              <a:gd name="T115" fmla="*/ 5 h 1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956" h="1309">
                <a:moveTo>
                  <a:pt x="616" y="10"/>
                </a:moveTo>
                <a:lnTo>
                  <a:pt x="621" y="10"/>
                </a:lnTo>
                <a:lnTo>
                  <a:pt x="621" y="15"/>
                </a:lnTo>
                <a:lnTo>
                  <a:pt x="621" y="86"/>
                </a:lnTo>
                <a:lnTo>
                  <a:pt x="641" y="91"/>
                </a:lnTo>
                <a:lnTo>
                  <a:pt x="661" y="106"/>
                </a:lnTo>
                <a:lnTo>
                  <a:pt x="672" y="122"/>
                </a:lnTo>
                <a:lnTo>
                  <a:pt x="677" y="137"/>
                </a:lnTo>
                <a:lnTo>
                  <a:pt x="713" y="183"/>
                </a:lnTo>
                <a:lnTo>
                  <a:pt x="692" y="471"/>
                </a:lnTo>
                <a:lnTo>
                  <a:pt x="697" y="532"/>
                </a:lnTo>
                <a:lnTo>
                  <a:pt x="717" y="623"/>
                </a:lnTo>
                <a:lnTo>
                  <a:pt x="717" y="644"/>
                </a:lnTo>
                <a:lnTo>
                  <a:pt x="728" y="694"/>
                </a:lnTo>
                <a:lnTo>
                  <a:pt x="732" y="762"/>
                </a:lnTo>
                <a:lnTo>
                  <a:pt x="870" y="846"/>
                </a:lnTo>
                <a:lnTo>
                  <a:pt x="921" y="877"/>
                </a:lnTo>
                <a:lnTo>
                  <a:pt x="956" y="865"/>
                </a:lnTo>
                <a:lnTo>
                  <a:pt x="939" y="945"/>
                </a:lnTo>
                <a:lnTo>
                  <a:pt x="884" y="1082"/>
                </a:lnTo>
                <a:lnTo>
                  <a:pt x="798" y="1290"/>
                </a:lnTo>
                <a:lnTo>
                  <a:pt x="782" y="1309"/>
                </a:lnTo>
                <a:lnTo>
                  <a:pt x="734" y="1276"/>
                </a:lnTo>
                <a:lnTo>
                  <a:pt x="710" y="1271"/>
                </a:lnTo>
                <a:lnTo>
                  <a:pt x="694" y="1255"/>
                </a:lnTo>
                <a:lnTo>
                  <a:pt x="668" y="1241"/>
                </a:lnTo>
                <a:lnTo>
                  <a:pt x="656" y="1186"/>
                </a:lnTo>
                <a:lnTo>
                  <a:pt x="651" y="1186"/>
                </a:lnTo>
                <a:lnTo>
                  <a:pt x="641" y="1186"/>
                </a:lnTo>
                <a:lnTo>
                  <a:pt x="641" y="1181"/>
                </a:lnTo>
                <a:lnTo>
                  <a:pt x="641" y="1176"/>
                </a:lnTo>
                <a:lnTo>
                  <a:pt x="631" y="1176"/>
                </a:lnTo>
                <a:lnTo>
                  <a:pt x="621" y="1176"/>
                </a:lnTo>
                <a:lnTo>
                  <a:pt x="621" y="1171"/>
                </a:lnTo>
                <a:lnTo>
                  <a:pt x="611" y="1171"/>
                </a:lnTo>
                <a:lnTo>
                  <a:pt x="611" y="1166"/>
                </a:lnTo>
                <a:lnTo>
                  <a:pt x="616" y="1161"/>
                </a:lnTo>
                <a:lnTo>
                  <a:pt x="611" y="1161"/>
                </a:lnTo>
                <a:lnTo>
                  <a:pt x="611" y="1155"/>
                </a:lnTo>
                <a:lnTo>
                  <a:pt x="606" y="1155"/>
                </a:lnTo>
                <a:lnTo>
                  <a:pt x="600" y="1155"/>
                </a:lnTo>
                <a:lnTo>
                  <a:pt x="600" y="1150"/>
                </a:lnTo>
                <a:lnTo>
                  <a:pt x="590" y="1150"/>
                </a:lnTo>
                <a:lnTo>
                  <a:pt x="585" y="1150"/>
                </a:lnTo>
                <a:lnTo>
                  <a:pt x="580" y="1150"/>
                </a:lnTo>
                <a:lnTo>
                  <a:pt x="585" y="1145"/>
                </a:lnTo>
                <a:lnTo>
                  <a:pt x="585" y="1140"/>
                </a:lnTo>
                <a:lnTo>
                  <a:pt x="580" y="1135"/>
                </a:lnTo>
                <a:lnTo>
                  <a:pt x="570" y="1135"/>
                </a:lnTo>
                <a:lnTo>
                  <a:pt x="565" y="1135"/>
                </a:lnTo>
                <a:lnTo>
                  <a:pt x="560" y="1135"/>
                </a:lnTo>
                <a:lnTo>
                  <a:pt x="560" y="1130"/>
                </a:lnTo>
                <a:lnTo>
                  <a:pt x="555" y="1130"/>
                </a:lnTo>
                <a:lnTo>
                  <a:pt x="550" y="1130"/>
                </a:lnTo>
                <a:lnTo>
                  <a:pt x="544" y="1125"/>
                </a:lnTo>
                <a:lnTo>
                  <a:pt x="539" y="1120"/>
                </a:lnTo>
                <a:lnTo>
                  <a:pt x="534" y="1125"/>
                </a:lnTo>
                <a:lnTo>
                  <a:pt x="529" y="1120"/>
                </a:lnTo>
                <a:lnTo>
                  <a:pt x="524" y="1120"/>
                </a:lnTo>
                <a:lnTo>
                  <a:pt x="524" y="1115"/>
                </a:lnTo>
                <a:lnTo>
                  <a:pt x="519" y="1115"/>
                </a:lnTo>
                <a:lnTo>
                  <a:pt x="514" y="1115"/>
                </a:lnTo>
                <a:lnTo>
                  <a:pt x="509" y="1115"/>
                </a:lnTo>
                <a:lnTo>
                  <a:pt x="504" y="1115"/>
                </a:lnTo>
                <a:lnTo>
                  <a:pt x="504" y="1110"/>
                </a:lnTo>
                <a:lnTo>
                  <a:pt x="509" y="1110"/>
                </a:lnTo>
                <a:lnTo>
                  <a:pt x="504" y="1110"/>
                </a:lnTo>
                <a:lnTo>
                  <a:pt x="504" y="1105"/>
                </a:lnTo>
                <a:lnTo>
                  <a:pt x="499" y="1110"/>
                </a:lnTo>
                <a:lnTo>
                  <a:pt x="499" y="1105"/>
                </a:lnTo>
                <a:lnTo>
                  <a:pt x="494" y="1100"/>
                </a:lnTo>
                <a:lnTo>
                  <a:pt x="488" y="1100"/>
                </a:lnTo>
                <a:lnTo>
                  <a:pt x="488" y="1105"/>
                </a:lnTo>
                <a:lnTo>
                  <a:pt x="488" y="1100"/>
                </a:lnTo>
                <a:lnTo>
                  <a:pt x="488" y="1095"/>
                </a:lnTo>
                <a:lnTo>
                  <a:pt x="483" y="1095"/>
                </a:lnTo>
                <a:lnTo>
                  <a:pt x="478" y="1095"/>
                </a:lnTo>
                <a:lnTo>
                  <a:pt x="473" y="1095"/>
                </a:lnTo>
                <a:lnTo>
                  <a:pt x="468" y="1095"/>
                </a:lnTo>
                <a:lnTo>
                  <a:pt x="463" y="1095"/>
                </a:lnTo>
                <a:lnTo>
                  <a:pt x="463" y="1090"/>
                </a:lnTo>
                <a:lnTo>
                  <a:pt x="458" y="1090"/>
                </a:lnTo>
                <a:lnTo>
                  <a:pt x="458" y="1085"/>
                </a:lnTo>
                <a:lnTo>
                  <a:pt x="453" y="1085"/>
                </a:lnTo>
                <a:lnTo>
                  <a:pt x="448" y="1085"/>
                </a:lnTo>
                <a:lnTo>
                  <a:pt x="448" y="1079"/>
                </a:lnTo>
                <a:lnTo>
                  <a:pt x="438" y="1074"/>
                </a:lnTo>
                <a:lnTo>
                  <a:pt x="438" y="1079"/>
                </a:lnTo>
                <a:lnTo>
                  <a:pt x="433" y="1079"/>
                </a:lnTo>
                <a:lnTo>
                  <a:pt x="433" y="1069"/>
                </a:lnTo>
                <a:lnTo>
                  <a:pt x="427" y="1069"/>
                </a:lnTo>
                <a:lnTo>
                  <a:pt x="422" y="1069"/>
                </a:lnTo>
                <a:lnTo>
                  <a:pt x="422" y="1064"/>
                </a:lnTo>
                <a:lnTo>
                  <a:pt x="417" y="1059"/>
                </a:lnTo>
                <a:lnTo>
                  <a:pt x="417" y="1054"/>
                </a:lnTo>
                <a:lnTo>
                  <a:pt x="422" y="1054"/>
                </a:lnTo>
                <a:lnTo>
                  <a:pt x="417" y="1054"/>
                </a:lnTo>
                <a:lnTo>
                  <a:pt x="417" y="1049"/>
                </a:lnTo>
                <a:lnTo>
                  <a:pt x="417" y="1044"/>
                </a:lnTo>
                <a:lnTo>
                  <a:pt x="412" y="1044"/>
                </a:lnTo>
                <a:lnTo>
                  <a:pt x="412" y="1039"/>
                </a:lnTo>
                <a:lnTo>
                  <a:pt x="412" y="1044"/>
                </a:lnTo>
                <a:lnTo>
                  <a:pt x="407" y="1044"/>
                </a:lnTo>
                <a:lnTo>
                  <a:pt x="407" y="1039"/>
                </a:lnTo>
                <a:lnTo>
                  <a:pt x="402" y="1039"/>
                </a:lnTo>
                <a:lnTo>
                  <a:pt x="402" y="1034"/>
                </a:lnTo>
                <a:lnTo>
                  <a:pt x="397" y="1034"/>
                </a:lnTo>
                <a:lnTo>
                  <a:pt x="397" y="1029"/>
                </a:lnTo>
                <a:lnTo>
                  <a:pt x="397" y="1024"/>
                </a:lnTo>
                <a:lnTo>
                  <a:pt x="392" y="1024"/>
                </a:lnTo>
                <a:lnTo>
                  <a:pt x="392" y="1029"/>
                </a:lnTo>
                <a:lnTo>
                  <a:pt x="387" y="1024"/>
                </a:lnTo>
                <a:lnTo>
                  <a:pt x="382" y="1024"/>
                </a:lnTo>
                <a:lnTo>
                  <a:pt x="377" y="1024"/>
                </a:lnTo>
                <a:lnTo>
                  <a:pt x="377" y="1019"/>
                </a:lnTo>
                <a:lnTo>
                  <a:pt x="371" y="1019"/>
                </a:lnTo>
                <a:lnTo>
                  <a:pt x="371" y="1024"/>
                </a:lnTo>
                <a:lnTo>
                  <a:pt x="366" y="1019"/>
                </a:lnTo>
                <a:lnTo>
                  <a:pt x="366" y="1014"/>
                </a:lnTo>
                <a:lnTo>
                  <a:pt x="366" y="1008"/>
                </a:lnTo>
                <a:lnTo>
                  <a:pt x="366" y="1003"/>
                </a:lnTo>
                <a:lnTo>
                  <a:pt x="361" y="993"/>
                </a:lnTo>
                <a:lnTo>
                  <a:pt x="356" y="988"/>
                </a:lnTo>
                <a:lnTo>
                  <a:pt x="361" y="988"/>
                </a:lnTo>
                <a:lnTo>
                  <a:pt x="366" y="983"/>
                </a:lnTo>
                <a:lnTo>
                  <a:pt x="371" y="983"/>
                </a:lnTo>
                <a:lnTo>
                  <a:pt x="371" y="978"/>
                </a:lnTo>
                <a:lnTo>
                  <a:pt x="377" y="978"/>
                </a:lnTo>
                <a:lnTo>
                  <a:pt x="382" y="978"/>
                </a:lnTo>
                <a:lnTo>
                  <a:pt x="382" y="973"/>
                </a:lnTo>
                <a:lnTo>
                  <a:pt x="387" y="973"/>
                </a:lnTo>
                <a:lnTo>
                  <a:pt x="392" y="973"/>
                </a:lnTo>
                <a:lnTo>
                  <a:pt x="397" y="968"/>
                </a:lnTo>
                <a:lnTo>
                  <a:pt x="402" y="968"/>
                </a:lnTo>
                <a:lnTo>
                  <a:pt x="402" y="963"/>
                </a:lnTo>
                <a:lnTo>
                  <a:pt x="397" y="963"/>
                </a:lnTo>
                <a:lnTo>
                  <a:pt x="397" y="958"/>
                </a:lnTo>
                <a:lnTo>
                  <a:pt x="402" y="958"/>
                </a:lnTo>
                <a:lnTo>
                  <a:pt x="407" y="958"/>
                </a:lnTo>
                <a:lnTo>
                  <a:pt x="402" y="953"/>
                </a:lnTo>
                <a:lnTo>
                  <a:pt x="397" y="953"/>
                </a:lnTo>
                <a:lnTo>
                  <a:pt x="397" y="948"/>
                </a:lnTo>
                <a:lnTo>
                  <a:pt x="397" y="943"/>
                </a:lnTo>
                <a:lnTo>
                  <a:pt x="397" y="938"/>
                </a:lnTo>
                <a:lnTo>
                  <a:pt x="397" y="932"/>
                </a:lnTo>
                <a:lnTo>
                  <a:pt x="402" y="932"/>
                </a:lnTo>
                <a:lnTo>
                  <a:pt x="402" y="927"/>
                </a:lnTo>
                <a:lnTo>
                  <a:pt x="397" y="922"/>
                </a:lnTo>
                <a:lnTo>
                  <a:pt x="397" y="917"/>
                </a:lnTo>
                <a:lnTo>
                  <a:pt x="402" y="912"/>
                </a:lnTo>
                <a:lnTo>
                  <a:pt x="397" y="912"/>
                </a:lnTo>
                <a:lnTo>
                  <a:pt x="392" y="912"/>
                </a:lnTo>
                <a:lnTo>
                  <a:pt x="392" y="907"/>
                </a:lnTo>
                <a:lnTo>
                  <a:pt x="387" y="907"/>
                </a:lnTo>
                <a:lnTo>
                  <a:pt x="387" y="902"/>
                </a:lnTo>
                <a:lnTo>
                  <a:pt x="382" y="897"/>
                </a:lnTo>
                <a:lnTo>
                  <a:pt x="377" y="892"/>
                </a:lnTo>
                <a:lnTo>
                  <a:pt x="377" y="887"/>
                </a:lnTo>
                <a:lnTo>
                  <a:pt x="371" y="887"/>
                </a:lnTo>
                <a:lnTo>
                  <a:pt x="366" y="882"/>
                </a:lnTo>
                <a:lnTo>
                  <a:pt x="366" y="877"/>
                </a:lnTo>
                <a:lnTo>
                  <a:pt x="361" y="877"/>
                </a:lnTo>
                <a:lnTo>
                  <a:pt x="356" y="877"/>
                </a:lnTo>
                <a:lnTo>
                  <a:pt x="351" y="877"/>
                </a:lnTo>
                <a:lnTo>
                  <a:pt x="346" y="877"/>
                </a:lnTo>
                <a:lnTo>
                  <a:pt x="341" y="882"/>
                </a:lnTo>
                <a:lnTo>
                  <a:pt x="331" y="882"/>
                </a:lnTo>
                <a:lnTo>
                  <a:pt x="326" y="877"/>
                </a:lnTo>
                <a:lnTo>
                  <a:pt x="326" y="872"/>
                </a:lnTo>
                <a:lnTo>
                  <a:pt x="321" y="867"/>
                </a:lnTo>
                <a:lnTo>
                  <a:pt x="310" y="862"/>
                </a:lnTo>
                <a:lnTo>
                  <a:pt x="300" y="856"/>
                </a:lnTo>
                <a:lnTo>
                  <a:pt x="295" y="856"/>
                </a:lnTo>
                <a:lnTo>
                  <a:pt x="295" y="851"/>
                </a:lnTo>
                <a:lnTo>
                  <a:pt x="290" y="846"/>
                </a:lnTo>
                <a:lnTo>
                  <a:pt x="285" y="846"/>
                </a:lnTo>
                <a:lnTo>
                  <a:pt x="285" y="841"/>
                </a:lnTo>
                <a:lnTo>
                  <a:pt x="285" y="836"/>
                </a:lnTo>
                <a:lnTo>
                  <a:pt x="280" y="836"/>
                </a:lnTo>
                <a:lnTo>
                  <a:pt x="280" y="831"/>
                </a:lnTo>
                <a:lnTo>
                  <a:pt x="275" y="831"/>
                </a:lnTo>
                <a:lnTo>
                  <a:pt x="270" y="826"/>
                </a:lnTo>
                <a:lnTo>
                  <a:pt x="265" y="826"/>
                </a:lnTo>
                <a:lnTo>
                  <a:pt x="265" y="821"/>
                </a:lnTo>
                <a:lnTo>
                  <a:pt x="260" y="806"/>
                </a:lnTo>
                <a:lnTo>
                  <a:pt x="260" y="801"/>
                </a:lnTo>
                <a:lnTo>
                  <a:pt x="260" y="796"/>
                </a:lnTo>
                <a:lnTo>
                  <a:pt x="254" y="791"/>
                </a:lnTo>
                <a:lnTo>
                  <a:pt x="254" y="780"/>
                </a:lnTo>
                <a:lnTo>
                  <a:pt x="249" y="780"/>
                </a:lnTo>
                <a:lnTo>
                  <a:pt x="244" y="780"/>
                </a:lnTo>
                <a:lnTo>
                  <a:pt x="239" y="775"/>
                </a:lnTo>
                <a:lnTo>
                  <a:pt x="229" y="775"/>
                </a:lnTo>
                <a:lnTo>
                  <a:pt x="219" y="780"/>
                </a:lnTo>
                <a:lnTo>
                  <a:pt x="214" y="780"/>
                </a:lnTo>
                <a:lnTo>
                  <a:pt x="214" y="775"/>
                </a:lnTo>
                <a:lnTo>
                  <a:pt x="209" y="770"/>
                </a:lnTo>
                <a:lnTo>
                  <a:pt x="204" y="770"/>
                </a:lnTo>
                <a:lnTo>
                  <a:pt x="198" y="770"/>
                </a:lnTo>
                <a:lnTo>
                  <a:pt x="193" y="770"/>
                </a:lnTo>
                <a:lnTo>
                  <a:pt x="188" y="770"/>
                </a:lnTo>
                <a:lnTo>
                  <a:pt x="188" y="765"/>
                </a:lnTo>
                <a:lnTo>
                  <a:pt x="183" y="765"/>
                </a:lnTo>
                <a:lnTo>
                  <a:pt x="178" y="765"/>
                </a:lnTo>
                <a:lnTo>
                  <a:pt x="173" y="765"/>
                </a:lnTo>
                <a:lnTo>
                  <a:pt x="168" y="765"/>
                </a:lnTo>
                <a:lnTo>
                  <a:pt x="163" y="765"/>
                </a:lnTo>
                <a:lnTo>
                  <a:pt x="153" y="770"/>
                </a:lnTo>
                <a:lnTo>
                  <a:pt x="148" y="770"/>
                </a:lnTo>
                <a:lnTo>
                  <a:pt x="142" y="770"/>
                </a:lnTo>
                <a:lnTo>
                  <a:pt x="127" y="765"/>
                </a:lnTo>
                <a:lnTo>
                  <a:pt x="127" y="760"/>
                </a:lnTo>
                <a:lnTo>
                  <a:pt x="122" y="760"/>
                </a:lnTo>
                <a:lnTo>
                  <a:pt x="117" y="755"/>
                </a:lnTo>
                <a:lnTo>
                  <a:pt x="117" y="750"/>
                </a:lnTo>
                <a:lnTo>
                  <a:pt x="117" y="745"/>
                </a:lnTo>
                <a:lnTo>
                  <a:pt x="112" y="745"/>
                </a:lnTo>
                <a:lnTo>
                  <a:pt x="107" y="745"/>
                </a:lnTo>
                <a:lnTo>
                  <a:pt x="102" y="745"/>
                </a:lnTo>
                <a:lnTo>
                  <a:pt x="97" y="745"/>
                </a:lnTo>
                <a:lnTo>
                  <a:pt x="92" y="745"/>
                </a:lnTo>
                <a:lnTo>
                  <a:pt x="81" y="755"/>
                </a:lnTo>
                <a:lnTo>
                  <a:pt x="76" y="755"/>
                </a:lnTo>
                <a:lnTo>
                  <a:pt x="71" y="755"/>
                </a:lnTo>
                <a:lnTo>
                  <a:pt x="71" y="750"/>
                </a:lnTo>
                <a:lnTo>
                  <a:pt x="66" y="750"/>
                </a:lnTo>
                <a:lnTo>
                  <a:pt x="61" y="750"/>
                </a:lnTo>
                <a:lnTo>
                  <a:pt x="56" y="750"/>
                </a:lnTo>
                <a:lnTo>
                  <a:pt x="46" y="750"/>
                </a:lnTo>
                <a:lnTo>
                  <a:pt x="46" y="745"/>
                </a:lnTo>
                <a:lnTo>
                  <a:pt x="41" y="745"/>
                </a:lnTo>
                <a:lnTo>
                  <a:pt x="36" y="745"/>
                </a:lnTo>
                <a:lnTo>
                  <a:pt x="31" y="745"/>
                </a:lnTo>
                <a:lnTo>
                  <a:pt x="25" y="740"/>
                </a:lnTo>
                <a:lnTo>
                  <a:pt x="20" y="735"/>
                </a:lnTo>
                <a:lnTo>
                  <a:pt x="10" y="725"/>
                </a:lnTo>
                <a:lnTo>
                  <a:pt x="5" y="720"/>
                </a:lnTo>
                <a:lnTo>
                  <a:pt x="5" y="715"/>
                </a:lnTo>
                <a:lnTo>
                  <a:pt x="0" y="709"/>
                </a:lnTo>
                <a:lnTo>
                  <a:pt x="5" y="704"/>
                </a:lnTo>
                <a:lnTo>
                  <a:pt x="5" y="699"/>
                </a:lnTo>
                <a:lnTo>
                  <a:pt x="5" y="694"/>
                </a:lnTo>
                <a:lnTo>
                  <a:pt x="5" y="689"/>
                </a:lnTo>
                <a:lnTo>
                  <a:pt x="5" y="679"/>
                </a:lnTo>
                <a:lnTo>
                  <a:pt x="10" y="679"/>
                </a:lnTo>
                <a:lnTo>
                  <a:pt x="10" y="674"/>
                </a:lnTo>
                <a:lnTo>
                  <a:pt x="15" y="669"/>
                </a:lnTo>
                <a:lnTo>
                  <a:pt x="20" y="664"/>
                </a:lnTo>
                <a:lnTo>
                  <a:pt x="20" y="659"/>
                </a:lnTo>
                <a:lnTo>
                  <a:pt x="31" y="649"/>
                </a:lnTo>
                <a:lnTo>
                  <a:pt x="36" y="644"/>
                </a:lnTo>
                <a:lnTo>
                  <a:pt x="41" y="639"/>
                </a:lnTo>
                <a:lnTo>
                  <a:pt x="46" y="639"/>
                </a:lnTo>
                <a:lnTo>
                  <a:pt x="41" y="639"/>
                </a:lnTo>
                <a:lnTo>
                  <a:pt x="41" y="633"/>
                </a:lnTo>
                <a:lnTo>
                  <a:pt x="36" y="633"/>
                </a:lnTo>
                <a:lnTo>
                  <a:pt x="36" y="628"/>
                </a:lnTo>
                <a:lnTo>
                  <a:pt x="31" y="628"/>
                </a:lnTo>
                <a:lnTo>
                  <a:pt x="31" y="623"/>
                </a:lnTo>
                <a:lnTo>
                  <a:pt x="31" y="618"/>
                </a:lnTo>
                <a:lnTo>
                  <a:pt x="36" y="613"/>
                </a:lnTo>
                <a:lnTo>
                  <a:pt x="36" y="608"/>
                </a:lnTo>
                <a:lnTo>
                  <a:pt x="41" y="608"/>
                </a:lnTo>
                <a:lnTo>
                  <a:pt x="47" y="592"/>
                </a:lnTo>
                <a:lnTo>
                  <a:pt x="75" y="588"/>
                </a:lnTo>
                <a:lnTo>
                  <a:pt x="87" y="568"/>
                </a:lnTo>
                <a:lnTo>
                  <a:pt x="111" y="543"/>
                </a:lnTo>
                <a:lnTo>
                  <a:pt x="122" y="552"/>
                </a:lnTo>
                <a:lnTo>
                  <a:pt x="127" y="542"/>
                </a:lnTo>
                <a:lnTo>
                  <a:pt x="137" y="527"/>
                </a:lnTo>
                <a:lnTo>
                  <a:pt x="142" y="527"/>
                </a:lnTo>
                <a:lnTo>
                  <a:pt x="153" y="517"/>
                </a:lnTo>
                <a:lnTo>
                  <a:pt x="140" y="495"/>
                </a:lnTo>
                <a:lnTo>
                  <a:pt x="136" y="479"/>
                </a:lnTo>
                <a:lnTo>
                  <a:pt x="134" y="468"/>
                </a:lnTo>
                <a:lnTo>
                  <a:pt x="136" y="419"/>
                </a:lnTo>
                <a:lnTo>
                  <a:pt x="134" y="416"/>
                </a:lnTo>
                <a:lnTo>
                  <a:pt x="144" y="395"/>
                </a:lnTo>
                <a:lnTo>
                  <a:pt x="168" y="385"/>
                </a:lnTo>
                <a:lnTo>
                  <a:pt x="163" y="370"/>
                </a:lnTo>
                <a:lnTo>
                  <a:pt x="163" y="360"/>
                </a:lnTo>
                <a:lnTo>
                  <a:pt x="178" y="355"/>
                </a:lnTo>
                <a:lnTo>
                  <a:pt x="176" y="341"/>
                </a:lnTo>
                <a:lnTo>
                  <a:pt x="188" y="326"/>
                </a:lnTo>
                <a:lnTo>
                  <a:pt x="194" y="311"/>
                </a:lnTo>
                <a:lnTo>
                  <a:pt x="203" y="291"/>
                </a:lnTo>
                <a:lnTo>
                  <a:pt x="214" y="284"/>
                </a:lnTo>
                <a:lnTo>
                  <a:pt x="214" y="274"/>
                </a:lnTo>
                <a:lnTo>
                  <a:pt x="201" y="253"/>
                </a:lnTo>
                <a:lnTo>
                  <a:pt x="209" y="243"/>
                </a:lnTo>
                <a:lnTo>
                  <a:pt x="209" y="238"/>
                </a:lnTo>
                <a:lnTo>
                  <a:pt x="214" y="238"/>
                </a:lnTo>
                <a:lnTo>
                  <a:pt x="214" y="233"/>
                </a:lnTo>
                <a:lnTo>
                  <a:pt x="219" y="233"/>
                </a:lnTo>
                <a:lnTo>
                  <a:pt x="219" y="228"/>
                </a:lnTo>
                <a:lnTo>
                  <a:pt x="219" y="223"/>
                </a:lnTo>
                <a:lnTo>
                  <a:pt x="224" y="218"/>
                </a:lnTo>
                <a:lnTo>
                  <a:pt x="224" y="213"/>
                </a:lnTo>
                <a:lnTo>
                  <a:pt x="229" y="208"/>
                </a:lnTo>
                <a:lnTo>
                  <a:pt x="234" y="208"/>
                </a:lnTo>
                <a:lnTo>
                  <a:pt x="239" y="208"/>
                </a:lnTo>
                <a:lnTo>
                  <a:pt x="239" y="203"/>
                </a:lnTo>
                <a:lnTo>
                  <a:pt x="244" y="203"/>
                </a:lnTo>
                <a:lnTo>
                  <a:pt x="244" y="198"/>
                </a:lnTo>
                <a:lnTo>
                  <a:pt x="249" y="198"/>
                </a:lnTo>
                <a:lnTo>
                  <a:pt x="254" y="193"/>
                </a:lnTo>
                <a:lnTo>
                  <a:pt x="260" y="193"/>
                </a:lnTo>
                <a:lnTo>
                  <a:pt x="260" y="188"/>
                </a:lnTo>
                <a:lnTo>
                  <a:pt x="265" y="188"/>
                </a:lnTo>
                <a:lnTo>
                  <a:pt x="270" y="182"/>
                </a:lnTo>
                <a:lnTo>
                  <a:pt x="275" y="182"/>
                </a:lnTo>
                <a:lnTo>
                  <a:pt x="275" y="177"/>
                </a:lnTo>
                <a:lnTo>
                  <a:pt x="280" y="172"/>
                </a:lnTo>
                <a:lnTo>
                  <a:pt x="280" y="167"/>
                </a:lnTo>
                <a:lnTo>
                  <a:pt x="285" y="167"/>
                </a:lnTo>
                <a:lnTo>
                  <a:pt x="285" y="162"/>
                </a:lnTo>
                <a:lnTo>
                  <a:pt x="290" y="162"/>
                </a:lnTo>
                <a:lnTo>
                  <a:pt x="290" y="157"/>
                </a:lnTo>
                <a:lnTo>
                  <a:pt x="290" y="152"/>
                </a:lnTo>
                <a:lnTo>
                  <a:pt x="295" y="152"/>
                </a:lnTo>
                <a:lnTo>
                  <a:pt x="295" y="147"/>
                </a:lnTo>
                <a:lnTo>
                  <a:pt x="295" y="142"/>
                </a:lnTo>
                <a:lnTo>
                  <a:pt x="295" y="137"/>
                </a:lnTo>
                <a:lnTo>
                  <a:pt x="300" y="132"/>
                </a:lnTo>
                <a:lnTo>
                  <a:pt x="305" y="127"/>
                </a:lnTo>
                <a:lnTo>
                  <a:pt x="305" y="122"/>
                </a:lnTo>
                <a:lnTo>
                  <a:pt x="305" y="117"/>
                </a:lnTo>
                <a:lnTo>
                  <a:pt x="310" y="111"/>
                </a:lnTo>
                <a:lnTo>
                  <a:pt x="305" y="111"/>
                </a:lnTo>
                <a:lnTo>
                  <a:pt x="305" y="106"/>
                </a:lnTo>
                <a:lnTo>
                  <a:pt x="305" y="101"/>
                </a:lnTo>
                <a:lnTo>
                  <a:pt x="305" y="96"/>
                </a:lnTo>
                <a:lnTo>
                  <a:pt x="300" y="91"/>
                </a:lnTo>
                <a:lnTo>
                  <a:pt x="305" y="86"/>
                </a:lnTo>
                <a:lnTo>
                  <a:pt x="305" y="81"/>
                </a:lnTo>
                <a:lnTo>
                  <a:pt x="310" y="76"/>
                </a:lnTo>
                <a:lnTo>
                  <a:pt x="310" y="71"/>
                </a:lnTo>
                <a:lnTo>
                  <a:pt x="310" y="66"/>
                </a:lnTo>
                <a:lnTo>
                  <a:pt x="315" y="66"/>
                </a:lnTo>
                <a:lnTo>
                  <a:pt x="315" y="61"/>
                </a:lnTo>
                <a:lnTo>
                  <a:pt x="321" y="56"/>
                </a:lnTo>
                <a:lnTo>
                  <a:pt x="321" y="51"/>
                </a:lnTo>
                <a:lnTo>
                  <a:pt x="321" y="46"/>
                </a:lnTo>
                <a:lnTo>
                  <a:pt x="326" y="46"/>
                </a:lnTo>
                <a:lnTo>
                  <a:pt x="331" y="46"/>
                </a:lnTo>
                <a:lnTo>
                  <a:pt x="336" y="41"/>
                </a:lnTo>
                <a:lnTo>
                  <a:pt x="341" y="41"/>
                </a:lnTo>
                <a:lnTo>
                  <a:pt x="346" y="41"/>
                </a:lnTo>
                <a:lnTo>
                  <a:pt x="351" y="41"/>
                </a:lnTo>
                <a:lnTo>
                  <a:pt x="356" y="41"/>
                </a:lnTo>
                <a:lnTo>
                  <a:pt x="361" y="41"/>
                </a:lnTo>
                <a:lnTo>
                  <a:pt x="361" y="35"/>
                </a:lnTo>
                <a:lnTo>
                  <a:pt x="366" y="35"/>
                </a:lnTo>
                <a:lnTo>
                  <a:pt x="371" y="35"/>
                </a:lnTo>
                <a:lnTo>
                  <a:pt x="377" y="35"/>
                </a:lnTo>
                <a:lnTo>
                  <a:pt x="382" y="35"/>
                </a:lnTo>
                <a:lnTo>
                  <a:pt x="387" y="35"/>
                </a:lnTo>
                <a:lnTo>
                  <a:pt x="392" y="35"/>
                </a:lnTo>
                <a:lnTo>
                  <a:pt x="392" y="41"/>
                </a:lnTo>
                <a:lnTo>
                  <a:pt x="397" y="41"/>
                </a:lnTo>
                <a:lnTo>
                  <a:pt x="402" y="35"/>
                </a:lnTo>
                <a:lnTo>
                  <a:pt x="407" y="35"/>
                </a:lnTo>
                <a:lnTo>
                  <a:pt x="428" y="15"/>
                </a:lnTo>
                <a:lnTo>
                  <a:pt x="428" y="35"/>
                </a:lnTo>
                <a:lnTo>
                  <a:pt x="456" y="15"/>
                </a:lnTo>
                <a:lnTo>
                  <a:pt x="427" y="35"/>
                </a:lnTo>
                <a:lnTo>
                  <a:pt x="433" y="30"/>
                </a:lnTo>
                <a:lnTo>
                  <a:pt x="438" y="30"/>
                </a:lnTo>
                <a:lnTo>
                  <a:pt x="443" y="30"/>
                </a:lnTo>
                <a:lnTo>
                  <a:pt x="443" y="25"/>
                </a:lnTo>
                <a:lnTo>
                  <a:pt x="448" y="25"/>
                </a:lnTo>
                <a:lnTo>
                  <a:pt x="453" y="25"/>
                </a:lnTo>
                <a:lnTo>
                  <a:pt x="458" y="25"/>
                </a:lnTo>
                <a:lnTo>
                  <a:pt x="463" y="25"/>
                </a:lnTo>
                <a:lnTo>
                  <a:pt x="468" y="25"/>
                </a:lnTo>
                <a:lnTo>
                  <a:pt x="473" y="25"/>
                </a:lnTo>
                <a:lnTo>
                  <a:pt x="478" y="25"/>
                </a:lnTo>
                <a:lnTo>
                  <a:pt x="483" y="25"/>
                </a:lnTo>
                <a:lnTo>
                  <a:pt x="483" y="20"/>
                </a:lnTo>
                <a:lnTo>
                  <a:pt x="488" y="20"/>
                </a:lnTo>
                <a:lnTo>
                  <a:pt x="494" y="20"/>
                </a:lnTo>
                <a:lnTo>
                  <a:pt x="499" y="15"/>
                </a:lnTo>
                <a:lnTo>
                  <a:pt x="504" y="15"/>
                </a:lnTo>
                <a:lnTo>
                  <a:pt x="509" y="15"/>
                </a:lnTo>
                <a:lnTo>
                  <a:pt x="514" y="15"/>
                </a:lnTo>
                <a:lnTo>
                  <a:pt x="519" y="10"/>
                </a:lnTo>
                <a:lnTo>
                  <a:pt x="524" y="10"/>
                </a:lnTo>
                <a:lnTo>
                  <a:pt x="524" y="15"/>
                </a:lnTo>
                <a:lnTo>
                  <a:pt x="529" y="10"/>
                </a:lnTo>
                <a:lnTo>
                  <a:pt x="534" y="10"/>
                </a:lnTo>
                <a:lnTo>
                  <a:pt x="539" y="10"/>
                </a:lnTo>
                <a:lnTo>
                  <a:pt x="544" y="10"/>
                </a:lnTo>
                <a:lnTo>
                  <a:pt x="550" y="10"/>
                </a:lnTo>
                <a:lnTo>
                  <a:pt x="555" y="10"/>
                </a:lnTo>
                <a:lnTo>
                  <a:pt x="560" y="10"/>
                </a:lnTo>
                <a:lnTo>
                  <a:pt x="565" y="10"/>
                </a:lnTo>
                <a:lnTo>
                  <a:pt x="570" y="10"/>
                </a:lnTo>
                <a:lnTo>
                  <a:pt x="570" y="5"/>
                </a:lnTo>
                <a:lnTo>
                  <a:pt x="575" y="5"/>
                </a:lnTo>
                <a:lnTo>
                  <a:pt x="580" y="5"/>
                </a:lnTo>
                <a:lnTo>
                  <a:pt x="585" y="0"/>
                </a:lnTo>
                <a:lnTo>
                  <a:pt x="590" y="0"/>
                </a:lnTo>
                <a:lnTo>
                  <a:pt x="595" y="0"/>
                </a:lnTo>
                <a:lnTo>
                  <a:pt x="600" y="0"/>
                </a:lnTo>
                <a:lnTo>
                  <a:pt x="606" y="0"/>
                </a:lnTo>
                <a:lnTo>
                  <a:pt x="606" y="5"/>
                </a:lnTo>
                <a:lnTo>
                  <a:pt x="611" y="5"/>
                </a:lnTo>
                <a:lnTo>
                  <a:pt x="616" y="5"/>
                </a:lnTo>
                <a:lnTo>
                  <a:pt x="616" y="1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7" name="Freeform 163"/>
          <p:cNvSpPr>
            <a:spLocks/>
          </p:cNvSpPr>
          <p:nvPr>
            <p:custDataLst>
              <p:tags r:id="rId83"/>
            </p:custDataLst>
          </p:nvPr>
        </p:nvSpPr>
        <p:spPr bwMode="gray">
          <a:xfrm>
            <a:off x="4867322" y="2007011"/>
            <a:ext cx="277892" cy="778837"/>
          </a:xfrm>
          <a:custGeom>
            <a:avLst/>
            <a:gdLst>
              <a:gd name="T0" fmla="*/ 274 w 292"/>
              <a:gd name="T1" fmla="*/ 6 h 871"/>
              <a:gd name="T2" fmla="*/ 274 w 292"/>
              <a:gd name="T3" fmla="*/ 30 h 871"/>
              <a:gd name="T4" fmla="*/ 225 w 292"/>
              <a:gd name="T5" fmla="*/ 213 h 871"/>
              <a:gd name="T6" fmla="*/ 248 w 292"/>
              <a:gd name="T7" fmla="*/ 310 h 871"/>
              <a:gd name="T8" fmla="*/ 231 w 292"/>
              <a:gd name="T9" fmla="*/ 499 h 871"/>
              <a:gd name="T10" fmla="*/ 251 w 292"/>
              <a:gd name="T11" fmla="*/ 735 h 871"/>
              <a:gd name="T12" fmla="*/ 165 w 292"/>
              <a:gd name="T13" fmla="*/ 871 h 871"/>
              <a:gd name="T14" fmla="*/ 141 w 292"/>
              <a:gd name="T15" fmla="*/ 793 h 871"/>
              <a:gd name="T16" fmla="*/ 0 w 292"/>
              <a:gd name="T17" fmla="*/ 697 h 871"/>
              <a:gd name="T18" fmla="*/ 76 w 292"/>
              <a:gd name="T19" fmla="*/ 624 h 871"/>
              <a:gd name="T20" fmla="*/ 64 w 292"/>
              <a:gd name="T21" fmla="*/ 594 h 871"/>
              <a:gd name="T22" fmla="*/ 58 w 292"/>
              <a:gd name="T23" fmla="*/ 570 h 871"/>
              <a:gd name="T24" fmla="*/ 52 w 292"/>
              <a:gd name="T25" fmla="*/ 552 h 871"/>
              <a:gd name="T26" fmla="*/ 34 w 292"/>
              <a:gd name="T27" fmla="*/ 522 h 871"/>
              <a:gd name="T28" fmla="*/ 16 w 292"/>
              <a:gd name="T29" fmla="*/ 498 h 871"/>
              <a:gd name="T30" fmla="*/ 22 w 292"/>
              <a:gd name="T31" fmla="*/ 486 h 871"/>
              <a:gd name="T32" fmla="*/ 28 w 292"/>
              <a:gd name="T33" fmla="*/ 474 h 871"/>
              <a:gd name="T34" fmla="*/ 28 w 292"/>
              <a:gd name="T35" fmla="*/ 462 h 871"/>
              <a:gd name="T36" fmla="*/ 28 w 292"/>
              <a:gd name="T37" fmla="*/ 450 h 871"/>
              <a:gd name="T38" fmla="*/ 28 w 292"/>
              <a:gd name="T39" fmla="*/ 438 h 871"/>
              <a:gd name="T40" fmla="*/ 28 w 292"/>
              <a:gd name="T41" fmla="*/ 426 h 871"/>
              <a:gd name="T42" fmla="*/ 28 w 292"/>
              <a:gd name="T43" fmla="*/ 414 h 871"/>
              <a:gd name="T44" fmla="*/ 28 w 292"/>
              <a:gd name="T45" fmla="*/ 402 h 871"/>
              <a:gd name="T46" fmla="*/ 22 w 292"/>
              <a:gd name="T47" fmla="*/ 396 h 871"/>
              <a:gd name="T48" fmla="*/ 16 w 292"/>
              <a:gd name="T49" fmla="*/ 384 h 871"/>
              <a:gd name="T50" fmla="*/ 16 w 292"/>
              <a:gd name="T51" fmla="*/ 372 h 871"/>
              <a:gd name="T52" fmla="*/ 22 w 292"/>
              <a:gd name="T53" fmla="*/ 366 h 871"/>
              <a:gd name="T54" fmla="*/ 28 w 292"/>
              <a:gd name="T55" fmla="*/ 354 h 871"/>
              <a:gd name="T56" fmla="*/ 28 w 292"/>
              <a:gd name="T57" fmla="*/ 342 h 871"/>
              <a:gd name="T58" fmla="*/ 34 w 292"/>
              <a:gd name="T59" fmla="*/ 336 h 871"/>
              <a:gd name="T60" fmla="*/ 32 w 292"/>
              <a:gd name="T61" fmla="*/ 316 h 871"/>
              <a:gd name="T62" fmla="*/ 40 w 292"/>
              <a:gd name="T63" fmla="*/ 312 h 871"/>
              <a:gd name="T64" fmla="*/ 40 w 292"/>
              <a:gd name="T65" fmla="*/ 300 h 871"/>
              <a:gd name="T66" fmla="*/ 40 w 292"/>
              <a:gd name="T67" fmla="*/ 288 h 871"/>
              <a:gd name="T68" fmla="*/ 40 w 292"/>
              <a:gd name="T69" fmla="*/ 276 h 871"/>
              <a:gd name="T70" fmla="*/ 45 w 292"/>
              <a:gd name="T71" fmla="*/ 263 h 871"/>
              <a:gd name="T72" fmla="*/ 52 w 292"/>
              <a:gd name="T73" fmla="*/ 246 h 871"/>
              <a:gd name="T74" fmla="*/ 57 w 292"/>
              <a:gd name="T75" fmla="*/ 224 h 871"/>
              <a:gd name="T76" fmla="*/ 64 w 292"/>
              <a:gd name="T77" fmla="*/ 168 h 871"/>
              <a:gd name="T78" fmla="*/ 64 w 292"/>
              <a:gd name="T79" fmla="*/ 156 h 871"/>
              <a:gd name="T80" fmla="*/ 64 w 292"/>
              <a:gd name="T81" fmla="*/ 144 h 871"/>
              <a:gd name="T82" fmla="*/ 58 w 292"/>
              <a:gd name="T83" fmla="*/ 138 h 871"/>
              <a:gd name="T84" fmla="*/ 52 w 292"/>
              <a:gd name="T85" fmla="*/ 126 h 871"/>
              <a:gd name="T86" fmla="*/ 52 w 292"/>
              <a:gd name="T87" fmla="*/ 114 h 871"/>
              <a:gd name="T88" fmla="*/ 58 w 292"/>
              <a:gd name="T89" fmla="*/ 108 h 871"/>
              <a:gd name="T90" fmla="*/ 58 w 292"/>
              <a:gd name="T91" fmla="*/ 96 h 871"/>
              <a:gd name="T92" fmla="*/ 64 w 292"/>
              <a:gd name="T93" fmla="*/ 90 h 871"/>
              <a:gd name="T94" fmla="*/ 64 w 292"/>
              <a:gd name="T95" fmla="*/ 78 h 871"/>
              <a:gd name="T96" fmla="*/ 64 w 292"/>
              <a:gd name="T97" fmla="*/ 66 h 871"/>
              <a:gd name="T98" fmla="*/ 58 w 292"/>
              <a:gd name="T99" fmla="*/ 60 h 871"/>
              <a:gd name="T100" fmla="*/ 58 w 292"/>
              <a:gd name="T101" fmla="*/ 48 h 871"/>
              <a:gd name="T102" fmla="*/ 58 w 292"/>
              <a:gd name="T103" fmla="*/ 36 h 871"/>
              <a:gd name="T104" fmla="*/ 58 w 292"/>
              <a:gd name="T105" fmla="*/ 24 h 871"/>
              <a:gd name="T106" fmla="*/ 58 w 292"/>
              <a:gd name="T107" fmla="*/ 12 h 871"/>
              <a:gd name="T108" fmla="*/ 58 w 292"/>
              <a:gd name="T109" fmla="*/ 0 h 8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92" h="871">
                <a:moveTo>
                  <a:pt x="52" y="0"/>
                </a:moveTo>
                <a:lnTo>
                  <a:pt x="274" y="6"/>
                </a:lnTo>
                <a:lnTo>
                  <a:pt x="292" y="6"/>
                </a:lnTo>
                <a:lnTo>
                  <a:pt x="274" y="30"/>
                </a:lnTo>
                <a:lnTo>
                  <a:pt x="262" y="96"/>
                </a:lnTo>
                <a:lnTo>
                  <a:pt x="225" y="213"/>
                </a:lnTo>
                <a:lnTo>
                  <a:pt x="231" y="262"/>
                </a:lnTo>
                <a:lnTo>
                  <a:pt x="248" y="310"/>
                </a:lnTo>
                <a:lnTo>
                  <a:pt x="228" y="430"/>
                </a:lnTo>
                <a:lnTo>
                  <a:pt x="231" y="499"/>
                </a:lnTo>
                <a:lnTo>
                  <a:pt x="268" y="696"/>
                </a:lnTo>
                <a:lnTo>
                  <a:pt x="251" y="735"/>
                </a:lnTo>
                <a:lnTo>
                  <a:pt x="287" y="757"/>
                </a:lnTo>
                <a:lnTo>
                  <a:pt x="165" y="871"/>
                </a:lnTo>
                <a:lnTo>
                  <a:pt x="132" y="841"/>
                </a:lnTo>
                <a:lnTo>
                  <a:pt x="141" y="793"/>
                </a:lnTo>
                <a:lnTo>
                  <a:pt x="149" y="745"/>
                </a:lnTo>
                <a:lnTo>
                  <a:pt x="0" y="697"/>
                </a:lnTo>
                <a:lnTo>
                  <a:pt x="82" y="636"/>
                </a:lnTo>
                <a:lnTo>
                  <a:pt x="76" y="624"/>
                </a:lnTo>
                <a:lnTo>
                  <a:pt x="76" y="612"/>
                </a:lnTo>
                <a:lnTo>
                  <a:pt x="64" y="594"/>
                </a:lnTo>
                <a:lnTo>
                  <a:pt x="58" y="582"/>
                </a:lnTo>
                <a:lnTo>
                  <a:pt x="58" y="570"/>
                </a:lnTo>
                <a:lnTo>
                  <a:pt x="58" y="564"/>
                </a:lnTo>
                <a:lnTo>
                  <a:pt x="52" y="552"/>
                </a:lnTo>
                <a:lnTo>
                  <a:pt x="40" y="534"/>
                </a:lnTo>
                <a:lnTo>
                  <a:pt x="34" y="522"/>
                </a:lnTo>
                <a:lnTo>
                  <a:pt x="22" y="510"/>
                </a:lnTo>
                <a:lnTo>
                  <a:pt x="16" y="498"/>
                </a:lnTo>
                <a:lnTo>
                  <a:pt x="22" y="492"/>
                </a:lnTo>
                <a:lnTo>
                  <a:pt x="22" y="486"/>
                </a:lnTo>
                <a:lnTo>
                  <a:pt x="28" y="480"/>
                </a:lnTo>
                <a:lnTo>
                  <a:pt x="28" y="474"/>
                </a:lnTo>
                <a:lnTo>
                  <a:pt x="28" y="468"/>
                </a:lnTo>
                <a:lnTo>
                  <a:pt x="28" y="462"/>
                </a:lnTo>
                <a:lnTo>
                  <a:pt x="28" y="456"/>
                </a:lnTo>
                <a:lnTo>
                  <a:pt x="28" y="450"/>
                </a:lnTo>
                <a:lnTo>
                  <a:pt x="28" y="444"/>
                </a:lnTo>
                <a:lnTo>
                  <a:pt x="28" y="438"/>
                </a:lnTo>
                <a:lnTo>
                  <a:pt x="28" y="432"/>
                </a:lnTo>
                <a:lnTo>
                  <a:pt x="28" y="426"/>
                </a:lnTo>
                <a:lnTo>
                  <a:pt x="28" y="420"/>
                </a:lnTo>
                <a:lnTo>
                  <a:pt x="28" y="414"/>
                </a:lnTo>
                <a:lnTo>
                  <a:pt x="28" y="408"/>
                </a:lnTo>
                <a:lnTo>
                  <a:pt x="28" y="402"/>
                </a:lnTo>
                <a:lnTo>
                  <a:pt x="22" y="402"/>
                </a:lnTo>
                <a:lnTo>
                  <a:pt x="22" y="396"/>
                </a:lnTo>
                <a:lnTo>
                  <a:pt x="22" y="390"/>
                </a:lnTo>
                <a:lnTo>
                  <a:pt x="16" y="384"/>
                </a:lnTo>
                <a:lnTo>
                  <a:pt x="16" y="378"/>
                </a:lnTo>
                <a:lnTo>
                  <a:pt x="16" y="372"/>
                </a:lnTo>
                <a:lnTo>
                  <a:pt x="22" y="372"/>
                </a:lnTo>
                <a:lnTo>
                  <a:pt x="22" y="366"/>
                </a:lnTo>
                <a:lnTo>
                  <a:pt x="22" y="360"/>
                </a:lnTo>
                <a:lnTo>
                  <a:pt x="28" y="354"/>
                </a:lnTo>
                <a:lnTo>
                  <a:pt x="28" y="348"/>
                </a:lnTo>
                <a:lnTo>
                  <a:pt x="28" y="342"/>
                </a:lnTo>
                <a:lnTo>
                  <a:pt x="34" y="342"/>
                </a:lnTo>
                <a:lnTo>
                  <a:pt x="34" y="336"/>
                </a:lnTo>
                <a:lnTo>
                  <a:pt x="34" y="330"/>
                </a:lnTo>
                <a:lnTo>
                  <a:pt x="32" y="316"/>
                </a:lnTo>
                <a:lnTo>
                  <a:pt x="35" y="313"/>
                </a:lnTo>
                <a:lnTo>
                  <a:pt x="40" y="312"/>
                </a:lnTo>
                <a:lnTo>
                  <a:pt x="40" y="306"/>
                </a:lnTo>
                <a:lnTo>
                  <a:pt x="40" y="300"/>
                </a:lnTo>
                <a:lnTo>
                  <a:pt x="40" y="294"/>
                </a:lnTo>
                <a:lnTo>
                  <a:pt x="40" y="288"/>
                </a:lnTo>
                <a:lnTo>
                  <a:pt x="40" y="282"/>
                </a:lnTo>
                <a:lnTo>
                  <a:pt x="40" y="276"/>
                </a:lnTo>
                <a:lnTo>
                  <a:pt x="37" y="270"/>
                </a:lnTo>
                <a:lnTo>
                  <a:pt x="45" y="263"/>
                </a:lnTo>
                <a:lnTo>
                  <a:pt x="49" y="255"/>
                </a:lnTo>
                <a:lnTo>
                  <a:pt x="52" y="246"/>
                </a:lnTo>
                <a:lnTo>
                  <a:pt x="55" y="230"/>
                </a:lnTo>
                <a:lnTo>
                  <a:pt x="57" y="224"/>
                </a:lnTo>
                <a:lnTo>
                  <a:pt x="70" y="168"/>
                </a:lnTo>
                <a:lnTo>
                  <a:pt x="64" y="168"/>
                </a:lnTo>
                <a:lnTo>
                  <a:pt x="64" y="162"/>
                </a:lnTo>
                <a:lnTo>
                  <a:pt x="64" y="156"/>
                </a:lnTo>
                <a:lnTo>
                  <a:pt x="64" y="150"/>
                </a:lnTo>
                <a:lnTo>
                  <a:pt x="64" y="144"/>
                </a:lnTo>
                <a:lnTo>
                  <a:pt x="58" y="144"/>
                </a:lnTo>
                <a:lnTo>
                  <a:pt x="58" y="138"/>
                </a:lnTo>
                <a:lnTo>
                  <a:pt x="58" y="132"/>
                </a:lnTo>
                <a:lnTo>
                  <a:pt x="52" y="126"/>
                </a:lnTo>
                <a:lnTo>
                  <a:pt x="52" y="120"/>
                </a:lnTo>
                <a:lnTo>
                  <a:pt x="52" y="114"/>
                </a:lnTo>
                <a:lnTo>
                  <a:pt x="52" y="108"/>
                </a:lnTo>
                <a:lnTo>
                  <a:pt x="58" y="108"/>
                </a:lnTo>
                <a:lnTo>
                  <a:pt x="58" y="102"/>
                </a:lnTo>
                <a:lnTo>
                  <a:pt x="58" y="96"/>
                </a:lnTo>
                <a:lnTo>
                  <a:pt x="64" y="96"/>
                </a:lnTo>
                <a:lnTo>
                  <a:pt x="64" y="90"/>
                </a:lnTo>
                <a:lnTo>
                  <a:pt x="64" y="84"/>
                </a:lnTo>
                <a:lnTo>
                  <a:pt x="64" y="78"/>
                </a:lnTo>
                <a:lnTo>
                  <a:pt x="64" y="72"/>
                </a:lnTo>
                <a:lnTo>
                  <a:pt x="64" y="66"/>
                </a:lnTo>
                <a:lnTo>
                  <a:pt x="64" y="60"/>
                </a:lnTo>
                <a:lnTo>
                  <a:pt x="58" y="60"/>
                </a:lnTo>
                <a:lnTo>
                  <a:pt x="58" y="54"/>
                </a:lnTo>
                <a:lnTo>
                  <a:pt x="58" y="48"/>
                </a:lnTo>
                <a:lnTo>
                  <a:pt x="58" y="42"/>
                </a:lnTo>
                <a:lnTo>
                  <a:pt x="58" y="36"/>
                </a:lnTo>
                <a:lnTo>
                  <a:pt x="58" y="30"/>
                </a:lnTo>
                <a:lnTo>
                  <a:pt x="58" y="24"/>
                </a:lnTo>
                <a:lnTo>
                  <a:pt x="58" y="18"/>
                </a:lnTo>
                <a:lnTo>
                  <a:pt x="58" y="12"/>
                </a:lnTo>
                <a:lnTo>
                  <a:pt x="58" y="6"/>
                </a:lnTo>
                <a:lnTo>
                  <a:pt x="58" y="0"/>
                </a:lnTo>
                <a:lnTo>
                  <a:pt x="52" y="0"/>
                </a:lnTo>
                <a:close/>
              </a:path>
            </a:pathLst>
          </a:custGeom>
          <a:solidFill>
            <a:schemeClr val="accent3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18" name="Freeform 164"/>
          <p:cNvSpPr>
            <a:spLocks/>
          </p:cNvSpPr>
          <p:nvPr>
            <p:custDataLst>
              <p:tags r:id="rId84"/>
            </p:custDataLst>
          </p:nvPr>
        </p:nvSpPr>
        <p:spPr bwMode="gray">
          <a:xfrm>
            <a:off x="4641773" y="2096430"/>
            <a:ext cx="296926" cy="756482"/>
          </a:xfrm>
          <a:custGeom>
            <a:avLst/>
            <a:gdLst>
              <a:gd name="T0" fmla="*/ 168 w 312"/>
              <a:gd name="T1" fmla="*/ 846 h 846"/>
              <a:gd name="T2" fmla="*/ 92 w 312"/>
              <a:gd name="T3" fmla="*/ 833 h 846"/>
              <a:gd name="T4" fmla="*/ 30 w 312"/>
              <a:gd name="T5" fmla="*/ 804 h 846"/>
              <a:gd name="T6" fmla="*/ 8 w 312"/>
              <a:gd name="T7" fmla="*/ 801 h 846"/>
              <a:gd name="T8" fmla="*/ 0 w 312"/>
              <a:gd name="T9" fmla="*/ 789 h 846"/>
              <a:gd name="T10" fmla="*/ 48 w 312"/>
              <a:gd name="T11" fmla="*/ 693 h 846"/>
              <a:gd name="T12" fmla="*/ 78 w 312"/>
              <a:gd name="T13" fmla="*/ 651 h 846"/>
              <a:gd name="T14" fmla="*/ 120 w 312"/>
              <a:gd name="T15" fmla="*/ 636 h 846"/>
              <a:gd name="T16" fmla="*/ 186 w 312"/>
              <a:gd name="T17" fmla="*/ 564 h 846"/>
              <a:gd name="T18" fmla="*/ 234 w 312"/>
              <a:gd name="T19" fmla="*/ 531 h 846"/>
              <a:gd name="T20" fmla="*/ 204 w 312"/>
              <a:gd name="T21" fmla="*/ 453 h 846"/>
              <a:gd name="T22" fmla="*/ 207 w 312"/>
              <a:gd name="T23" fmla="*/ 297 h 846"/>
              <a:gd name="T24" fmla="*/ 126 w 312"/>
              <a:gd name="T25" fmla="*/ 219 h 846"/>
              <a:gd name="T26" fmla="*/ 137 w 312"/>
              <a:gd name="T27" fmla="*/ 83 h 846"/>
              <a:gd name="T28" fmla="*/ 48 w 312"/>
              <a:gd name="T29" fmla="*/ 24 h 846"/>
              <a:gd name="T30" fmla="*/ 27 w 312"/>
              <a:gd name="T31" fmla="*/ 0 h 846"/>
              <a:gd name="T32" fmla="*/ 291 w 312"/>
              <a:gd name="T33" fmla="*/ 6 h 846"/>
              <a:gd name="T34" fmla="*/ 291 w 312"/>
              <a:gd name="T35" fmla="*/ 33 h 846"/>
              <a:gd name="T36" fmla="*/ 306 w 312"/>
              <a:gd name="T37" fmla="*/ 87 h 846"/>
              <a:gd name="T38" fmla="*/ 276 w 312"/>
              <a:gd name="T39" fmla="*/ 174 h 846"/>
              <a:gd name="T40" fmla="*/ 261 w 312"/>
              <a:gd name="T41" fmla="*/ 270 h 846"/>
              <a:gd name="T42" fmla="*/ 264 w 312"/>
              <a:gd name="T43" fmla="*/ 342 h 846"/>
              <a:gd name="T44" fmla="*/ 264 w 312"/>
              <a:gd name="T45" fmla="*/ 368 h 846"/>
              <a:gd name="T46" fmla="*/ 255 w 312"/>
              <a:gd name="T47" fmla="*/ 393 h 846"/>
              <a:gd name="T48" fmla="*/ 303 w 312"/>
              <a:gd name="T49" fmla="*/ 489 h 846"/>
              <a:gd name="T50" fmla="*/ 312 w 312"/>
              <a:gd name="T51" fmla="*/ 513 h 846"/>
              <a:gd name="T52" fmla="*/ 312 w 312"/>
              <a:gd name="T53" fmla="*/ 549 h 846"/>
              <a:gd name="T54" fmla="*/ 213 w 312"/>
              <a:gd name="T55" fmla="*/ 606 h 846"/>
              <a:gd name="T56" fmla="*/ 182 w 312"/>
              <a:gd name="T57" fmla="*/ 642 h 846"/>
              <a:gd name="T58" fmla="*/ 105 w 312"/>
              <a:gd name="T59" fmla="*/ 711 h 846"/>
              <a:gd name="T60" fmla="*/ 126 w 312"/>
              <a:gd name="T61" fmla="*/ 744 h 846"/>
              <a:gd name="T62" fmla="*/ 156 w 312"/>
              <a:gd name="T63" fmla="*/ 744 h 846"/>
              <a:gd name="T64" fmla="*/ 174 w 312"/>
              <a:gd name="T65" fmla="*/ 828 h 846"/>
              <a:gd name="T66" fmla="*/ 168 w 312"/>
              <a:gd name="T67" fmla="*/ 846 h 8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312" h="846">
                <a:moveTo>
                  <a:pt x="168" y="846"/>
                </a:moveTo>
                <a:lnTo>
                  <a:pt x="92" y="833"/>
                </a:lnTo>
                <a:lnTo>
                  <a:pt x="30" y="804"/>
                </a:lnTo>
                <a:lnTo>
                  <a:pt x="8" y="801"/>
                </a:lnTo>
                <a:lnTo>
                  <a:pt x="0" y="789"/>
                </a:lnTo>
                <a:lnTo>
                  <a:pt x="48" y="693"/>
                </a:lnTo>
                <a:lnTo>
                  <a:pt x="78" y="651"/>
                </a:lnTo>
                <a:lnTo>
                  <a:pt x="120" y="636"/>
                </a:lnTo>
                <a:lnTo>
                  <a:pt x="186" y="564"/>
                </a:lnTo>
                <a:lnTo>
                  <a:pt x="234" y="531"/>
                </a:lnTo>
                <a:lnTo>
                  <a:pt x="204" y="453"/>
                </a:lnTo>
                <a:lnTo>
                  <a:pt x="207" y="297"/>
                </a:lnTo>
                <a:lnTo>
                  <a:pt x="126" y="219"/>
                </a:lnTo>
                <a:lnTo>
                  <a:pt x="137" y="83"/>
                </a:lnTo>
                <a:lnTo>
                  <a:pt x="48" y="24"/>
                </a:lnTo>
                <a:lnTo>
                  <a:pt x="27" y="0"/>
                </a:lnTo>
                <a:lnTo>
                  <a:pt x="291" y="6"/>
                </a:lnTo>
                <a:lnTo>
                  <a:pt x="291" y="33"/>
                </a:lnTo>
                <a:lnTo>
                  <a:pt x="306" y="87"/>
                </a:lnTo>
                <a:lnTo>
                  <a:pt x="276" y="174"/>
                </a:lnTo>
                <a:lnTo>
                  <a:pt x="261" y="270"/>
                </a:lnTo>
                <a:lnTo>
                  <a:pt x="264" y="342"/>
                </a:lnTo>
                <a:lnTo>
                  <a:pt x="264" y="368"/>
                </a:lnTo>
                <a:lnTo>
                  <a:pt x="255" y="393"/>
                </a:lnTo>
                <a:lnTo>
                  <a:pt x="303" y="489"/>
                </a:lnTo>
                <a:lnTo>
                  <a:pt x="312" y="513"/>
                </a:lnTo>
                <a:lnTo>
                  <a:pt x="312" y="549"/>
                </a:lnTo>
                <a:lnTo>
                  <a:pt x="213" y="606"/>
                </a:lnTo>
                <a:lnTo>
                  <a:pt x="182" y="642"/>
                </a:lnTo>
                <a:lnTo>
                  <a:pt x="105" y="711"/>
                </a:lnTo>
                <a:lnTo>
                  <a:pt x="126" y="744"/>
                </a:lnTo>
                <a:lnTo>
                  <a:pt x="156" y="744"/>
                </a:lnTo>
                <a:lnTo>
                  <a:pt x="174" y="828"/>
                </a:lnTo>
                <a:lnTo>
                  <a:pt x="168" y="846"/>
                </a:lnTo>
                <a:close/>
              </a:path>
            </a:pathLst>
          </a:custGeom>
          <a:solidFill>
            <a:schemeClr val="bg2"/>
          </a:solidFill>
          <a:ln w="9525" cap="flat" cmpd="sng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7" name="Freeform 166"/>
          <p:cNvSpPr>
            <a:spLocks/>
          </p:cNvSpPr>
          <p:nvPr>
            <p:custDataLst>
              <p:tags r:id="rId85"/>
            </p:custDataLst>
          </p:nvPr>
        </p:nvSpPr>
        <p:spPr bwMode="gray">
          <a:xfrm>
            <a:off x="2837379" y="3882121"/>
            <a:ext cx="1538875" cy="782414"/>
          </a:xfrm>
          <a:custGeom>
            <a:avLst/>
            <a:gdLst>
              <a:gd name="T0" fmla="*/ 21 w 1467"/>
              <a:gd name="T1" fmla="*/ 76 h 780"/>
              <a:gd name="T2" fmla="*/ 34 w 1467"/>
              <a:gd name="T3" fmla="*/ 56 h 780"/>
              <a:gd name="T4" fmla="*/ 1123 w 1467"/>
              <a:gd name="T5" fmla="*/ 169 h 780"/>
              <a:gd name="T6" fmla="*/ 1214 w 1467"/>
              <a:gd name="T7" fmla="*/ 648 h 780"/>
              <a:gd name="T8" fmla="*/ 1073 w 1467"/>
              <a:gd name="T9" fmla="*/ 691 h 780"/>
              <a:gd name="T10" fmla="*/ 1052 w 1467"/>
              <a:gd name="T11" fmla="*/ 673 h 780"/>
              <a:gd name="T12" fmla="*/ 1026 w 1467"/>
              <a:gd name="T13" fmla="*/ 666 h 780"/>
              <a:gd name="T14" fmla="*/ 1001 w 1467"/>
              <a:gd name="T15" fmla="*/ 660 h 780"/>
              <a:gd name="T16" fmla="*/ 988 w 1467"/>
              <a:gd name="T17" fmla="*/ 661 h 780"/>
              <a:gd name="T18" fmla="*/ 989 w 1467"/>
              <a:gd name="T19" fmla="*/ 683 h 780"/>
              <a:gd name="T20" fmla="*/ 977 w 1467"/>
              <a:gd name="T21" fmla="*/ 708 h 780"/>
              <a:gd name="T22" fmla="*/ 952 w 1467"/>
              <a:gd name="T23" fmla="*/ 728 h 780"/>
              <a:gd name="T24" fmla="*/ 936 w 1467"/>
              <a:gd name="T25" fmla="*/ 748 h 780"/>
              <a:gd name="T26" fmla="*/ 920 w 1467"/>
              <a:gd name="T27" fmla="*/ 757 h 780"/>
              <a:gd name="T28" fmla="*/ 898 w 1467"/>
              <a:gd name="T29" fmla="*/ 751 h 780"/>
              <a:gd name="T30" fmla="*/ 879 w 1467"/>
              <a:gd name="T31" fmla="*/ 732 h 780"/>
              <a:gd name="T32" fmla="*/ 854 w 1467"/>
              <a:gd name="T33" fmla="*/ 723 h 780"/>
              <a:gd name="T34" fmla="*/ 829 w 1467"/>
              <a:gd name="T35" fmla="*/ 716 h 780"/>
              <a:gd name="T36" fmla="*/ 803 w 1467"/>
              <a:gd name="T37" fmla="*/ 715 h 780"/>
              <a:gd name="T38" fmla="*/ 788 w 1467"/>
              <a:gd name="T39" fmla="*/ 705 h 780"/>
              <a:gd name="T40" fmla="*/ 774 w 1467"/>
              <a:gd name="T41" fmla="*/ 692 h 780"/>
              <a:gd name="T42" fmla="*/ 755 w 1467"/>
              <a:gd name="T43" fmla="*/ 702 h 780"/>
              <a:gd name="T44" fmla="*/ 744 w 1467"/>
              <a:gd name="T45" fmla="*/ 721 h 780"/>
              <a:gd name="T46" fmla="*/ 727 w 1467"/>
              <a:gd name="T47" fmla="*/ 736 h 780"/>
              <a:gd name="T48" fmla="*/ 700 w 1467"/>
              <a:gd name="T49" fmla="*/ 747 h 780"/>
              <a:gd name="T50" fmla="*/ 684 w 1467"/>
              <a:gd name="T51" fmla="*/ 766 h 780"/>
              <a:gd name="T52" fmla="*/ 660 w 1467"/>
              <a:gd name="T53" fmla="*/ 780 h 780"/>
              <a:gd name="T54" fmla="*/ 644 w 1467"/>
              <a:gd name="T55" fmla="*/ 766 h 780"/>
              <a:gd name="T56" fmla="*/ 622 w 1467"/>
              <a:gd name="T57" fmla="*/ 757 h 780"/>
              <a:gd name="T58" fmla="*/ 594 w 1467"/>
              <a:gd name="T59" fmla="*/ 760 h 780"/>
              <a:gd name="T60" fmla="*/ 574 w 1467"/>
              <a:gd name="T61" fmla="*/ 744 h 780"/>
              <a:gd name="T62" fmla="*/ 565 w 1467"/>
              <a:gd name="T63" fmla="*/ 730 h 780"/>
              <a:gd name="T64" fmla="*/ 545 w 1467"/>
              <a:gd name="T65" fmla="*/ 723 h 780"/>
              <a:gd name="T66" fmla="*/ 546 w 1467"/>
              <a:gd name="T67" fmla="*/ 698 h 780"/>
              <a:gd name="T68" fmla="*/ 523 w 1467"/>
              <a:gd name="T69" fmla="*/ 694 h 780"/>
              <a:gd name="T70" fmla="*/ 501 w 1467"/>
              <a:gd name="T71" fmla="*/ 697 h 780"/>
              <a:gd name="T72" fmla="*/ 476 w 1467"/>
              <a:gd name="T73" fmla="*/ 683 h 780"/>
              <a:gd name="T74" fmla="*/ 462 w 1467"/>
              <a:gd name="T75" fmla="*/ 660 h 780"/>
              <a:gd name="T76" fmla="*/ 438 w 1467"/>
              <a:gd name="T77" fmla="*/ 610 h 780"/>
              <a:gd name="T78" fmla="*/ 370 w 1467"/>
              <a:gd name="T79" fmla="*/ 558 h 780"/>
              <a:gd name="T80" fmla="*/ 332 w 1467"/>
              <a:gd name="T81" fmla="*/ 496 h 780"/>
              <a:gd name="T82" fmla="*/ 295 w 1467"/>
              <a:gd name="T83" fmla="*/ 426 h 780"/>
              <a:gd name="T84" fmla="*/ 309 w 1467"/>
              <a:gd name="T85" fmla="*/ 391 h 780"/>
              <a:gd name="T86" fmla="*/ 298 w 1467"/>
              <a:gd name="T87" fmla="*/ 372 h 780"/>
              <a:gd name="T88" fmla="*/ 289 w 1467"/>
              <a:gd name="T89" fmla="*/ 346 h 780"/>
              <a:gd name="T90" fmla="*/ 273 w 1467"/>
              <a:gd name="T91" fmla="*/ 327 h 780"/>
              <a:gd name="T92" fmla="*/ 255 w 1467"/>
              <a:gd name="T93" fmla="*/ 309 h 780"/>
              <a:gd name="T94" fmla="*/ 230 w 1467"/>
              <a:gd name="T95" fmla="*/ 301 h 780"/>
              <a:gd name="T96" fmla="*/ 204 w 1467"/>
              <a:gd name="T97" fmla="*/ 290 h 780"/>
              <a:gd name="T98" fmla="*/ 180 w 1467"/>
              <a:gd name="T99" fmla="*/ 281 h 780"/>
              <a:gd name="T100" fmla="*/ 167 w 1467"/>
              <a:gd name="T101" fmla="*/ 263 h 780"/>
              <a:gd name="T102" fmla="*/ 153 w 1467"/>
              <a:gd name="T103" fmla="*/ 250 h 780"/>
              <a:gd name="T104" fmla="*/ 128 w 1467"/>
              <a:gd name="T105" fmla="*/ 242 h 780"/>
              <a:gd name="T106" fmla="*/ 102 w 1467"/>
              <a:gd name="T107" fmla="*/ 241 h 780"/>
              <a:gd name="T108" fmla="*/ 79 w 1467"/>
              <a:gd name="T109" fmla="*/ 223 h 780"/>
              <a:gd name="T110" fmla="*/ 55 w 1467"/>
              <a:gd name="T111" fmla="*/ 221 h 780"/>
              <a:gd name="T112" fmla="*/ 62 w 1467"/>
              <a:gd name="T113" fmla="*/ 206 h 780"/>
              <a:gd name="T114" fmla="*/ 69 w 1467"/>
              <a:gd name="T115" fmla="*/ 177 h 780"/>
              <a:gd name="T116" fmla="*/ 55 w 1467"/>
              <a:gd name="T117" fmla="*/ 158 h 780"/>
              <a:gd name="T118" fmla="*/ 26 w 1467"/>
              <a:gd name="T119" fmla="*/ 143 h 780"/>
              <a:gd name="T120" fmla="*/ 4 w 1467"/>
              <a:gd name="T121" fmla="*/ 125 h 7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467" h="780">
                <a:moveTo>
                  <a:pt x="0" y="98"/>
                </a:moveTo>
                <a:lnTo>
                  <a:pt x="1" y="97"/>
                </a:lnTo>
                <a:lnTo>
                  <a:pt x="2" y="97"/>
                </a:lnTo>
                <a:lnTo>
                  <a:pt x="4" y="95"/>
                </a:lnTo>
                <a:lnTo>
                  <a:pt x="6" y="95"/>
                </a:lnTo>
                <a:lnTo>
                  <a:pt x="9" y="94"/>
                </a:lnTo>
                <a:lnTo>
                  <a:pt x="10" y="93"/>
                </a:lnTo>
                <a:lnTo>
                  <a:pt x="11" y="92"/>
                </a:lnTo>
                <a:lnTo>
                  <a:pt x="11" y="91"/>
                </a:lnTo>
                <a:lnTo>
                  <a:pt x="10" y="89"/>
                </a:lnTo>
                <a:lnTo>
                  <a:pt x="10" y="88"/>
                </a:lnTo>
                <a:lnTo>
                  <a:pt x="11" y="88"/>
                </a:lnTo>
                <a:lnTo>
                  <a:pt x="12" y="87"/>
                </a:lnTo>
                <a:lnTo>
                  <a:pt x="14" y="86"/>
                </a:lnTo>
                <a:lnTo>
                  <a:pt x="14" y="86"/>
                </a:lnTo>
                <a:lnTo>
                  <a:pt x="12" y="84"/>
                </a:lnTo>
                <a:lnTo>
                  <a:pt x="12" y="83"/>
                </a:lnTo>
                <a:lnTo>
                  <a:pt x="12" y="82"/>
                </a:lnTo>
                <a:lnTo>
                  <a:pt x="14" y="81"/>
                </a:lnTo>
                <a:lnTo>
                  <a:pt x="16" y="81"/>
                </a:lnTo>
                <a:lnTo>
                  <a:pt x="18" y="81"/>
                </a:lnTo>
                <a:lnTo>
                  <a:pt x="21" y="81"/>
                </a:lnTo>
                <a:lnTo>
                  <a:pt x="20" y="78"/>
                </a:lnTo>
                <a:lnTo>
                  <a:pt x="21" y="77"/>
                </a:lnTo>
                <a:lnTo>
                  <a:pt x="21" y="76"/>
                </a:lnTo>
                <a:lnTo>
                  <a:pt x="21" y="75"/>
                </a:lnTo>
                <a:lnTo>
                  <a:pt x="21" y="73"/>
                </a:lnTo>
                <a:lnTo>
                  <a:pt x="20" y="72"/>
                </a:lnTo>
                <a:lnTo>
                  <a:pt x="18" y="71"/>
                </a:lnTo>
                <a:lnTo>
                  <a:pt x="20" y="70"/>
                </a:lnTo>
                <a:lnTo>
                  <a:pt x="21" y="68"/>
                </a:lnTo>
                <a:lnTo>
                  <a:pt x="21" y="67"/>
                </a:lnTo>
                <a:lnTo>
                  <a:pt x="22" y="67"/>
                </a:lnTo>
                <a:lnTo>
                  <a:pt x="23" y="67"/>
                </a:lnTo>
                <a:lnTo>
                  <a:pt x="25" y="67"/>
                </a:lnTo>
                <a:lnTo>
                  <a:pt x="25" y="68"/>
                </a:lnTo>
                <a:lnTo>
                  <a:pt x="26" y="68"/>
                </a:lnTo>
                <a:lnTo>
                  <a:pt x="27" y="68"/>
                </a:lnTo>
                <a:lnTo>
                  <a:pt x="27" y="67"/>
                </a:lnTo>
                <a:lnTo>
                  <a:pt x="27" y="66"/>
                </a:lnTo>
                <a:lnTo>
                  <a:pt x="27" y="65"/>
                </a:lnTo>
                <a:lnTo>
                  <a:pt x="28" y="63"/>
                </a:lnTo>
                <a:lnTo>
                  <a:pt x="28" y="62"/>
                </a:lnTo>
                <a:lnTo>
                  <a:pt x="30" y="61"/>
                </a:lnTo>
                <a:lnTo>
                  <a:pt x="31" y="60"/>
                </a:lnTo>
                <a:lnTo>
                  <a:pt x="32" y="59"/>
                </a:lnTo>
                <a:lnTo>
                  <a:pt x="32" y="57"/>
                </a:lnTo>
                <a:lnTo>
                  <a:pt x="32" y="56"/>
                </a:lnTo>
                <a:lnTo>
                  <a:pt x="33" y="56"/>
                </a:lnTo>
                <a:lnTo>
                  <a:pt x="34" y="56"/>
                </a:lnTo>
                <a:lnTo>
                  <a:pt x="37" y="56"/>
                </a:lnTo>
                <a:lnTo>
                  <a:pt x="37" y="55"/>
                </a:lnTo>
                <a:lnTo>
                  <a:pt x="37" y="52"/>
                </a:lnTo>
                <a:lnTo>
                  <a:pt x="38" y="51"/>
                </a:lnTo>
                <a:lnTo>
                  <a:pt x="39" y="50"/>
                </a:lnTo>
                <a:lnTo>
                  <a:pt x="39" y="46"/>
                </a:lnTo>
                <a:lnTo>
                  <a:pt x="509" y="0"/>
                </a:lnTo>
                <a:lnTo>
                  <a:pt x="546" y="19"/>
                </a:lnTo>
                <a:lnTo>
                  <a:pt x="684" y="12"/>
                </a:lnTo>
                <a:lnTo>
                  <a:pt x="684" y="93"/>
                </a:lnTo>
                <a:lnTo>
                  <a:pt x="674" y="97"/>
                </a:lnTo>
                <a:lnTo>
                  <a:pt x="685" y="134"/>
                </a:lnTo>
                <a:lnTo>
                  <a:pt x="674" y="156"/>
                </a:lnTo>
                <a:lnTo>
                  <a:pt x="694" y="170"/>
                </a:lnTo>
                <a:lnTo>
                  <a:pt x="707" y="225"/>
                </a:lnTo>
                <a:lnTo>
                  <a:pt x="733" y="229"/>
                </a:lnTo>
                <a:lnTo>
                  <a:pt x="785" y="305"/>
                </a:lnTo>
                <a:lnTo>
                  <a:pt x="846" y="336"/>
                </a:lnTo>
                <a:lnTo>
                  <a:pt x="1017" y="349"/>
                </a:lnTo>
                <a:lnTo>
                  <a:pt x="1036" y="257"/>
                </a:lnTo>
                <a:lnTo>
                  <a:pt x="1085" y="222"/>
                </a:lnTo>
                <a:lnTo>
                  <a:pt x="1086" y="152"/>
                </a:lnTo>
                <a:lnTo>
                  <a:pt x="1107" y="151"/>
                </a:lnTo>
                <a:lnTo>
                  <a:pt x="1112" y="167"/>
                </a:lnTo>
                <a:lnTo>
                  <a:pt x="1123" y="169"/>
                </a:lnTo>
                <a:lnTo>
                  <a:pt x="1119" y="151"/>
                </a:lnTo>
                <a:lnTo>
                  <a:pt x="1136" y="135"/>
                </a:lnTo>
                <a:lnTo>
                  <a:pt x="1188" y="138"/>
                </a:lnTo>
                <a:lnTo>
                  <a:pt x="1199" y="174"/>
                </a:lnTo>
                <a:lnTo>
                  <a:pt x="1215" y="200"/>
                </a:lnTo>
                <a:lnTo>
                  <a:pt x="1210" y="218"/>
                </a:lnTo>
                <a:lnTo>
                  <a:pt x="1245" y="223"/>
                </a:lnTo>
                <a:lnTo>
                  <a:pt x="1353" y="327"/>
                </a:lnTo>
                <a:lnTo>
                  <a:pt x="1467" y="381"/>
                </a:lnTo>
                <a:lnTo>
                  <a:pt x="1460" y="439"/>
                </a:lnTo>
                <a:lnTo>
                  <a:pt x="1438" y="439"/>
                </a:lnTo>
                <a:lnTo>
                  <a:pt x="1439" y="478"/>
                </a:lnTo>
                <a:lnTo>
                  <a:pt x="1449" y="494"/>
                </a:lnTo>
                <a:lnTo>
                  <a:pt x="1440" y="511"/>
                </a:lnTo>
                <a:lnTo>
                  <a:pt x="1432" y="511"/>
                </a:lnTo>
                <a:lnTo>
                  <a:pt x="1427" y="532"/>
                </a:lnTo>
                <a:lnTo>
                  <a:pt x="1433" y="547"/>
                </a:lnTo>
                <a:lnTo>
                  <a:pt x="1418" y="580"/>
                </a:lnTo>
                <a:lnTo>
                  <a:pt x="1400" y="580"/>
                </a:lnTo>
                <a:lnTo>
                  <a:pt x="1369" y="605"/>
                </a:lnTo>
                <a:lnTo>
                  <a:pt x="1317" y="619"/>
                </a:lnTo>
                <a:lnTo>
                  <a:pt x="1310" y="660"/>
                </a:lnTo>
                <a:lnTo>
                  <a:pt x="1274" y="678"/>
                </a:lnTo>
                <a:lnTo>
                  <a:pt x="1243" y="656"/>
                </a:lnTo>
                <a:lnTo>
                  <a:pt x="1214" y="648"/>
                </a:lnTo>
                <a:lnTo>
                  <a:pt x="1175" y="667"/>
                </a:lnTo>
                <a:lnTo>
                  <a:pt x="1136" y="666"/>
                </a:lnTo>
                <a:lnTo>
                  <a:pt x="1091" y="693"/>
                </a:lnTo>
                <a:lnTo>
                  <a:pt x="1088" y="693"/>
                </a:lnTo>
                <a:lnTo>
                  <a:pt x="1087" y="694"/>
                </a:lnTo>
                <a:lnTo>
                  <a:pt x="1086" y="694"/>
                </a:lnTo>
                <a:lnTo>
                  <a:pt x="1085" y="693"/>
                </a:lnTo>
                <a:lnTo>
                  <a:pt x="1085" y="692"/>
                </a:lnTo>
                <a:lnTo>
                  <a:pt x="1084" y="692"/>
                </a:lnTo>
                <a:lnTo>
                  <a:pt x="1084" y="691"/>
                </a:lnTo>
                <a:lnTo>
                  <a:pt x="1084" y="689"/>
                </a:lnTo>
                <a:lnTo>
                  <a:pt x="1082" y="688"/>
                </a:lnTo>
                <a:lnTo>
                  <a:pt x="1081" y="688"/>
                </a:lnTo>
                <a:lnTo>
                  <a:pt x="1080" y="688"/>
                </a:lnTo>
                <a:lnTo>
                  <a:pt x="1081" y="687"/>
                </a:lnTo>
                <a:lnTo>
                  <a:pt x="1080" y="686"/>
                </a:lnTo>
                <a:lnTo>
                  <a:pt x="1079" y="686"/>
                </a:lnTo>
                <a:lnTo>
                  <a:pt x="1077" y="685"/>
                </a:lnTo>
                <a:lnTo>
                  <a:pt x="1077" y="686"/>
                </a:lnTo>
                <a:lnTo>
                  <a:pt x="1077" y="687"/>
                </a:lnTo>
                <a:lnTo>
                  <a:pt x="1076" y="688"/>
                </a:lnTo>
                <a:lnTo>
                  <a:pt x="1075" y="688"/>
                </a:lnTo>
                <a:lnTo>
                  <a:pt x="1075" y="689"/>
                </a:lnTo>
                <a:lnTo>
                  <a:pt x="1074" y="691"/>
                </a:lnTo>
                <a:lnTo>
                  <a:pt x="1073" y="691"/>
                </a:lnTo>
                <a:lnTo>
                  <a:pt x="1071" y="691"/>
                </a:lnTo>
                <a:lnTo>
                  <a:pt x="1070" y="689"/>
                </a:lnTo>
                <a:lnTo>
                  <a:pt x="1069" y="688"/>
                </a:lnTo>
                <a:lnTo>
                  <a:pt x="1069" y="687"/>
                </a:lnTo>
                <a:lnTo>
                  <a:pt x="1068" y="687"/>
                </a:lnTo>
                <a:lnTo>
                  <a:pt x="1066" y="686"/>
                </a:lnTo>
                <a:lnTo>
                  <a:pt x="1065" y="686"/>
                </a:lnTo>
                <a:lnTo>
                  <a:pt x="1065" y="685"/>
                </a:lnTo>
                <a:lnTo>
                  <a:pt x="1065" y="683"/>
                </a:lnTo>
                <a:lnTo>
                  <a:pt x="1064" y="683"/>
                </a:lnTo>
                <a:lnTo>
                  <a:pt x="1061" y="682"/>
                </a:lnTo>
                <a:lnTo>
                  <a:pt x="1061" y="681"/>
                </a:lnTo>
                <a:lnTo>
                  <a:pt x="1060" y="680"/>
                </a:lnTo>
                <a:lnTo>
                  <a:pt x="1059" y="678"/>
                </a:lnTo>
                <a:lnTo>
                  <a:pt x="1060" y="677"/>
                </a:lnTo>
                <a:lnTo>
                  <a:pt x="1060" y="677"/>
                </a:lnTo>
                <a:lnTo>
                  <a:pt x="1059" y="677"/>
                </a:lnTo>
                <a:lnTo>
                  <a:pt x="1058" y="676"/>
                </a:lnTo>
                <a:lnTo>
                  <a:pt x="1057" y="676"/>
                </a:lnTo>
                <a:lnTo>
                  <a:pt x="1055" y="677"/>
                </a:lnTo>
                <a:lnTo>
                  <a:pt x="1054" y="676"/>
                </a:lnTo>
                <a:lnTo>
                  <a:pt x="1054" y="676"/>
                </a:lnTo>
                <a:lnTo>
                  <a:pt x="1053" y="676"/>
                </a:lnTo>
                <a:lnTo>
                  <a:pt x="1053" y="675"/>
                </a:lnTo>
                <a:lnTo>
                  <a:pt x="1052" y="673"/>
                </a:lnTo>
                <a:lnTo>
                  <a:pt x="1050" y="672"/>
                </a:lnTo>
                <a:lnTo>
                  <a:pt x="1050" y="671"/>
                </a:lnTo>
                <a:lnTo>
                  <a:pt x="1049" y="671"/>
                </a:lnTo>
                <a:lnTo>
                  <a:pt x="1049" y="672"/>
                </a:lnTo>
                <a:lnTo>
                  <a:pt x="1048" y="672"/>
                </a:lnTo>
                <a:lnTo>
                  <a:pt x="1047" y="672"/>
                </a:lnTo>
                <a:lnTo>
                  <a:pt x="1045" y="671"/>
                </a:lnTo>
                <a:lnTo>
                  <a:pt x="1044" y="670"/>
                </a:lnTo>
                <a:lnTo>
                  <a:pt x="1044" y="669"/>
                </a:lnTo>
                <a:lnTo>
                  <a:pt x="1043" y="667"/>
                </a:lnTo>
                <a:lnTo>
                  <a:pt x="1042" y="667"/>
                </a:lnTo>
                <a:lnTo>
                  <a:pt x="1041" y="667"/>
                </a:lnTo>
                <a:lnTo>
                  <a:pt x="1039" y="666"/>
                </a:lnTo>
                <a:lnTo>
                  <a:pt x="1038" y="666"/>
                </a:lnTo>
                <a:lnTo>
                  <a:pt x="1037" y="666"/>
                </a:lnTo>
                <a:lnTo>
                  <a:pt x="1036" y="666"/>
                </a:lnTo>
                <a:lnTo>
                  <a:pt x="1036" y="665"/>
                </a:lnTo>
                <a:lnTo>
                  <a:pt x="1034" y="665"/>
                </a:lnTo>
                <a:lnTo>
                  <a:pt x="1033" y="664"/>
                </a:lnTo>
                <a:lnTo>
                  <a:pt x="1032" y="664"/>
                </a:lnTo>
                <a:lnTo>
                  <a:pt x="1031" y="664"/>
                </a:lnTo>
                <a:lnTo>
                  <a:pt x="1029" y="665"/>
                </a:lnTo>
                <a:lnTo>
                  <a:pt x="1028" y="665"/>
                </a:lnTo>
                <a:lnTo>
                  <a:pt x="1027" y="665"/>
                </a:lnTo>
                <a:lnTo>
                  <a:pt x="1026" y="666"/>
                </a:lnTo>
                <a:lnTo>
                  <a:pt x="1025" y="666"/>
                </a:lnTo>
                <a:lnTo>
                  <a:pt x="1025" y="665"/>
                </a:lnTo>
                <a:lnTo>
                  <a:pt x="1025" y="665"/>
                </a:lnTo>
                <a:lnTo>
                  <a:pt x="1023" y="665"/>
                </a:lnTo>
                <a:lnTo>
                  <a:pt x="1022" y="664"/>
                </a:lnTo>
                <a:lnTo>
                  <a:pt x="1022" y="662"/>
                </a:lnTo>
                <a:lnTo>
                  <a:pt x="1021" y="662"/>
                </a:lnTo>
                <a:lnTo>
                  <a:pt x="1020" y="662"/>
                </a:lnTo>
                <a:lnTo>
                  <a:pt x="1018" y="662"/>
                </a:lnTo>
                <a:lnTo>
                  <a:pt x="1017" y="662"/>
                </a:lnTo>
                <a:lnTo>
                  <a:pt x="1016" y="662"/>
                </a:lnTo>
                <a:lnTo>
                  <a:pt x="1015" y="662"/>
                </a:lnTo>
                <a:lnTo>
                  <a:pt x="1015" y="661"/>
                </a:lnTo>
                <a:lnTo>
                  <a:pt x="1012" y="660"/>
                </a:lnTo>
                <a:lnTo>
                  <a:pt x="1011" y="660"/>
                </a:lnTo>
                <a:lnTo>
                  <a:pt x="1010" y="661"/>
                </a:lnTo>
                <a:lnTo>
                  <a:pt x="1009" y="661"/>
                </a:lnTo>
                <a:lnTo>
                  <a:pt x="1009" y="662"/>
                </a:lnTo>
                <a:lnTo>
                  <a:pt x="1007" y="664"/>
                </a:lnTo>
                <a:lnTo>
                  <a:pt x="1006" y="665"/>
                </a:lnTo>
                <a:lnTo>
                  <a:pt x="1005" y="664"/>
                </a:lnTo>
                <a:lnTo>
                  <a:pt x="1004" y="664"/>
                </a:lnTo>
                <a:lnTo>
                  <a:pt x="1002" y="662"/>
                </a:lnTo>
                <a:lnTo>
                  <a:pt x="1002" y="661"/>
                </a:lnTo>
                <a:lnTo>
                  <a:pt x="1001" y="660"/>
                </a:lnTo>
                <a:lnTo>
                  <a:pt x="1001" y="659"/>
                </a:lnTo>
                <a:lnTo>
                  <a:pt x="1000" y="657"/>
                </a:lnTo>
                <a:lnTo>
                  <a:pt x="999" y="657"/>
                </a:lnTo>
                <a:lnTo>
                  <a:pt x="999" y="656"/>
                </a:lnTo>
                <a:lnTo>
                  <a:pt x="999" y="655"/>
                </a:lnTo>
                <a:lnTo>
                  <a:pt x="999" y="654"/>
                </a:lnTo>
                <a:lnTo>
                  <a:pt x="997" y="654"/>
                </a:lnTo>
                <a:lnTo>
                  <a:pt x="996" y="654"/>
                </a:lnTo>
                <a:lnTo>
                  <a:pt x="996" y="653"/>
                </a:lnTo>
                <a:lnTo>
                  <a:pt x="996" y="651"/>
                </a:lnTo>
                <a:lnTo>
                  <a:pt x="995" y="651"/>
                </a:lnTo>
                <a:lnTo>
                  <a:pt x="995" y="651"/>
                </a:lnTo>
                <a:lnTo>
                  <a:pt x="994" y="651"/>
                </a:lnTo>
                <a:lnTo>
                  <a:pt x="993" y="651"/>
                </a:lnTo>
                <a:lnTo>
                  <a:pt x="993" y="653"/>
                </a:lnTo>
                <a:lnTo>
                  <a:pt x="993" y="654"/>
                </a:lnTo>
                <a:lnTo>
                  <a:pt x="991" y="654"/>
                </a:lnTo>
                <a:lnTo>
                  <a:pt x="991" y="655"/>
                </a:lnTo>
                <a:lnTo>
                  <a:pt x="991" y="656"/>
                </a:lnTo>
                <a:lnTo>
                  <a:pt x="991" y="657"/>
                </a:lnTo>
                <a:lnTo>
                  <a:pt x="991" y="659"/>
                </a:lnTo>
                <a:lnTo>
                  <a:pt x="991" y="660"/>
                </a:lnTo>
                <a:lnTo>
                  <a:pt x="990" y="660"/>
                </a:lnTo>
                <a:lnTo>
                  <a:pt x="989" y="660"/>
                </a:lnTo>
                <a:lnTo>
                  <a:pt x="988" y="661"/>
                </a:lnTo>
                <a:lnTo>
                  <a:pt x="988" y="660"/>
                </a:lnTo>
                <a:lnTo>
                  <a:pt x="986" y="660"/>
                </a:lnTo>
                <a:lnTo>
                  <a:pt x="986" y="659"/>
                </a:lnTo>
                <a:lnTo>
                  <a:pt x="985" y="660"/>
                </a:lnTo>
                <a:lnTo>
                  <a:pt x="985" y="661"/>
                </a:lnTo>
                <a:lnTo>
                  <a:pt x="984" y="661"/>
                </a:lnTo>
                <a:lnTo>
                  <a:pt x="985" y="662"/>
                </a:lnTo>
                <a:lnTo>
                  <a:pt x="986" y="665"/>
                </a:lnTo>
                <a:lnTo>
                  <a:pt x="986" y="666"/>
                </a:lnTo>
                <a:lnTo>
                  <a:pt x="986" y="667"/>
                </a:lnTo>
                <a:lnTo>
                  <a:pt x="986" y="669"/>
                </a:lnTo>
                <a:lnTo>
                  <a:pt x="986" y="670"/>
                </a:lnTo>
                <a:lnTo>
                  <a:pt x="986" y="671"/>
                </a:lnTo>
                <a:lnTo>
                  <a:pt x="988" y="671"/>
                </a:lnTo>
                <a:lnTo>
                  <a:pt x="988" y="672"/>
                </a:lnTo>
                <a:lnTo>
                  <a:pt x="986" y="673"/>
                </a:lnTo>
                <a:lnTo>
                  <a:pt x="988" y="675"/>
                </a:lnTo>
                <a:lnTo>
                  <a:pt x="988" y="676"/>
                </a:lnTo>
                <a:lnTo>
                  <a:pt x="988" y="677"/>
                </a:lnTo>
                <a:lnTo>
                  <a:pt x="988" y="677"/>
                </a:lnTo>
                <a:lnTo>
                  <a:pt x="988" y="678"/>
                </a:lnTo>
                <a:lnTo>
                  <a:pt x="988" y="680"/>
                </a:lnTo>
                <a:lnTo>
                  <a:pt x="989" y="681"/>
                </a:lnTo>
                <a:lnTo>
                  <a:pt x="989" y="682"/>
                </a:lnTo>
                <a:lnTo>
                  <a:pt x="989" y="683"/>
                </a:lnTo>
                <a:lnTo>
                  <a:pt x="988" y="683"/>
                </a:lnTo>
                <a:lnTo>
                  <a:pt x="988" y="685"/>
                </a:lnTo>
                <a:lnTo>
                  <a:pt x="988" y="686"/>
                </a:lnTo>
                <a:lnTo>
                  <a:pt x="988" y="687"/>
                </a:lnTo>
                <a:lnTo>
                  <a:pt x="986" y="687"/>
                </a:lnTo>
                <a:lnTo>
                  <a:pt x="985" y="687"/>
                </a:lnTo>
                <a:lnTo>
                  <a:pt x="984" y="687"/>
                </a:lnTo>
                <a:lnTo>
                  <a:pt x="983" y="688"/>
                </a:lnTo>
                <a:lnTo>
                  <a:pt x="981" y="689"/>
                </a:lnTo>
                <a:lnTo>
                  <a:pt x="981" y="691"/>
                </a:lnTo>
                <a:lnTo>
                  <a:pt x="980" y="692"/>
                </a:lnTo>
                <a:lnTo>
                  <a:pt x="979" y="693"/>
                </a:lnTo>
                <a:lnTo>
                  <a:pt x="978" y="694"/>
                </a:lnTo>
                <a:lnTo>
                  <a:pt x="978" y="696"/>
                </a:lnTo>
                <a:lnTo>
                  <a:pt x="979" y="697"/>
                </a:lnTo>
                <a:lnTo>
                  <a:pt x="979" y="698"/>
                </a:lnTo>
                <a:lnTo>
                  <a:pt x="979" y="699"/>
                </a:lnTo>
                <a:lnTo>
                  <a:pt x="979" y="701"/>
                </a:lnTo>
                <a:lnTo>
                  <a:pt x="979" y="702"/>
                </a:lnTo>
                <a:lnTo>
                  <a:pt x="979" y="703"/>
                </a:lnTo>
                <a:lnTo>
                  <a:pt x="979" y="705"/>
                </a:lnTo>
                <a:lnTo>
                  <a:pt x="979" y="707"/>
                </a:lnTo>
                <a:lnTo>
                  <a:pt x="979" y="707"/>
                </a:lnTo>
                <a:lnTo>
                  <a:pt x="978" y="708"/>
                </a:lnTo>
                <a:lnTo>
                  <a:pt x="977" y="708"/>
                </a:lnTo>
                <a:lnTo>
                  <a:pt x="975" y="709"/>
                </a:lnTo>
                <a:lnTo>
                  <a:pt x="974" y="710"/>
                </a:lnTo>
                <a:lnTo>
                  <a:pt x="974" y="712"/>
                </a:lnTo>
                <a:lnTo>
                  <a:pt x="973" y="713"/>
                </a:lnTo>
                <a:lnTo>
                  <a:pt x="972" y="713"/>
                </a:lnTo>
                <a:lnTo>
                  <a:pt x="970" y="713"/>
                </a:lnTo>
                <a:lnTo>
                  <a:pt x="970" y="715"/>
                </a:lnTo>
                <a:lnTo>
                  <a:pt x="969" y="715"/>
                </a:lnTo>
                <a:lnTo>
                  <a:pt x="968" y="718"/>
                </a:lnTo>
                <a:lnTo>
                  <a:pt x="965" y="719"/>
                </a:lnTo>
                <a:lnTo>
                  <a:pt x="965" y="720"/>
                </a:lnTo>
                <a:lnTo>
                  <a:pt x="964" y="720"/>
                </a:lnTo>
                <a:lnTo>
                  <a:pt x="963" y="720"/>
                </a:lnTo>
                <a:lnTo>
                  <a:pt x="962" y="720"/>
                </a:lnTo>
                <a:lnTo>
                  <a:pt x="962" y="721"/>
                </a:lnTo>
                <a:lnTo>
                  <a:pt x="961" y="721"/>
                </a:lnTo>
                <a:lnTo>
                  <a:pt x="959" y="721"/>
                </a:lnTo>
                <a:lnTo>
                  <a:pt x="958" y="721"/>
                </a:lnTo>
                <a:lnTo>
                  <a:pt x="957" y="721"/>
                </a:lnTo>
                <a:lnTo>
                  <a:pt x="956" y="721"/>
                </a:lnTo>
                <a:lnTo>
                  <a:pt x="954" y="721"/>
                </a:lnTo>
                <a:lnTo>
                  <a:pt x="953" y="724"/>
                </a:lnTo>
                <a:lnTo>
                  <a:pt x="953" y="725"/>
                </a:lnTo>
                <a:lnTo>
                  <a:pt x="953" y="726"/>
                </a:lnTo>
                <a:lnTo>
                  <a:pt x="952" y="728"/>
                </a:lnTo>
                <a:lnTo>
                  <a:pt x="951" y="729"/>
                </a:lnTo>
                <a:lnTo>
                  <a:pt x="951" y="730"/>
                </a:lnTo>
                <a:lnTo>
                  <a:pt x="950" y="731"/>
                </a:lnTo>
                <a:lnTo>
                  <a:pt x="951" y="732"/>
                </a:lnTo>
                <a:lnTo>
                  <a:pt x="951" y="734"/>
                </a:lnTo>
                <a:lnTo>
                  <a:pt x="950" y="735"/>
                </a:lnTo>
                <a:lnTo>
                  <a:pt x="951" y="735"/>
                </a:lnTo>
                <a:lnTo>
                  <a:pt x="951" y="736"/>
                </a:lnTo>
                <a:lnTo>
                  <a:pt x="950" y="736"/>
                </a:lnTo>
                <a:lnTo>
                  <a:pt x="948" y="739"/>
                </a:lnTo>
                <a:lnTo>
                  <a:pt x="948" y="740"/>
                </a:lnTo>
                <a:lnTo>
                  <a:pt x="948" y="741"/>
                </a:lnTo>
                <a:lnTo>
                  <a:pt x="948" y="742"/>
                </a:lnTo>
                <a:lnTo>
                  <a:pt x="948" y="744"/>
                </a:lnTo>
                <a:lnTo>
                  <a:pt x="947" y="745"/>
                </a:lnTo>
                <a:lnTo>
                  <a:pt x="946" y="745"/>
                </a:lnTo>
                <a:lnTo>
                  <a:pt x="945" y="745"/>
                </a:lnTo>
                <a:lnTo>
                  <a:pt x="943" y="746"/>
                </a:lnTo>
                <a:lnTo>
                  <a:pt x="943" y="747"/>
                </a:lnTo>
                <a:lnTo>
                  <a:pt x="942" y="747"/>
                </a:lnTo>
                <a:lnTo>
                  <a:pt x="941" y="747"/>
                </a:lnTo>
                <a:lnTo>
                  <a:pt x="940" y="747"/>
                </a:lnTo>
                <a:lnTo>
                  <a:pt x="938" y="747"/>
                </a:lnTo>
                <a:lnTo>
                  <a:pt x="937" y="747"/>
                </a:lnTo>
                <a:lnTo>
                  <a:pt x="936" y="748"/>
                </a:lnTo>
                <a:lnTo>
                  <a:pt x="936" y="750"/>
                </a:lnTo>
                <a:lnTo>
                  <a:pt x="936" y="750"/>
                </a:lnTo>
                <a:lnTo>
                  <a:pt x="935" y="748"/>
                </a:lnTo>
                <a:lnTo>
                  <a:pt x="934" y="747"/>
                </a:lnTo>
                <a:lnTo>
                  <a:pt x="934" y="746"/>
                </a:lnTo>
                <a:lnTo>
                  <a:pt x="932" y="745"/>
                </a:lnTo>
                <a:lnTo>
                  <a:pt x="931" y="746"/>
                </a:lnTo>
                <a:lnTo>
                  <a:pt x="930" y="746"/>
                </a:lnTo>
                <a:lnTo>
                  <a:pt x="930" y="747"/>
                </a:lnTo>
                <a:lnTo>
                  <a:pt x="929" y="747"/>
                </a:lnTo>
                <a:lnTo>
                  <a:pt x="927" y="747"/>
                </a:lnTo>
                <a:lnTo>
                  <a:pt x="926" y="747"/>
                </a:lnTo>
                <a:lnTo>
                  <a:pt x="926" y="745"/>
                </a:lnTo>
                <a:lnTo>
                  <a:pt x="924" y="745"/>
                </a:lnTo>
                <a:lnTo>
                  <a:pt x="922" y="747"/>
                </a:lnTo>
                <a:lnTo>
                  <a:pt x="921" y="747"/>
                </a:lnTo>
                <a:lnTo>
                  <a:pt x="920" y="747"/>
                </a:lnTo>
                <a:lnTo>
                  <a:pt x="920" y="748"/>
                </a:lnTo>
                <a:lnTo>
                  <a:pt x="920" y="750"/>
                </a:lnTo>
                <a:lnTo>
                  <a:pt x="921" y="751"/>
                </a:lnTo>
                <a:lnTo>
                  <a:pt x="921" y="752"/>
                </a:lnTo>
                <a:lnTo>
                  <a:pt x="921" y="753"/>
                </a:lnTo>
                <a:lnTo>
                  <a:pt x="920" y="755"/>
                </a:lnTo>
                <a:lnTo>
                  <a:pt x="921" y="756"/>
                </a:lnTo>
                <a:lnTo>
                  <a:pt x="920" y="757"/>
                </a:lnTo>
                <a:lnTo>
                  <a:pt x="919" y="758"/>
                </a:lnTo>
                <a:lnTo>
                  <a:pt x="918" y="758"/>
                </a:lnTo>
                <a:lnTo>
                  <a:pt x="916" y="760"/>
                </a:lnTo>
                <a:lnTo>
                  <a:pt x="915" y="760"/>
                </a:lnTo>
                <a:lnTo>
                  <a:pt x="914" y="760"/>
                </a:lnTo>
                <a:lnTo>
                  <a:pt x="913" y="760"/>
                </a:lnTo>
                <a:lnTo>
                  <a:pt x="911" y="761"/>
                </a:lnTo>
                <a:lnTo>
                  <a:pt x="910" y="763"/>
                </a:lnTo>
                <a:lnTo>
                  <a:pt x="909" y="763"/>
                </a:lnTo>
                <a:lnTo>
                  <a:pt x="908" y="762"/>
                </a:lnTo>
                <a:lnTo>
                  <a:pt x="906" y="762"/>
                </a:lnTo>
                <a:lnTo>
                  <a:pt x="906" y="762"/>
                </a:lnTo>
                <a:lnTo>
                  <a:pt x="906" y="761"/>
                </a:lnTo>
                <a:lnTo>
                  <a:pt x="905" y="760"/>
                </a:lnTo>
                <a:lnTo>
                  <a:pt x="904" y="760"/>
                </a:lnTo>
                <a:lnTo>
                  <a:pt x="903" y="760"/>
                </a:lnTo>
                <a:lnTo>
                  <a:pt x="903" y="758"/>
                </a:lnTo>
                <a:lnTo>
                  <a:pt x="903" y="757"/>
                </a:lnTo>
                <a:lnTo>
                  <a:pt x="903" y="756"/>
                </a:lnTo>
                <a:lnTo>
                  <a:pt x="903" y="753"/>
                </a:lnTo>
                <a:lnTo>
                  <a:pt x="902" y="753"/>
                </a:lnTo>
                <a:lnTo>
                  <a:pt x="900" y="753"/>
                </a:lnTo>
                <a:lnTo>
                  <a:pt x="899" y="752"/>
                </a:lnTo>
                <a:lnTo>
                  <a:pt x="899" y="751"/>
                </a:lnTo>
                <a:lnTo>
                  <a:pt x="898" y="751"/>
                </a:lnTo>
                <a:lnTo>
                  <a:pt x="897" y="751"/>
                </a:lnTo>
                <a:lnTo>
                  <a:pt x="895" y="750"/>
                </a:lnTo>
                <a:lnTo>
                  <a:pt x="894" y="748"/>
                </a:lnTo>
                <a:lnTo>
                  <a:pt x="894" y="747"/>
                </a:lnTo>
                <a:lnTo>
                  <a:pt x="894" y="746"/>
                </a:lnTo>
                <a:lnTo>
                  <a:pt x="893" y="746"/>
                </a:lnTo>
                <a:lnTo>
                  <a:pt x="892" y="745"/>
                </a:lnTo>
                <a:lnTo>
                  <a:pt x="890" y="746"/>
                </a:lnTo>
                <a:lnTo>
                  <a:pt x="889" y="746"/>
                </a:lnTo>
                <a:lnTo>
                  <a:pt x="888" y="745"/>
                </a:lnTo>
                <a:lnTo>
                  <a:pt x="888" y="744"/>
                </a:lnTo>
                <a:lnTo>
                  <a:pt x="887" y="742"/>
                </a:lnTo>
                <a:lnTo>
                  <a:pt x="887" y="741"/>
                </a:lnTo>
                <a:lnTo>
                  <a:pt x="887" y="740"/>
                </a:lnTo>
                <a:lnTo>
                  <a:pt x="886" y="740"/>
                </a:lnTo>
                <a:lnTo>
                  <a:pt x="884" y="739"/>
                </a:lnTo>
                <a:lnTo>
                  <a:pt x="883" y="739"/>
                </a:lnTo>
                <a:lnTo>
                  <a:pt x="882" y="737"/>
                </a:lnTo>
                <a:lnTo>
                  <a:pt x="883" y="736"/>
                </a:lnTo>
                <a:lnTo>
                  <a:pt x="883" y="736"/>
                </a:lnTo>
                <a:lnTo>
                  <a:pt x="883" y="735"/>
                </a:lnTo>
                <a:lnTo>
                  <a:pt x="883" y="734"/>
                </a:lnTo>
                <a:lnTo>
                  <a:pt x="881" y="734"/>
                </a:lnTo>
                <a:lnTo>
                  <a:pt x="879" y="734"/>
                </a:lnTo>
                <a:lnTo>
                  <a:pt x="879" y="732"/>
                </a:lnTo>
                <a:lnTo>
                  <a:pt x="878" y="731"/>
                </a:lnTo>
                <a:lnTo>
                  <a:pt x="878" y="732"/>
                </a:lnTo>
                <a:lnTo>
                  <a:pt x="877" y="732"/>
                </a:lnTo>
                <a:lnTo>
                  <a:pt x="876" y="732"/>
                </a:lnTo>
                <a:lnTo>
                  <a:pt x="874" y="734"/>
                </a:lnTo>
                <a:lnTo>
                  <a:pt x="873" y="732"/>
                </a:lnTo>
                <a:lnTo>
                  <a:pt x="871" y="732"/>
                </a:lnTo>
                <a:lnTo>
                  <a:pt x="870" y="734"/>
                </a:lnTo>
                <a:lnTo>
                  <a:pt x="867" y="734"/>
                </a:lnTo>
                <a:lnTo>
                  <a:pt x="866" y="734"/>
                </a:lnTo>
                <a:lnTo>
                  <a:pt x="865" y="732"/>
                </a:lnTo>
                <a:lnTo>
                  <a:pt x="866" y="731"/>
                </a:lnTo>
                <a:lnTo>
                  <a:pt x="866" y="730"/>
                </a:lnTo>
                <a:lnTo>
                  <a:pt x="866" y="729"/>
                </a:lnTo>
                <a:lnTo>
                  <a:pt x="867" y="726"/>
                </a:lnTo>
                <a:lnTo>
                  <a:pt x="867" y="725"/>
                </a:lnTo>
                <a:lnTo>
                  <a:pt x="866" y="724"/>
                </a:lnTo>
                <a:lnTo>
                  <a:pt x="863" y="724"/>
                </a:lnTo>
                <a:lnTo>
                  <a:pt x="862" y="725"/>
                </a:lnTo>
                <a:lnTo>
                  <a:pt x="861" y="726"/>
                </a:lnTo>
                <a:lnTo>
                  <a:pt x="860" y="725"/>
                </a:lnTo>
                <a:lnTo>
                  <a:pt x="858" y="724"/>
                </a:lnTo>
                <a:lnTo>
                  <a:pt x="856" y="723"/>
                </a:lnTo>
                <a:lnTo>
                  <a:pt x="855" y="723"/>
                </a:lnTo>
                <a:lnTo>
                  <a:pt x="854" y="723"/>
                </a:lnTo>
                <a:lnTo>
                  <a:pt x="854" y="720"/>
                </a:lnTo>
                <a:lnTo>
                  <a:pt x="854" y="719"/>
                </a:lnTo>
                <a:lnTo>
                  <a:pt x="852" y="718"/>
                </a:lnTo>
                <a:lnTo>
                  <a:pt x="852" y="716"/>
                </a:lnTo>
                <a:lnTo>
                  <a:pt x="851" y="715"/>
                </a:lnTo>
                <a:lnTo>
                  <a:pt x="850" y="715"/>
                </a:lnTo>
                <a:lnTo>
                  <a:pt x="847" y="714"/>
                </a:lnTo>
                <a:lnTo>
                  <a:pt x="847" y="714"/>
                </a:lnTo>
                <a:lnTo>
                  <a:pt x="846" y="713"/>
                </a:lnTo>
                <a:lnTo>
                  <a:pt x="844" y="713"/>
                </a:lnTo>
                <a:lnTo>
                  <a:pt x="841" y="713"/>
                </a:lnTo>
                <a:lnTo>
                  <a:pt x="840" y="714"/>
                </a:lnTo>
                <a:lnTo>
                  <a:pt x="841" y="714"/>
                </a:lnTo>
                <a:lnTo>
                  <a:pt x="840" y="715"/>
                </a:lnTo>
                <a:lnTo>
                  <a:pt x="840" y="716"/>
                </a:lnTo>
                <a:lnTo>
                  <a:pt x="840" y="718"/>
                </a:lnTo>
                <a:lnTo>
                  <a:pt x="838" y="718"/>
                </a:lnTo>
                <a:lnTo>
                  <a:pt x="836" y="718"/>
                </a:lnTo>
                <a:lnTo>
                  <a:pt x="835" y="718"/>
                </a:lnTo>
                <a:lnTo>
                  <a:pt x="834" y="718"/>
                </a:lnTo>
                <a:lnTo>
                  <a:pt x="833" y="718"/>
                </a:lnTo>
                <a:lnTo>
                  <a:pt x="831" y="718"/>
                </a:lnTo>
                <a:lnTo>
                  <a:pt x="830" y="718"/>
                </a:lnTo>
                <a:lnTo>
                  <a:pt x="829" y="718"/>
                </a:lnTo>
                <a:lnTo>
                  <a:pt x="829" y="716"/>
                </a:lnTo>
                <a:lnTo>
                  <a:pt x="828" y="716"/>
                </a:lnTo>
                <a:lnTo>
                  <a:pt x="828" y="718"/>
                </a:lnTo>
                <a:lnTo>
                  <a:pt x="825" y="719"/>
                </a:lnTo>
                <a:lnTo>
                  <a:pt x="824" y="719"/>
                </a:lnTo>
                <a:lnTo>
                  <a:pt x="823" y="719"/>
                </a:lnTo>
                <a:lnTo>
                  <a:pt x="822" y="719"/>
                </a:lnTo>
                <a:lnTo>
                  <a:pt x="820" y="720"/>
                </a:lnTo>
                <a:lnTo>
                  <a:pt x="819" y="720"/>
                </a:lnTo>
                <a:lnTo>
                  <a:pt x="819" y="719"/>
                </a:lnTo>
                <a:lnTo>
                  <a:pt x="818" y="719"/>
                </a:lnTo>
                <a:lnTo>
                  <a:pt x="818" y="718"/>
                </a:lnTo>
                <a:lnTo>
                  <a:pt x="817" y="718"/>
                </a:lnTo>
                <a:lnTo>
                  <a:pt x="815" y="718"/>
                </a:lnTo>
                <a:lnTo>
                  <a:pt x="815" y="719"/>
                </a:lnTo>
                <a:lnTo>
                  <a:pt x="814" y="720"/>
                </a:lnTo>
                <a:lnTo>
                  <a:pt x="813" y="720"/>
                </a:lnTo>
                <a:lnTo>
                  <a:pt x="812" y="719"/>
                </a:lnTo>
                <a:lnTo>
                  <a:pt x="811" y="719"/>
                </a:lnTo>
                <a:lnTo>
                  <a:pt x="809" y="718"/>
                </a:lnTo>
                <a:lnTo>
                  <a:pt x="808" y="718"/>
                </a:lnTo>
                <a:lnTo>
                  <a:pt x="807" y="716"/>
                </a:lnTo>
                <a:lnTo>
                  <a:pt x="806" y="716"/>
                </a:lnTo>
                <a:lnTo>
                  <a:pt x="806" y="715"/>
                </a:lnTo>
                <a:lnTo>
                  <a:pt x="804" y="714"/>
                </a:lnTo>
                <a:lnTo>
                  <a:pt x="803" y="715"/>
                </a:lnTo>
                <a:lnTo>
                  <a:pt x="802" y="715"/>
                </a:lnTo>
                <a:lnTo>
                  <a:pt x="802" y="714"/>
                </a:lnTo>
                <a:lnTo>
                  <a:pt x="801" y="715"/>
                </a:lnTo>
                <a:lnTo>
                  <a:pt x="799" y="715"/>
                </a:lnTo>
                <a:lnTo>
                  <a:pt x="798" y="715"/>
                </a:lnTo>
                <a:lnTo>
                  <a:pt x="798" y="716"/>
                </a:lnTo>
                <a:lnTo>
                  <a:pt x="798" y="718"/>
                </a:lnTo>
                <a:lnTo>
                  <a:pt x="797" y="718"/>
                </a:lnTo>
                <a:lnTo>
                  <a:pt x="796" y="718"/>
                </a:lnTo>
                <a:lnTo>
                  <a:pt x="796" y="716"/>
                </a:lnTo>
                <a:lnTo>
                  <a:pt x="795" y="718"/>
                </a:lnTo>
                <a:lnTo>
                  <a:pt x="793" y="718"/>
                </a:lnTo>
                <a:lnTo>
                  <a:pt x="792" y="718"/>
                </a:lnTo>
                <a:lnTo>
                  <a:pt x="791" y="716"/>
                </a:lnTo>
                <a:lnTo>
                  <a:pt x="791" y="715"/>
                </a:lnTo>
                <a:lnTo>
                  <a:pt x="790" y="715"/>
                </a:lnTo>
                <a:lnTo>
                  <a:pt x="790" y="714"/>
                </a:lnTo>
                <a:lnTo>
                  <a:pt x="788" y="713"/>
                </a:lnTo>
                <a:lnTo>
                  <a:pt x="788" y="712"/>
                </a:lnTo>
                <a:lnTo>
                  <a:pt x="788" y="710"/>
                </a:lnTo>
                <a:lnTo>
                  <a:pt x="788" y="709"/>
                </a:lnTo>
                <a:lnTo>
                  <a:pt x="788" y="708"/>
                </a:lnTo>
                <a:lnTo>
                  <a:pt x="788" y="707"/>
                </a:lnTo>
                <a:lnTo>
                  <a:pt x="788" y="707"/>
                </a:lnTo>
                <a:lnTo>
                  <a:pt x="788" y="705"/>
                </a:lnTo>
                <a:lnTo>
                  <a:pt x="788" y="704"/>
                </a:lnTo>
                <a:lnTo>
                  <a:pt x="788" y="704"/>
                </a:lnTo>
                <a:lnTo>
                  <a:pt x="788" y="703"/>
                </a:lnTo>
                <a:lnTo>
                  <a:pt x="788" y="702"/>
                </a:lnTo>
                <a:lnTo>
                  <a:pt x="788" y="702"/>
                </a:lnTo>
                <a:lnTo>
                  <a:pt x="787" y="701"/>
                </a:lnTo>
                <a:lnTo>
                  <a:pt x="787" y="699"/>
                </a:lnTo>
                <a:lnTo>
                  <a:pt x="787" y="698"/>
                </a:lnTo>
                <a:lnTo>
                  <a:pt x="787" y="697"/>
                </a:lnTo>
                <a:lnTo>
                  <a:pt x="788" y="697"/>
                </a:lnTo>
                <a:lnTo>
                  <a:pt x="788" y="696"/>
                </a:lnTo>
                <a:lnTo>
                  <a:pt x="787" y="694"/>
                </a:lnTo>
                <a:lnTo>
                  <a:pt x="787" y="693"/>
                </a:lnTo>
                <a:lnTo>
                  <a:pt x="786" y="692"/>
                </a:lnTo>
                <a:lnTo>
                  <a:pt x="785" y="692"/>
                </a:lnTo>
                <a:lnTo>
                  <a:pt x="783" y="692"/>
                </a:lnTo>
                <a:lnTo>
                  <a:pt x="782" y="692"/>
                </a:lnTo>
                <a:lnTo>
                  <a:pt x="781" y="692"/>
                </a:lnTo>
                <a:lnTo>
                  <a:pt x="780" y="692"/>
                </a:lnTo>
                <a:lnTo>
                  <a:pt x="779" y="692"/>
                </a:lnTo>
                <a:lnTo>
                  <a:pt x="777" y="691"/>
                </a:lnTo>
                <a:lnTo>
                  <a:pt x="776" y="691"/>
                </a:lnTo>
                <a:lnTo>
                  <a:pt x="776" y="692"/>
                </a:lnTo>
                <a:lnTo>
                  <a:pt x="775" y="692"/>
                </a:lnTo>
                <a:lnTo>
                  <a:pt x="774" y="692"/>
                </a:lnTo>
                <a:lnTo>
                  <a:pt x="774" y="693"/>
                </a:lnTo>
                <a:lnTo>
                  <a:pt x="772" y="693"/>
                </a:lnTo>
                <a:lnTo>
                  <a:pt x="771" y="694"/>
                </a:lnTo>
                <a:lnTo>
                  <a:pt x="770" y="694"/>
                </a:lnTo>
                <a:lnTo>
                  <a:pt x="770" y="696"/>
                </a:lnTo>
                <a:lnTo>
                  <a:pt x="770" y="697"/>
                </a:lnTo>
                <a:lnTo>
                  <a:pt x="769" y="697"/>
                </a:lnTo>
                <a:lnTo>
                  <a:pt x="769" y="698"/>
                </a:lnTo>
                <a:lnTo>
                  <a:pt x="767" y="698"/>
                </a:lnTo>
                <a:lnTo>
                  <a:pt x="766" y="699"/>
                </a:lnTo>
                <a:lnTo>
                  <a:pt x="765" y="699"/>
                </a:lnTo>
                <a:lnTo>
                  <a:pt x="765" y="698"/>
                </a:lnTo>
                <a:lnTo>
                  <a:pt x="764" y="698"/>
                </a:lnTo>
                <a:lnTo>
                  <a:pt x="764" y="699"/>
                </a:lnTo>
                <a:lnTo>
                  <a:pt x="763" y="699"/>
                </a:lnTo>
                <a:lnTo>
                  <a:pt x="761" y="699"/>
                </a:lnTo>
                <a:lnTo>
                  <a:pt x="760" y="699"/>
                </a:lnTo>
                <a:lnTo>
                  <a:pt x="759" y="701"/>
                </a:lnTo>
                <a:lnTo>
                  <a:pt x="759" y="701"/>
                </a:lnTo>
                <a:lnTo>
                  <a:pt x="758" y="699"/>
                </a:lnTo>
                <a:lnTo>
                  <a:pt x="758" y="698"/>
                </a:lnTo>
                <a:lnTo>
                  <a:pt x="756" y="698"/>
                </a:lnTo>
                <a:lnTo>
                  <a:pt x="756" y="699"/>
                </a:lnTo>
                <a:lnTo>
                  <a:pt x="755" y="701"/>
                </a:lnTo>
                <a:lnTo>
                  <a:pt x="755" y="702"/>
                </a:lnTo>
                <a:lnTo>
                  <a:pt x="754" y="703"/>
                </a:lnTo>
                <a:lnTo>
                  <a:pt x="753" y="702"/>
                </a:lnTo>
                <a:lnTo>
                  <a:pt x="753" y="703"/>
                </a:lnTo>
                <a:lnTo>
                  <a:pt x="753" y="704"/>
                </a:lnTo>
                <a:lnTo>
                  <a:pt x="755" y="704"/>
                </a:lnTo>
                <a:lnTo>
                  <a:pt x="756" y="705"/>
                </a:lnTo>
                <a:lnTo>
                  <a:pt x="755" y="705"/>
                </a:lnTo>
                <a:lnTo>
                  <a:pt x="754" y="707"/>
                </a:lnTo>
                <a:lnTo>
                  <a:pt x="754" y="707"/>
                </a:lnTo>
                <a:lnTo>
                  <a:pt x="753" y="708"/>
                </a:lnTo>
                <a:lnTo>
                  <a:pt x="751" y="708"/>
                </a:lnTo>
                <a:lnTo>
                  <a:pt x="750" y="708"/>
                </a:lnTo>
                <a:lnTo>
                  <a:pt x="749" y="708"/>
                </a:lnTo>
                <a:lnTo>
                  <a:pt x="747" y="709"/>
                </a:lnTo>
                <a:lnTo>
                  <a:pt x="747" y="710"/>
                </a:lnTo>
                <a:lnTo>
                  <a:pt x="747" y="712"/>
                </a:lnTo>
                <a:lnTo>
                  <a:pt x="747" y="713"/>
                </a:lnTo>
                <a:lnTo>
                  <a:pt x="748" y="714"/>
                </a:lnTo>
                <a:lnTo>
                  <a:pt x="748" y="715"/>
                </a:lnTo>
                <a:lnTo>
                  <a:pt x="748" y="716"/>
                </a:lnTo>
                <a:lnTo>
                  <a:pt x="747" y="718"/>
                </a:lnTo>
                <a:lnTo>
                  <a:pt x="745" y="719"/>
                </a:lnTo>
                <a:lnTo>
                  <a:pt x="744" y="719"/>
                </a:lnTo>
                <a:lnTo>
                  <a:pt x="744" y="720"/>
                </a:lnTo>
                <a:lnTo>
                  <a:pt x="744" y="721"/>
                </a:lnTo>
                <a:lnTo>
                  <a:pt x="743" y="723"/>
                </a:lnTo>
                <a:lnTo>
                  <a:pt x="743" y="724"/>
                </a:lnTo>
                <a:lnTo>
                  <a:pt x="743" y="725"/>
                </a:lnTo>
                <a:lnTo>
                  <a:pt x="743" y="726"/>
                </a:lnTo>
                <a:lnTo>
                  <a:pt x="742" y="726"/>
                </a:lnTo>
                <a:lnTo>
                  <a:pt x="742" y="728"/>
                </a:lnTo>
                <a:lnTo>
                  <a:pt x="740" y="729"/>
                </a:lnTo>
                <a:lnTo>
                  <a:pt x="739" y="730"/>
                </a:lnTo>
                <a:lnTo>
                  <a:pt x="738" y="730"/>
                </a:lnTo>
                <a:lnTo>
                  <a:pt x="738" y="731"/>
                </a:lnTo>
                <a:lnTo>
                  <a:pt x="739" y="732"/>
                </a:lnTo>
                <a:lnTo>
                  <a:pt x="739" y="734"/>
                </a:lnTo>
                <a:lnTo>
                  <a:pt x="738" y="735"/>
                </a:lnTo>
                <a:lnTo>
                  <a:pt x="737" y="735"/>
                </a:lnTo>
                <a:lnTo>
                  <a:pt x="736" y="735"/>
                </a:lnTo>
                <a:lnTo>
                  <a:pt x="736" y="736"/>
                </a:lnTo>
                <a:lnTo>
                  <a:pt x="734" y="736"/>
                </a:lnTo>
                <a:lnTo>
                  <a:pt x="733" y="736"/>
                </a:lnTo>
                <a:lnTo>
                  <a:pt x="732" y="736"/>
                </a:lnTo>
                <a:lnTo>
                  <a:pt x="731" y="736"/>
                </a:lnTo>
                <a:lnTo>
                  <a:pt x="731" y="736"/>
                </a:lnTo>
                <a:lnTo>
                  <a:pt x="729" y="737"/>
                </a:lnTo>
                <a:lnTo>
                  <a:pt x="729" y="736"/>
                </a:lnTo>
                <a:lnTo>
                  <a:pt x="728" y="736"/>
                </a:lnTo>
                <a:lnTo>
                  <a:pt x="727" y="736"/>
                </a:lnTo>
                <a:lnTo>
                  <a:pt x="727" y="737"/>
                </a:lnTo>
                <a:lnTo>
                  <a:pt x="724" y="737"/>
                </a:lnTo>
                <a:lnTo>
                  <a:pt x="723" y="737"/>
                </a:lnTo>
                <a:lnTo>
                  <a:pt x="722" y="736"/>
                </a:lnTo>
                <a:lnTo>
                  <a:pt x="721" y="736"/>
                </a:lnTo>
                <a:lnTo>
                  <a:pt x="720" y="736"/>
                </a:lnTo>
                <a:lnTo>
                  <a:pt x="718" y="736"/>
                </a:lnTo>
                <a:lnTo>
                  <a:pt x="717" y="737"/>
                </a:lnTo>
                <a:lnTo>
                  <a:pt x="716" y="739"/>
                </a:lnTo>
                <a:lnTo>
                  <a:pt x="716" y="740"/>
                </a:lnTo>
                <a:lnTo>
                  <a:pt x="716" y="742"/>
                </a:lnTo>
                <a:lnTo>
                  <a:pt x="715" y="744"/>
                </a:lnTo>
                <a:lnTo>
                  <a:pt x="713" y="745"/>
                </a:lnTo>
                <a:lnTo>
                  <a:pt x="713" y="747"/>
                </a:lnTo>
                <a:lnTo>
                  <a:pt x="712" y="748"/>
                </a:lnTo>
                <a:lnTo>
                  <a:pt x="711" y="748"/>
                </a:lnTo>
                <a:lnTo>
                  <a:pt x="710" y="748"/>
                </a:lnTo>
                <a:lnTo>
                  <a:pt x="708" y="748"/>
                </a:lnTo>
                <a:lnTo>
                  <a:pt x="707" y="748"/>
                </a:lnTo>
                <a:lnTo>
                  <a:pt x="706" y="748"/>
                </a:lnTo>
                <a:lnTo>
                  <a:pt x="705" y="747"/>
                </a:lnTo>
                <a:lnTo>
                  <a:pt x="702" y="747"/>
                </a:lnTo>
                <a:lnTo>
                  <a:pt x="702" y="748"/>
                </a:lnTo>
                <a:lnTo>
                  <a:pt x="700" y="748"/>
                </a:lnTo>
                <a:lnTo>
                  <a:pt x="700" y="747"/>
                </a:lnTo>
                <a:lnTo>
                  <a:pt x="699" y="748"/>
                </a:lnTo>
                <a:lnTo>
                  <a:pt x="697" y="748"/>
                </a:lnTo>
                <a:lnTo>
                  <a:pt x="696" y="748"/>
                </a:lnTo>
                <a:lnTo>
                  <a:pt x="695" y="750"/>
                </a:lnTo>
                <a:lnTo>
                  <a:pt x="694" y="751"/>
                </a:lnTo>
                <a:lnTo>
                  <a:pt x="692" y="750"/>
                </a:lnTo>
                <a:lnTo>
                  <a:pt x="691" y="750"/>
                </a:lnTo>
                <a:lnTo>
                  <a:pt x="690" y="750"/>
                </a:lnTo>
                <a:lnTo>
                  <a:pt x="689" y="750"/>
                </a:lnTo>
                <a:lnTo>
                  <a:pt x="689" y="751"/>
                </a:lnTo>
                <a:lnTo>
                  <a:pt x="689" y="752"/>
                </a:lnTo>
                <a:lnTo>
                  <a:pt x="690" y="753"/>
                </a:lnTo>
                <a:lnTo>
                  <a:pt x="690" y="755"/>
                </a:lnTo>
                <a:lnTo>
                  <a:pt x="688" y="756"/>
                </a:lnTo>
                <a:lnTo>
                  <a:pt x="686" y="756"/>
                </a:lnTo>
                <a:lnTo>
                  <a:pt x="685" y="756"/>
                </a:lnTo>
                <a:lnTo>
                  <a:pt x="685" y="757"/>
                </a:lnTo>
                <a:lnTo>
                  <a:pt x="685" y="758"/>
                </a:lnTo>
                <a:lnTo>
                  <a:pt x="686" y="760"/>
                </a:lnTo>
                <a:lnTo>
                  <a:pt x="686" y="761"/>
                </a:lnTo>
                <a:lnTo>
                  <a:pt x="685" y="761"/>
                </a:lnTo>
                <a:lnTo>
                  <a:pt x="684" y="762"/>
                </a:lnTo>
                <a:lnTo>
                  <a:pt x="683" y="763"/>
                </a:lnTo>
                <a:lnTo>
                  <a:pt x="683" y="764"/>
                </a:lnTo>
                <a:lnTo>
                  <a:pt x="684" y="766"/>
                </a:lnTo>
                <a:lnTo>
                  <a:pt x="684" y="766"/>
                </a:lnTo>
                <a:lnTo>
                  <a:pt x="683" y="767"/>
                </a:lnTo>
                <a:lnTo>
                  <a:pt x="681" y="768"/>
                </a:lnTo>
                <a:lnTo>
                  <a:pt x="680" y="769"/>
                </a:lnTo>
                <a:lnTo>
                  <a:pt x="679" y="771"/>
                </a:lnTo>
                <a:lnTo>
                  <a:pt x="679" y="772"/>
                </a:lnTo>
                <a:lnTo>
                  <a:pt x="678" y="772"/>
                </a:lnTo>
                <a:lnTo>
                  <a:pt x="676" y="772"/>
                </a:lnTo>
                <a:lnTo>
                  <a:pt x="675" y="773"/>
                </a:lnTo>
                <a:lnTo>
                  <a:pt x="674" y="774"/>
                </a:lnTo>
                <a:lnTo>
                  <a:pt x="674" y="776"/>
                </a:lnTo>
                <a:lnTo>
                  <a:pt x="674" y="777"/>
                </a:lnTo>
                <a:lnTo>
                  <a:pt x="673" y="777"/>
                </a:lnTo>
                <a:lnTo>
                  <a:pt x="672" y="777"/>
                </a:lnTo>
                <a:lnTo>
                  <a:pt x="670" y="778"/>
                </a:lnTo>
                <a:lnTo>
                  <a:pt x="670" y="779"/>
                </a:lnTo>
                <a:lnTo>
                  <a:pt x="670" y="779"/>
                </a:lnTo>
                <a:lnTo>
                  <a:pt x="669" y="778"/>
                </a:lnTo>
                <a:lnTo>
                  <a:pt x="668" y="778"/>
                </a:lnTo>
                <a:lnTo>
                  <a:pt x="667" y="778"/>
                </a:lnTo>
                <a:lnTo>
                  <a:pt x="665" y="778"/>
                </a:lnTo>
                <a:lnTo>
                  <a:pt x="664" y="779"/>
                </a:lnTo>
                <a:lnTo>
                  <a:pt x="663" y="779"/>
                </a:lnTo>
                <a:lnTo>
                  <a:pt x="662" y="780"/>
                </a:lnTo>
                <a:lnTo>
                  <a:pt x="660" y="780"/>
                </a:lnTo>
                <a:lnTo>
                  <a:pt x="659" y="780"/>
                </a:lnTo>
                <a:lnTo>
                  <a:pt x="658" y="780"/>
                </a:lnTo>
                <a:lnTo>
                  <a:pt x="657" y="779"/>
                </a:lnTo>
                <a:lnTo>
                  <a:pt x="656" y="778"/>
                </a:lnTo>
                <a:lnTo>
                  <a:pt x="654" y="778"/>
                </a:lnTo>
                <a:lnTo>
                  <a:pt x="653" y="778"/>
                </a:lnTo>
                <a:lnTo>
                  <a:pt x="652" y="778"/>
                </a:lnTo>
                <a:lnTo>
                  <a:pt x="651" y="778"/>
                </a:lnTo>
                <a:lnTo>
                  <a:pt x="651" y="779"/>
                </a:lnTo>
                <a:lnTo>
                  <a:pt x="649" y="780"/>
                </a:lnTo>
                <a:lnTo>
                  <a:pt x="648" y="780"/>
                </a:lnTo>
                <a:lnTo>
                  <a:pt x="647" y="779"/>
                </a:lnTo>
                <a:lnTo>
                  <a:pt x="647" y="778"/>
                </a:lnTo>
                <a:lnTo>
                  <a:pt x="647" y="777"/>
                </a:lnTo>
                <a:lnTo>
                  <a:pt x="646" y="777"/>
                </a:lnTo>
                <a:lnTo>
                  <a:pt x="646" y="776"/>
                </a:lnTo>
                <a:lnTo>
                  <a:pt x="646" y="774"/>
                </a:lnTo>
                <a:lnTo>
                  <a:pt x="646" y="773"/>
                </a:lnTo>
                <a:lnTo>
                  <a:pt x="646" y="772"/>
                </a:lnTo>
                <a:lnTo>
                  <a:pt x="646" y="771"/>
                </a:lnTo>
                <a:lnTo>
                  <a:pt x="646" y="768"/>
                </a:lnTo>
                <a:lnTo>
                  <a:pt x="644" y="767"/>
                </a:lnTo>
                <a:lnTo>
                  <a:pt x="643" y="766"/>
                </a:lnTo>
                <a:lnTo>
                  <a:pt x="643" y="766"/>
                </a:lnTo>
                <a:lnTo>
                  <a:pt x="644" y="766"/>
                </a:lnTo>
                <a:lnTo>
                  <a:pt x="644" y="764"/>
                </a:lnTo>
                <a:lnTo>
                  <a:pt x="644" y="763"/>
                </a:lnTo>
                <a:lnTo>
                  <a:pt x="643" y="763"/>
                </a:lnTo>
                <a:lnTo>
                  <a:pt x="642" y="762"/>
                </a:lnTo>
                <a:lnTo>
                  <a:pt x="641" y="761"/>
                </a:lnTo>
                <a:lnTo>
                  <a:pt x="641" y="760"/>
                </a:lnTo>
                <a:lnTo>
                  <a:pt x="641" y="758"/>
                </a:lnTo>
                <a:lnTo>
                  <a:pt x="641" y="757"/>
                </a:lnTo>
                <a:lnTo>
                  <a:pt x="638" y="757"/>
                </a:lnTo>
                <a:lnTo>
                  <a:pt x="638" y="758"/>
                </a:lnTo>
                <a:lnTo>
                  <a:pt x="637" y="758"/>
                </a:lnTo>
                <a:lnTo>
                  <a:pt x="636" y="758"/>
                </a:lnTo>
                <a:lnTo>
                  <a:pt x="636" y="757"/>
                </a:lnTo>
                <a:lnTo>
                  <a:pt x="635" y="757"/>
                </a:lnTo>
                <a:lnTo>
                  <a:pt x="635" y="756"/>
                </a:lnTo>
                <a:lnTo>
                  <a:pt x="633" y="757"/>
                </a:lnTo>
                <a:lnTo>
                  <a:pt x="632" y="757"/>
                </a:lnTo>
                <a:lnTo>
                  <a:pt x="631" y="756"/>
                </a:lnTo>
                <a:lnTo>
                  <a:pt x="630" y="757"/>
                </a:lnTo>
                <a:lnTo>
                  <a:pt x="628" y="757"/>
                </a:lnTo>
                <a:lnTo>
                  <a:pt x="627" y="757"/>
                </a:lnTo>
                <a:lnTo>
                  <a:pt x="626" y="756"/>
                </a:lnTo>
                <a:lnTo>
                  <a:pt x="625" y="756"/>
                </a:lnTo>
                <a:lnTo>
                  <a:pt x="624" y="756"/>
                </a:lnTo>
                <a:lnTo>
                  <a:pt x="622" y="757"/>
                </a:lnTo>
                <a:lnTo>
                  <a:pt x="621" y="757"/>
                </a:lnTo>
                <a:lnTo>
                  <a:pt x="619" y="757"/>
                </a:lnTo>
                <a:lnTo>
                  <a:pt x="617" y="757"/>
                </a:lnTo>
                <a:lnTo>
                  <a:pt x="615" y="757"/>
                </a:lnTo>
                <a:lnTo>
                  <a:pt x="614" y="756"/>
                </a:lnTo>
                <a:lnTo>
                  <a:pt x="613" y="756"/>
                </a:lnTo>
                <a:lnTo>
                  <a:pt x="613" y="757"/>
                </a:lnTo>
                <a:lnTo>
                  <a:pt x="613" y="758"/>
                </a:lnTo>
                <a:lnTo>
                  <a:pt x="611" y="760"/>
                </a:lnTo>
                <a:lnTo>
                  <a:pt x="611" y="760"/>
                </a:lnTo>
                <a:lnTo>
                  <a:pt x="610" y="760"/>
                </a:lnTo>
                <a:lnTo>
                  <a:pt x="609" y="758"/>
                </a:lnTo>
                <a:lnTo>
                  <a:pt x="608" y="758"/>
                </a:lnTo>
                <a:lnTo>
                  <a:pt x="606" y="760"/>
                </a:lnTo>
                <a:lnTo>
                  <a:pt x="605" y="760"/>
                </a:lnTo>
                <a:lnTo>
                  <a:pt x="604" y="760"/>
                </a:lnTo>
                <a:lnTo>
                  <a:pt x="603" y="760"/>
                </a:lnTo>
                <a:lnTo>
                  <a:pt x="601" y="760"/>
                </a:lnTo>
                <a:lnTo>
                  <a:pt x="601" y="758"/>
                </a:lnTo>
                <a:lnTo>
                  <a:pt x="600" y="758"/>
                </a:lnTo>
                <a:lnTo>
                  <a:pt x="599" y="758"/>
                </a:lnTo>
                <a:lnTo>
                  <a:pt x="598" y="758"/>
                </a:lnTo>
                <a:lnTo>
                  <a:pt x="597" y="758"/>
                </a:lnTo>
                <a:lnTo>
                  <a:pt x="595" y="758"/>
                </a:lnTo>
                <a:lnTo>
                  <a:pt x="594" y="760"/>
                </a:lnTo>
                <a:lnTo>
                  <a:pt x="594" y="758"/>
                </a:lnTo>
                <a:lnTo>
                  <a:pt x="594" y="757"/>
                </a:lnTo>
                <a:lnTo>
                  <a:pt x="593" y="757"/>
                </a:lnTo>
                <a:lnTo>
                  <a:pt x="592" y="756"/>
                </a:lnTo>
                <a:lnTo>
                  <a:pt x="590" y="755"/>
                </a:lnTo>
                <a:lnTo>
                  <a:pt x="590" y="753"/>
                </a:lnTo>
                <a:lnTo>
                  <a:pt x="590" y="752"/>
                </a:lnTo>
                <a:lnTo>
                  <a:pt x="589" y="752"/>
                </a:lnTo>
                <a:lnTo>
                  <a:pt x="588" y="752"/>
                </a:lnTo>
                <a:lnTo>
                  <a:pt x="587" y="751"/>
                </a:lnTo>
                <a:lnTo>
                  <a:pt x="585" y="750"/>
                </a:lnTo>
                <a:lnTo>
                  <a:pt x="585" y="748"/>
                </a:lnTo>
                <a:lnTo>
                  <a:pt x="584" y="747"/>
                </a:lnTo>
                <a:lnTo>
                  <a:pt x="583" y="747"/>
                </a:lnTo>
                <a:lnTo>
                  <a:pt x="582" y="747"/>
                </a:lnTo>
                <a:lnTo>
                  <a:pt x="582" y="746"/>
                </a:lnTo>
                <a:lnTo>
                  <a:pt x="582" y="747"/>
                </a:lnTo>
                <a:lnTo>
                  <a:pt x="581" y="747"/>
                </a:lnTo>
                <a:lnTo>
                  <a:pt x="581" y="746"/>
                </a:lnTo>
                <a:lnTo>
                  <a:pt x="579" y="746"/>
                </a:lnTo>
                <a:lnTo>
                  <a:pt x="579" y="745"/>
                </a:lnTo>
                <a:lnTo>
                  <a:pt x="578" y="745"/>
                </a:lnTo>
                <a:lnTo>
                  <a:pt x="577" y="745"/>
                </a:lnTo>
                <a:lnTo>
                  <a:pt x="576" y="744"/>
                </a:lnTo>
                <a:lnTo>
                  <a:pt x="574" y="744"/>
                </a:lnTo>
                <a:lnTo>
                  <a:pt x="573" y="742"/>
                </a:lnTo>
                <a:lnTo>
                  <a:pt x="573" y="741"/>
                </a:lnTo>
                <a:lnTo>
                  <a:pt x="573" y="740"/>
                </a:lnTo>
                <a:lnTo>
                  <a:pt x="574" y="739"/>
                </a:lnTo>
                <a:lnTo>
                  <a:pt x="576" y="739"/>
                </a:lnTo>
                <a:lnTo>
                  <a:pt x="576" y="737"/>
                </a:lnTo>
                <a:lnTo>
                  <a:pt x="577" y="736"/>
                </a:lnTo>
                <a:lnTo>
                  <a:pt x="578" y="736"/>
                </a:lnTo>
                <a:lnTo>
                  <a:pt x="577" y="736"/>
                </a:lnTo>
                <a:lnTo>
                  <a:pt x="577" y="735"/>
                </a:lnTo>
                <a:lnTo>
                  <a:pt x="576" y="734"/>
                </a:lnTo>
                <a:lnTo>
                  <a:pt x="576" y="732"/>
                </a:lnTo>
                <a:lnTo>
                  <a:pt x="576" y="731"/>
                </a:lnTo>
                <a:lnTo>
                  <a:pt x="573" y="731"/>
                </a:lnTo>
                <a:lnTo>
                  <a:pt x="573" y="732"/>
                </a:lnTo>
                <a:lnTo>
                  <a:pt x="573" y="734"/>
                </a:lnTo>
                <a:lnTo>
                  <a:pt x="572" y="735"/>
                </a:lnTo>
                <a:lnTo>
                  <a:pt x="572" y="734"/>
                </a:lnTo>
                <a:lnTo>
                  <a:pt x="571" y="732"/>
                </a:lnTo>
                <a:lnTo>
                  <a:pt x="569" y="732"/>
                </a:lnTo>
                <a:lnTo>
                  <a:pt x="568" y="734"/>
                </a:lnTo>
                <a:lnTo>
                  <a:pt x="568" y="732"/>
                </a:lnTo>
                <a:lnTo>
                  <a:pt x="567" y="730"/>
                </a:lnTo>
                <a:lnTo>
                  <a:pt x="566" y="730"/>
                </a:lnTo>
                <a:lnTo>
                  <a:pt x="565" y="730"/>
                </a:lnTo>
                <a:lnTo>
                  <a:pt x="563" y="731"/>
                </a:lnTo>
                <a:lnTo>
                  <a:pt x="562" y="732"/>
                </a:lnTo>
                <a:lnTo>
                  <a:pt x="560" y="732"/>
                </a:lnTo>
                <a:lnTo>
                  <a:pt x="558" y="732"/>
                </a:lnTo>
                <a:lnTo>
                  <a:pt x="558" y="734"/>
                </a:lnTo>
                <a:lnTo>
                  <a:pt x="558" y="735"/>
                </a:lnTo>
                <a:lnTo>
                  <a:pt x="560" y="736"/>
                </a:lnTo>
                <a:lnTo>
                  <a:pt x="558" y="736"/>
                </a:lnTo>
                <a:lnTo>
                  <a:pt x="557" y="736"/>
                </a:lnTo>
                <a:lnTo>
                  <a:pt x="557" y="739"/>
                </a:lnTo>
                <a:lnTo>
                  <a:pt x="556" y="739"/>
                </a:lnTo>
                <a:lnTo>
                  <a:pt x="555" y="737"/>
                </a:lnTo>
                <a:lnTo>
                  <a:pt x="555" y="736"/>
                </a:lnTo>
                <a:lnTo>
                  <a:pt x="553" y="736"/>
                </a:lnTo>
                <a:lnTo>
                  <a:pt x="553" y="735"/>
                </a:lnTo>
                <a:lnTo>
                  <a:pt x="553" y="734"/>
                </a:lnTo>
                <a:lnTo>
                  <a:pt x="552" y="731"/>
                </a:lnTo>
                <a:lnTo>
                  <a:pt x="551" y="729"/>
                </a:lnTo>
                <a:lnTo>
                  <a:pt x="551" y="728"/>
                </a:lnTo>
                <a:lnTo>
                  <a:pt x="550" y="726"/>
                </a:lnTo>
                <a:lnTo>
                  <a:pt x="549" y="726"/>
                </a:lnTo>
                <a:lnTo>
                  <a:pt x="547" y="726"/>
                </a:lnTo>
                <a:lnTo>
                  <a:pt x="546" y="725"/>
                </a:lnTo>
                <a:lnTo>
                  <a:pt x="545" y="724"/>
                </a:lnTo>
                <a:lnTo>
                  <a:pt x="545" y="723"/>
                </a:lnTo>
                <a:lnTo>
                  <a:pt x="545" y="721"/>
                </a:lnTo>
                <a:lnTo>
                  <a:pt x="544" y="720"/>
                </a:lnTo>
                <a:lnTo>
                  <a:pt x="542" y="720"/>
                </a:lnTo>
                <a:lnTo>
                  <a:pt x="542" y="719"/>
                </a:lnTo>
                <a:lnTo>
                  <a:pt x="544" y="719"/>
                </a:lnTo>
                <a:lnTo>
                  <a:pt x="542" y="718"/>
                </a:lnTo>
                <a:lnTo>
                  <a:pt x="542" y="716"/>
                </a:lnTo>
                <a:lnTo>
                  <a:pt x="542" y="715"/>
                </a:lnTo>
                <a:lnTo>
                  <a:pt x="542" y="714"/>
                </a:lnTo>
                <a:lnTo>
                  <a:pt x="542" y="713"/>
                </a:lnTo>
                <a:lnTo>
                  <a:pt x="544" y="712"/>
                </a:lnTo>
                <a:lnTo>
                  <a:pt x="544" y="710"/>
                </a:lnTo>
                <a:lnTo>
                  <a:pt x="542" y="709"/>
                </a:lnTo>
                <a:lnTo>
                  <a:pt x="541" y="708"/>
                </a:lnTo>
                <a:lnTo>
                  <a:pt x="542" y="707"/>
                </a:lnTo>
                <a:lnTo>
                  <a:pt x="544" y="707"/>
                </a:lnTo>
                <a:lnTo>
                  <a:pt x="544" y="707"/>
                </a:lnTo>
                <a:lnTo>
                  <a:pt x="544" y="705"/>
                </a:lnTo>
                <a:lnTo>
                  <a:pt x="544" y="704"/>
                </a:lnTo>
                <a:lnTo>
                  <a:pt x="545" y="704"/>
                </a:lnTo>
                <a:lnTo>
                  <a:pt x="545" y="703"/>
                </a:lnTo>
                <a:lnTo>
                  <a:pt x="545" y="702"/>
                </a:lnTo>
                <a:lnTo>
                  <a:pt x="545" y="701"/>
                </a:lnTo>
                <a:lnTo>
                  <a:pt x="546" y="699"/>
                </a:lnTo>
                <a:lnTo>
                  <a:pt x="546" y="698"/>
                </a:lnTo>
                <a:lnTo>
                  <a:pt x="545" y="697"/>
                </a:lnTo>
                <a:lnTo>
                  <a:pt x="545" y="696"/>
                </a:lnTo>
                <a:lnTo>
                  <a:pt x="544" y="696"/>
                </a:lnTo>
                <a:lnTo>
                  <a:pt x="544" y="697"/>
                </a:lnTo>
                <a:lnTo>
                  <a:pt x="541" y="698"/>
                </a:lnTo>
                <a:lnTo>
                  <a:pt x="540" y="698"/>
                </a:lnTo>
                <a:lnTo>
                  <a:pt x="539" y="698"/>
                </a:lnTo>
                <a:lnTo>
                  <a:pt x="537" y="697"/>
                </a:lnTo>
                <a:lnTo>
                  <a:pt x="536" y="697"/>
                </a:lnTo>
                <a:lnTo>
                  <a:pt x="535" y="697"/>
                </a:lnTo>
                <a:lnTo>
                  <a:pt x="535" y="696"/>
                </a:lnTo>
                <a:lnTo>
                  <a:pt x="533" y="696"/>
                </a:lnTo>
                <a:lnTo>
                  <a:pt x="531" y="696"/>
                </a:lnTo>
                <a:lnTo>
                  <a:pt x="530" y="694"/>
                </a:lnTo>
                <a:lnTo>
                  <a:pt x="529" y="693"/>
                </a:lnTo>
                <a:lnTo>
                  <a:pt x="529" y="694"/>
                </a:lnTo>
                <a:lnTo>
                  <a:pt x="528" y="696"/>
                </a:lnTo>
                <a:lnTo>
                  <a:pt x="526" y="696"/>
                </a:lnTo>
                <a:lnTo>
                  <a:pt x="526" y="694"/>
                </a:lnTo>
                <a:lnTo>
                  <a:pt x="526" y="693"/>
                </a:lnTo>
                <a:lnTo>
                  <a:pt x="525" y="693"/>
                </a:lnTo>
                <a:lnTo>
                  <a:pt x="525" y="694"/>
                </a:lnTo>
                <a:lnTo>
                  <a:pt x="524" y="696"/>
                </a:lnTo>
                <a:lnTo>
                  <a:pt x="523" y="694"/>
                </a:lnTo>
                <a:lnTo>
                  <a:pt x="523" y="694"/>
                </a:lnTo>
                <a:lnTo>
                  <a:pt x="521" y="694"/>
                </a:lnTo>
                <a:lnTo>
                  <a:pt x="520" y="694"/>
                </a:lnTo>
                <a:lnTo>
                  <a:pt x="519" y="693"/>
                </a:lnTo>
                <a:lnTo>
                  <a:pt x="518" y="692"/>
                </a:lnTo>
                <a:lnTo>
                  <a:pt x="517" y="691"/>
                </a:lnTo>
                <a:lnTo>
                  <a:pt x="515" y="689"/>
                </a:lnTo>
                <a:lnTo>
                  <a:pt x="514" y="689"/>
                </a:lnTo>
                <a:lnTo>
                  <a:pt x="513" y="689"/>
                </a:lnTo>
                <a:lnTo>
                  <a:pt x="513" y="691"/>
                </a:lnTo>
                <a:lnTo>
                  <a:pt x="513" y="692"/>
                </a:lnTo>
                <a:lnTo>
                  <a:pt x="513" y="693"/>
                </a:lnTo>
                <a:lnTo>
                  <a:pt x="513" y="694"/>
                </a:lnTo>
                <a:lnTo>
                  <a:pt x="512" y="696"/>
                </a:lnTo>
                <a:lnTo>
                  <a:pt x="512" y="697"/>
                </a:lnTo>
                <a:lnTo>
                  <a:pt x="512" y="698"/>
                </a:lnTo>
                <a:lnTo>
                  <a:pt x="510" y="697"/>
                </a:lnTo>
                <a:lnTo>
                  <a:pt x="509" y="698"/>
                </a:lnTo>
                <a:lnTo>
                  <a:pt x="508" y="698"/>
                </a:lnTo>
                <a:lnTo>
                  <a:pt x="508" y="697"/>
                </a:lnTo>
                <a:lnTo>
                  <a:pt x="507" y="697"/>
                </a:lnTo>
                <a:lnTo>
                  <a:pt x="506" y="697"/>
                </a:lnTo>
                <a:lnTo>
                  <a:pt x="504" y="698"/>
                </a:lnTo>
                <a:lnTo>
                  <a:pt x="503" y="697"/>
                </a:lnTo>
                <a:lnTo>
                  <a:pt x="502" y="696"/>
                </a:lnTo>
                <a:lnTo>
                  <a:pt x="501" y="697"/>
                </a:lnTo>
                <a:lnTo>
                  <a:pt x="499" y="697"/>
                </a:lnTo>
                <a:lnTo>
                  <a:pt x="497" y="697"/>
                </a:lnTo>
                <a:lnTo>
                  <a:pt x="496" y="696"/>
                </a:lnTo>
                <a:lnTo>
                  <a:pt x="493" y="696"/>
                </a:lnTo>
                <a:lnTo>
                  <a:pt x="493" y="696"/>
                </a:lnTo>
                <a:lnTo>
                  <a:pt x="493" y="694"/>
                </a:lnTo>
                <a:lnTo>
                  <a:pt x="492" y="696"/>
                </a:lnTo>
                <a:lnTo>
                  <a:pt x="491" y="696"/>
                </a:lnTo>
                <a:lnTo>
                  <a:pt x="490" y="694"/>
                </a:lnTo>
                <a:lnTo>
                  <a:pt x="488" y="694"/>
                </a:lnTo>
                <a:lnTo>
                  <a:pt x="488" y="692"/>
                </a:lnTo>
                <a:lnTo>
                  <a:pt x="487" y="692"/>
                </a:lnTo>
                <a:lnTo>
                  <a:pt x="486" y="691"/>
                </a:lnTo>
                <a:lnTo>
                  <a:pt x="486" y="689"/>
                </a:lnTo>
                <a:lnTo>
                  <a:pt x="486" y="688"/>
                </a:lnTo>
                <a:lnTo>
                  <a:pt x="483" y="687"/>
                </a:lnTo>
                <a:lnTo>
                  <a:pt x="482" y="687"/>
                </a:lnTo>
                <a:lnTo>
                  <a:pt x="482" y="686"/>
                </a:lnTo>
                <a:lnTo>
                  <a:pt x="483" y="686"/>
                </a:lnTo>
                <a:lnTo>
                  <a:pt x="482" y="685"/>
                </a:lnTo>
                <a:lnTo>
                  <a:pt x="482" y="683"/>
                </a:lnTo>
                <a:lnTo>
                  <a:pt x="481" y="683"/>
                </a:lnTo>
                <a:lnTo>
                  <a:pt x="480" y="683"/>
                </a:lnTo>
                <a:lnTo>
                  <a:pt x="478" y="683"/>
                </a:lnTo>
                <a:lnTo>
                  <a:pt x="476" y="683"/>
                </a:lnTo>
                <a:lnTo>
                  <a:pt x="475" y="682"/>
                </a:lnTo>
                <a:lnTo>
                  <a:pt x="475" y="681"/>
                </a:lnTo>
                <a:lnTo>
                  <a:pt x="474" y="680"/>
                </a:lnTo>
                <a:lnTo>
                  <a:pt x="472" y="678"/>
                </a:lnTo>
                <a:lnTo>
                  <a:pt x="471" y="678"/>
                </a:lnTo>
                <a:lnTo>
                  <a:pt x="470" y="680"/>
                </a:lnTo>
                <a:lnTo>
                  <a:pt x="469" y="678"/>
                </a:lnTo>
                <a:lnTo>
                  <a:pt x="467" y="678"/>
                </a:lnTo>
                <a:lnTo>
                  <a:pt x="466" y="677"/>
                </a:lnTo>
                <a:lnTo>
                  <a:pt x="466" y="677"/>
                </a:lnTo>
                <a:lnTo>
                  <a:pt x="469" y="677"/>
                </a:lnTo>
                <a:lnTo>
                  <a:pt x="469" y="676"/>
                </a:lnTo>
                <a:lnTo>
                  <a:pt x="469" y="675"/>
                </a:lnTo>
                <a:lnTo>
                  <a:pt x="469" y="673"/>
                </a:lnTo>
                <a:lnTo>
                  <a:pt x="467" y="673"/>
                </a:lnTo>
                <a:lnTo>
                  <a:pt x="466" y="671"/>
                </a:lnTo>
                <a:lnTo>
                  <a:pt x="465" y="670"/>
                </a:lnTo>
                <a:lnTo>
                  <a:pt x="465" y="667"/>
                </a:lnTo>
                <a:lnTo>
                  <a:pt x="464" y="666"/>
                </a:lnTo>
                <a:lnTo>
                  <a:pt x="464" y="665"/>
                </a:lnTo>
                <a:lnTo>
                  <a:pt x="464" y="664"/>
                </a:lnTo>
                <a:lnTo>
                  <a:pt x="464" y="662"/>
                </a:lnTo>
                <a:lnTo>
                  <a:pt x="464" y="661"/>
                </a:lnTo>
                <a:lnTo>
                  <a:pt x="464" y="660"/>
                </a:lnTo>
                <a:lnTo>
                  <a:pt x="462" y="660"/>
                </a:lnTo>
                <a:lnTo>
                  <a:pt x="464" y="657"/>
                </a:lnTo>
                <a:lnTo>
                  <a:pt x="462" y="656"/>
                </a:lnTo>
                <a:lnTo>
                  <a:pt x="461" y="655"/>
                </a:lnTo>
                <a:lnTo>
                  <a:pt x="459" y="654"/>
                </a:lnTo>
                <a:lnTo>
                  <a:pt x="458" y="654"/>
                </a:lnTo>
                <a:lnTo>
                  <a:pt x="458" y="651"/>
                </a:lnTo>
                <a:lnTo>
                  <a:pt x="459" y="649"/>
                </a:lnTo>
                <a:lnTo>
                  <a:pt x="461" y="648"/>
                </a:lnTo>
                <a:lnTo>
                  <a:pt x="462" y="645"/>
                </a:lnTo>
                <a:lnTo>
                  <a:pt x="462" y="643"/>
                </a:lnTo>
                <a:lnTo>
                  <a:pt x="464" y="640"/>
                </a:lnTo>
                <a:lnTo>
                  <a:pt x="461" y="635"/>
                </a:lnTo>
                <a:lnTo>
                  <a:pt x="459" y="629"/>
                </a:lnTo>
                <a:lnTo>
                  <a:pt x="456" y="623"/>
                </a:lnTo>
                <a:lnTo>
                  <a:pt x="454" y="622"/>
                </a:lnTo>
                <a:lnTo>
                  <a:pt x="451" y="622"/>
                </a:lnTo>
                <a:lnTo>
                  <a:pt x="449" y="623"/>
                </a:lnTo>
                <a:lnTo>
                  <a:pt x="445" y="624"/>
                </a:lnTo>
                <a:lnTo>
                  <a:pt x="442" y="624"/>
                </a:lnTo>
                <a:lnTo>
                  <a:pt x="439" y="623"/>
                </a:lnTo>
                <a:lnTo>
                  <a:pt x="437" y="619"/>
                </a:lnTo>
                <a:lnTo>
                  <a:pt x="435" y="618"/>
                </a:lnTo>
                <a:lnTo>
                  <a:pt x="437" y="617"/>
                </a:lnTo>
                <a:lnTo>
                  <a:pt x="438" y="613"/>
                </a:lnTo>
                <a:lnTo>
                  <a:pt x="438" y="610"/>
                </a:lnTo>
                <a:lnTo>
                  <a:pt x="435" y="605"/>
                </a:lnTo>
                <a:lnTo>
                  <a:pt x="433" y="602"/>
                </a:lnTo>
                <a:lnTo>
                  <a:pt x="433" y="600"/>
                </a:lnTo>
                <a:lnTo>
                  <a:pt x="432" y="597"/>
                </a:lnTo>
                <a:lnTo>
                  <a:pt x="432" y="596"/>
                </a:lnTo>
                <a:lnTo>
                  <a:pt x="429" y="595"/>
                </a:lnTo>
                <a:lnTo>
                  <a:pt x="426" y="594"/>
                </a:lnTo>
                <a:lnTo>
                  <a:pt x="421" y="591"/>
                </a:lnTo>
                <a:lnTo>
                  <a:pt x="416" y="591"/>
                </a:lnTo>
                <a:lnTo>
                  <a:pt x="412" y="591"/>
                </a:lnTo>
                <a:lnTo>
                  <a:pt x="406" y="591"/>
                </a:lnTo>
                <a:lnTo>
                  <a:pt x="403" y="590"/>
                </a:lnTo>
                <a:lnTo>
                  <a:pt x="400" y="590"/>
                </a:lnTo>
                <a:lnTo>
                  <a:pt x="397" y="590"/>
                </a:lnTo>
                <a:lnTo>
                  <a:pt x="394" y="589"/>
                </a:lnTo>
                <a:lnTo>
                  <a:pt x="391" y="589"/>
                </a:lnTo>
                <a:lnTo>
                  <a:pt x="387" y="585"/>
                </a:lnTo>
                <a:lnTo>
                  <a:pt x="385" y="580"/>
                </a:lnTo>
                <a:lnTo>
                  <a:pt x="383" y="576"/>
                </a:lnTo>
                <a:lnTo>
                  <a:pt x="375" y="571"/>
                </a:lnTo>
                <a:lnTo>
                  <a:pt x="373" y="566"/>
                </a:lnTo>
                <a:lnTo>
                  <a:pt x="370" y="562"/>
                </a:lnTo>
                <a:lnTo>
                  <a:pt x="370" y="559"/>
                </a:lnTo>
                <a:lnTo>
                  <a:pt x="370" y="559"/>
                </a:lnTo>
                <a:lnTo>
                  <a:pt x="370" y="558"/>
                </a:lnTo>
                <a:lnTo>
                  <a:pt x="369" y="557"/>
                </a:lnTo>
                <a:lnTo>
                  <a:pt x="367" y="558"/>
                </a:lnTo>
                <a:lnTo>
                  <a:pt x="364" y="558"/>
                </a:lnTo>
                <a:lnTo>
                  <a:pt x="360" y="555"/>
                </a:lnTo>
                <a:lnTo>
                  <a:pt x="359" y="553"/>
                </a:lnTo>
                <a:lnTo>
                  <a:pt x="358" y="552"/>
                </a:lnTo>
                <a:lnTo>
                  <a:pt x="362" y="542"/>
                </a:lnTo>
                <a:lnTo>
                  <a:pt x="363" y="539"/>
                </a:lnTo>
                <a:lnTo>
                  <a:pt x="362" y="534"/>
                </a:lnTo>
                <a:lnTo>
                  <a:pt x="363" y="533"/>
                </a:lnTo>
                <a:lnTo>
                  <a:pt x="364" y="531"/>
                </a:lnTo>
                <a:lnTo>
                  <a:pt x="362" y="528"/>
                </a:lnTo>
                <a:lnTo>
                  <a:pt x="359" y="526"/>
                </a:lnTo>
                <a:lnTo>
                  <a:pt x="357" y="525"/>
                </a:lnTo>
                <a:lnTo>
                  <a:pt x="352" y="521"/>
                </a:lnTo>
                <a:lnTo>
                  <a:pt x="349" y="517"/>
                </a:lnTo>
                <a:lnTo>
                  <a:pt x="349" y="515"/>
                </a:lnTo>
                <a:lnTo>
                  <a:pt x="349" y="512"/>
                </a:lnTo>
                <a:lnTo>
                  <a:pt x="348" y="509"/>
                </a:lnTo>
                <a:lnTo>
                  <a:pt x="347" y="505"/>
                </a:lnTo>
                <a:lnTo>
                  <a:pt x="346" y="503"/>
                </a:lnTo>
                <a:lnTo>
                  <a:pt x="338" y="499"/>
                </a:lnTo>
                <a:lnTo>
                  <a:pt x="336" y="499"/>
                </a:lnTo>
                <a:lnTo>
                  <a:pt x="333" y="499"/>
                </a:lnTo>
                <a:lnTo>
                  <a:pt x="332" y="496"/>
                </a:lnTo>
                <a:lnTo>
                  <a:pt x="331" y="494"/>
                </a:lnTo>
                <a:lnTo>
                  <a:pt x="323" y="491"/>
                </a:lnTo>
                <a:lnTo>
                  <a:pt x="322" y="489"/>
                </a:lnTo>
                <a:lnTo>
                  <a:pt x="319" y="482"/>
                </a:lnTo>
                <a:lnTo>
                  <a:pt x="315" y="475"/>
                </a:lnTo>
                <a:lnTo>
                  <a:pt x="314" y="471"/>
                </a:lnTo>
                <a:lnTo>
                  <a:pt x="311" y="469"/>
                </a:lnTo>
                <a:lnTo>
                  <a:pt x="310" y="467"/>
                </a:lnTo>
                <a:lnTo>
                  <a:pt x="309" y="463"/>
                </a:lnTo>
                <a:lnTo>
                  <a:pt x="306" y="459"/>
                </a:lnTo>
                <a:lnTo>
                  <a:pt x="301" y="455"/>
                </a:lnTo>
                <a:lnTo>
                  <a:pt x="300" y="452"/>
                </a:lnTo>
                <a:lnTo>
                  <a:pt x="301" y="447"/>
                </a:lnTo>
                <a:lnTo>
                  <a:pt x="300" y="443"/>
                </a:lnTo>
                <a:lnTo>
                  <a:pt x="300" y="441"/>
                </a:lnTo>
                <a:lnTo>
                  <a:pt x="300" y="441"/>
                </a:lnTo>
                <a:lnTo>
                  <a:pt x="298" y="439"/>
                </a:lnTo>
                <a:lnTo>
                  <a:pt x="298" y="437"/>
                </a:lnTo>
                <a:lnTo>
                  <a:pt x="296" y="435"/>
                </a:lnTo>
                <a:lnTo>
                  <a:pt x="295" y="434"/>
                </a:lnTo>
                <a:lnTo>
                  <a:pt x="296" y="432"/>
                </a:lnTo>
                <a:lnTo>
                  <a:pt x="298" y="431"/>
                </a:lnTo>
                <a:lnTo>
                  <a:pt x="298" y="430"/>
                </a:lnTo>
                <a:lnTo>
                  <a:pt x="296" y="429"/>
                </a:lnTo>
                <a:lnTo>
                  <a:pt x="295" y="426"/>
                </a:lnTo>
                <a:lnTo>
                  <a:pt x="295" y="425"/>
                </a:lnTo>
                <a:lnTo>
                  <a:pt x="296" y="424"/>
                </a:lnTo>
                <a:lnTo>
                  <a:pt x="296" y="423"/>
                </a:lnTo>
                <a:lnTo>
                  <a:pt x="295" y="421"/>
                </a:lnTo>
                <a:lnTo>
                  <a:pt x="295" y="420"/>
                </a:lnTo>
                <a:lnTo>
                  <a:pt x="295" y="418"/>
                </a:lnTo>
                <a:lnTo>
                  <a:pt x="296" y="415"/>
                </a:lnTo>
                <a:lnTo>
                  <a:pt x="296" y="414"/>
                </a:lnTo>
                <a:lnTo>
                  <a:pt x="299" y="413"/>
                </a:lnTo>
                <a:lnTo>
                  <a:pt x="299" y="411"/>
                </a:lnTo>
                <a:lnTo>
                  <a:pt x="299" y="410"/>
                </a:lnTo>
                <a:lnTo>
                  <a:pt x="299" y="407"/>
                </a:lnTo>
                <a:lnTo>
                  <a:pt x="300" y="404"/>
                </a:lnTo>
                <a:lnTo>
                  <a:pt x="300" y="403"/>
                </a:lnTo>
                <a:lnTo>
                  <a:pt x="300" y="402"/>
                </a:lnTo>
                <a:lnTo>
                  <a:pt x="301" y="400"/>
                </a:lnTo>
                <a:lnTo>
                  <a:pt x="303" y="399"/>
                </a:lnTo>
                <a:lnTo>
                  <a:pt x="304" y="399"/>
                </a:lnTo>
                <a:lnTo>
                  <a:pt x="304" y="398"/>
                </a:lnTo>
                <a:lnTo>
                  <a:pt x="305" y="397"/>
                </a:lnTo>
                <a:lnTo>
                  <a:pt x="306" y="396"/>
                </a:lnTo>
                <a:lnTo>
                  <a:pt x="306" y="394"/>
                </a:lnTo>
                <a:lnTo>
                  <a:pt x="307" y="393"/>
                </a:lnTo>
                <a:lnTo>
                  <a:pt x="307" y="392"/>
                </a:lnTo>
                <a:lnTo>
                  <a:pt x="309" y="391"/>
                </a:lnTo>
                <a:lnTo>
                  <a:pt x="310" y="391"/>
                </a:lnTo>
                <a:lnTo>
                  <a:pt x="310" y="388"/>
                </a:lnTo>
                <a:lnTo>
                  <a:pt x="310" y="387"/>
                </a:lnTo>
                <a:lnTo>
                  <a:pt x="310" y="386"/>
                </a:lnTo>
                <a:lnTo>
                  <a:pt x="309" y="384"/>
                </a:lnTo>
                <a:lnTo>
                  <a:pt x="309" y="383"/>
                </a:lnTo>
                <a:lnTo>
                  <a:pt x="307" y="382"/>
                </a:lnTo>
                <a:lnTo>
                  <a:pt x="307" y="382"/>
                </a:lnTo>
                <a:lnTo>
                  <a:pt x="309" y="381"/>
                </a:lnTo>
                <a:lnTo>
                  <a:pt x="310" y="380"/>
                </a:lnTo>
                <a:lnTo>
                  <a:pt x="310" y="377"/>
                </a:lnTo>
                <a:lnTo>
                  <a:pt x="310" y="376"/>
                </a:lnTo>
                <a:lnTo>
                  <a:pt x="311" y="376"/>
                </a:lnTo>
                <a:lnTo>
                  <a:pt x="311" y="375"/>
                </a:lnTo>
                <a:lnTo>
                  <a:pt x="311" y="373"/>
                </a:lnTo>
                <a:lnTo>
                  <a:pt x="310" y="372"/>
                </a:lnTo>
                <a:lnTo>
                  <a:pt x="309" y="372"/>
                </a:lnTo>
                <a:lnTo>
                  <a:pt x="307" y="372"/>
                </a:lnTo>
                <a:lnTo>
                  <a:pt x="306" y="372"/>
                </a:lnTo>
                <a:lnTo>
                  <a:pt x="305" y="372"/>
                </a:lnTo>
                <a:lnTo>
                  <a:pt x="304" y="372"/>
                </a:lnTo>
                <a:lnTo>
                  <a:pt x="301" y="371"/>
                </a:lnTo>
                <a:lnTo>
                  <a:pt x="300" y="370"/>
                </a:lnTo>
                <a:lnTo>
                  <a:pt x="299" y="371"/>
                </a:lnTo>
                <a:lnTo>
                  <a:pt x="298" y="372"/>
                </a:lnTo>
                <a:lnTo>
                  <a:pt x="296" y="372"/>
                </a:lnTo>
                <a:lnTo>
                  <a:pt x="295" y="372"/>
                </a:lnTo>
                <a:lnTo>
                  <a:pt x="294" y="372"/>
                </a:lnTo>
                <a:lnTo>
                  <a:pt x="294" y="370"/>
                </a:lnTo>
                <a:lnTo>
                  <a:pt x="293" y="370"/>
                </a:lnTo>
                <a:lnTo>
                  <a:pt x="292" y="368"/>
                </a:lnTo>
                <a:lnTo>
                  <a:pt x="292" y="367"/>
                </a:lnTo>
                <a:lnTo>
                  <a:pt x="293" y="365"/>
                </a:lnTo>
                <a:lnTo>
                  <a:pt x="294" y="364"/>
                </a:lnTo>
                <a:lnTo>
                  <a:pt x="294" y="362"/>
                </a:lnTo>
                <a:lnTo>
                  <a:pt x="294" y="361"/>
                </a:lnTo>
                <a:lnTo>
                  <a:pt x="295" y="360"/>
                </a:lnTo>
                <a:lnTo>
                  <a:pt x="295" y="359"/>
                </a:lnTo>
                <a:lnTo>
                  <a:pt x="295" y="357"/>
                </a:lnTo>
                <a:lnTo>
                  <a:pt x="294" y="356"/>
                </a:lnTo>
                <a:lnTo>
                  <a:pt x="293" y="355"/>
                </a:lnTo>
                <a:lnTo>
                  <a:pt x="293" y="354"/>
                </a:lnTo>
                <a:lnTo>
                  <a:pt x="292" y="352"/>
                </a:lnTo>
                <a:lnTo>
                  <a:pt x="290" y="351"/>
                </a:lnTo>
                <a:lnTo>
                  <a:pt x="292" y="351"/>
                </a:lnTo>
                <a:lnTo>
                  <a:pt x="292" y="350"/>
                </a:lnTo>
                <a:lnTo>
                  <a:pt x="290" y="349"/>
                </a:lnTo>
                <a:lnTo>
                  <a:pt x="289" y="349"/>
                </a:lnTo>
                <a:lnTo>
                  <a:pt x="289" y="348"/>
                </a:lnTo>
                <a:lnTo>
                  <a:pt x="289" y="346"/>
                </a:lnTo>
                <a:lnTo>
                  <a:pt x="289" y="345"/>
                </a:lnTo>
                <a:lnTo>
                  <a:pt x="289" y="344"/>
                </a:lnTo>
                <a:lnTo>
                  <a:pt x="289" y="341"/>
                </a:lnTo>
                <a:lnTo>
                  <a:pt x="289" y="340"/>
                </a:lnTo>
                <a:lnTo>
                  <a:pt x="288" y="340"/>
                </a:lnTo>
                <a:lnTo>
                  <a:pt x="287" y="339"/>
                </a:lnTo>
                <a:lnTo>
                  <a:pt x="287" y="338"/>
                </a:lnTo>
                <a:lnTo>
                  <a:pt x="287" y="336"/>
                </a:lnTo>
                <a:lnTo>
                  <a:pt x="285" y="336"/>
                </a:lnTo>
                <a:lnTo>
                  <a:pt x="285" y="335"/>
                </a:lnTo>
                <a:lnTo>
                  <a:pt x="283" y="334"/>
                </a:lnTo>
                <a:lnTo>
                  <a:pt x="283" y="333"/>
                </a:lnTo>
                <a:lnTo>
                  <a:pt x="282" y="333"/>
                </a:lnTo>
                <a:lnTo>
                  <a:pt x="283" y="332"/>
                </a:lnTo>
                <a:lnTo>
                  <a:pt x="283" y="330"/>
                </a:lnTo>
                <a:lnTo>
                  <a:pt x="282" y="330"/>
                </a:lnTo>
                <a:lnTo>
                  <a:pt x="282" y="329"/>
                </a:lnTo>
                <a:lnTo>
                  <a:pt x="282" y="328"/>
                </a:lnTo>
                <a:lnTo>
                  <a:pt x="280" y="327"/>
                </a:lnTo>
                <a:lnTo>
                  <a:pt x="279" y="327"/>
                </a:lnTo>
                <a:lnTo>
                  <a:pt x="278" y="327"/>
                </a:lnTo>
                <a:lnTo>
                  <a:pt x="277" y="325"/>
                </a:lnTo>
                <a:lnTo>
                  <a:pt x="276" y="327"/>
                </a:lnTo>
                <a:lnTo>
                  <a:pt x="274" y="327"/>
                </a:lnTo>
                <a:lnTo>
                  <a:pt x="273" y="327"/>
                </a:lnTo>
                <a:lnTo>
                  <a:pt x="272" y="327"/>
                </a:lnTo>
                <a:lnTo>
                  <a:pt x="272" y="325"/>
                </a:lnTo>
                <a:lnTo>
                  <a:pt x="271" y="324"/>
                </a:lnTo>
                <a:lnTo>
                  <a:pt x="269" y="322"/>
                </a:lnTo>
                <a:lnTo>
                  <a:pt x="268" y="322"/>
                </a:lnTo>
                <a:lnTo>
                  <a:pt x="269" y="320"/>
                </a:lnTo>
                <a:lnTo>
                  <a:pt x="271" y="319"/>
                </a:lnTo>
                <a:lnTo>
                  <a:pt x="271" y="318"/>
                </a:lnTo>
                <a:lnTo>
                  <a:pt x="269" y="318"/>
                </a:lnTo>
                <a:lnTo>
                  <a:pt x="268" y="317"/>
                </a:lnTo>
                <a:lnTo>
                  <a:pt x="267" y="317"/>
                </a:lnTo>
                <a:lnTo>
                  <a:pt x="266" y="317"/>
                </a:lnTo>
                <a:lnTo>
                  <a:pt x="263" y="318"/>
                </a:lnTo>
                <a:lnTo>
                  <a:pt x="263" y="317"/>
                </a:lnTo>
                <a:lnTo>
                  <a:pt x="263" y="316"/>
                </a:lnTo>
                <a:lnTo>
                  <a:pt x="262" y="314"/>
                </a:lnTo>
                <a:lnTo>
                  <a:pt x="261" y="314"/>
                </a:lnTo>
                <a:lnTo>
                  <a:pt x="260" y="313"/>
                </a:lnTo>
                <a:lnTo>
                  <a:pt x="258" y="313"/>
                </a:lnTo>
                <a:lnTo>
                  <a:pt x="258" y="312"/>
                </a:lnTo>
                <a:lnTo>
                  <a:pt x="258" y="311"/>
                </a:lnTo>
                <a:lnTo>
                  <a:pt x="257" y="311"/>
                </a:lnTo>
                <a:lnTo>
                  <a:pt x="257" y="309"/>
                </a:lnTo>
                <a:lnTo>
                  <a:pt x="256" y="309"/>
                </a:lnTo>
                <a:lnTo>
                  <a:pt x="255" y="309"/>
                </a:lnTo>
                <a:lnTo>
                  <a:pt x="253" y="307"/>
                </a:lnTo>
                <a:lnTo>
                  <a:pt x="252" y="307"/>
                </a:lnTo>
                <a:lnTo>
                  <a:pt x="251" y="308"/>
                </a:lnTo>
                <a:lnTo>
                  <a:pt x="250" y="308"/>
                </a:lnTo>
                <a:lnTo>
                  <a:pt x="248" y="308"/>
                </a:lnTo>
                <a:lnTo>
                  <a:pt x="247" y="308"/>
                </a:lnTo>
                <a:lnTo>
                  <a:pt x="246" y="309"/>
                </a:lnTo>
                <a:lnTo>
                  <a:pt x="245" y="311"/>
                </a:lnTo>
                <a:lnTo>
                  <a:pt x="244" y="311"/>
                </a:lnTo>
                <a:lnTo>
                  <a:pt x="242" y="311"/>
                </a:lnTo>
                <a:lnTo>
                  <a:pt x="241" y="311"/>
                </a:lnTo>
                <a:lnTo>
                  <a:pt x="240" y="309"/>
                </a:lnTo>
                <a:lnTo>
                  <a:pt x="240" y="308"/>
                </a:lnTo>
                <a:lnTo>
                  <a:pt x="239" y="308"/>
                </a:lnTo>
                <a:lnTo>
                  <a:pt x="237" y="308"/>
                </a:lnTo>
                <a:lnTo>
                  <a:pt x="236" y="308"/>
                </a:lnTo>
                <a:lnTo>
                  <a:pt x="235" y="307"/>
                </a:lnTo>
                <a:lnTo>
                  <a:pt x="235" y="306"/>
                </a:lnTo>
                <a:lnTo>
                  <a:pt x="235" y="305"/>
                </a:lnTo>
                <a:lnTo>
                  <a:pt x="235" y="303"/>
                </a:lnTo>
                <a:lnTo>
                  <a:pt x="234" y="303"/>
                </a:lnTo>
                <a:lnTo>
                  <a:pt x="232" y="303"/>
                </a:lnTo>
                <a:lnTo>
                  <a:pt x="231" y="303"/>
                </a:lnTo>
                <a:lnTo>
                  <a:pt x="230" y="302"/>
                </a:lnTo>
                <a:lnTo>
                  <a:pt x="230" y="301"/>
                </a:lnTo>
                <a:lnTo>
                  <a:pt x="230" y="300"/>
                </a:lnTo>
                <a:lnTo>
                  <a:pt x="230" y="298"/>
                </a:lnTo>
                <a:lnTo>
                  <a:pt x="229" y="297"/>
                </a:lnTo>
                <a:lnTo>
                  <a:pt x="228" y="297"/>
                </a:lnTo>
                <a:lnTo>
                  <a:pt x="228" y="296"/>
                </a:lnTo>
                <a:lnTo>
                  <a:pt x="228" y="295"/>
                </a:lnTo>
                <a:lnTo>
                  <a:pt x="226" y="296"/>
                </a:lnTo>
                <a:lnTo>
                  <a:pt x="225" y="296"/>
                </a:lnTo>
                <a:lnTo>
                  <a:pt x="224" y="293"/>
                </a:lnTo>
                <a:lnTo>
                  <a:pt x="223" y="293"/>
                </a:lnTo>
                <a:lnTo>
                  <a:pt x="221" y="292"/>
                </a:lnTo>
                <a:lnTo>
                  <a:pt x="221" y="292"/>
                </a:lnTo>
                <a:lnTo>
                  <a:pt x="221" y="291"/>
                </a:lnTo>
                <a:lnTo>
                  <a:pt x="220" y="291"/>
                </a:lnTo>
                <a:lnTo>
                  <a:pt x="219" y="292"/>
                </a:lnTo>
                <a:lnTo>
                  <a:pt x="216" y="291"/>
                </a:lnTo>
                <a:lnTo>
                  <a:pt x="215" y="291"/>
                </a:lnTo>
                <a:lnTo>
                  <a:pt x="213" y="291"/>
                </a:lnTo>
                <a:lnTo>
                  <a:pt x="213" y="292"/>
                </a:lnTo>
                <a:lnTo>
                  <a:pt x="210" y="292"/>
                </a:lnTo>
                <a:lnTo>
                  <a:pt x="209" y="292"/>
                </a:lnTo>
                <a:lnTo>
                  <a:pt x="208" y="292"/>
                </a:lnTo>
                <a:lnTo>
                  <a:pt x="207" y="291"/>
                </a:lnTo>
                <a:lnTo>
                  <a:pt x="207" y="290"/>
                </a:lnTo>
                <a:lnTo>
                  <a:pt x="204" y="290"/>
                </a:lnTo>
                <a:lnTo>
                  <a:pt x="203" y="289"/>
                </a:lnTo>
                <a:lnTo>
                  <a:pt x="202" y="289"/>
                </a:lnTo>
                <a:lnTo>
                  <a:pt x="200" y="289"/>
                </a:lnTo>
                <a:lnTo>
                  <a:pt x="199" y="287"/>
                </a:lnTo>
                <a:lnTo>
                  <a:pt x="198" y="287"/>
                </a:lnTo>
                <a:lnTo>
                  <a:pt x="198" y="285"/>
                </a:lnTo>
                <a:lnTo>
                  <a:pt x="198" y="284"/>
                </a:lnTo>
                <a:lnTo>
                  <a:pt x="198" y="282"/>
                </a:lnTo>
                <a:lnTo>
                  <a:pt x="199" y="281"/>
                </a:lnTo>
                <a:lnTo>
                  <a:pt x="199" y="280"/>
                </a:lnTo>
                <a:lnTo>
                  <a:pt x="198" y="280"/>
                </a:lnTo>
                <a:lnTo>
                  <a:pt x="198" y="280"/>
                </a:lnTo>
                <a:lnTo>
                  <a:pt x="197" y="279"/>
                </a:lnTo>
                <a:lnTo>
                  <a:pt x="196" y="279"/>
                </a:lnTo>
                <a:lnTo>
                  <a:pt x="194" y="279"/>
                </a:lnTo>
                <a:lnTo>
                  <a:pt x="193" y="279"/>
                </a:lnTo>
                <a:lnTo>
                  <a:pt x="192" y="279"/>
                </a:lnTo>
                <a:lnTo>
                  <a:pt x="191" y="280"/>
                </a:lnTo>
                <a:lnTo>
                  <a:pt x="188" y="280"/>
                </a:lnTo>
                <a:lnTo>
                  <a:pt x="187" y="280"/>
                </a:lnTo>
                <a:lnTo>
                  <a:pt x="184" y="280"/>
                </a:lnTo>
                <a:lnTo>
                  <a:pt x="183" y="280"/>
                </a:lnTo>
                <a:lnTo>
                  <a:pt x="182" y="280"/>
                </a:lnTo>
                <a:lnTo>
                  <a:pt x="181" y="280"/>
                </a:lnTo>
                <a:lnTo>
                  <a:pt x="180" y="281"/>
                </a:lnTo>
                <a:lnTo>
                  <a:pt x="178" y="281"/>
                </a:lnTo>
                <a:lnTo>
                  <a:pt x="177" y="281"/>
                </a:lnTo>
                <a:lnTo>
                  <a:pt x="176" y="280"/>
                </a:lnTo>
                <a:lnTo>
                  <a:pt x="175" y="280"/>
                </a:lnTo>
                <a:lnTo>
                  <a:pt x="173" y="279"/>
                </a:lnTo>
                <a:lnTo>
                  <a:pt x="172" y="279"/>
                </a:lnTo>
                <a:lnTo>
                  <a:pt x="171" y="280"/>
                </a:lnTo>
                <a:lnTo>
                  <a:pt x="170" y="280"/>
                </a:lnTo>
                <a:lnTo>
                  <a:pt x="169" y="280"/>
                </a:lnTo>
                <a:lnTo>
                  <a:pt x="169" y="279"/>
                </a:lnTo>
                <a:lnTo>
                  <a:pt x="169" y="277"/>
                </a:lnTo>
                <a:lnTo>
                  <a:pt x="169" y="276"/>
                </a:lnTo>
                <a:lnTo>
                  <a:pt x="169" y="275"/>
                </a:lnTo>
                <a:lnTo>
                  <a:pt x="169" y="274"/>
                </a:lnTo>
                <a:lnTo>
                  <a:pt x="169" y="273"/>
                </a:lnTo>
                <a:lnTo>
                  <a:pt x="169" y="273"/>
                </a:lnTo>
                <a:lnTo>
                  <a:pt x="169" y="271"/>
                </a:lnTo>
                <a:lnTo>
                  <a:pt x="169" y="269"/>
                </a:lnTo>
                <a:lnTo>
                  <a:pt x="169" y="268"/>
                </a:lnTo>
                <a:lnTo>
                  <a:pt x="169" y="266"/>
                </a:lnTo>
                <a:lnTo>
                  <a:pt x="169" y="265"/>
                </a:lnTo>
                <a:lnTo>
                  <a:pt x="169" y="264"/>
                </a:lnTo>
                <a:lnTo>
                  <a:pt x="169" y="264"/>
                </a:lnTo>
                <a:lnTo>
                  <a:pt x="167" y="264"/>
                </a:lnTo>
                <a:lnTo>
                  <a:pt x="167" y="263"/>
                </a:lnTo>
                <a:lnTo>
                  <a:pt x="167" y="263"/>
                </a:lnTo>
                <a:lnTo>
                  <a:pt x="169" y="261"/>
                </a:lnTo>
                <a:lnTo>
                  <a:pt x="169" y="260"/>
                </a:lnTo>
                <a:lnTo>
                  <a:pt x="169" y="259"/>
                </a:lnTo>
                <a:lnTo>
                  <a:pt x="169" y="259"/>
                </a:lnTo>
                <a:lnTo>
                  <a:pt x="169" y="258"/>
                </a:lnTo>
                <a:lnTo>
                  <a:pt x="169" y="255"/>
                </a:lnTo>
                <a:lnTo>
                  <a:pt x="169" y="254"/>
                </a:lnTo>
                <a:lnTo>
                  <a:pt x="167" y="253"/>
                </a:lnTo>
                <a:lnTo>
                  <a:pt x="166" y="252"/>
                </a:lnTo>
                <a:lnTo>
                  <a:pt x="165" y="252"/>
                </a:lnTo>
                <a:lnTo>
                  <a:pt x="164" y="253"/>
                </a:lnTo>
                <a:lnTo>
                  <a:pt x="162" y="253"/>
                </a:lnTo>
                <a:lnTo>
                  <a:pt x="161" y="253"/>
                </a:lnTo>
                <a:lnTo>
                  <a:pt x="160" y="253"/>
                </a:lnTo>
                <a:lnTo>
                  <a:pt x="160" y="254"/>
                </a:lnTo>
                <a:lnTo>
                  <a:pt x="159" y="253"/>
                </a:lnTo>
                <a:lnTo>
                  <a:pt x="157" y="253"/>
                </a:lnTo>
                <a:lnTo>
                  <a:pt x="156" y="252"/>
                </a:lnTo>
                <a:lnTo>
                  <a:pt x="155" y="252"/>
                </a:lnTo>
                <a:lnTo>
                  <a:pt x="155" y="250"/>
                </a:lnTo>
                <a:lnTo>
                  <a:pt x="155" y="249"/>
                </a:lnTo>
                <a:lnTo>
                  <a:pt x="154" y="249"/>
                </a:lnTo>
                <a:lnTo>
                  <a:pt x="153" y="249"/>
                </a:lnTo>
                <a:lnTo>
                  <a:pt x="153" y="250"/>
                </a:lnTo>
                <a:lnTo>
                  <a:pt x="151" y="250"/>
                </a:lnTo>
                <a:lnTo>
                  <a:pt x="150" y="249"/>
                </a:lnTo>
                <a:lnTo>
                  <a:pt x="150" y="247"/>
                </a:lnTo>
                <a:lnTo>
                  <a:pt x="149" y="247"/>
                </a:lnTo>
                <a:lnTo>
                  <a:pt x="148" y="247"/>
                </a:lnTo>
                <a:lnTo>
                  <a:pt x="146" y="247"/>
                </a:lnTo>
                <a:lnTo>
                  <a:pt x="146" y="245"/>
                </a:lnTo>
                <a:lnTo>
                  <a:pt x="145" y="245"/>
                </a:lnTo>
                <a:lnTo>
                  <a:pt x="143" y="247"/>
                </a:lnTo>
                <a:lnTo>
                  <a:pt x="141" y="247"/>
                </a:lnTo>
                <a:lnTo>
                  <a:pt x="140" y="247"/>
                </a:lnTo>
                <a:lnTo>
                  <a:pt x="139" y="247"/>
                </a:lnTo>
                <a:lnTo>
                  <a:pt x="139" y="248"/>
                </a:lnTo>
                <a:lnTo>
                  <a:pt x="138" y="247"/>
                </a:lnTo>
                <a:lnTo>
                  <a:pt x="137" y="247"/>
                </a:lnTo>
                <a:lnTo>
                  <a:pt x="135" y="247"/>
                </a:lnTo>
                <a:lnTo>
                  <a:pt x="135" y="245"/>
                </a:lnTo>
                <a:lnTo>
                  <a:pt x="135" y="244"/>
                </a:lnTo>
                <a:lnTo>
                  <a:pt x="134" y="243"/>
                </a:lnTo>
                <a:lnTo>
                  <a:pt x="134" y="242"/>
                </a:lnTo>
                <a:lnTo>
                  <a:pt x="133" y="242"/>
                </a:lnTo>
                <a:lnTo>
                  <a:pt x="132" y="242"/>
                </a:lnTo>
                <a:lnTo>
                  <a:pt x="130" y="242"/>
                </a:lnTo>
                <a:lnTo>
                  <a:pt x="129" y="242"/>
                </a:lnTo>
                <a:lnTo>
                  <a:pt x="128" y="242"/>
                </a:lnTo>
                <a:lnTo>
                  <a:pt x="127" y="242"/>
                </a:lnTo>
                <a:lnTo>
                  <a:pt x="125" y="242"/>
                </a:lnTo>
                <a:lnTo>
                  <a:pt x="124" y="242"/>
                </a:lnTo>
                <a:lnTo>
                  <a:pt x="123" y="243"/>
                </a:lnTo>
                <a:lnTo>
                  <a:pt x="122" y="243"/>
                </a:lnTo>
                <a:lnTo>
                  <a:pt x="121" y="243"/>
                </a:lnTo>
                <a:lnTo>
                  <a:pt x="121" y="244"/>
                </a:lnTo>
                <a:lnTo>
                  <a:pt x="119" y="245"/>
                </a:lnTo>
                <a:lnTo>
                  <a:pt x="118" y="245"/>
                </a:lnTo>
                <a:lnTo>
                  <a:pt x="118" y="247"/>
                </a:lnTo>
                <a:lnTo>
                  <a:pt x="117" y="247"/>
                </a:lnTo>
                <a:lnTo>
                  <a:pt x="117" y="248"/>
                </a:lnTo>
                <a:lnTo>
                  <a:pt x="116" y="248"/>
                </a:lnTo>
                <a:lnTo>
                  <a:pt x="114" y="248"/>
                </a:lnTo>
                <a:lnTo>
                  <a:pt x="114" y="247"/>
                </a:lnTo>
                <a:lnTo>
                  <a:pt x="113" y="245"/>
                </a:lnTo>
                <a:lnTo>
                  <a:pt x="111" y="244"/>
                </a:lnTo>
                <a:lnTo>
                  <a:pt x="109" y="243"/>
                </a:lnTo>
                <a:lnTo>
                  <a:pt x="109" y="243"/>
                </a:lnTo>
                <a:lnTo>
                  <a:pt x="108" y="244"/>
                </a:lnTo>
                <a:lnTo>
                  <a:pt x="108" y="243"/>
                </a:lnTo>
                <a:lnTo>
                  <a:pt x="107" y="243"/>
                </a:lnTo>
                <a:lnTo>
                  <a:pt x="105" y="243"/>
                </a:lnTo>
                <a:lnTo>
                  <a:pt x="103" y="242"/>
                </a:lnTo>
                <a:lnTo>
                  <a:pt x="102" y="241"/>
                </a:lnTo>
                <a:lnTo>
                  <a:pt x="101" y="239"/>
                </a:lnTo>
                <a:lnTo>
                  <a:pt x="100" y="238"/>
                </a:lnTo>
                <a:lnTo>
                  <a:pt x="98" y="237"/>
                </a:lnTo>
                <a:lnTo>
                  <a:pt x="97" y="237"/>
                </a:lnTo>
                <a:lnTo>
                  <a:pt x="96" y="238"/>
                </a:lnTo>
                <a:lnTo>
                  <a:pt x="93" y="239"/>
                </a:lnTo>
                <a:lnTo>
                  <a:pt x="92" y="239"/>
                </a:lnTo>
                <a:lnTo>
                  <a:pt x="91" y="238"/>
                </a:lnTo>
                <a:lnTo>
                  <a:pt x="90" y="238"/>
                </a:lnTo>
                <a:lnTo>
                  <a:pt x="89" y="238"/>
                </a:lnTo>
                <a:lnTo>
                  <a:pt x="87" y="237"/>
                </a:lnTo>
                <a:lnTo>
                  <a:pt x="86" y="237"/>
                </a:lnTo>
                <a:lnTo>
                  <a:pt x="84" y="237"/>
                </a:lnTo>
                <a:lnTo>
                  <a:pt x="82" y="236"/>
                </a:lnTo>
                <a:lnTo>
                  <a:pt x="82" y="234"/>
                </a:lnTo>
                <a:lnTo>
                  <a:pt x="82" y="233"/>
                </a:lnTo>
                <a:lnTo>
                  <a:pt x="82" y="232"/>
                </a:lnTo>
                <a:lnTo>
                  <a:pt x="82" y="231"/>
                </a:lnTo>
                <a:lnTo>
                  <a:pt x="81" y="231"/>
                </a:lnTo>
                <a:lnTo>
                  <a:pt x="81" y="229"/>
                </a:lnTo>
                <a:lnTo>
                  <a:pt x="80" y="229"/>
                </a:lnTo>
                <a:lnTo>
                  <a:pt x="79" y="227"/>
                </a:lnTo>
                <a:lnTo>
                  <a:pt x="79" y="226"/>
                </a:lnTo>
                <a:lnTo>
                  <a:pt x="79" y="225"/>
                </a:lnTo>
                <a:lnTo>
                  <a:pt x="79" y="223"/>
                </a:lnTo>
                <a:lnTo>
                  <a:pt x="77" y="223"/>
                </a:lnTo>
                <a:lnTo>
                  <a:pt x="79" y="222"/>
                </a:lnTo>
                <a:lnTo>
                  <a:pt x="79" y="221"/>
                </a:lnTo>
                <a:lnTo>
                  <a:pt x="77" y="220"/>
                </a:lnTo>
                <a:lnTo>
                  <a:pt x="79" y="218"/>
                </a:lnTo>
                <a:lnTo>
                  <a:pt x="79" y="217"/>
                </a:lnTo>
                <a:lnTo>
                  <a:pt x="77" y="216"/>
                </a:lnTo>
                <a:lnTo>
                  <a:pt x="76" y="216"/>
                </a:lnTo>
                <a:lnTo>
                  <a:pt x="75" y="216"/>
                </a:lnTo>
                <a:lnTo>
                  <a:pt x="74" y="216"/>
                </a:lnTo>
                <a:lnTo>
                  <a:pt x="73" y="215"/>
                </a:lnTo>
                <a:lnTo>
                  <a:pt x="71" y="213"/>
                </a:lnTo>
                <a:lnTo>
                  <a:pt x="70" y="212"/>
                </a:lnTo>
                <a:lnTo>
                  <a:pt x="69" y="212"/>
                </a:lnTo>
                <a:lnTo>
                  <a:pt x="68" y="212"/>
                </a:lnTo>
                <a:lnTo>
                  <a:pt x="65" y="213"/>
                </a:lnTo>
                <a:lnTo>
                  <a:pt x="64" y="213"/>
                </a:lnTo>
                <a:lnTo>
                  <a:pt x="63" y="213"/>
                </a:lnTo>
                <a:lnTo>
                  <a:pt x="62" y="215"/>
                </a:lnTo>
                <a:lnTo>
                  <a:pt x="60" y="216"/>
                </a:lnTo>
                <a:lnTo>
                  <a:pt x="59" y="217"/>
                </a:lnTo>
                <a:lnTo>
                  <a:pt x="58" y="218"/>
                </a:lnTo>
                <a:lnTo>
                  <a:pt x="57" y="220"/>
                </a:lnTo>
                <a:lnTo>
                  <a:pt x="55" y="220"/>
                </a:lnTo>
                <a:lnTo>
                  <a:pt x="55" y="221"/>
                </a:lnTo>
                <a:lnTo>
                  <a:pt x="55" y="222"/>
                </a:lnTo>
                <a:lnTo>
                  <a:pt x="55" y="223"/>
                </a:lnTo>
                <a:lnTo>
                  <a:pt x="54" y="223"/>
                </a:lnTo>
                <a:lnTo>
                  <a:pt x="53" y="223"/>
                </a:lnTo>
                <a:lnTo>
                  <a:pt x="53" y="225"/>
                </a:lnTo>
                <a:lnTo>
                  <a:pt x="52" y="226"/>
                </a:lnTo>
                <a:lnTo>
                  <a:pt x="50" y="226"/>
                </a:lnTo>
                <a:lnTo>
                  <a:pt x="50" y="226"/>
                </a:lnTo>
                <a:lnTo>
                  <a:pt x="49" y="226"/>
                </a:lnTo>
                <a:lnTo>
                  <a:pt x="49" y="225"/>
                </a:lnTo>
                <a:lnTo>
                  <a:pt x="49" y="223"/>
                </a:lnTo>
                <a:lnTo>
                  <a:pt x="50" y="222"/>
                </a:lnTo>
                <a:lnTo>
                  <a:pt x="50" y="221"/>
                </a:lnTo>
                <a:lnTo>
                  <a:pt x="50" y="218"/>
                </a:lnTo>
                <a:lnTo>
                  <a:pt x="50" y="217"/>
                </a:lnTo>
                <a:lnTo>
                  <a:pt x="50" y="216"/>
                </a:lnTo>
                <a:lnTo>
                  <a:pt x="52" y="213"/>
                </a:lnTo>
                <a:lnTo>
                  <a:pt x="52" y="212"/>
                </a:lnTo>
                <a:lnTo>
                  <a:pt x="53" y="211"/>
                </a:lnTo>
                <a:lnTo>
                  <a:pt x="54" y="210"/>
                </a:lnTo>
                <a:lnTo>
                  <a:pt x="55" y="209"/>
                </a:lnTo>
                <a:lnTo>
                  <a:pt x="58" y="207"/>
                </a:lnTo>
                <a:lnTo>
                  <a:pt x="59" y="207"/>
                </a:lnTo>
                <a:lnTo>
                  <a:pt x="60" y="206"/>
                </a:lnTo>
                <a:lnTo>
                  <a:pt x="62" y="206"/>
                </a:lnTo>
                <a:lnTo>
                  <a:pt x="63" y="205"/>
                </a:lnTo>
                <a:lnTo>
                  <a:pt x="64" y="205"/>
                </a:lnTo>
                <a:lnTo>
                  <a:pt x="63" y="204"/>
                </a:lnTo>
                <a:lnTo>
                  <a:pt x="64" y="204"/>
                </a:lnTo>
                <a:lnTo>
                  <a:pt x="64" y="202"/>
                </a:lnTo>
                <a:lnTo>
                  <a:pt x="66" y="202"/>
                </a:lnTo>
                <a:lnTo>
                  <a:pt x="68" y="201"/>
                </a:lnTo>
                <a:lnTo>
                  <a:pt x="70" y="201"/>
                </a:lnTo>
                <a:lnTo>
                  <a:pt x="70" y="200"/>
                </a:lnTo>
                <a:lnTo>
                  <a:pt x="71" y="198"/>
                </a:lnTo>
                <a:lnTo>
                  <a:pt x="73" y="196"/>
                </a:lnTo>
                <a:lnTo>
                  <a:pt x="75" y="193"/>
                </a:lnTo>
                <a:lnTo>
                  <a:pt x="76" y="189"/>
                </a:lnTo>
                <a:lnTo>
                  <a:pt x="76" y="185"/>
                </a:lnTo>
                <a:lnTo>
                  <a:pt x="77" y="184"/>
                </a:lnTo>
                <a:lnTo>
                  <a:pt x="77" y="183"/>
                </a:lnTo>
                <a:lnTo>
                  <a:pt x="77" y="182"/>
                </a:lnTo>
                <a:lnTo>
                  <a:pt x="76" y="179"/>
                </a:lnTo>
                <a:lnTo>
                  <a:pt x="76" y="177"/>
                </a:lnTo>
                <a:lnTo>
                  <a:pt x="75" y="175"/>
                </a:lnTo>
                <a:lnTo>
                  <a:pt x="74" y="174"/>
                </a:lnTo>
                <a:lnTo>
                  <a:pt x="73" y="174"/>
                </a:lnTo>
                <a:lnTo>
                  <a:pt x="70" y="174"/>
                </a:lnTo>
                <a:lnTo>
                  <a:pt x="69" y="175"/>
                </a:lnTo>
                <a:lnTo>
                  <a:pt x="69" y="177"/>
                </a:lnTo>
                <a:lnTo>
                  <a:pt x="68" y="178"/>
                </a:lnTo>
                <a:lnTo>
                  <a:pt x="68" y="179"/>
                </a:lnTo>
                <a:lnTo>
                  <a:pt x="66" y="180"/>
                </a:lnTo>
                <a:lnTo>
                  <a:pt x="65" y="180"/>
                </a:lnTo>
                <a:lnTo>
                  <a:pt x="64" y="179"/>
                </a:lnTo>
                <a:lnTo>
                  <a:pt x="63" y="179"/>
                </a:lnTo>
                <a:lnTo>
                  <a:pt x="62" y="179"/>
                </a:lnTo>
                <a:lnTo>
                  <a:pt x="59" y="179"/>
                </a:lnTo>
                <a:lnTo>
                  <a:pt x="59" y="178"/>
                </a:lnTo>
                <a:lnTo>
                  <a:pt x="58" y="178"/>
                </a:lnTo>
                <a:lnTo>
                  <a:pt x="58" y="177"/>
                </a:lnTo>
                <a:lnTo>
                  <a:pt x="57" y="177"/>
                </a:lnTo>
                <a:lnTo>
                  <a:pt x="57" y="175"/>
                </a:lnTo>
                <a:lnTo>
                  <a:pt x="57" y="174"/>
                </a:lnTo>
                <a:lnTo>
                  <a:pt x="57" y="173"/>
                </a:lnTo>
                <a:lnTo>
                  <a:pt x="58" y="169"/>
                </a:lnTo>
                <a:lnTo>
                  <a:pt x="59" y="168"/>
                </a:lnTo>
                <a:lnTo>
                  <a:pt x="60" y="164"/>
                </a:lnTo>
                <a:lnTo>
                  <a:pt x="60" y="163"/>
                </a:lnTo>
                <a:lnTo>
                  <a:pt x="59" y="163"/>
                </a:lnTo>
                <a:lnTo>
                  <a:pt x="58" y="162"/>
                </a:lnTo>
                <a:lnTo>
                  <a:pt x="58" y="161"/>
                </a:lnTo>
                <a:lnTo>
                  <a:pt x="58" y="159"/>
                </a:lnTo>
                <a:lnTo>
                  <a:pt x="57" y="158"/>
                </a:lnTo>
                <a:lnTo>
                  <a:pt x="55" y="158"/>
                </a:lnTo>
                <a:lnTo>
                  <a:pt x="54" y="158"/>
                </a:lnTo>
                <a:lnTo>
                  <a:pt x="53" y="158"/>
                </a:lnTo>
                <a:lnTo>
                  <a:pt x="52" y="158"/>
                </a:lnTo>
                <a:lnTo>
                  <a:pt x="50" y="157"/>
                </a:lnTo>
                <a:lnTo>
                  <a:pt x="50" y="157"/>
                </a:lnTo>
                <a:lnTo>
                  <a:pt x="49" y="157"/>
                </a:lnTo>
                <a:lnTo>
                  <a:pt x="48" y="156"/>
                </a:lnTo>
                <a:lnTo>
                  <a:pt x="47" y="154"/>
                </a:lnTo>
                <a:lnTo>
                  <a:pt x="47" y="153"/>
                </a:lnTo>
                <a:lnTo>
                  <a:pt x="46" y="153"/>
                </a:lnTo>
                <a:lnTo>
                  <a:pt x="44" y="153"/>
                </a:lnTo>
                <a:lnTo>
                  <a:pt x="43" y="154"/>
                </a:lnTo>
                <a:lnTo>
                  <a:pt x="42" y="154"/>
                </a:lnTo>
                <a:lnTo>
                  <a:pt x="41" y="153"/>
                </a:lnTo>
                <a:lnTo>
                  <a:pt x="38" y="153"/>
                </a:lnTo>
                <a:lnTo>
                  <a:pt x="36" y="153"/>
                </a:lnTo>
                <a:lnTo>
                  <a:pt x="34" y="153"/>
                </a:lnTo>
                <a:lnTo>
                  <a:pt x="33" y="152"/>
                </a:lnTo>
                <a:lnTo>
                  <a:pt x="32" y="152"/>
                </a:lnTo>
                <a:lnTo>
                  <a:pt x="31" y="151"/>
                </a:lnTo>
                <a:lnTo>
                  <a:pt x="30" y="148"/>
                </a:lnTo>
                <a:lnTo>
                  <a:pt x="28" y="147"/>
                </a:lnTo>
                <a:lnTo>
                  <a:pt x="27" y="146"/>
                </a:lnTo>
                <a:lnTo>
                  <a:pt x="26" y="145"/>
                </a:lnTo>
                <a:lnTo>
                  <a:pt x="26" y="143"/>
                </a:lnTo>
                <a:lnTo>
                  <a:pt x="25" y="143"/>
                </a:lnTo>
                <a:lnTo>
                  <a:pt x="23" y="143"/>
                </a:lnTo>
                <a:lnTo>
                  <a:pt x="22" y="145"/>
                </a:lnTo>
                <a:lnTo>
                  <a:pt x="22" y="143"/>
                </a:lnTo>
                <a:lnTo>
                  <a:pt x="22" y="142"/>
                </a:lnTo>
                <a:lnTo>
                  <a:pt x="21" y="141"/>
                </a:lnTo>
                <a:lnTo>
                  <a:pt x="21" y="138"/>
                </a:lnTo>
                <a:lnTo>
                  <a:pt x="20" y="137"/>
                </a:lnTo>
                <a:lnTo>
                  <a:pt x="18" y="137"/>
                </a:lnTo>
                <a:lnTo>
                  <a:pt x="16" y="136"/>
                </a:lnTo>
                <a:lnTo>
                  <a:pt x="15" y="136"/>
                </a:lnTo>
                <a:lnTo>
                  <a:pt x="14" y="135"/>
                </a:lnTo>
                <a:lnTo>
                  <a:pt x="12" y="134"/>
                </a:lnTo>
                <a:lnTo>
                  <a:pt x="11" y="132"/>
                </a:lnTo>
                <a:lnTo>
                  <a:pt x="10" y="131"/>
                </a:lnTo>
                <a:lnTo>
                  <a:pt x="9" y="131"/>
                </a:lnTo>
                <a:lnTo>
                  <a:pt x="7" y="131"/>
                </a:lnTo>
                <a:lnTo>
                  <a:pt x="7" y="132"/>
                </a:lnTo>
                <a:lnTo>
                  <a:pt x="6" y="131"/>
                </a:lnTo>
                <a:lnTo>
                  <a:pt x="6" y="130"/>
                </a:lnTo>
                <a:lnTo>
                  <a:pt x="6" y="129"/>
                </a:lnTo>
                <a:lnTo>
                  <a:pt x="6" y="127"/>
                </a:lnTo>
                <a:lnTo>
                  <a:pt x="5" y="126"/>
                </a:lnTo>
                <a:lnTo>
                  <a:pt x="4" y="126"/>
                </a:lnTo>
                <a:lnTo>
                  <a:pt x="4" y="125"/>
                </a:lnTo>
                <a:lnTo>
                  <a:pt x="4" y="122"/>
                </a:lnTo>
                <a:lnTo>
                  <a:pt x="4" y="121"/>
                </a:lnTo>
                <a:lnTo>
                  <a:pt x="5" y="120"/>
                </a:lnTo>
                <a:lnTo>
                  <a:pt x="6" y="119"/>
                </a:lnTo>
                <a:lnTo>
                  <a:pt x="7" y="118"/>
                </a:lnTo>
                <a:lnTo>
                  <a:pt x="7" y="115"/>
                </a:lnTo>
                <a:lnTo>
                  <a:pt x="9" y="114"/>
                </a:lnTo>
                <a:lnTo>
                  <a:pt x="9" y="113"/>
                </a:lnTo>
                <a:lnTo>
                  <a:pt x="9" y="111"/>
                </a:lnTo>
                <a:lnTo>
                  <a:pt x="7" y="110"/>
                </a:lnTo>
                <a:lnTo>
                  <a:pt x="7" y="109"/>
                </a:lnTo>
                <a:lnTo>
                  <a:pt x="6" y="108"/>
                </a:lnTo>
                <a:lnTo>
                  <a:pt x="5" y="105"/>
                </a:lnTo>
                <a:lnTo>
                  <a:pt x="4" y="104"/>
                </a:lnTo>
                <a:lnTo>
                  <a:pt x="4" y="102"/>
                </a:lnTo>
                <a:lnTo>
                  <a:pt x="2" y="100"/>
                </a:lnTo>
                <a:lnTo>
                  <a:pt x="1" y="99"/>
                </a:lnTo>
                <a:lnTo>
                  <a:pt x="0" y="98"/>
                </a:lnTo>
                <a:close/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8" name="Freeform 167"/>
          <p:cNvSpPr>
            <a:spLocks/>
          </p:cNvSpPr>
          <p:nvPr>
            <p:custDataLst>
              <p:tags r:id="rId86"/>
            </p:custDataLst>
          </p:nvPr>
        </p:nvSpPr>
        <p:spPr bwMode="gray">
          <a:xfrm>
            <a:off x="2773616" y="2926236"/>
            <a:ext cx="626208" cy="620566"/>
          </a:xfrm>
          <a:custGeom>
            <a:avLst/>
            <a:gdLst>
              <a:gd name="T0" fmla="*/ 27 w 658"/>
              <a:gd name="T1" fmla="*/ 0 h 694"/>
              <a:gd name="T2" fmla="*/ 46 w 658"/>
              <a:gd name="T3" fmla="*/ 56 h 694"/>
              <a:gd name="T4" fmla="*/ 56 w 658"/>
              <a:gd name="T5" fmla="*/ 81 h 694"/>
              <a:gd name="T6" fmla="*/ 61 w 658"/>
              <a:gd name="T7" fmla="*/ 90 h 694"/>
              <a:gd name="T8" fmla="*/ 67 w 658"/>
              <a:gd name="T9" fmla="*/ 97 h 694"/>
              <a:gd name="T10" fmla="*/ 77 w 658"/>
              <a:gd name="T11" fmla="*/ 108 h 694"/>
              <a:gd name="T12" fmla="*/ 89 w 658"/>
              <a:gd name="T13" fmla="*/ 114 h 694"/>
              <a:gd name="T14" fmla="*/ 103 w 658"/>
              <a:gd name="T15" fmla="*/ 118 h 694"/>
              <a:gd name="T16" fmla="*/ 111 w 658"/>
              <a:gd name="T17" fmla="*/ 121 h 694"/>
              <a:gd name="T18" fmla="*/ 129 w 658"/>
              <a:gd name="T19" fmla="*/ 126 h 694"/>
              <a:gd name="T20" fmla="*/ 151 w 658"/>
              <a:gd name="T21" fmla="*/ 132 h 694"/>
              <a:gd name="T22" fmla="*/ 165 w 658"/>
              <a:gd name="T23" fmla="*/ 134 h 694"/>
              <a:gd name="T24" fmla="*/ 174 w 658"/>
              <a:gd name="T25" fmla="*/ 137 h 694"/>
              <a:gd name="T26" fmla="*/ 183 w 658"/>
              <a:gd name="T27" fmla="*/ 138 h 694"/>
              <a:gd name="T28" fmla="*/ 196 w 658"/>
              <a:gd name="T29" fmla="*/ 141 h 694"/>
              <a:gd name="T30" fmla="*/ 210 w 658"/>
              <a:gd name="T31" fmla="*/ 138 h 694"/>
              <a:gd name="T32" fmla="*/ 236 w 658"/>
              <a:gd name="T33" fmla="*/ 129 h 694"/>
              <a:gd name="T34" fmla="*/ 255 w 658"/>
              <a:gd name="T35" fmla="*/ 121 h 694"/>
              <a:gd name="T36" fmla="*/ 290 w 658"/>
              <a:gd name="T37" fmla="*/ 107 h 694"/>
              <a:gd name="T38" fmla="*/ 299 w 658"/>
              <a:gd name="T39" fmla="*/ 104 h 694"/>
              <a:gd name="T40" fmla="*/ 315 w 658"/>
              <a:gd name="T41" fmla="*/ 100 h 694"/>
              <a:gd name="T42" fmla="*/ 346 w 658"/>
              <a:gd name="T43" fmla="*/ 93 h 694"/>
              <a:gd name="T44" fmla="*/ 376 w 658"/>
              <a:gd name="T45" fmla="*/ 93 h 694"/>
              <a:gd name="T46" fmla="*/ 411 w 658"/>
              <a:gd name="T47" fmla="*/ 93 h 694"/>
              <a:gd name="T48" fmla="*/ 460 w 658"/>
              <a:gd name="T49" fmla="*/ 94 h 694"/>
              <a:gd name="T50" fmla="*/ 478 w 658"/>
              <a:gd name="T51" fmla="*/ 96 h 694"/>
              <a:gd name="T52" fmla="*/ 504 w 658"/>
              <a:gd name="T53" fmla="*/ 97 h 694"/>
              <a:gd name="T54" fmla="*/ 547 w 658"/>
              <a:gd name="T55" fmla="*/ 100 h 694"/>
              <a:gd name="T56" fmla="*/ 570 w 658"/>
              <a:gd name="T57" fmla="*/ 101 h 694"/>
              <a:gd name="T58" fmla="*/ 586 w 658"/>
              <a:gd name="T59" fmla="*/ 101 h 694"/>
              <a:gd name="T60" fmla="*/ 595 w 658"/>
              <a:gd name="T61" fmla="*/ 100 h 694"/>
              <a:gd name="T62" fmla="*/ 610 w 658"/>
              <a:gd name="T63" fmla="*/ 99 h 694"/>
              <a:gd name="T64" fmla="*/ 598 w 658"/>
              <a:gd name="T65" fmla="*/ 325 h 694"/>
              <a:gd name="T66" fmla="*/ 645 w 658"/>
              <a:gd name="T67" fmla="*/ 414 h 694"/>
              <a:gd name="T68" fmla="*/ 632 w 658"/>
              <a:gd name="T69" fmla="*/ 462 h 694"/>
              <a:gd name="T70" fmla="*/ 610 w 658"/>
              <a:gd name="T71" fmla="*/ 482 h 694"/>
              <a:gd name="T72" fmla="*/ 550 w 658"/>
              <a:gd name="T73" fmla="*/ 541 h 694"/>
              <a:gd name="T74" fmla="*/ 228 w 658"/>
              <a:gd name="T75" fmla="*/ 694 h 694"/>
              <a:gd name="T76" fmla="*/ 0 w 658"/>
              <a:gd name="T77" fmla="*/ 286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658" h="694">
                <a:moveTo>
                  <a:pt x="0" y="286"/>
                </a:moveTo>
                <a:lnTo>
                  <a:pt x="27" y="0"/>
                </a:lnTo>
                <a:lnTo>
                  <a:pt x="44" y="50"/>
                </a:lnTo>
                <a:lnTo>
                  <a:pt x="46" y="56"/>
                </a:lnTo>
                <a:lnTo>
                  <a:pt x="52" y="72"/>
                </a:lnTo>
                <a:lnTo>
                  <a:pt x="56" y="81"/>
                </a:lnTo>
                <a:lnTo>
                  <a:pt x="60" y="89"/>
                </a:lnTo>
                <a:lnTo>
                  <a:pt x="61" y="90"/>
                </a:lnTo>
                <a:lnTo>
                  <a:pt x="63" y="90"/>
                </a:lnTo>
                <a:lnTo>
                  <a:pt x="67" y="97"/>
                </a:lnTo>
                <a:lnTo>
                  <a:pt x="72" y="104"/>
                </a:lnTo>
                <a:lnTo>
                  <a:pt x="77" y="108"/>
                </a:lnTo>
                <a:lnTo>
                  <a:pt x="82" y="110"/>
                </a:lnTo>
                <a:lnTo>
                  <a:pt x="89" y="114"/>
                </a:lnTo>
                <a:lnTo>
                  <a:pt x="94" y="115"/>
                </a:lnTo>
                <a:lnTo>
                  <a:pt x="103" y="118"/>
                </a:lnTo>
                <a:lnTo>
                  <a:pt x="106" y="119"/>
                </a:lnTo>
                <a:lnTo>
                  <a:pt x="111" y="121"/>
                </a:lnTo>
                <a:lnTo>
                  <a:pt x="117" y="123"/>
                </a:lnTo>
                <a:lnTo>
                  <a:pt x="129" y="126"/>
                </a:lnTo>
                <a:lnTo>
                  <a:pt x="145" y="132"/>
                </a:lnTo>
                <a:lnTo>
                  <a:pt x="151" y="132"/>
                </a:lnTo>
                <a:lnTo>
                  <a:pt x="158" y="134"/>
                </a:lnTo>
                <a:lnTo>
                  <a:pt x="165" y="134"/>
                </a:lnTo>
                <a:lnTo>
                  <a:pt x="170" y="136"/>
                </a:lnTo>
                <a:lnTo>
                  <a:pt x="174" y="137"/>
                </a:lnTo>
                <a:lnTo>
                  <a:pt x="177" y="137"/>
                </a:lnTo>
                <a:lnTo>
                  <a:pt x="183" y="138"/>
                </a:lnTo>
                <a:lnTo>
                  <a:pt x="185" y="138"/>
                </a:lnTo>
                <a:lnTo>
                  <a:pt x="196" y="141"/>
                </a:lnTo>
                <a:lnTo>
                  <a:pt x="206" y="138"/>
                </a:lnTo>
                <a:lnTo>
                  <a:pt x="210" y="138"/>
                </a:lnTo>
                <a:lnTo>
                  <a:pt x="225" y="133"/>
                </a:lnTo>
                <a:lnTo>
                  <a:pt x="236" y="129"/>
                </a:lnTo>
                <a:lnTo>
                  <a:pt x="247" y="126"/>
                </a:lnTo>
                <a:lnTo>
                  <a:pt x="255" y="121"/>
                </a:lnTo>
                <a:lnTo>
                  <a:pt x="271" y="114"/>
                </a:lnTo>
                <a:lnTo>
                  <a:pt x="290" y="107"/>
                </a:lnTo>
                <a:lnTo>
                  <a:pt x="297" y="104"/>
                </a:lnTo>
                <a:lnTo>
                  <a:pt x="299" y="104"/>
                </a:lnTo>
                <a:lnTo>
                  <a:pt x="306" y="101"/>
                </a:lnTo>
                <a:lnTo>
                  <a:pt x="315" y="100"/>
                </a:lnTo>
                <a:lnTo>
                  <a:pt x="326" y="97"/>
                </a:lnTo>
                <a:lnTo>
                  <a:pt x="346" y="93"/>
                </a:lnTo>
                <a:lnTo>
                  <a:pt x="363" y="93"/>
                </a:lnTo>
                <a:lnTo>
                  <a:pt x="376" y="93"/>
                </a:lnTo>
                <a:lnTo>
                  <a:pt x="381" y="93"/>
                </a:lnTo>
                <a:lnTo>
                  <a:pt x="411" y="93"/>
                </a:lnTo>
                <a:lnTo>
                  <a:pt x="434" y="94"/>
                </a:lnTo>
                <a:lnTo>
                  <a:pt x="460" y="94"/>
                </a:lnTo>
                <a:lnTo>
                  <a:pt x="463" y="94"/>
                </a:lnTo>
                <a:lnTo>
                  <a:pt x="478" y="96"/>
                </a:lnTo>
                <a:lnTo>
                  <a:pt x="488" y="96"/>
                </a:lnTo>
                <a:lnTo>
                  <a:pt x="504" y="97"/>
                </a:lnTo>
                <a:lnTo>
                  <a:pt x="529" y="99"/>
                </a:lnTo>
                <a:lnTo>
                  <a:pt x="547" y="100"/>
                </a:lnTo>
                <a:lnTo>
                  <a:pt x="562" y="101"/>
                </a:lnTo>
                <a:lnTo>
                  <a:pt x="570" y="101"/>
                </a:lnTo>
                <a:lnTo>
                  <a:pt x="577" y="101"/>
                </a:lnTo>
                <a:lnTo>
                  <a:pt x="586" y="101"/>
                </a:lnTo>
                <a:lnTo>
                  <a:pt x="594" y="100"/>
                </a:lnTo>
                <a:lnTo>
                  <a:pt x="595" y="100"/>
                </a:lnTo>
                <a:lnTo>
                  <a:pt x="599" y="100"/>
                </a:lnTo>
                <a:lnTo>
                  <a:pt x="610" y="99"/>
                </a:lnTo>
                <a:lnTo>
                  <a:pt x="658" y="191"/>
                </a:lnTo>
                <a:lnTo>
                  <a:pt x="598" y="325"/>
                </a:lnTo>
                <a:lnTo>
                  <a:pt x="634" y="352"/>
                </a:lnTo>
                <a:lnTo>
                  <a:pt x="645" y="414"/>
                </a:lnTo>
                <a:lnTo>
                  <a:pt x="619" y="431"/>
                </a:lnTo>
                <a:lnTo>
                  <a:pt x="632" y="462"/>
                </a:lnTo>
                <a:lnTo>
                  <a:pt x="610" y="481"/>
                </a:lnTo>
                <a:lnTo>
                  <a:pt x="610" y="482"/>
                </a:lnTo>
                <a:lnTo>
                  <a:pt x="577" y="484"/>
                </a:lnTo>
                <a:lnTo>
                  <a:pt x="550" y="541"/>
                </a:lnTo>
                <a:lnTo>
                  <a:pt x="415" y="590"/>
                </a:lnTo>
                <a:lnTo>
                  <a:pt x="228" y="694"/>
                </a:lnTo>
                <a:lnTo>
                  <a:pt x="48" y="583"/>
                </a:lnTo>
                <a:lnTo>
                  <a:pt x="0" y="286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29" name="Freeform 168"/>
          <p:cNvSpPr>
            <a:spLocks/>
          </p:cNvSpPr>
          <p:nvPr>
            <p:custDataLst>
              <p:tags r:id="rId87"/>
            </p:custDataLst>
          </p:nvPr>
        </p:nvSpPr>
        <p:spPr bwMode="gray">
          <a:xfrm>
            <a:off x="3332255" y="2842182"/>
            <a:ext cx="614788" cy="1170491"/>
          </a:xfrm>
          <a:custGeom>
            <a:avLst/>
            <a:gdLst>
              <a:gd name="T0" fmla="*/ 0 w 646"/>
              <a:gd name="T1" fmla="*/ 70 h 1309"/>
              <a:gd name="T2" fmla="*/ 0 w 646"/>
              <a:gd name="T3" fmla="*/ 0 h 1309"/>
              <a:gd name="T4" fmla="*/ 406 w 646"/>
              <a:gd name="T5" fmla="*/ 0 h 1309"/>
              <a:gd name="T6" fmla="*/ 406 w 646"/>
              <a:gd name="T7" fmla="*/ 169 h 1309"/>
              <a:gd name="T8" fmla="*/ 342 w 646"/>
              <a:gd name="T9" fmla="*/ 231 h 1309"/>
              <a:gd name="T10" fmla="*/ 324 w 646"/>
              <a:gd name="T11" fmla="*/ 259 h 1309"/>
              <a:gd name="T12" fmla="*/ 324 w 646"/>
              <a:gd name="T13" fmla="*/ 282 h 1309"/>
              <a:gd name="T14" fmla="*/ 338 w 646"/>
              <a:gd name="T15" fmla="*/ 298 h 1309"/>
              <a:gd name="T16" fmla="*/ 331 w 646"/>
              <a:gd name="T17" fmla="*/ 369 h 1309"/>
              <a:gd name="T18" fmla="*/ 300 w 646"/>
              <a:gd name="T19" fmla="*/ 395 h 1309"/>
              <a:gd name="T20" fmla="*/ 439 w 646"/>
              <a:gd name="T21" fmla="*/ 391 h 1309"/>
              <a:gd name="T22" fmla="*/ 501 w 646"/>
              <a:gd name="T23" fmla="*/ 509 h 1309"/>
              <a:gd name="T24" fmla="*/ 634 w 646"/>
              <a:gd name="T25" fmla="*/ 611 h 1309"/>
              <a:gd name="T26" fmla="*/ 646 w 646"/>
              <a:gd name="T27" fmla="*/ 806 h 1309"/>
              <a:gd name="T28" fmla="*/ 590 w 646"/>
              <a:gd name="T29" fmla="*/ 854 h 1309"/>
              <a:gd name="T30" fmla="*/ 518 w 646"/>
              <a:gd name="T31" fmla="*/ 865 h 1309"/>
              <a:gd name="T32" fmla="*/ 432 w 646"/>
              <a:gd name="T33" fmla="*/ 952 h 1309"/>
              <a:gd name="T34" fmla="*/ 358 w 646"/>
              <a:gd name="T35" fmla="*/ 1078 h 1309"/>
              <a:gd name="T36" fmla="*/ 399 w 646"/>
              <a:gd name="T37" fmla="*/ 1180 h 1309"/>
              <a:gd name="T38" fmla="*/ 406 w 646"/>
              <a:gd name="T39" fmla="*/ 1227 h 1309"/>
              <a:gd name="T40" fmla="*/ 400 w 646"/>
              <a:gd name="T41" fmla="*/ 1260 h 1309"/>
              <a:gd name="T42" fmla="*/ 370 w 646"/>
              <a:gd name="T43" fmla="*/ 1303 h 1309"/>
              <a:gd name="T44" fmla="*/ 333 w 646"/>
              <a:gd name="T45" fmla="*/ 1309 h 1309"/>
              <a:gd name="T46" fmla="*/ 230 w 646"/>
              <a:gd name="T47" fmla="*/ 1271 h 1309"/>
              <a:gd name="T48" fmla="*/ 228 w 646"/>
              <a:gd name="T49" fmla="*/ 1036 h 1309"/>
              <a:gd name="T50" fmla="*/ 245 w 646"/>
              <a:gd name="T51" fmla="*/ 946 h 1309"/>
              <a:gd name="T52" fmla="*/ 161 w 646"/>
              <a:gd name="T53" fmla="*/ 868 h 1309"/>
              <a:gd name="T54" fmla="*/ 158 w 646"/>
              <a:gd name="T55" fmla="*/ 851 h 1309"/>
              <a:gd name="T56" fmla="*/ 166 w 646"/>
              <a:gd name="T57" fmla="*/ 827 h 1309"/>
              <a:gd name="T58" fmla="*/ 111 w 646"/>
              <a:gd name="T59" fmla="*/ 743 h 1309"/>
              <a:gd name="T60" fmla="*/ 11 w 646"/>
              <a:gd name="T61" fmla="*/ 722 h 1309"/>
              <a:gd name="T62" fmla="*/ 16 w 646"/>
              <a:gd name="T63" fmla="*/ 655 h 1309"/>
              <a:gd name="T64" fmla="*/ 29 w 646"/>
              <a:gd name="T65" fmla="*/ 635 h 1309"/>
              <a:gd name="T66" fmla="*/ 23 w 646"/>
              <a:gd name="T67" fmla="*/ 575 h 1309"/>
              <a:gd name="T68" fmla="*/ 45 w 646"/>
              <a:gd name="T69" fmla="*/ 556 h 1309"/>
              <a:gd name="T70" fmla="*/ 32 w 646"/>
              <a:gd name="T71" fmla="*/ 525 h 1309"/>
              <a:gd name="T72" fmla="*/ 58 w 646"/>
              <a:gd name="T73" fmla="*/ 508 h 1309"/>
              <a:gd name="T74" fmla="*/ 47 w 646"/>
              <a:gd name="T75" fmla="*/ 446 h 1309"/>
              <a:gd name="T76" fmla="*/ 11 w 646"/>
              <a:gd name="T77" fmla="*/ 419 h 1309"/>
              <a:gd name="T78" fmla="*/ 71 w 646"/>
              <a:gd name="T79" fmla="*/ 285 h 1309"/>
              <a:gd name="T80" fmla="*/ 23 w 646"/>
              <a:gd name="T81" fmla="*/ 193 h 1309"/>
              <a:gd name="T82" fmla="*/ 26 w 646"/>
              <a:gd name="T83" fmla="*/ 193 h 1309"/>
              <a:gd name="T84" fmla="*/ 0 w 646"/>
              <a:gd name="T85" fmla="*/ 139 h 1309"/>
              <a:gd name="T86" fmla="*/ 0 w 646"/>
              <a:gd name="T87" fmla="*/ 70 h 13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46" h="1309">
                <a:moveTo>
                  <a:pt x="0" y="70"/>
                </a:moveTo>
                <a:lnTo>
                  <a:pt x="0" y="0"/>
                </a:lnTo>
                <a:lnTo>
                  <a:pt x="406" y="0"/>
                </a:lnTo>
                <a:lnTo>
                  <a:pt x="406" y="169"/>
                </a:lnTo>
                <a:lnTo>
                  <a:pt x="342" y="231"/>
                </a:lnTo>
                <a:lnTo>
                  <a:pt x="324" y="259"/>
                </a:lnTo>
                <a:lnTo>
                  <a:pt x="324" y="282"/>
                </a:lnTo>
                <a:lnTo>
                  <a:pt x="338" y="298"/>
                </a:lnTo>
                <a:lnTo>
                  <a:pt x="331" y="369"/>
                </a:lnTo>
                <a:lnTo>
                  <a:pt x="300" y="395"/>
                </a:lnTo>
                <a:lnTo>
                  <a:pt x="439" y="391"/>
                </a:lnTo>
                <a:lnTo>
                  <a:pt x="501" y="509"/>
                </a:lnTo>
                <a:lnTo>
                  <a:pt x="634" y="611"/>
                </a:lnTo>
                <a:lnTo>
                  <a:pt x="646" y="806"/>
                </a:lnTo>
                <a:lnTo>
                  <a:pt x="590" y="854"/>
                </a:lnTo>
                <a:lnTo>
                  <a:pt x="518" y="865"/>
                </a:lnTo>
                <a:lnTo>
                  <a:pt x="432" y="952"/>
                </a:lnTo>
                <a:lnTo>
                  <a:pt x="358" y="1078"/>
                </a:lnTo>
                <a:lnTo>
                  <a:pt x="399" y="1180"/>
                </a:lnTo>
                <a:lnTo>
                  <a:pt x="406" y="1227"/>
                </a:lnTo>
                <a:lnTo>
                  <a:pt x="400" y="1260"/>
                </a:lnTo>
                <a:lnTo>
                  <a:pt x="370" y="1303"/>
                </a:lnTo>
                <a:lnTo>
                  <a:pt x="333" y="1309"/>
                </a:lnTo>
                <a:lnTo>
                  <a:pt x="230" y="1271"/>
                </a:lnTo>
                <a:lnTo>
                  <a:pt x="228" y="1036"/>
                </a:lnTo>
                <a:lnTo>
                  <a:pt x="245" y="946"/>
                </a:lnTo>
                <a:lnTo>
                  <a:pt x="161" y="868"/>
                </a:lnTo>
                <a:lnTo>
                  <a:pt x="158" y="851"/>
                </a:lnTo>
                <a:lnTo>
                  <a:pt x="166" y="827"/>
                </a:lnTo>
                <a:lnTo>
                  <a:pt x="111" y="743"/>
                </a:lnTo>
                <a:lnTo>
                  <a:pt x="11" y="722"/>
                </a:lnTo>
                <a:lnTo>
                  <a:pt x="16" y="655"/>
                </a:lnTo>
                <a:lnTo>
                  <a:pt x="29" y="635"/>
                </a:lnTo>
                <a:lnTo>
                  <a:pt x="23" y="575"/>
                </a:lnTo>
                <a:lnTo>
                  <a:pt x="45" y="556"/>
                </a:lnTo>
                <a:lnTo>
                  <a:pt x="32" y="525"/>
                </a:lnTo>
                <a:lnTo>
                  <a:pt x="58" y="508"/>
                </a:lnTo>
                <a:lnTo>
                  <a:pt x="47" y="446"/>
                </a:lnTo>
                <a:lnTo>
                  <a:pt x="11" y="419"/>
                </a:lnTo>
                <a:lnTo>
                  <a:pt x="71" y="285"/>
                </a:lnTo>
                <a:lnTo>
                  <a:pt x="23" y="193"/>
                </a:lnTo>
                <a:lnTo>
                  <a:pt x="26" y="193"/>
                </a:lnTo>
                <a:lnTo>
                  <a:pt x="0" y="139"/>
                </a:lnTo>
                <a:lnTo>
                  <a:pt x="0" y="70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tx1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0" name="Freeform 169"/>
          <p:cNvSpPr>
            <a:spLocks/>
          </p:cNvSpPr>
          <p:nvPr>
            <p:custDataLst>
              <p:tags r:id="rId88"/>
            </p:custDataLst>
          </p:nvPr>
        </p:nvSpPr>
        <p:spPr bwMode="gray">
          <a:xfrm>
            <a:off x="3617760" y="2803731"/>
            <a:ext cx="708054" cy="998807"/>
          </a:xfrm>
          <a:custGeom>
            <a:avLst/>
            <a:gdLst>
              <a:gd name="T0" fmla="*/ 31 w 744"/>
              <a:gd name="T1" fmla="*/ 412 h 1117"/>
              <a:gd name="T2" fmla="*/ 24 w 744"/>
              <a:gd name="T3" fmla="*/ 325 h 1117"/>
              <a:gd name="T4" fmla="*/ 42 w 744"/>
              <a:gd name="T5" fmla="*/ 274 h 1117"/>
              <a:gd name="T6" fmla="*/ 106 w 744"/>
              <a:gd name="T7" fmla="*/ 214 h 1117"/>
              <a:gd name="T8" fmla="*/ 110 w 744"/>
              <a:gd name="T9" fmla="*/ 208 h 1117"/>
              <a:gd name="T10" fmla="*/ 113 w 744"/>
              <a:gd name="T11" fmla="*/ 204 h 1117"/>
              <a:gd name="T12" fmla="*/ 113 w 744"/>
              <a:gd name="T13" fmla="*/ 201 h 1117"/>
              <a:gd name="T14" fmla="*/ 117 w 744"/>
              <a:gd name="T15" fmla="*/ 201 h 1117"/>
              <a:gd name="T16" fmla="*/ 121 w 744"/>
              <a:gd name="T17" fmla="*/ 197 h 1117"/>
              <a:gd name="T18" fmla="*/ 122 w 744"/>
              <a:gd name="T19" fmla="*/ 194 h 1117"/>
              <a:gd name="T20" fmla="*/ 126 w 744"/>
              <a:gd name="T21" fmla="*/ 193 h 1117"/>
              <a:gd name="T22" fmla="*/ 130 w 744"/>
              <a:gd name="T23" fmla="*/ 189 h 1117"/>
              <a:gd name="T24" fmla="*/ 133 w 744"/>
              <a:gd name="T25" fmla="*/ 186 h 1117"/>
              <a:gd name="T26" fmla="*/ 136 w 744"/>
              <a:gd name="T27" fmla="*/ 186 h 1117"/>
              <a:gd name="T28" fmla="*/ 139 w 744"/>
              <a:gd name="T29" fmla="*/ 185 h 1117"/>
              <a:gd name="T30" fmla="*/ 141 w 744"/>
              <a:gd name="T31" fmla="*/ 185 h 1117"/>
              <a:gd name="T32" fmla="*/ 146 w 744"/>
              <a:gd name="T33" fmla="*/ 186 h 1117"/>
              <a:gd name="T34" fmla="*/ 165 w 744"/>
              <a:gd name="T35" fmla="*/ 187 h 1117"/>
              <a:gd name="T36" fmla="*/ 291 w 744"/>
              <a:gd name="T37" fmla="*/ 186 h 1117"/>
              <a:gd name="T38" fmla="*/ 291 w 744"/>
              <a:gd name="T39" fmla="*/ 72 h 1117"/>
              <a:gd name="T40" fmla="*/ 377 w 744"/>
              <a:gd name="T41" fmla="*/ 28 h 1117"/>
              <a:gd name="T42" fmla="*/ 430 w 744"/>
              <a:gd name="T43" fmla="*/ 0 h 1117"/>
              <a:gd name="T44" fmla="*/ 476 w 744"/>
              <a:gd name="T45" fmla="*/ 14 h 1117"/>
              <a:gd name="T46" fmla="*/ 613 w 744"/>
              <a:gd name="T47" fmla="*/ 99 h 1117"/>
              <a:gd name="T48" fmla="*/ 637 w 744"/>
              <a:gd name="T49" fmla="*/ 113 h 1117"/>
              <a:gd name="T50" fmla="*/ 716 w 744"/>
              <a:gd name="T51" fmla="*/ 181 h 1117"/>
              <a:gd name="T52" fmla="*/ 738 w 744"/>
              <a:gd name="T53" fmla="*/ 196 h 1117"/>
              <a:gd name="T54" fmla="*/ 740 w 744"/>
              <a:gd name="T55" fmla="*/ 197 h 1117"/>
              <a:gd name="T56" fmla="*/ 715 w 744"/>
              <a:gd name="T57" fmla="*/ 236 h 1117"/>
              <a:gd name="T58" fmla="*/ 627 w 744"/>
              <a:gd name="T59" fmla="*/ 267 h 1117"/>
              <a:gd name="T60" fmla="*/ 587 w 744"/>
              <a:gd name="T61" fmla="*/ 381 h 1117"/>
              <a:gd name="T62" fmla="*/ 542 w 744"/>
              <a:gd name="T63" fmla="*/ 537 h 1117"/>
              <a:gd name="T64" fmla="*/ 564 w 744"/>
              <a:gd name="T65" fmla="*/ 575 h 1117"/>
              <a:gd name="T66" fmla="*/ 580 w 744"/>
              <a:gd name="T67" fmla="*/ 633 h 1117"/>
              <a:gd name="T68" fmla="*/ 566 w 744"/>
              <a:gd name="T69" fmla="*/ 754 h 1117"/>
              <a:gd name="T70" fmla="*/ 641 w 744"/>
              <a:gd name="T71" fmla="*/ 846 h 1117"/>
              <a:gd name="T72" fmla="*/ 683 w 744"/>
              <a:gd name="T73" fmla="*/ 1010 h 1117"/>
              <a:gd name="T74" fmla="*/ 667 w 744"/>
              <a:gd name="T75" fmla="*/ 1070 h 1117"/>
              <a:gd name="T76" fmla="*/ 532 w 744"/>
              <a:gd name="T77" fmla="*/ 1106 h 1117"/>
              <a:gd name="T78" fmla="*/ 346 w 744"/>
              <a:gd name="T79" fmla="*/ 852 h 1117"/>
              <a:gd name="T80" fmla="*/ 201 w 744"/>
              <a:gd name="T81" fmla="*/ 552 h 1117"/>
              <a:gd name="T82" fmla="*/ 0 w 744"/>
              <a:gd name="T83" fmla="*/ 438 h 1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744" h="1117">
                <a:moveTo>
                  <a:pt x="15" y="424"/>
                </a:moveTo>
                <a:lnTo>
                  <a:pt x="31" y="412"/>
                </a:lnTo>
                <a:lnTo>
                  <a:pt x="38" y="341"/>
                </a:lnTo>
                <a:lnTo>
                  <a:pt x="24" y="325"/>
                </a:lnTo>
                <a:lnTo>
                  <a:pt x="24" y="302"/>
                </a:lnTo>
                <a:lnTo>
                  <a:pt x="42" y="274"/>
                </a:lnTo>
                <a:lnTo>
                  <a:pt x="106" y="212"/>
                </a:lnTo>
                <a:lnTo>
                  <a:pt x="106" y="214"/>
                </a:lnTo>
                <a:lnTo>
                  <a:pt x="108" y="211"/>
                </a:lnTo>
                <a:lnTo>
                  <a:pt x="110" y="208"/>
                </a:lnTo>
                <a:lnTo>
                  <a:pt x="111" y="205"/>
                </a:lnTo>
                <a:lnTo>
                  <a:pt x="113" y="204"/>
                </a:lnTo>
                <a:lnTo>
                  <a:pt x="113" y="203"/>
                </a:lnTo>
                <a:lnTo>
                  <a:pt x="113" y="201"/>
                </a:lnTo>
                <a:lnTo>
                  <a:pt x="115" y="201"/>
                </a:lnTo>
                <a:lnTo>
                  <a:pt x="117" y="201"/>
                </a:lnTo>
                <a:lnTo>
                  <a:pt x="119" y="198"/>
                </a:lnTo>
                <a:lnTo>
                  <a:pt x="121" y="197"/>
                </a:lnTo>
                <a:lnTo>
                  <a:pt x="121" y="194"/>
                </a:lnTo>
                <a:lnTo>
                  <a:pt x="122" y="194"/>
                </a:lnTo>
                <a:lnTo>
                  <a:pt x="125" y="193"/>
                </a:lnTo>
                <a:lnTo>
                  <a:pt x="126" y="193"/>
                </a:lnTo>
                <a:lnTo>
                  <a:pt x="129" y="192"/>
                </a:lnTo>
                <a:lnTo>
                  <a:pt x="130" y="189"/>
                </a:lnTo>
                <a:lnTo>
                  <a:pt x="132" y="186"/>
                </a:lnTo>
                <a:lnTo>
                  <a:pt x="133" y="186"/>
                </a:lnTo>
                <a:lnTo>
                  <a:pt x="135" y="185"/>
                </a:lnTo>
                <a:lnTo>
                  <a:pt x="136" y="186"/>
                </a:lnTo>
                <a:lnTo>
                  <a:pt x="137" y="185"/>
                </a:lnTo>
                <a:lnTo>
                  <a:pt x="139" y="185"/>
                </a:lnTo>
                <a:lnTo>
                  <a:pt x="140" y="185"/>
                </a:lnTo>
                <a:lnTo>
                  <a:pt x="141" y="185"/>
                </a:lnTo>
                <a:lnTo>
                  <a:pt x="144" y="186"/>
                </a:lnTo>
                <a:lnTo>
                  <a:pt x="146" y="186"/>
                </a:lnTo>
                <a:lnTo>
                  <a:pt x="146" y="186"/>
                </a:lnTo>
                <a:lnTo>
                  <a:pt x="165" y="187"/>
                </a:lnTo>
                <a:lnTo>
                  <a:pt x="184" y="186"/>
                </a:lnTo>
                <a:lnTo>
                  <a:pt x="291" y="186"/>
                </a:lnTo>
                <a:lnTo>
                  <a:pt x="291" y="99"/>
                </a:lnTo>
                <a:lnTo>
                  <a:pt x="291" y="72"/>
                </a:lnTo>
                <a:lnTo>
                  <a:pt x="334" y="50"/>
                </a:lnTo>
                <a:lnTo>
                  <a:pt x="377" y="28"/>
                </a:lnTo>
                <a:lnTo>
                  <a:pt x="401" y="15"/>
                </a:lnTo>
                <a:lnTo>
                  <a:pt x="430" y="0"/>
                </a:lnTo>
                <a:lnTo>
                  <a:pt x="449" y="0"/>
                </a:lnTo>
                <a:lnTo>
                  <a:pt x="476" y="14"/>
                </a:lnTo>
                <a:lnTo>
                  <a:pt x="505" y="33"/>
                </a:lnTo>
                <a:lnTo>
                  <a:pt x="613" y="99"/>
                </a:lnTo>
                <a:lnTo>
                  <a:pt x="616" y="104"/>
                </a:lnTo>
                <a:lnTo>
                  <a:pt x="637" y="113"/>
                </a:lnTo>
                <a:lnTo>
                  <a:pt x="672" y="145"/>
                </a:lnTo>
                <a:lnTo>
                  <a:pt x="716" y="181"/>
                </a:lnTo>
                <a:lnTo>
                  <a:pt x="719" y="182"/>
                </a:lnTo>
                <a:lnTo>
                  <a:pt x="738" y="196"/>
                </a:lnTo>
                <a:lnTo>
                  <a:pt x="738" y="197"/>
                </a:lnTo>
                <a:lnTo>
                  <a:pt x="740" y="197"/>
                </a:lnTo>
                <a:lnTo>
                  <a:pt x="744" y="220"/>
                </a:lnTo>
                <a:lnTo>
                  <a:pt x="715" y="236"/>
                </a:lnTo>
                <a:lnTo>
                  <a:pt x="714" y="277"/>
                </a:lnTo>
                <a:lnTo>
                  <a:pt x="627" y="267"/>
                </a:lnTo>
                <a:lnTo>
                  <a:pt x="575" y="329"/>
                </a:lnTo>
                <a:lnTo>
                  <a:pt x="587" y="381"/>
                </a:lnTo>
                <a:lnTo>
                  <a:pt x="524" y="458"/>
                </a:lnTo>
                <a:lnTo>
                  <a:pt x="542" y="537"/>
                </a:lnTo>
                <a:lnTo>
                  <a:pt x="533" y="548"/>
                </a:lnTo>
                <a:lnTo>
                  <a:pt x="564" y="575"/>
                </a:lnTo>
                <a:lnTo>
                  <a:pt x="550" y="600"/>
                </a:lnTo>
                <a:lnTo>
                  <a:pt x="580" y="633"/>
                </a:lnTo>
                <a:lnTo>
                  <a:pt x="566" y="710"/>
                </a:lnTo>
                <a:lnTo>
                  <a:pt x="566" y="754"/>
                </a:lnTo>
                <a:lnTo>
                  <a:pt x="584" y="754"/>
                </a:lnTo>
                <a:lnTo>
                  <a:pt x="641" y="846"/>
                </a:lnTo>
                <a:lnTo>
                  <a:pt x="628" y="912"/>
                </a:lnTo>
                <a:lnTo>
                  <a:pt x="683" y="1010"/>
                </a:lnTo>
                <a:lnTo>
                  <a:pt x="696" y="1064"/>
                </a:lnTo>
                <a:lnTo>
                  <a:pt x="667" y="1070"/>
                </a:lnTo>
                <a:lnTo>
                  <a:pt x="638" y="1117"/>
                </a:lnTo>
                <a:lnTo>
                  <a:pt x="532" y="1106"/>
                </a:lnTo>
                <a:lnTo>
                  <a:pt x="426" y="864"/>
                </a:lnTo>
                <a:lnTo>
                  <a:pt x="346" y="852"/>
                </a:lnTo>
                <a:lnTo>
                  <a:pt x="334" y="654"/>
                </a:lnTo>
                <a:lnTo>
                  <a:pt x="201" y="552"/>
                </a:lnTo>
                <a:lnTo>
                  <a:pt x="139" y="434"/>
                </a:lnTo>
                <a:lnTo>
                  <a:pt x="0" y="438"/>
                </a:lnTo>
                <a:lnTo>
                  <a:pt x="15" y="424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1" name="Freeform 170"/>
          <p:cNvSpPr>
            <a:spLocks/>
          </p:cNvSpPr>
          <p:nvPr>
            <p:custDataLst>
              <p:tags r:id="rId89"/>
            </p:custDataLst>
          </p:nvPr>
        </p:nvSpPr>
        <p:spPr bwMode="gray">
          <a:xfrm>
            <a:off x="3980352" y="4056487"/>
            <a:ext cx="784188" cy="858420"/>
          </a:xfrm>
          <a:custGeom>
            <a:avLst/>
            <a:gdLst>
              <a:gd name="T0" fmla="*/ 0 w 824"/>
              <a:gd name="T1" fmla="*/ 634 h 960"/>
              <a:gd name="T2" fmla="*/ 2 w 824"/>
              <a:gd name="T3" fmla="*/ 620 h 960"/>
              <a:gd name="T4" fmla="*/ 1 w 824"/>
              <a:gd name="T5" fmla="*/ 602 h 960"/>
              <a:gd name="T6" fmla="*/ 4 w 824"/>
              <a:gd name="T7" fmla="*/ 584 h 960"/>
              <a:gd name="T8" fmla="*/ 379 w 824"/>
              <a:gd name="T9" fmla="*/ 404 h 960"/>
              <a:gd name="T10" fmla="*/ 425 w 824"/>
              <a:gd name="T11" fmla="*/ 118 h 960"/>
              <a:gd name="T12" fmla="*/ 718 w 824"/>
              <a:gd name="T13" fmla="*/ 766 h 960"/>
              <a:gd name="T14" fmla="*/ 694 w 824"/>
              <a:gd name="T15" fmla="*/ 847 h 960"/>
              <a:gd name="T16" fmla="*/ 679 w 824"/>
              <a:gd name="T17" fmla="*/ 861 h 960"/>
              <a:gd name="T18" fmla="*/ 668 w 824"/>
              <a:gd name="T19" fmla="*/ 870 h 960"/>
              <a:gd name="T20" fmla="*/ 654 w 824"/>
              <a:gd name="T21" fmla="*/ 880 h 960"/>
              <a:gd name="T22" fmla="*/ 478 w 824"/>
              <a:gd name="T23" fmla="*/ 851 h 960"/>
              <a:gd name="T24" fmla="*/ 462 w 824"/>
              <a:gd name="T25" fmla="*/ 861 h 960"/>
              <a:gd name="T26" fmla="*/ 455 w 824"/>
              <a:gd name="T27" fmla="*/ 865 h 960"/>
              <a:gd name="T28" fmla="*/ 448 w 824"/>
              <a:gd name="T29" fmla="*/ 870 h 960"/>
              <a:gd name="T30" fmla="*/ 438 w 824"/>
              <a:gd name="T31" fmla="*/ 873 h 960"/>
              <a:gd name="T32" fmla="*/ 430 w 824"/>
              <a:gd name="T33" fmla="*/ 881 h 960"/>
              <a:gd name="T34" fmla="*/ 416 w 824"/>
              <a:gd name="T35" fmla="*/ 884 h 960"/>
              <a:gd name="T36" fmla="*/ 405 w 824"/>
              <a:gd name="T37" fmla="*/ 894 h 960"/>
              <a:gd name="T38" fmla="*/ 399 w 824"/>
              <a:gd name="T39" fmla="*/ 903 h 960"/>
              <a:gd name="T40" fmla="*/ 392 w 824"/>
              <a:gd name="T41" fmla="*/ 913 h 960"/>
              <a:gd name="T42" fmla="*/ 383 w 824"/>
              <a:gd name="T43" fmla="*/ 925 h 960"/>
              <a:gd name="T44" fmla="*/ 375 w 824"/>
              <a:gd name="T45" fmla="*/ 939 h 960"/>
              <a:gd name="T46" fmla="*/ 371 w 824"/>
              <a:gd name="T47" fmla="*/ 953 h 960"/>
              <a:gd name="T48" fmla="*/ 366 w 824"/>
              <a:gd name="T49" fmla="*/ 951 h 960"/>
              <a:gd name="T50" fmla="*/ 370 w 824"/>
              <a:gd name="T51" fmla="*/ 932 h 960"/>
              <a:gd name="T52" fmla="*/ 359 w 824"/>
              <a:gd name="T53" fmla="*/ 925 h 960"/>
              <a:gd name="T54" fmla="*/ 350 w 824"/>
              <a:gd name="T55" fmla="*/ 918 h 960"/>
              <a:gd name="T56" fmla="*/ 346 w 824"/>
              <a:gd name="T57" fmla="*/ 905 h 960"/>
              <a:gd name="T58" fmla="*/ 341 w 824"/>
              <a:gd name="T59" fmla="*/ 892 h 960"/>
              <a:gd name="T60" fmla="*/ 333 w 824"/>
              <a:gd name="T61" fmla="*/ 898 h 960"/>
              <a:gd name="T62" fmla="*/ 326 w 824"/>
              <a:gd name="T63" fmla="*/ 905 h 960"/>
              <a:gd name="T64" fmla="*/ 312 w 824"/>
              <a:gd name="T65" fmla="*/ 903 h 960"/>
              <a:gd name="T66" fmla="*/ 297 w 824"/>
              <a:gd name="T67" fmla="*/ 910 h 960"/>
              <a:gd name="T68" fmla="*/ 280 w 824"/>
              <a:gd name="T69" fmla="*/ 916 h 960"/>
              <a:gd name="T70" fmla="*/ 264 w 824"/>
              <a:gd name="T71" fmla="*/ 907 h 960"/>
              <a:gd name="T72" fmla="*/ 268 w 824"/>
              <a:gd name="T73" fmla="*/ 896 h 960"/>
              <a:gd name="T74" fmla="*/ 269 w 824"/>
              <a:gd name="T75" fmla="*/ 880 h 960"/>
              <a:gd name="T76" fmla="*/ 268 w 824"/>
              <a:gd name="T77" fmla="*/ 858 h 960"/>
              <a:gd name="T78" fmla="*/ 260 w 824"/>
              <a:gd name="T79" fmla="*/ 836 h 960"/>
              <a:gd name="T80" fmla="*/ 240 w 824"/>
              <a:gd name="T81" fmla="*/ 834 h 960"/>
              <a:gd name="T82" fmla="*/ 228 w 824"/>
              <a:gd name="T83" fmla="*/ 828 h 960"/>
              <a:gd name="T84" fmla="*/ 218 w 824"/>
              <a:gd name="T85" fmla="*/ 826 h 960"/>
              <a:gd name="T86" fmla="*/ 206 w 824"/>
              <a:gd name="T87" fmla="*/ 817 h 960"/>
              <a:gd name="T88" fmla="*/ 194 w 824"/>
              <a:gd name="T89" fmla="*/ 810 h 960"/>
              <a:gd name="T90" fmla="*/ 181 w 824"/>
              <a:gd name="T91" fmla="*/ 806 h 960"/>
              <a:gd name="T92" fmla="*/ 168 w 824"/>
              <a:gd name="T93" fmla="*/ 797 h 960"/>
              <a:gd name="T94" fmla="*/ 151 w 824"/>
              <a:gd name="T95" fmla="*/ 800 h 960"/>
              <a:gd name="T96" fmla="*/ 140 w 824"/>
              <a:gd name="T97" fmla="*/ 793 h 960"/>
              <a:gd name="T98" fmla="*/ 139 w 824"/>
              <a:gd name="T99" fmla="*/ 777 h 960"/>
              <a:gd name="T100" fmla="*/ 126 w 824"/>
              <a:gd name="T101" fmla="*/ 763 h 960"/>
              <a:gd name="T102" fmla="*/ 128 w 824"/>
              <a:gd name="T103" fmla="*/ 744 h 960"/>
              <a:gd name="T104" fmla="*/ 113 w 824"/>
              <a:gd name="T105" fmla="*/ 741 h 960"/>
              <a:gd name="T106" fmla="*/ 95 w 824"/>
              <a:gd name="T107" fmla="*/ 734 h 960"/>
              <a:gd name="T108" fmla="*/ 82 w 824"/>
              <a:gd name="T109" fmla="*/ 720 h 960"/>
              <a:gd name="T110" fmla="*/ 78 w 824"/>
              <a:gd name="T111" fmla="*/ 705 h 960"/>
              <a:gd name="T112" fmla="*/ 62 w 824"/>
              <a:gd name="T113" fmla="*/ 708 h 960"/>
              <a:gd name="T114" fmla="*/ 52 w 824"/>
              <a:gd name="T115" fmla="*/ 696 h 960"/>
              <a:gd name="T116" fmla="*/ 59 w 824"/>
              <a:gd name="T117" fmla="*/ 680 h 960"/>
              <a:gd name="T118" fmla="*/ 48 w 824"/>
              <a:gd name="T119" fmla="*/ 667 h 960"/>
              <a:gd name="T120" fmla="*/ 29 w 824"/>
              <a:gd name="T121" fmla="*/ 661 h 960"/>
              <a:gd name="T122" fmla="*/ 11 w 824"/>
              <a:gd name="T123" fmla="*/ 654 h 9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824" h="960">
                <a:moveTo>
                  <a:pt x="0" y="649"/>
                </a:moveTo>
                <a:lnTo>
                  <a:pt x="1" y="647"/>
                </a:lnTo>
                <a:lnTo>
                  <a:pt x="1" y="646"/>
                </a:lnTo>
                <a:lnTo>
                  <a:pt x="1" y="645"/>
                </a:lnTo>
                <a:lnTo>
                  <a:pt x="0" y="643"/>
                </a:lnTo>
                <a:lnTo>
                  <a:pt x="0" y="642"/>
                </a:lnTo>
                <a:lnTo>
                  <a:pt x="1" y="641"/>
                </a:lnTo>
                <a:lnTo>
                  <a:pt x="1" y="639"/>
                </a:lnTo>
                <a:lnTo>
                  <a:pt x="1" y="638"/>
                </a:lnTo>
                <a:lnTo>
                  <a:pt x="1" y="636"/>
                </a:lnTo>
                <a:lnTo>
                  <a:pt x="0" y="636"/>
                </a:lnTo>
                <a:lnTo>
                  <a:pt x="0" y="634"/>
                </a:lnTo>
                <a:lnTo>
                  <a:pt x="0" y="632"/>
                </a:lnTo>
                <a:lnTo>
                  <a:pt x="1" y="632"/>
                </a:lnTo>
                <a:lnTo>
                  <a:pt x="1" y="632"/>
                </a:lnTo>
                <a:lnTo>
                  <a:pt x="1" y="631"/>
                </a:lnTo>
                <a:lnTo>
                  <a:pt x="0" y="629"/>
                </a:lnTo>
                <a:lnTo>
                  <a:pt x="0" y="628"/>
                </a:lnTo>
                <a:lnTo>
                  <a:pt x="1" y="627"/>
                </a:lnTo>
                <a:lnTo>
                  <a:pt x="1" y="625"/>
                </a:lnTo>
                <a:lnTo>
                  <a:pt x="1" y="624"/>
                </a:lnTo>
                <a:lnTo>
                  <a:pt x="1" y="623"/>
                </a:lnTo>
                <a:lnTo>
                  <a:pt x="2" y="621"/>
                </a:lnTo>
                <a:lnTo>
                  <a:pt x="2" y="620"/>
                </a:lnTo>
                <a:lnTo>
                  <a:pt x="2" y="618"/>
                </a:lnTo>
                <a:lnTo>
                  <a:pt x="2" y="617"/>
                </a:lnTo>
                <a:lnTo>
                  <a:pt x="4" y="616"/>
                </a:lnTo>
                <a:lnTo>
                  <a:pt x="4" y="614"/>
                </a:lnTo>
                <a:lnTo>
                  <a:pt x="2" y="613"/>
                </a:lnTo>
                <a:lnTo>
                  <a:pt x="2" y="612"/>
                </a:lnTo>
                <a:lnTo>
                  <a:pt x="4" y="612"/>
                </a:lnTo>
                <a:lnTo>
                  <a:pt x="4" y="609"/>
                </a:lnTo>
                <a:lnTo>
                  <a:pt x="4" y="606"/>
                </a:lnTo>
                <a:lnTo>
                  <a:pt x="4" y="605"/>
                </a:lnTo>
                <a:lnTo>
                  <a:pt x="1" y="603"/>
                </a:lnTo>
                <a:lnTo>
                  <a:pt x="1" y="602"/>
                </a:lnTo>
                <a:lnTo>
                  <a:pt x="4" y="601"/>
                </a:lnTo>
                <a:lnTo>
                  <a:pt x="5" y="599"/>
                </a:lnTo>
                <a:lnTo>
                  <a:pt x="4" y="598"/>
                </a:lnTo>
                <a:lnTo>
                  <a:pt x="5" y="596"/>
                </a:lnTo>
                <a:lnTo>
                  <a:pt x="5" y="595"/>
                </a:lnTo>
                <a:lnTo>
                  <a:pt x="7" y="592"/>
                </a:lnTo>
                <a:lnTo>
                  <a:pt x="8" y="592"/>
                </a:lnTo>
                <a:lnTo>
                  <a:pt x="8" y="588"/>
                </a:lnTo>
                <a:lnTo>
                  <a:pt x="11" y="585"/>
                </a:lnTo>
                <a:lnTo>
                  <a:pt x="11" y="584"/>
                </a:lnTo>
                <a:lnTo>
                  <a:pt x="5" y="587"/>
                </a:lnTo>
                <a:lnTo>
                  <a:pt x="4" y="584"/>
                </a:lnTo>
                <a:lnTo>
                  <a:pt x="55" y="554"/>
                </a:lnTo>
                <a:lnTo>
                  <a:pt x="97" y="555"/>
                </a:lnTo>
                <a:lnTo>
                  <a:pt x="141" y="533"/>
                </a:lnTo>
                <a:lnTo>
                  <a:pt x="174" y="543"/>
                </a:lnTo>
                <a:lnTo>
                  <a:pt x="209" y="568"/>
                </a:lnTo>
                <a:lnTo>
                  <a:pt x="249" y="547"/>
                </a:lnTo>
                <a:lnTo>
                  <a:pt x="257" y="502"/>
                </a:lnTo>
                <a:lnTo>
                  <a:pt x="315" y="485"/>
                </a:lnTo>
                <a:lnTo>
                  <a:pt x="349" y="458"/>
                </a:lnTo>
                <a:lnTo>
                  <a:pt x="370" y="458"/>
                </a:lnTo>
                <a:lnTo>
                  <a:pt x="386" y="420"/>
                </a:lnTo>
                <a:lnTo>
                  <a:pt x="379" y="404"/>
                </a:lnTo>
                <a:lnTo>
                  <a:pt x="385" y="381"/>
                </a:lnTo>
                <a:lnTo>
                  <a:pt x="394" y="381"/>
                </a:lnTo>
                <a:lnTo>
                  <a:pt x="404" y="361"/>
                </a:lnTo>
                <a:lnTo>
                  <a:pt x="393" y="343"/>
                </a:lnTo>
                <a:lnTo>
                  <a:pt x="392" y="299"/>
                </a:lnTo>
                <a:lnTo>
                  <a:pt x="416" y="299"/>
                </a:lnTo>
                <a:lnTo>
                  <a:pt x="425" y="235"/>
                </a:lnTo>
                <a:lnTo>
                  <a:pt x="297" y="174"/>
                </a:lnTo>
                <a:lnTo>
                  <a:pt x="172" y="55"/>
                </a:lnTo>
                <a:lnTo>
                  <a:pt x="253" y="55"/>
                </a:lnTo>
                <a:lnTo>
                  <a:pt x="283" y="0"/>
                </a:lnTo>
                <a:lnTo>
                  <a:pt x="425" y="118"/>
                </a:lnTo>
                <a:lnTo>
                  <a:pt x="803" y="137"/>
                </a:lnTo>
                <a:lnTo>
                  <a:pt x="797" y="359"/>
                </a:lnTo>
                <a:lnTo>
                  <a:pt x="824" y="449"/>
                </a:lnTo>
                <a:lnTo>
                  <a:pt x="807" y="572"/>
                </a:lnTo>
                <a:lnTo>
                  <a:pt x="817" y="588"/>
                </a:lnTo>
                <a:lnTo>
                  <a:pt x="766" y="599"/>
                </a:lnTo>
                <a:lnTo>
                  <a:pt x="788" y="613"/>
                </a:lnTo>
                <a:lnTo>
                  <a:pt x="788" y="686"/>
                </a:lnTo>
                <a:lnTo>
                  <a:pt x="781" y="698"/>
                </a:lnTo>
                <a:lnTo>
                  <a:pt x="763" y="696"/>
                </a:lnTo>
                <a:lnTo>
                  <a:pt x="758" y="744"/>
                </a:lnTo>
                <a:lnTo>
                  <a:pt x="718" y="766"/>
                </a:lnTo>
                <a:lnTo>
                  <a:pt x="682" y="768"/>
                </a:lnTo>
                <a:lnTo>
                  <a:pt x="668" y="779"/>
                </a:lnTo>
                <a:lnTo>
                  <a:pt x="694" y="839"/>
                </a:lnTo>
                <a:lnTo>
                  <a:pt x="692" y="839"/>
                </a:lnTo>
                <a:lnTo>
                  <a:pt x="692" y="840"/>
                </a:lnTo>
                <a:lnTo>
                  <a:pt x="692" y="841"/>
                </a:lnTo>
                <a:lnTo>
                  <a:pt x="693" y="841"/>
                </a:lnTo>
                <a:lnTo>
                  <a:pt x="693" y="843"/>
                </a:lnTo>
                <a:lnTo>
                  <a:pt x="693" y="844"/>
                </a:lnTo>
                <a:lnTo>
                  <a:pt x="694" y="844"/>
                </a:lnTo>
                <a:lnTo>
                  <a:pt x="694" y="845"/>
                </a:lnTo>
                <a:lnTo>
                  <a:pt x="694" y="847"/>
                </a:lnTo>
                <a:lnTo>
                  <a:pt x="694" y="848"/>
                </a:lnTo>
                <a:lnTo>
                  <a:pt x="693" y="850"/>
                </a:lnTo>
                <a:lnTo>
                  <a:pt x="692" y="851"/>
                </a:lnTo>
                <a:lnTo>
                  <a:pt x="689" y="852"/>
                </a:lnTo>
                <a:lnTo>
                  <a:pt x="689" y="854"/>
                </a:lnTo>
                <a:lnTo>
                  <a:pt x="687" y="855"/>
                </a:lnTo>
                <a:lnTo>
                  <a:pt x="686" y="856"/>
                </a:lnTo>
                <a:lnTo>
                  <a:pt x="685" y="858"/>
                </a:lnTo>
                <a:lnTo>
                  <a:pt x="683" y="858"/>
                </a:lnTo>
                <a:lnTo>
                  <a:pt x="682" y="859"/>
                </a:lnTo>
                <a:lnTo>
                  <a:pt x="681" y="859"/>
                </a:lnTo>
                <a:lnTo>
                  <a:pt x="679" y="861"/>
                </a:lnTo>
                <a:lnTo>
                  <a:pt x="678" y="862"/>
                </a:lnTo>
                <a:lnTo>
                  <a:pt x="676" y="863"/>
                </a:lnTo>
                <a:lnTo>
                  <a:pt x="676" y="865"/>
                </a:lnTo>
                <a:lnTo>
                  <a:pt x="675" y="865"/>
                </a:lnTo>
                <a:lnTo>
                  <a:pt x="674" y="865"/>
                </a:lnTo>
                <a:lnTo>
                  <a:pt x="674" y="866"/>
                </a:lnTo>
                <a:lnTo>
                  <a:pt x="672" y="866"/>
                </a:lnTo>
                <a:lnTo>
                  <a:pt x="671" y="865"/>
                </a:lnTo>
                <a:lnTo>
                  <a:pt x="670" y="865"/>
                </a:lnTo>
                <a:lnTo>
                  <a:pt x="670" y="866"/>
                </a:lnTo>
                <a:lnTo>
                  <a:pt x="670" y="869"/>
                </a:lnTo>
                <a:lnTo>
                  <a:pt x="668" y="870"/>
                </a:lnTo>
                <a:lnTo>
                  <a:pt x="668" y="872"/>
                </a:lnTo>
                <a:lnTo>
                  <a:pt x="665" y="873"/>
                </a:lnTo>
                <a:lnTo>
                  <a:pt x="664" y="876"/>
                </a:lnTo>
                <a:lnTo>
                  <a:pt x="663" y="877"/>
                </a:lnTo>
                <a:lnTo>
                  <a:pt x="661" y="878"/>
                </a:lnTo>
                <a:lnTo>
                  <a:pt x="660" y="878"/>
                </a:lnTo>
                <a:lnTo>
                  <a:pt x="659" y="878"/>
                </a:lnTo>
                <a:lnTo>
                  <a:pt x="657" y="878"/>
                </a:lnTo>
                <a:lnTo>
                  <a:pt x="657" y="880"/>
                </a:lnTo>
                <a:lnTo>
                  <a:pt x="656" y="880"/>
                </a:lnTo>
                <a:lnTo>
                  <a:pt x="656" y="880"/>
                </a:lnTo>
                <a:lnTo>
                  <a:pt x="654" y="880"/>
                </a:lnTo>
                <a:lnTo>
                  <a:pt x="654" y="878"/>
                </a:lnTo>
                <a:lnTo>
                  <a:pt x="653" y="877"/>
                </a:lnTo>
                <a:lnTo>
                  <a:pt x="652" y="877"/>
                </a:lnTo>
                <a:lnTo>
                  <a:pt x="650" y="877"/>
                </a:lnTo>
                <a:lnTo>
                  <a:pt x="649" y="877"/>
                </a:lnTo>
                <a:lnTo>
                  <a:pt x="646" y="876"/>
                </a:lnTo>
                <a:lnTo>
                  <a:pt x="599" y="898"/>
                </a:lnTo>
                <a:lnTo>
                  <a:pt x="557" y="873"/>
                </a:lnTo>
                <a:lnTo>
                  <a:pt x="518" y="851"/>
                </a:lnTo>
                <a:lnTo>
                  <a:pt x="481" y="851"/>
                </a:lnTo>
                <a:lnTo>
                  <a:pt x="480" y="851"/>
                </a:lnTo>
                <a:lnTo>
                  <a:pt x="478" y="851"/>
                </a:lnTo>
                <a:lnTo>
                  <a:pt x="474" y="852"/>
                </a:lnTo>
                <a:lnTo>
                  <a:pt x="473" y="854"/>
                </a:lnTo>
                <a:lnTo>
                  <a:pt x="471" y="854"/>
                </a:lnTo>
                <a:lnTo>
                  <a:pt x="471" y="855"/>
                </a:lnTo>
                <a:lnTo>
                  <a:pt x="470" y="856"/>
                </a:lnTo>
                <a:lnTo>
                  <a:pt x="469" y="856"/>
                </a:lnTo>
                <a:lnTo>
                  <a:pt x="467" y="858"/>
                </a:lnTo>
                <a:lnTo>
                  <a:pt x="466" y="859"/>
                </a:lnTo>
                <a:lnTo>
                  <a:pt x="465" y="859"/>
                </a:lnTo>
                <a:lnTo>
                  <a:pt x="463" y="859"/>
                </a:lnTo>
                <a:lnTo>
                  <a:pt x="463" y="861"/>
                </a:lnTo>
                <a:lnTo>
                  <a:pt x="462" y="861"/>
                </a:lnTo>
                <a:lnTo>
                  <a:pt x="460" y="861"/>
                </a:lnTo>
                <a:lnTo>
                  <a:pt x="460" y="862"/>
                </a:lnTo>
                <a:lnTo>
                  <a:pt x="459" y="862"/>
                </a:lnTo>
                <a:lnTo>
                  <a:pt x="459" y="863"/>
                </a:lnTo>
                <a:lnTo>
                  <a:pt x="458" y="863"/>
                </a:lnTo>
                <a:lnTo>
                  <a:pt x="458" y="865"/>
                </a:lnTo>
                <a:lnTo>
                  <a:pt x="458" y="865"/>
                </a:lnTo>
                <a:lnTo>
                  <a:pt x="456" y="865"/>
                </a:lnTo>
                <a:lnTo>
                  <a:pt x="455" y="865"/>
                </a:lnTo>
                <a:lnTo>
                  <a:pt x="455" y="865"/>
                </a:lnTo>
                <a:lnTo>
                  <a:pt x="455" y="866"/>
                </a:lnTo>
                <a:lnTo>
                  <a:pt x="455" y="865"/>
                </a:lnTo>
                <a:lnTo>
                  <a:pt x="454" y="865"/>
                </a:lnTo>
                <a:lnTo>
                  <a:pt x="454" y="866"/>
                </a:lnTo>
                <a:lnTo>
                  <a:pt x="452" y="867"/>
                </a:lnTo>
                <a:lnTo>
                  <a:pt x="454" y="867"/>
                </a:lnTo>
                <a:lnTo>
                  <a:pt x="454" y="869"/>
                </a:lnTo>
                <a:lnTo>
                  <a:pt x="452" y="869"/>
                </a:lnTo>
                <a:lnTo>
                  <a:pt x="452" y="870"/>
                </a:lnTo>
                <a:lnTo>
                  <a:pt x="451" y="870"/>
                </a:lnTo>
                <a:lnTo>
                  <a:pt x="451" y="869"/>
                </a:lnTo>
                <a:lnTo>
                  <a:pt x="449" y="869"/>
                </a:lnTo>
                <a:lnTo>
                  <a:pt x="449" y="870"/>
                </a:lnTo>
                <a:lnTo>
                  <a:pt x="448" y="870"/>
                </a:lnTo>
                <a:lnTo>
                  <a:pt x="448" y="869"/>
                </a:lnTo>
                <a:lnTo>
                  <a:pt x="447" y="869"/>
                </a:lnTo>
                <a:lnTo>
                  <a:pt x="445" y="867"/>
                </a:lnTo>
                <a:lnTo>
                  <a:pt x="444" y="867"/>
                </a:lnTo>
                <a:lnTo>
                  <a:pt x="443" y="867"/>
                </a:lnTo>
                <a:lnTo>
                  <a:pt x="441" y="867"/>
                </a:lnTo>
                <a:lnTo>
                  <a:pt x="440" y="869"/>
                </a:lnTo>
                <a:lnTo>
                  <a:pt x="438" y="869"/>
                </a:lnTo>
                <a:lnTo>
                  <a:pt x="438" y="870"/>
                </a:lnTo>
                <a:lnTo>
                  <a:pt x="437" y="870"/>
                </a:lnTo>
                <a:lnTo>
                  <a:pt x="437" y="872"/>
                </a:lnTo>
                <a:lnTo>
                  <a:pt x="438" y="873"/>
                </a:lnTo>
                <a:lnTo>
                  <a:pt x="437" y="874"/>
                </a:lnTo>
                <a:lnTo>
                  <a:pt x="438" y="874"/>
                </a:lnTo>
                <a:lnTo>
                  <a:pt x="438" y="876"/>
                </a:lnTo>
                <a:lnTo>
                  <a:pt x="437" y="876"/>
                </a:lnTo>
                <a:lnTo>
                  <a:pt x="437" y="877"/>
                </a:lnTo>
                <a:lnTo>
                  <a:pt x="436" y="877"/>
                </a:lnTo>
                <a:lnTo>
                  <a:pt x="436" y="878"/>
                </a:lnTo>
                <a:lnTo>
                  <a:pt x="434" y="878"/>
                </a:lnTo>
                <a:lnTo>
                  <a:pt x="433" y="878"/>
                </a:lnTo>
                <a:lnTo>
                  <a:pt x="433" y="880"/>
                </a:lnTo>
                <a:lnTo>
                  <a:pt x="432" y="880"/>
                </a:lnTo>
                <a:lnTo>
                  <a:pt x="430" y="881"/>
                </a:lnTo>
                <a:lnTo>
                  <a:pt x="429" y="883"/>
                </a:lnTo>
                <a:lnTo>
                  <a:pt x="429" y="884"/>
                </a:lnTo>
                <a:lnTo>
                  <a:pt x="427" y="884"/>
                </a:lnTo>
                <a:lnTo>
                  <a:pt x="426" y="884"/>
                </a:lnTo>
                <a:lnTo>
                  <a:pt x="425" y="885"/>
                </a:lnTo>
                <a:lnTo>
                  <a:pt x="425" y="885"/>
                </a:lnTo>
                <a:lnTo>
                  <a:pt x="423" y="885"/>
                </a:lnTo>
                <a:lnTo>
                  <a:pt x="422" y="885"/>
                </a:lnTo>
                <a:lnTo>
                  <a:pt x="421" y="885"/>
                </a:lnTo>
                <a:lnTo>
                  <a:pt x="419" y="884"/>
                </a:lnTo>
                <a:lnTo>
                  <a:pt x="418" y="884"/>
                </a:lnTo>
                <a:lnTo>
                  <a:pt x="416" y="884"/>
                </a:lnTo>
                <a:lnTo>
                  <a:pt x="415" y="884"/>
                </a:lnTo>
                <a:lnTo>
                  <a:pt x="414" y="884"/>
                </a:lnTo>
                <a:lnTo>
                  <a:pt x="412" y="884"/>
                </a:lnTo>
                <a:lnTo>
                  <a:pt x="411" y="884"/>
                </a:lnTo>
                <a:lnTo>
                  <a:pt x="410" y="885"/>
                </a:lnTo>
                <a:lnTo>
                  <a:pt x="408" y="887"/>
                </a:lnTo>
                <a:lnTo>
                  <a:pt x="407" y="888"/>
                </a:lnTo>
                <a:lnTo>
                  <a:pt x="405" y="889"/>
                </a:lnTo>
                <a:lnTo>
                  <a:pt x="405" y="891"/>
                </a:lnTo>
                <a:lnTo>
                  <a:pt x="404" y="891"/>
                </a:lnTo>
                <a:lnTo>
                  <a:pt x="405" y="892"/>
                </a:lnTo>
                <a:lnTo>
                  <a:pt x="405" y="894"/>
                </a:lnTo>
                <a:lnTo>
                  <a:pt x="404" y="894"/>
                </a:lnTo>
                <a:lnTo>
                  <a:pt x="403" y="894"/>
                </a:lnTo>
                <a:lnTo>
                  <a:pt x="401" y="894"/>
                </a:lnTo>
                <a:lnTo>
                  <a:pt x="401" y="895"/>
                </a:lnTo>
                <a:lnTo>
                  <a:pt x="400" y="896"/>
                </a:lnTo>
                <a:lnTo>
                  <a:pt x="400" y="898"/>
                </a:lnTo>
                <a:lnTo>
                  <a:pt x="399" y="898"/>
                </a:lnTo>
                <a:lnTo>
                  <a:pt x="399" y="898"/>
                </a:lnTo>
                <a:lnTo>
                  <a:pt x="399" y="899"/>
                </a:lnTo>
                <a:lnTo>
                  <a:pt x="397" y="900"/>
                </a:lnTo>
                <a:lnTo>
                  <a:pt x="399" y="902"/>
                </a:lnTo>
                <a:lnTo>
                  <a:pt x="399" y="903"/>
                </a:lnTo>
                <a:lnTo>
                  <a:pt x="399" y="905"/>
                </a:lnTo>
                <a:lnTo>
                  <a:pt x="399" y="906"/>
                </a:lnTo>
                <a:lnTo>
                  <a:pt x="397" y="907"/>
                </a:lnTo>
                <a:lnTo>
                  <a:pt x="396" y="907"/>
                </a:lnTo>
                <a:lnTo>
                  <a:pt x="396" y="909"/>
                </a:lnTo>
                <a:lnTo>
                  <a:pt x="394" y="909"/>
                </a:lnTo>
                <a:lnTo>
                  <a:pt x="394" y="910"/>
                </a:lnTo>
                <a:lnTo>
                  <a:pt x="394" y="911"/>
                </a:lnTo>
                <a:lnTo>
                  <a:pt x="393" y="910"/>
                </a:lnTo>
                <a:lnTo>
                  <a:pt x="392" y="910"/>
                </a:lnTo>
                <a:lnTo>
                  <a:pt x="392" y="911"/>
                </a:lnTo>
                <a:lnTo>
                  <a:pt x="392" y="913"/>
                </a:lnTo>
                <a:lnTo>
                  <a:pt x="392" y="914"/>
                </a:lnTo>
                <a:lnTo>
                  <a:pt x="390" y="916"/>
                </a:lnTo>
                <a:lnTo>
                  <a:pt x="390" y="917"/>
                </a:lnTo>
                <a:lnTo>
                  <a:pt x="389" y="918"/>
                </a:lnTo>
                <a:lnTo>
                  <a:pt x="388" y="918"/>
                </a:lnTo>
                <a:lnTo>
                  <a:pt x="386" y="918"/>
                </a:lnTo>
                <a:lnTo>
                  <a:pt x="386" y="920"/>
                </a:lnTo>
                <a:lnTo>
                  <a:pt x="385" y="920"/>
                </a:lnTo>
                <a:lnTo>
                  <a:pt x="385" y="921"/>
                </a:lnTo>
                <a:lnTo>
                  <a:pt x="385" y="922"/>
                </a:lnTo>
                <a:lnTo>
                  <a:pt x="383" y="924"/>
                </a:lnTo>
                <a:lnTo>
                  <a:pt x="383" y="925"/>
                </a:lnTo>
                <a:lnTo>
                  <a:pt x="383" y="927"/>
                </a:lnTo>
                <a:lnTo>
                  <a:pt x="382" y="928"/>
                </a:lnTo>
                <a:lnTo>
                  <a:pt x="382" y="929"/>
                </a:lnTo>
                <a:lnTo>
                  <a:pt x="381" y="929"/>
                </a:lnTo>
                <a:lnTo>
                  <a:pt x="381" y="931"/>
                </a:lnTo>
                <a:lnTo>
                  <a:pt x="379" y="931"/>
                </a:lnTo>
                <a:lnTo>
                  <a:pt x="378" y="932"/>
                </a:lnTo>
                <a:lnTo>
                  <a:pt x="378" y="933"/>
                </a:lnTo>
                <a:lnTo>
                  <a:pt x="378" y="935"/>
                </a:lnTo>
                <a:lnTo>
                  <a:pt x="377" y="936"/>
                </a:lnTo>
                <a:lnTo>
                  <a:pt x="377" y="938"/>
                </a:lnTo>
                <a:lnTo>
                  <a:pt x="375" y="939"/>
                </a:lnTo>
                <a:lnTo>
                  <a:pt x="375" y="940"/>
                </a:lnTo>
                <a:lnTo>
                  <a:pt x="375" y="942"/>
                </a:lnTo>
                <a:lnTo>
                  <a:pt x="375" y="943"/>
                </a:lnTo>
                <a:lnTo>
                  <a:pt x="374" y="943"/>
                </a:lnTo>
                <a:lnTo>
                  <a:pt x="374" y="944"/>
                </a:lnTo>
                <a:lnTo>
                  <a:pt x="374" y="946"/>
                </a:lnTo>
                <a:lnTo>
                  <a:pt x="374" y="947"/>
                </a:lnTo>
                <a:lnTo>
                  <a:pt x="372" y="947"/>
                </a:lnTo>
                <a:lnTo>
                  <a:pt x="372" y="949"/>
                </a:lnTo>
                <a:lnTo>
                  <a:pt x="372" y="950"/>
                </a:lnTo>
                <a:lnTo>
                  <a:pt x="372" y="951"/>
                </a:lnTo>
                <a:lnTo>
                  <a:pt x="371" y="953"/>
                </a:lnTo>
                <a:lnTo>
                  <a:pt x="371" y="954"/>
                </a:lnTo>
                <a:lnTo>
                  <a:pt x="371" y="955"/>
                </a:lnTo>
                <a:lnTo>
                  <a:pt x="370" y="957"/>
                </a:lnTo>
                <a:lnTo>
                  <a:pt x="370" y="958"/>
                </a:lnTo>
                <a:lnTo>
                  <a:pt x="370" y="960"/>
                </a:lnTo>
                <a:lnTo>
                  <a:pt x="368" y="960"/>
                </a:lnTo>
                <a:lnTo>
                  <a:pt x="367" y="958"/>
                </a:lnTo>
                <a:lnTo>
                  <a:pt x="366" y="957"/>
                </a:lnTo>
                <a:lnTo>
                  <a:pt x="364" y="957"/>
                </a:lnTo>
                <a:lnTo>
                  <a:pt x="364" y="955"/>
                </a:lnTo>
                <a:lnTo>
                  <a:pt x="364" y="954"/>
                </a:lnTo>
                <a:lnTo>
                  <a:pt x="366" y="951"/>
                </a:lnTo>
                <a:lnTo>
                  <a:pt x="366" y="950"/>
                </a:lnTo>
                <a:lnTo>
                  <a:pt x="366" y="949"/>
                </a:lnTo>
                <a:lnTo>
                  <a:pt x="366" y="947"/>
                </a:lnTo>
                <a:lnTo>
                  <a:pt x="366" y="946"/>
                </a:lnTo>
                <a:lnTo>
                  <a:pt x="366" y="944"/>
                </a:lnTo>
                <a:lnTo>
                  <a:pt x="366" y="943"/>
                </a:lnTo>
                <a:lnTo>
                  <a:pt x="367" y="942"/>
                </a:lnTo>
                <a:lnTo>
                  <a:pt x="368" y="942"/>
                </a:lnTo>
                <a:lnTo>
                  <a:pt x="368" y="939"/>
                </a:lnTo>
                <a:lnTo>
                  <a:pt x="370" y="936"/>
                </a:lnTo>
                <a:lnTo>
                  <a:pt x="370" y="935"/>
                </a:lnTo>
                <a:lnTo>
                  <a:pt x="370" y="932"/>
                </a:lnTo>
                <a:lnTo>
                  <a:pt x="370" y="931"/>
                </a:lnTo>
                <a:lnTo>
                  <a:pt x="370" y="931"/>
                </a:lnTo>
                <a:lnTo>
                  <a:pt x="368" y="929"/>
                </a:lnTo>
                <a:lnTo>
                  <a:pt x="368" y="928"/>
                </a:lnTo>
                <a:lnTo>
                  <a:pt x="367" y="928"/>
                </a:lnTo>
                <a:lnTo>
                  <a:pt x="366" y="927"/>
                </a:lnTo>
                <a:lnTo>
                  <a:pt x="366" y="925"/>
                </a:lnTo>
                <a:lnTo>
                  <a:pt x="364" y="924"/>
                </a:lnTo>
                <a:lnTo>
                  <a:pt x="363" y="924"/>
                </a:lnTo>
                <a:lnTo>
                  <a:pt x="361" y="925"/>
                </a:lnTo>
                <a:lnTo>
                  <a:pt x="360" y="925"/>
                </a:lnTo>
                <a:lnTo>
                  <a:pt x="359" y="925"/>
                </a:lnTo>
                <a:lnTo>
                  <a:pt x="359" y="925"/>
                </a:lnTo>
                <a:lnTo>
                  <a:pt x="357" y="925"/>
                </a:lnTo>
                <a:lnTo>
                  <a:pt x="356" y="924"/>
                </a:lnTo>
                <a:lnTo>
                  <a:pt x="356" y="922"/>
                </a:lnTo>
                <a:lnTo>
                  <a:pt x="357" y="921"/>
                </a:lnTo>
                <a:lnTo>
                  <a:pt x="356" y="921"/>
                </a:lnTo>
                <a:lnTo>
                  <a:pt x="355" y="921"/>
                </a:lnTo>
                <a:lnTo>
                  <a:pt x="353" y="922"/>
                </a:lnTo>
                <a:lnTo>
                  <a:pt x="352" y="922"/>
                </a:lnTo>
                <a:lnTo>
                  <a:pt x="350" y="921"/>
                </a:lnTo>
                <a:lnTo>
                  <a:pt x="350" y="920"/>
                </a:lnTo>
                <a:lnTo>
                  <a:pt x="350" y="918"/>
                </a:lnTo>
                <a:lnTo>
                  <a:pt x="349" y="917"/>
                </a:lnTo>
                <a:lnTo>
                  <a:pt x="348" y="917"/>
                </a:lnTo>
                <a:lnTo>
                  <a:pt x="348" y="916"/>
                </a:lnTo>
                <a:lnTo>
                  <a:pt x="348" y="914"/>
                </a:lnTo>
                <a:lnTo>
                  <a:pt x="348" y="913"/>
                </a:lnTo>
                <a:lnTo>
                  <a:pt x="348" y="911"/>
                </a:lnTo>
                <a:lnTo>
                  <a:pt x="346" y="910"/>
                </a:lnTo>
                <a:lnTo>
                  <a:pt x="346" y="909"/>
                </a:lnTo>
                <a:lnTo>
                  <a:pt x="348" y="907"/>
                </a:lnTo>
                <a:lnTo>
                  <a:pt x="348" y="906"/>
                </a:lnTo>
                <a:lnTo>
                  <a:pt x="346" y="906"/>
                </a:lnTo>
                <a:lnTo>
                  <a:pt x="346" y="905"/>
                </a:lnTo>
                <a:lnTo>
                  <a:pt x="346" y="903"/>
                </a:lnTo>
                <a:lnTo>
                  <a:pt x="346" y="900"/>
                </a:lnTo>
                <a:lnTo>
                  <a:pt x="348" y="899"/>
                </a:lnTo>
                <a:lnTo>
                  <a:pt x="348" y="898"/>
                </a:lnTo>
                <a:lnTo>
                  <a:pt x="346" y="898"/>
                </a:lnTo>
                <a:lnTo>
                  <a:pt x="346" y="898"/>
                </a:lnTo>
                <a:lnTo>
                  <a:pt x="345" y="896"/>
                </a:lnTo>
                <a:lnTo>
                  <a:pt x="344" y="896"/>
                </a:lnTo>
                <a:lnTo>
                  <a:pt x="342" y="895"/>
                </a:lnTo>
                <a:lnTo>
                  <a:pt x="342" y="894"/>
                </a:lnTo>
                <a:lnTo>
                  <a:pt x="341" y="894"/>
                </a:lnTo>
                <a:lnTo>
                  <a:pt x="341" y="892"/>
                </a:lnTo>
                <a:lnTo>
                  <a:pt x="341" y="891"/>
                </a:lnTo>
                <a:lnTo>
                  <a:pt x="339" y="891"/>
                </a:lnTo>
                <a:lnTo>
                  <a:pt x="338" y="891"/>
                </a:lnTo>
                <a:lnTo>
                  <a:pt x="338" y="892"/>
                </a:lnTo>
                <a:lnTo>
                  <a:pt x="337" y="892"/>
                </a:lnTo>
                <a:lnTo>
                  <a:pt x="335" y="892"/>
                </a:lnTo>
                <a:lnTo>
                  <a:pt x="334" y="892"/>
                </a:lnTo>
                <a:lnTo>
                  <a:pt x="334" y="894"/>
                </a:lnTo>
                <a:lnTo>
                  <a:pt x="335" y="895"/>
                </a:lnTo>
                <a:lnTo>
                  <a:pt x="335" y="896"/>
                </a:lnTo>
                <a:lnTo>
                  <a:pt x="334" y="898"/>
                </a:lnTo>
                <a:lnTo>
                  <a:pt x="333" y="898"/>
                </a:lnTo>
                <a:lnTo>
                  <a:pt x="333" y="898"/>
                </a:lnTo>
                <a:lnTo>
                  <a:pt x="333" y="899"/>
                </a:lnTo>
                <a:lnTo>
                  <a:pt x="333" y="900"/>
                </a:lnTo>
                <a:lnTo>
                  <a:pt x="333" y="902"/>
                </a:lnTo>
                <a:lnTo>
                  <a:pt x="331" y="902"/>
                </a:lnTo>
                <a:lnTo>
                  <a:pt x="333" y="903"/>
                </a:lnTo>
                <a:lnTo>
                  <a:pt x="333" y="906"/>
                </a:lnTo>
                <a:lnTo>
                  <a:pt x="331" y="905"/>
                </a:lnTo>
                <a:lnTo>
                  <a:pt x="328" y="905"/>
                </a:lnTo>
                <a:lnTo>
                  <a:pt x="327" y="905"/>
                </a:lnTo>
                <a:lnTo>
                  <a:pt x="326" y="905"/>
                </a:lnTo>
                <a:lnTo>
                  <a:pt x="326" y="905"/>
                </a:lnTo>
                <a:lnTo>
                  <a:pt x="324" y="906"/>
                </a:lnTo>
                <a:lnTo>
                  <a:pt x="326" y="907"/>
                </a:lnTo>
                <a:lnTo>
                  <a:pt x="324" y="909"/>
                </a:lnTo>
                <a:lnTo>
                  <a:pt x="323" y="910"/>
                </a:lnTo>
                <a:lnTo>
                  <a:pt x="323" y="909"/>
                </a:lnTo>
                <a:lnTo>
                  <a:pt x="322" y="909"/>
                </a:lnTo>
                <a:lnTo>
                  <a:pt x="319" y="907"/>
                </a:lnTo>
                <a:lnTo>
                  <a:pt x="317" y="907"/>
                </a:lnTo>
                <a:lnTo>
                  <a:pt x="316" y="906"/>
                </a:lnTo>
                <a:lnTo>
                  <a:pt x="315" y="906"/>
                </a:lnTo>
                <a:lnTo>
                  <a:pt x="312" y="905"/>
                </a:lnTo>
                <a:lnTo>
                  <a:pt x="312" y="903"/>
                </a:lnTo>
                <a:lnTo>
                  <a:pt x="311" y="903"/>
                </a:lnTo>
                <a:lnTo>
                  <a:pt x="309" y="903"/>
                </a:lnTo>
                <a:lnTo>
                  <a:pt x="308" y="903"/>
                </a:lnTo>
                <a:lnTo>
                  <a:pt x="306" y="903"/>
                </a:lnTo>
                <a:lnTo>
                  <a:pt x="304" y="903"/>
                </a:lnTo>
                <a:lnTo>
                  <a:pt x="304" y="905"/>
                </a:lnTo>
                <a:lnTo>
                  <a:pt x="302" y="906"/>
                </a:lnTo>
                <a:lnTo>
                  <a:pt x="301" y="907"/>
                </a:lnTo>
                <a:lnTo>
                  <a:pt x="300" y="907"/>
                </a:lnTo>
                <a:lnTo>
                  <a:pt x="300" y="909"/>
                </a:lnTo>
                <a:lnTo>
                  <a:pt x="298" y="909"/>
                </a:lnTo>
                <a:lnTo>
                  <a:pt x="297" y="910"/>
                </a:lnTo>
                <a:lnTo>
                  <a:pt x="295" y="910"/>
                </a:lnTo>
                <a:lnTo>
                  <a:pt x="294" y="911"/>
                </a:lnTo>
                <a:lnTo>
                  <a:pt x="293" y="911"/>
                </a:lnTo>
                <a:lnTo>
                  <a:pt x="293" y="911"/>
                </a:lnTo>
                <a:lnTo>
                  <a:pt x="293" y="913"/>
                </a:lnTo>
                <a:lnTo>
                  <a:pt x="291" y="914"/>
                </a:lnTo>
                <a:lnTo>
                  <a:pt x="289" y="916"/>
                </a:lnTo>
                <a:lnTo>
                  <a:pt x="286" y="916"/>
                </a:lnTo>
                <a:lnTo>
                  <a:pt x="284" y="917"/>
                </a:lnTo>
                <a:lnTo>
                  <a:pt x="283" y="917"/>
                </a:lnTo>
                <a:lnTo>
                  <a:pt x="282" y="916"/>
                </a:lnTo>
                <a:lnTo>
                  <a:pt x="280" y="916"/>
                </a:lnTo>
                <a:lnTo>
                  <a:pt x="279" y="914"/>
                </a:lnTo>
                <a:lnTo>
                  <a:pt x="278" y="914"/>
                </a:lnTo>
                <a:lnTo>
                  <a:pt x="276" y="914"/>
                </a:lnTo>
                <a:lnTo>
                  <a:pt x="275" y="914"/>
                </a:lnTo>
                <a:lnTo>
                  <a:pt x="272" y="913"/>
                </a:lnTo>
                <a:lnTo>
                  <a:pt x="272" y="911"/>
                </a:lnTo>
                <a:lnTo>
                  <a:pt x="271" y="911"/>
                </a:lnTo>
                <a:lnTo>
                  <a:pt x="268" y="911"/>
                </a:lnTo>
                <a:lnTo>
                  <a:pt x="268" y="910"/>
                </a:lnTo>
                <a:lnTo>
                  <a:pt x="265" y="910"/>
                </a:lnTo>
                <a:lnTo>
                  <a:pt x="264" y="910"/>
                </a:lnTo>
                <a:lnTo>
                  <a:pt x="264" y="907"/>
                </a:lnTo>
                <a:lnTo>
                  <a:pt x="264" y="906"/>
                </a:lnTo>
                <a:lnTo>
                  <a:pt x="265" y="905"/>
                </a:lnTo>
                <a:lnTo>
                  <a:pt x="267" y="905"/>
                </a:lnTo>
                <a:lnTo>
                  <a:pt x="267" y="903"/>
                </a:lnTo>
                <a:lnTo>
                  <a:pt x="268" y="902"/>
                </a:lnTo>
                <a:lnTo>
                  <a:pt x="269" y="902"/>
                </a:lnTo>
                <a:lnTo>
                  <a:pt x="271" y="900"/>
                </a:lnTo>
                <a:lnTo>
                  <a:pt x="271" y="899"/>
                </a:lnTo>
                <a:lnTo>
                  <a:pt x="271" y="898"/>
                </a:lnTo>
                <a:lnTo>
                  <a:pt x="269" y="898"/>
                </a:lnTo>
                <a:lnTo>
                  <a:pt x="268" y="898"/>
                </a:lnTo>
                <a:lnTo>
                  <a:pt x="268" y="896"/>
                </a:lnTo>
                <a:lnTo>
                  <a:pt x="269" y="895"/>
                </a:lnTo>
                <a:lnTo>
                  <a:pt x="269" y="894"/>
                </a:lnTo>
                <a:lnTo>
                  <a:pt x="269" y="891"/>
                </a:lnTo>
                <a:lnTo>
                  <a:pt x="269" y="889"/>
                </a:lnTo>
                <a:lnTo>
                  <a:pt x="269" y="888"/>
                </a:lnTo>
                <a:lnTo>
                  <a:pt x="269" y="887"/>
                </a:lnTo>
                <a:lnTo>
                  <a:pt x="268" y="885"/>
                </a:lnTo>
                <a:lnTo>
                  <a:pt x="267" y="884"/>
                </a:lnTo>
                <a:lnTo>
                  <a:pt x="267" y="883"/>
                </a:lnTo>
                <a:lnTo>
                  <a:pt x="268" y="883"/>
                </a:lnTo>
                <a:lnTo>
                  <a:pt x="269" y="881"/>
                </a:lnTo>
                <a:lnTo>
                  <a:pt x="269" y="880"/>
                </a:lnTo>
                <a:lnTo>
                  <a:pt x="271" y="878"/>
                </a:lnTo>
                <a:lnTo>
                  <a:pt x="271" y="876"/>
                </a:lnTo>
                <a:lnTo>
                  <a:pt x="271" y="874"/>
                </a:lnTo>
                <a:lnTo>
                  <a:pt x="271" y="872"/>
                </a:lnTo>
                <a:lnTo>
                  <a:pt x="271" y="870"/>
                </a:lnTo>
                <a:lnTo>
                  <a:pt x="271" y="867"/>
                </a:lnTo>
                <a:lnTo>
                  <a:pt x="271" y="866"/>
                </a:lnTo>
                <a:lnTo>
                  <a:pt x="269" y="865"/>
                </a:lnTo>
                <a:lnTo>
                  <a:pt x="269" y="863"/>
                </a:lnTo>
                <a:lnTo>
                  <a:pt x="269" y="861"/>
                </a:lnTo>
                <a:lnTo>
                  <a:pt x="268" y="859"/>
                </a:lnTo>
                <a:lnTo>
                  <a:pt x="268" y="858"/>
                </a:lnTo>
                <a:lnTo>
                  <a:pt x="268" y="856"/>
                </a:lnTo>
                <a:lnTo>
                  <a:pt x="267" y="855"/>
                </a:lnTo>
                <a:lnTo>
                  <a:pt x="267" y="854"/>
                </a:lnTo>
                <a:lnTo>
                  <a:pt x="267" y="852"/>
                </a:lnTo>
                <a:lnTo>
                  <a:pt x="265" y="850"/>
                </a:lnTo>
                <a:lnTo>
                  <a:pt x="264" y="848"/>
                </a:lnTo>
                <a:lnTo>
                  <a:pt x="264" y="845"/>
                </a:lnTo>
                <a:lnTo>
                  <a:pt x="262" y="843"/>
                </a:lnTo>
                <a:lnTo>
                  <a:pt x="261" y="841"/>
                </a:lnTo>
                <a:lnTo>
                  <a:pt x="261" y="840"/>
                </a:lnTo>
                <a:lnTo>
                  <a:pt x="261" y="837"/>
                </a:lnTo>
                <a:lnTo>
                  <a:pt x="260" y="836"/>
                </a:lnTo>
                <a:lnTo>
                  <a:pt x="260" y="834"/>
                </a:lnTo>
                <a:lnTo>
                  <a:pt x="260" y="833"/>
                </a:lnTo>
                <a:lnTo>
                  <a:pt x="258" y="833"/>
                </a:lnTo>
                <a:lnTo>
                  <a:pt x="257" y="833"/>
                </a:lnTo>
                <a:lnTo>
                  <a:pt x="256" y="830"/>
                </a:lnTo>
                <a:lnTo>
                  <a:pt x="254" y="829"/>
                </a:lnTo>
                <a:lnTo>
                  <a:pt x="253" y="830"/>
                </a:lnTo>
                <a:lnTo>
                  <a:pt x="250" y="832"/>
                </a:lnTo>
                <a:lnTo>
                  <a:pt x="247" y="832"/>
                </a:lnTo>
                <a:lnTo>
                  <a:pt x="246" y="833"/>
                </a:lnTo>
                <a:lnTo>
                  <a:pt x="243" y="833"/>
                </a:lnTo>
                <a:lnTo>
                  <a:pt x="240" y="834"/>
                </a:lnTo>
                <a:lnTo>
                  <a:pt x="239" y="837"/>
                </a:lnTo>
                <a:lnTo>
                  <a:pt x="236" y="837"/>
                </a:lnTo>
                <a:lnTo>
                  <a:pt x="235" y="837"/>
                </a:lnTo>
                <a:lnTo>
                  <a:pt x="234" y="837"/>
                </a:lnTo>
                <a:lnTo>
                  <a:pt x="232" y="837"/>
                </a:lnTo>
                <a:lnTo>
                  <a:pt x="232" y="834"/>
                </a:lnTo>
                <a:lnTo>
                  <a:pt x="231" y="833"/>
                </a:lnTo>
                <a:lnTo>
                  <a:pt x="229" y="833"/>
                </a:lnTo>
                <a:lnTo>
                  <a:pt x="228" y="832"/>
                </a:lnTo>
                <a:lnTo>
                  <a:pt x="228" y="832"/>
                </a:lnTo>
                <a:lnTo>
                  <a:pt x="229" y="830"/>
                </a:lnTo>
                <a:lnTo>
                  <a:pt x="228" y="828"/>
                </a:lnTo>
                <a:lnTo>
                  <a:pt x="227" y="828"/>
                </a:lnTo>
                <a:lnTo>
                  <a:pt x="227" y="826"/>
                </a:lnTo>
                <a:lnTo>
                  <a:pt x="227" y="825"/>
                </a:lnTo>
                <a:lnTo>
                  <a:pt x="227" y="823"/>
                </a:lnTo>
                <a:lnTo>
                  <a:pt x="227" y="823"/>
                </a:lnTo>
                <a:lnTo>
                  <a:pt x="227" y="821"/>
                </a:lnTo>
                <a:lnTo>
                  <a:pt x="225" y="821"/>
                </a:lnTo>
                <a:lnTo>
                  <a:pt x="223" y="821"/>
                </a:lnTo>
                <a:lnTo>
                  <a:pt x="223" y="822"/>
                </a:lnTo>
                <a:lnTo>
                  <a:pt x="221" y="823"/>
                </a:lnTo>
                <a:lnTo>
                  <a:pt x="221" y="826"/>
                </a:lnTo>
                <a:lnTo>
                  <a:pt x="218" y="826"/>
                </a:lnTo>
                <a:lnTo>
                  <a:pt x="216" y="826"/>
                </a:lnTo>
                <a:lnTo>
                  <a:pt x="213" y="828"/>
                </a:lnTo>
                <a:lnTo>
                  <a:pt x="210" y="826"/>
                </a:lnTo>
                <a:lnTo>
                  <a:pt x="210" y="825"/>
                </a:lnTo>
                <a:lnTo>
                  <a:pt x="212" y="823"/>
                </a:lnTo>
                <a:lnTo>
                  <a:pt x="210" y="821"/>
                </a:lnTo>
                <a:lnTo>
                  <a:pt x="209" y="821"/>
                </a:lnTo>
                <a:lnTo>
                  <a:pt x="209" y="819"/>
                </a:lnTo>
                <a:lnTo>
                  <a:pt x="209" y="818"/>
                </a:lnTo>
                <a:lnTo>
                  <a:pt x="209" y="817"/>
                </a:lnTo>
                <a:lnTo>
                  <a:pt x="207" y="817"/>
                </a:lnTo>
                <a:lnTo>
                  <a:pt x="206" y="817"/>
                </a:lnTo>
                <a:lnTo>
                  <a:pt x="203" y="817"/>
                </a:lnTo>
                <a:lnTo>
                  <a:pt x="202" y="815"/>
                </a:lnTo>
                <a:lnTo>
                  <a:pt x="202" y="814"/>
                </a:lnTo>
                <a:lnTo>
                  <a:pt x="202" y="812"/>
                </a:lnTo>
                <a:lnTo>
                  <a:pt x="203" y="812"/>
                </a:lnTo>
                <a:lnTo>
                  <a:pt x="205" y="811"/>
                </a:lnTo>
                <a:lnTo>
                  <a:pt x="203" y="811"/>
                </a:lnTo>
                <a:lnTo>
                  <a:pt x="202" y="811"/>
                </a:lnTo>
                <a:lnTo>
                  <a:pt x="199" y="811"/>
                </a:lnTo>
                <a:lnTo>
                  <a:pt x="198" y="810"/>
                </a:lnTo>
                <a:lnTo>
                  <a:pt x="195" y="810"/>
                </a:lnTo>
                <a:lnTo>
                  <a:pt x="194" y="810"/>
                </a:lnTo>
                <a:lnTo>
                  <a:pt x="194" y="808"/>
                </a:lnTo>
                <a:lnTo>
                  <a:pt x="192" y="808"/>
                </a:lnTo>
                <a:lnTo>
                  <a:pt x="192" y="807"/>
                </a:lnTo>
                <a:lnTo>
                  <a:pt x="192" y="806"/>
                </a:lnTo>
                <a:lnTo>
                  <a:pt x="191" y="806"/>
                </a:lnTo>
                <a:lnTo>
                  <a:pt x="190" y="804"/>
                </a:lnTo>
                <a:lnTo>
                  <a:pt x="190" y="806"/>
                </a:lnTo>
                <a:lnTo>
                  <a:pt x="188" y="807"/>
                </a:lnTo>
                <a:lnTo>
                  <a:pt x="187" y="808"/>
                </a:lnTo>
                <a:lnTo>
                  <a:pt x="184" y="807"/>
                </a:lnTo>
                <a:lnTo>
                  <a:pt x="183" y="807"/>
                </a:lnTo>
                <a:lnTo>
                  <a:pt x="181" y="806"/>
                </a:lnTo>
                <a:lnTo>
                  <a:pt x="179" y="806"/>
                </a:lnTo>
                <a:lnTo>
                  <a:pt x="177" y="804"/>
                </a:lnTo>
                <a:lnTo>
                  <a:pt x="176" y="806"/>
                </a:lnTo>
                <a:lnTo>
                  <a:pt x="174" y="807"/>
                </a:lnTo>
                <a:lnTo>
                  <a:pt x="174" y="806"/>
                </a:lnTo>
                <a:lnTo>
                  <a:pt x="173" y="803"/>
                </a:lnTo>
                <a:lnTo>
                  <a:pt x="173" y="801"/>
                </a:lnTo>
                <a:lnTo>
                  <a:pt x="173" y="800"/>
                </a:lnTo>
                <a:lnTo>
                  <a:pt x="172" y="799"/>
                </a:lnTo>
                <a:lnTo>
                  <a:pt x="170" y="799"/>
                </a:lnTo>
                <a:lnTo>
                  <a:pt x="168" y="799"/>
                </a:lnTo>
                <a:lnTo>
                  <a:pt x="168" y="797"/>
                </a:lnTo>
                <a:lnTo>
                  <a:pt x="168" y="795"/>
                </a:lnTo>
                <a:lnTo>
                  <a:pt x="166" y="795"/>
                </a:lnTo>
                <a:lnTo>
                  <a:pt x="165" y="796"/>
                </a:lnTo>
                <a:lnTo>
                  <a:pt x="165" y="797"/>
                </a:lnTo>
                <a:lnTo>
                  <a:pt x="163" y="799"/>
                </a:lnTo>
                <a:lnTo>
                  <a:pt x="161" y="799"/>
                </a:lnTo>
                <a:lnTo>
                  <a:pt x="159" y="799"/>
                </a:lnTo>
                <a:lnTo>
                  <a:pt x="157" y="800"/>
                </a:lnTo>
                <a:lnTo>
                  <a:pt x="155" y="801"/>
                </a:lnTo>
                <a:lnTo>
                  <a:pt x="152" y="801"/>
                </a:lnTo>
                <a:lnTo>
                  <a:pt x="152" y="800"/>
                </a:lnTo>
                <a:lnTo>
                  <a:pt x="151" y="800"/>
                </a:lnTo>
                <a:lnTo>
                  <a:pt x="150" y="800"/>
                </a:lnTo>
                <a:lnTo>
                  <a:pt x="148" y="801"/>
                </a:lnTo>
                <a:lnTo>
                  <a:pt x="147" y="801"/>
                </a:lnTo>
                <a:lnTo>
                  <a:pt x="146" y="801"/>
                </a:lnTo>
                <a:lnTo>
                  <a:pt x="144" y="800"/>
                </a:lnTo>
                <a:lnTo>
                  <a:pt x="143" y="799"/>
                </a:lnTo>
                <a:lnTo>
                  <a:pt x="141" y="799"/>
                </a:lnTo>
                <a:lnTo>
                  <a:pt x="141" y="797"/>
                </a:lnTo>
                <a:lnTo>
                  <a:pt x="141" y="796"/>
                </a:lnTo>
                <a:lnTo>
                  <a:pt x="143" y="796"/>
                </a:lnTo>
                <a:lnTo>
                  <a:pt x="141" y="795"/>
                </a:lnTo>
                <a:lnTo>
                  <a:pt x="140" y="793"/>
                </a:lnTo>
                <a:lnTo>
                  <a:pt x="139" y="792"/>
                </a:lnTo>
                <a:lnTo>
                  <a:pt x="137" y="792"/>
                </a:lnTo>
                <a:lnTo>
                  <a:pt x="139" y="790"/>
                </a:lnTo>
                <a:lnTo>
                  <a:pt x="139" y="788"/>
                </a:lnTo>
                <a:lnTo>
                  <a:pt x="137" y="786"/>
                </a:lnTo>
                <a:lnTo>
                  <a:pt x="137" y="785"/>
                </a:lnTo>
                <a:lnTo>
                  <a:pt x="139" y="785"/>
                </a:lnTo>
                <a:lnTo>
                  <a:pt x="139" y="782"/>
                </a:lnTo>
                <a:lnTo>
                  <a:pt x="140" y="781"/>
                </a:lnTo>
                <a:lnTo>
                  <a:pt x="141" y="779"/>
                </a:lnTo>
                <a:lnTo>
                  <a:pt x="139" y="778"/>
                </a:lnTo>
                <a:lnTo>
                  <a:pt x="139" y="777"/>
                </a:lnTo>
                <a:lnTo>
                  <a:pt x="137" y="775"/>
                </a:lnTo>
                <a:lnTo>
                  <a:pt x="137" y="773"/>
                </a:lnTo>
                <a:lnTo>
                  <a:pt x="137" y="771"/>
                </a:lnTo>
                <a:lnTo>
                  <a:pt x="137" y="770"/>
                </a:lnTo>
                <a:lnTo>
                  <a:pt x="137" y="767"/>
                </a:lnTo>
                <a:lnTo>
                  <a:pt x="135" y="767"/>
                </a:lnTo>
                <a:lnTo>
                  <a:pt x="133" y="767"/>
                </a:lnTo>
                <a:lnTo>
                  <a:pt x="130" y="766"/>
                </a:lnTo>
                <a:lnTo>
                  <a:pt x="129" y="766"/>
                </a:lnTo>
                <a:lnTo>
                  <a:pt x="128" y="766"/>
                </a:lnTo>
                <a:lnTo>
                  <a:pt x="128" y="764"/>
                </a:lnTo>
                <a:lnTo>
                  <a:pt x="126" y="763"/>
                </a:lnTo>
                <a:lnTo>
                  <a:pt x="128" y="762"/>
                </a:lnTo>
                <a:lnTo>
                  <a:pt x="128" y="760"/>
                </a:lnTo>
                <a:lnTo>
                  <a:pt x="129" y="759"/>
                </a:lnTo>
                <a:lnTo>
                  <a:pt x="129" y="757"/>
                </a:lnTo>
                <a:lnTo>
                  <a:pt x="129" y="756"/>
                </a:lnTo>
                <a:lnTo>
                  <a:pt x="128" y="755"/>
                </a:lnTo>
                <a:lnTo>
                  <a:pt x="128" y="753"/>
                </a:lnTo>
                <a:lnTo>
                  <a:pt x="128" y="752"/>
                </a:lnTo>
                <a:lnTo>
                  <a:pt x="128" y="751"/>
                </a:lnTo>
                <a:lnTo>
                  <a:pt x="128" y="748"/>
                </a:lnTo>
                <a:lnTo>
                  <a:pt x="128" y="745"/>
                </a:lnTo>
                <a:lnTo>
                  <a:pt x="128" y="744"/>
                </a:lnTo>
                <a:lnTo>
                  <a:pt x="128" y="741"/>
                </a:lnTo>
                <a:lnTo>
                  <a:pt x="128" y="741"/>
                </a:lnTo>
                <a:lnTo>
                  <a:pt x="128" y="738"/>
                </a:lnTo>
                <a:lnTo>
                  <a:pt x="126" y="737"/>
                </a:lnTo>
                <a:lnTo>
                  <a:pt x="125" y="740"/>
                </a:lnTo>
                <a:lnTo>
                  <a:pt x="124" y="741"/>
                </a:lnTo>
                <a:lnTo>
                  <a:pt x="122" y="741"/>
                </a:lnTo>
                <a:lnTo>
                  <a:pt x="119" y="741"/>
                </a:lnTo>
                <a:lnTo>
                  <a:pt x="118" y="741"/>
                </a:lnTo>
                <a:lnTo>
                  <a:pt x="115" y="741"/>
                </a:lnTo>
                <a:lnTo>
                  <a:pt x="114" y="741"/>
                </a:lnTo>
                <a:lnTo>
                  <a:pt x="113" y="741"/>
                </a:lnTo>
                <a:lnTo>
                  <a:pt x="113" y="740"/>
                </a:lnTo>
                <a:lnTo>
                  <a:pt x="110" y="738"/>
                </a:lnTo>
                <a:lnTo>
                  <a:pt x="107" y="737"/>
                </a:lnTo>
                <a:lnTo>
                  <a:pt x="106" y="737"/>
                </a:lnTo>
                <a:lnTo>
                  <a:pt x="104" y="737"/>
                </a:lnTo>
                <a:lnTo>
                  <a:pt x="103" y="735"/>
                </a:lnTo>
                <a:lnTo>
                  <a:pt x="102" y="734"/>
                </a:lnTo>
                <a:lnTo>
                  <a:pt x="100" y="734"/>
                </a:lnTo>
                <a:lnTo>
                  <a:pt x="97" y="734"/>
                </a:lnTo>
                <a:lnTo>
                  <a:pt x="96" y="735"/>
                </a:lnTo>
                <a:lnTo>
                  <a:pt x="95" y="735"/>
                </a:lnTo>
                <a:lnTo>
                  <a:pt x="95" y="734"/>
                </a:lnTo>
                <a:lnTo>
                  <a:pt x="95" y="733"/>
                </a:lnTo>
                <a:lnTo>
                  <a:pt x="93" y="733"/>
                </a:lnTo>
                <a:lnTo>
                  <a:pt x="91" y="733"/>
                </a:lnTo>
                <a:lnTo>
                  <a:pt x="91" y="733"/>
                </a:lnTo>
                <a:lnTo>
                  <a:pt x="89" y="731"/>
                </a:lnTo>
                <a:lnTo>
                  <a:pt x="88" y="730"/>
                </a:lnTo>
                <a:lnTo>
                  <a:pt x="88" y="729"/>
                </a:lnTo>
                <a:lnTo>
                  <a:pt x="86" y="727"/>
                </a:lnTo>
                <a:lnTo>
                  <a:pt x="85" y="724"/>
                </a:lnTo>
                <a:lnTo>
                  <a:pt x="84" y="723"/>
                </a:lnTo>
                <a:lnTo>
                  <a:pt x="82" y="722"/>
                </a:lnTo>
                <a:lnTo>
                  <a:pt x="82" y="720"/>
                </a:lnTo>
                <a:lnTo>
                  <a:pt x="81" y="719"/>
                </a:lnTo>
                <a:lnTo>
                  <a:pt x="80" y="718"/>
                </a:lnTo>
                <a:lnTo>
                  <a:pt x="80" y="716"/>
                </a:lnTo>
                <a:lnTo>
                  <a:pt x="80" y="715"/>
                </a:lnTo>
                <a:lnTo>
                  <a:pt x="81" y="715"/>
                </a:lnTo>
                <a:lnTo>
                  <a:pt x="81" y="713"/>
                </a:lnTo>
                <a:lnTo>
                  <a:pt x="80" y="712"/>
                </a:lnTo>
                <a:lnTo>
                  <a:pt x="80" y="711"/>
                </a:lnTo>
                <a:lnTo>
                  <a:pt x="80" y="709"/>
                </a:lnTo>
                <a:lnTo>
                  <a:pt x="80" y="708"/>
                </a:lnTo>
                <a:lnTo>
                  <a:pt x="78" y="707"/>
                </a:lnTo>
                <a:lnTo>
                  <a:pt x="78" y="705"/>
                </a:lnTo>
                <a:lnTo>
                  <a:pt x="75" y="705"/>
                </a:lnTo>
                <a:lnTo>
                  <a:pt x="74" y="707"/>
                </a:lnTo>
                <a:lnTo>
                  <a:pt x="73" y="707"/>
                </a:lnTo>
                <a:lnTo>
                  <a:pt x="71" y="705"/>
                </a:lnTo>
                <a:lnTo>
                  <a:pt x="70" y="705"/>
                </a:lnTo>
                <a:lnTo>
                  <a:pt x="68" y="705"/>
                </a:lnTo>
                <a:lnTo>
                  <a:pt x="67" y="704"/>
                </a:lnTo>
                <a:lnTo>
                  <a:pt x="66" y="704"/>
                </a:lnTo>
                <a:lnTo>
                  <a:pt x="63" y="704"/>
                </a:lnTo>
                <a:lnTo>
                  <a:pt x="63" y="707"/>
                </a:lnTo>
                <a:lnTo>
                  <a:pt x="63" y="708"/>
                </a:lnTo>
                <a:lnTo>
                  <a:pt x="62" y="708"/>
                </a:lnTo>
                <a:lnTo>
                  <a:pt x="62" y="707"/>
                </a:lnTo>
                <a:lnTo>
                  <a:pt x="62" y="704"/>
                </a:lnTo>
                <a:lnTo>
                  <a:pt x="60" y="702"/>
                </a:lnTo>
                <a:lnTo>
                  <a:pt x="59" y="701"/>
                </a:lnTo>
                <a:lnTo>
                  <a:pt x="57" y="701"/>
                </a:lnTo>
                <a:lnTo>
                  <a:pt x="56" y="700"/>
                </a:lnTo>
                <a:lnTo>
                  <a:pt x="56" y="698"/>
                </a:lnTo>
                <a:lnTo>
                  <a:pt x="55" y="698"/>
                </a:lnTo>
                <a:lnTo>
                  <a:pt x="55" y="698"/>
                </a:lnTo>
                <a:lnTo>
                  <a:pt x="55" y="697"/>
                </a:lnTo>
                <a:lnTo>
                  <a:pt x="53" y="696"/>
                </a:lnTo>
                <a:lnTo>
                  <a:pt x="52" y="696"/>
                </a:lnTo>
                <a:lnTo>
                  <a:pt x="52" y="694"/>
                </a:lnTo>
                <a:lnTo>
                  <a:pt x="52" y="691"/>
                </a:lnTo>
                <a:lnTo>
                  <a:pt x="53" y="691"/>
                </a:lnTo>
                <a:lnTo>
                  <a:pt x="55" y="691"/>
                </a:lnTo>
                <a:lnTo>
                  <a:pt x="56" y="690"/>
                </a:lnTo>
                <a:lnTo>
                  <a:pt x="56" y="689"/>
                </a:lnTo>
                <a:lnTo>
                  <a:pt x="55" y="687"/>
                </a:lnTo>
                <a:lnTo>
                  <a:pt x="55" y="686"/>
                </a:lnTo>
                <a:lnTo>
                  <a:pt x="56" y="685"/>
                </a:lnTo>
                <a:lnTo>
                  <a:pt x="57" y="683"/>
                </a:lnTo>
                <a:lnTo>
                  <a:pt x="57" y="682"/>
                </a:lnTo>
                <a:lnTo>
                  <a:pt x="59" y="680"/>
                </a:lnTo>
                <a:lnTo>
                  <a:pt x="60" y="680"/>
                </a:lnTo>
                <a:lnTo>
                  <a:pt x="62" y="678"/>
                </a:lnTo>
                <a:lnTo>
                  <a:pt x="60" y="676"/>
                </a:lnTo>
                <a:lnTo>
                  <a:pt x="59" y="675"/>
                </a:lnTo>
                <a:lnTo>
                  <a:pt x="57" y="674"/>
                </a:lnTo>
                <a:lnTo>
                  <a:pt x="56" y="674"/>
                </a:lnTo>
                <a:lnTo>
                  <a:pt x="55" y="671"/>
                </a:lnTo>
                <a:lnTo>
                  <a:pt x="53" y="671"/>
                </a:lnTo>
                <a:lnTo>
                  <a:pt x="51" y="671"/>
                </a:lnTo>
                <a:lnTo>
                  <a:pt x="51" y="669"/>
                </a:lnTo>
                <a:lnTo>
                  <a:pt x="51" y="668"/>
                </a:lnTo>
                <a:lnTo>
                  <a:pt x="48" y="667"/>
                </a:lnTo>
                <a:lnTo>
                  <a:pt x="46" y="667"/>
                </a:lnTo>
                <a:lnTo>
                  <a:pt x="44" y="665"/>
                </a:lnTo>
                <a:lnTo>
                  <a:pt x="42" y="664"/>
                </a:lnTo>
                <a:lnTo>
                  <a:pt x="40" y="663"/>
                </a:lnTo>
                <a:lnTo>
                  <a:pt x="38" y="661"/>
                </a:lnTo>
                <a:lnTo>
                  <a:pt x="37" y="660"/>
                </a:lnTo>
                <a:lnTo>
                  <a:pt x="35" y="658"/>
                </a:lnTo>
                <a:lnTo>
                  <a:pt x="34" y="660"/>
                </a:lnTo>
                <a:lnTo>
                  <a:pt x="33" y="660"/>
                </a:lnTo>
                <a:lnTo>
                  <a:pt x="31" y="660"/>
                </a:lnTo>
                <a:lnTo>
                  <a:pt x="29" y="661"/>
                </a:lnTo>
                <a:lnTo>
                  <a:pt x="29" y="661"/>
                </a:lnTo>
                <a:lnTo>
                  <a:pt x="26" y="661"/>
                </a:lnTo>
                <a:lnTo>
                  <a:pt x="24" y="661"/>
                </a:lnTo>
                <a:lnTo>
                  <a:pt x="22" y="661"/>
                </a:lnTo>
                <a:lnTo>
                  <a:pt x="20" y="663"/>
                </a:lnTo>
                <a:lnTo>
                  <a:pt x="18" y="664"/>
                </a:lnTo>
                <a:lnTo>
                  <a:pt x="16" y="664"/>
                </a:lnTo>
                <a:lnTo>
                  <a:pt x="13" y="663"/>
                </a:lnTo>
                <a:lnTo>
                  <a:pt x="13" y="661"/>
                </a:lnTo>
                <a:lnTo>
                  <a:pt x="12" y="658"/>
                </a:lnTo>
                <a:lnTo>
                  <a:pt x="12" y="657"/>
                </a:lnTo>
                <a:lnTo>
                  <a:pt x="12" y="656"/>
                </a:lnTo>
                <a:lnTo>
                  <a:pt x="11" y="654"/>
                </a:lnTo>
                <a:lnTo>
                  <a:pt x="9" y="654"/>
                </a:lnTo>
                <a:lnTo>
                  <a:pt x="8" y="654"/>
                </a:lnTo>
                <a:lnTo>
                  <a:pt x="7" y="654"/>
                </a:lnTo>
                <a:lnTo>
                  <a:pt x="5" y="652"/>
                </a:lnTo>
                <a:lnTo>
                  <a:pt x="4" y="652"/>
                </a:lnTo>
                <a:lnTo>
                  <a:pt x="1" y="652"/>
                </a:lnTo>
                <a:lnTo>
                  <a:pt x="0" y="650"/>
                </a:lnTo>
                <a:lnTo>
                  <a:pt x="0" y="649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2" name="Freeform 171"/>
          <p:cNvSpPr>
            <a:spLocks/>
          </p:cNvSpPr>
          <p:nvPr>
            <p:custDataLst>
              <p:tags r:id="rId90"/>
            </p:custDataLst>
          </p:nvPr>
        </p:nvSpPr>
        <p:spPr bwMode="gray">
          <a:xfrm>
            <a:off x="4616078" y="4130705"/>
            <a:ext cx="1395170" cy="776154"/>
          </a:xfrm>
          <a:custGeom>
            <a:avLst/>
            <a:gdLst>
              <a:gd name="T0" fmla="*/ 120 w 1466"/>
              <a:gd name="T1" fmla="*/ 530 h 868"/>
              <a:gd name="T2" fmla="*/ 839 w 1466"/>
              <a:gd name="T3" fmla="*/ 99 h 868"/>
              <a:gd name="T4" fmla="*/ 1136 w 1466"/>
              <a:gd name="T5" fmla="*/ 9 h 868"/>
              <a:gd name="T6" fmla="*/ 1138 w 1466"/>
              <a:gd name="T7" fmla="*/ 25 h 868"/>
              <a:gd name="T8" fmla="*/ 1180 w 1466"/>
              <a:gd name="T9" fmla="*/ 131 h 868"/>
              <a:gd name="T10" fmla="*/ 1244 w 1466"/>
              <a:gd name="T11" fmla="*/ 186 h 868"/>
              <a:gd name="T12" fmla="*/ 1239 w 1466"/>
              <a:gd name="T13" fmla="*/ 199 h 868"/>
              <a:gd name="T14" fmla="*/ 1241 w 1466"/>
              <a:gd name="T15" fmla="*/ 216 h 868"/>
              <a:gd name="T16" fmla="*/ 1244 w 1466"/>
              <a:gd name="T17" fmla="*/ 233 h 868"/>
              <a:gd name="T18" fmla="*/ 1263 w 1466"/>
              <a:gd name="T19" fmla="*/ 227 h 868"/>
              <a:gd name="T20" fmla="*/ 1272 w 1466"/>
              <a:gd name="T21" fmla="*/ 223 h 868"/>
              <a:gd name="T22" fmla="*/ 1279 w 1466"/>
              <a:gd name="T23" fmla="*/ 221 h 868"/>
              <a:gd name="T24" fmla="*/ 1288 w 1466"/>
              <a:gd name="T25" fmla="*/ 218 h 868"/>
              <a:gd name="T26" fmla="*/ 1294 w 1466"/>
              <a:gd name="T27" fmla="*/ 212 h 868"/>
              <a:gd name="T28" fmla="*/ 1304 w 1466"/>
              <a:gd name="T29" fmla="*/ 207 h 868"/>
              <a:gd name="T30" fmla="*/ 1312 w 1466"/>
              <a:gd name="T31" fmla="*/ 203 h 868"/>
              <a:gd name="T32" fmla="*/ 1321 w 1466"/>
              <a:gd name="T33" fmla="*/ 203 h 868"/>
              <a:gd name="T34" fmla="*/ 1330 w 1466"/>
              <a:gd name="T35" fmla="*/ 205 h 868"/>
              <a:gd name="T36" fmla="*/ 1338 w 1466"/>
              <a:gd name="T37" fmla="*/ 205 h 868"/>
              <a:gd name="T38" fmla="*/ 1343 w 1466"/>
              <a:gd name="T39" fmla="*/ 208 h 868"/>
              <a:gd name="T40" fmla="*/ 1349 w 1466"/>
              <a:gd name="T41" fmla="*/ 210 h 868"/>
              <a:gd name="T42" fmla="*/ 1352 w 1466"/>
              <a:gd name="T43" fmla="*/ 218 h 868"/>
              <a:gd name="T44" fmla="*/ 1360 w 1466"/>
              <a:gd name="T45" fmla="*/ 214 h 868"/>
              <a:gd name="T46" fmla="*/ 1369 w 1466"/>
              <a:gd name="T47" fmla="*/ 215 h 868"/>
              <a:gd name="T48" fmla="*/ 1376 w 1466"/>
              <a:gd name="T49" fmla="*/ 214 h 868"/>
              <a:gd name="T50" fmla="*/ 1381 w 1466"/>
              <a:gd name="T51" fmla="*/ 214 h 868"/>
              <a:gd name="T52" fmla="*/ 1387 w 1466"/>
              <a:gd name="T53" fmla="*/ 214 h 868"/>
              <a:gd name="T54" fmla="*/ 1389 w 1466"/>
              <a:gd name="T55" fmla="*/ 219 h 868"/>
              <a:gd name="T56" fmla="*/ 1393 w 1466"/>
              <a:gd name="T57" fmla="*/ 219 h 868"/>
              <a:gd name="T58" fmla="*/ 1398 w 1466"/>
              <a:gd name="T59" fmla="*/ 221 h 868"/>
              <a:gd name="T60" fmla="*/ 1406 w 1466"/>
              <a:gd name="T61" fmla="*/ 227 h 868"/>
              <a:gd name="T62" fmla="*/ 1409 w 1466"/>
              <a:gd name="T63" fmla="*/ 225 h 868"/>
              <a:gd name="T64" fmla="*/ 1418 w 1466"/>
              <a:gd name="T65" fmla="*/ 229 h 868"/>
              <a:gd name="T66" fmla="*/ 1428 w 1466"/>
              <a:gd name="T67" fmla="*/ 233 h 868"/>
              <a:gd name="T68" fmla="*/ 1436 w 1466"/>
              <a:gd name="T69" fmla="*/ 238 h 868"/>
              <a:gd name="T70" fmla="*/ 1435 w 1466"/>
              <a:gd name="T71" fmla="*/ 247 h 868"/>
              <a:gd name="T72" fmla="*/ 1431 w 1466"/>
              <a:gd name="T73" fmla="*/ 252 h 868"/>
              <a:gd name="T74" fmla="*/ 1425 w 1466"/>
              <a:gd name="T75" fmla="*/ 256 h 868"/>
              <a:gd name="T76" fmla="*/ 1424 w 1466"/>
              <a:gd name="T77" fmla="*/ 266 h 868"/>
              <a:gd name="T78" fmla="*/ 1431 w 1466"/>
              <a:gd name="T79" fmla="*/ 278 h 868"/>
              <a:gd name="T80" fmla="*/ 1436 w 1466"/>
              <a:gd name="T81" fmla="*/ 287 h 868"/>
              <a:gd name="T82" fmla="*/ 1435 w 1466"/>
              <a:gd name="T83" fmla="*/ 296 h 868"/>
              <a:gd name="T84" fmla="*/ 1429 w 1466"/>
              <a:gd name="T85" fmla="*/ 303 h 868"/>
              <a:gd name="T86" fmla="*/ 1422 w 1466"/>
              <a:gd name="T87" fmla="*/ 310 h 868"/>
              <a:gd name="T88" fmla="*/ 1466 w 1466"/>
              <a:gd name="T89" fmla="*/ 479 h 868"/>
              <a:gd name="T90" fmla="*/ 671 w 1466"/>
              <a:gd name="T91" fmla="*/ 731 h 868"/>
              <a:gd name="T92" fmla="*/ 270 w 1466"/>
              <a:gd name="T93" fmla="*/ 783 h 868"/>
              <a:gd name="T94" fmla="*/ 169 w 1466"/>
              <a:gd name="T95" fmla="*/ 841 h 868"/>
              <a:gd name="T96" fmla="*/ 171 w 1466"/>
              <a:gd name="T97" fmla="*/ 849 h 868"/>
              <a:gd name="T98" fmla="*/ 167 w 1466"/>
              <a:gd name="T99" fmla="*/ 860 h 868"/>
              <a:gd name="T100" fmla="*/ 125 w 1466"/>
              <a:gd name="T101" fmla="*/ 857 h 868"/>
              <a:gd name="T102" fmla="*/ 124 w 1466"/>
              <a:gd name="T103" fmla="*/ 850 h 868"/>
              <a:gd name="T104" fmla="*/ 123 w 1466"/>
              <a:gd name="T105" fmla="*/ 846 h 868"/>
              <a:gd name="T106" fmla="*/ 118 w 1466"/>
              <a:gd name="T107" fmla="*/ 844 h 868"/>
              <a:gd name="T108" fmla="*/ 116 w 1466"/>
              <a:gd name="T109" fmla="*/ 838 h 868"/>
              <a:gd name="T110" fmla="*/ 80 w 1466"/>
              <a:gd name="T111" fmla="*/ 839 h 868"/>
              <a:gd name="T112" fmla="*/ 77 w 1466"/>
              <a:gd name="T113" fmla="*/ 817 h 868"/>
              <a:gd name="T114" fmla="*/ 66 w 1466"/>
              <a:gd name="T115" fmla="*/ 795 h 868"/>
              <a:gd name="T116" fmla="*/ 61 w 1466"/>
              <a:gd name="T117" fmla="*/ 784 h 868"/>
              <a:gd name="T118" fmla="*/ 47 w 1466"/>
              <a:gd name="T119" fmla="*/ 767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466" h="868">
                <a:moveTo>
                  <a:pt x="0" y="696"/>
                </a:moveTo>
                <a:lnTo>
                  <a:pt x="14" y="685"/>
                </a:lnTo>
                <a:lnTo>
                  <a:pt x="50" y="683"/>
                </a:lnTo>
                <a:lnTo>
                  <a:pt x="90" y="661"/>
                </a:lnTo>
                <a:lnTo>
                  <a:pt x="95" y="613"/>
                </a:lnTo>
                <a:lnTo>
                  <a:pt x="113" y="615"/>
                </a:lnTo>
                <a:lnTo>
                  <a:pt x="120" y="603"/>
                </a:lnTo>
                <a:lnTo>
                  <a:pt x="120" y="530"/>
                </a:lnTo>
                <a:lnTo>
                  <a:pt x="98" y="516"/>
                </a:lnTo>
                <a:lnTo>
                  <a:pt x="149" y="505"/>
                </a:lnTo>
                <a:lnTo>
                  <a:pt x="139" y="489"/>
                </a:lnTo>
                <a:lnTo>
                  <a:pt x="156" y="366"/>
                </a:lnTo>
                <a:lnTo>
                  <a:pt x="129" y="276"/>
                </a:lnTo>
                <a:lnTo>
                  <a:pt x="136" y="53"/>
                </a:lnTo>
                <a:lnTo>
                  <a:pt x="532" y="55"/>
                </a:lnTo>
                <a:lnTo>
                  <a:pt x="839" y="99"/>
                </a:lnTo>
                <a:lnTo>
                  <a:pt x="1140" y="0"/>
                </a:lnTo>
                <a:lnTo>
                  <a:pt x="1140" y="2"/>
                </a:lnTo>
                <a:lnTo>
                  <a:pt x="1140" y="3"/>
                </a:lnTo>
                <a:lnTo>
                  <a:pt x="1140" y="6"/>
                </a:lnTo>
                <a:lnTo>
                  <a:pt x="1139" y="6"/>
                </a:lnTo>
                <a:lnTo>
                  <a:pt x="1138" y="6"/>
                </a:lnTo>
                <a:lnTo>
                  <a:pt x="1136" y="7"/>
                </a:lnTo>
                <a:lnTo>
                  <a:pt x="1136" y="9"/>
                </a:lnTo>
                <a:lnTo>
                  <a:pt x="1136" y="10"/>
                </a:lnTo>
                <a:lnTo>
                  <a:pt x="1135" y="11"/>
                </a:lnTo>
                <a:lnTo>
                  <a:pt x="1134" y="14"/>
                </a:lnTo>
                <a:lnTo>
                  <a:pt x="1134" y="18"/>
                </a:lnTo>
                <a:lnTo>
                  <a:pt x="1134" y="21"/>
                </a:lnTo>
                <a:lnTo>
                  <a:pt x="1135" y="22"/>
                </a:lnTo>
                <a:lnTo>
                  <a:pt x="1136" y="24"/>
                </a:lnTo>
                <a:lnTo>
                  <a:pt x="1138" y="25"/>
                </a:lnTo>
                <a:lnTo>
                  <a:pt x="1136" y="31"/>
                </a:lnTo>
                <a:lnTo>
                  <a:pt x="1136" y="33"/>
                </a:lnTo>
                <a:lnTo>
                  <a:pt x="1136" y="38"/>
                </a:lnTo>
                <a:lnTo>
                  <a:pt x="1150" y="58"/>
                </a:lnTo>
                <a:lnTo>
                  <a:pt x="1179" y="112"/>
                </a:lnTo>
                <a:lnTo>
                  <a:pt x="1179" y="116"/>
                </a:lnTo>
                <a:lnTo>
                  <a:pt x="1179" y="131"/>
                </a:lnTo>
                <a:lnTo>
                  <a:pt x="1180" y="131"/>
                </a:lnTo>
                <a:lnTo>
                  <a:pt x="1244" y="175"/>
                </a:lnTo>
                <a:lnTo>
                  <a:pt x="1242" y="178"/>
                </a:lnTo>
                <a:lnTo>
                  <a:pt x="1242" y="179"/>
                </a:lnTo>
                <a:lnTo>
                  <a:pt x="1242" y="181"/>
                </a:lnTo>
                <a:lnTo>
                  <a:pt x="1244" y="181"/>
                </a:lnTo>
                <a:lnTo>
                  <a:pt x="1244" y="182"/>
                </a:lnTo>
                <a:lnTo>
                  <a:pt x="1244" y="183"/>
                </a:lnTo>
                <a:lnTo>
                  <a:pt x="1244" y="186"/>
                </a:lnTo>
                <a:lnTo>
                  <a:pt x="1244" y="186"/>
                </a:lnTo>
                <a:lnTo>
                  <a:pt x="1244" y="188"/>
                </a:lnTo>
                <a:lnTo>
                  <a:pt x="1244" y="189"/>
                </a:lnTo>
                <a:lnTo>
                  <a:pt x="1244" y="190"/>
                </a:lnTo>
                <a:lnTo>
                  <a:pt x="1242" y="192"/>
                </a:lnTo>
                <a:lnTo>
                  <a:pt x="1242" y="194"/>
                </a:lnTo>
                <a:lnTo>
                  <a:pt x="1241" y="197"/>
                </a:lnTo>
                <a:lnTo>
                  <a:pt x="1239" y="199"/>
                </a:lnTo>
                <a:lnTo>
                  <a:pt x="1239" y="200"/>
                </a:lnTo>
                <a:lnTo>
                  <a:pt x="1238" y="201"/>
                </a:lnTo>
                <a:lnTo>
                  <a:pt x="1238" y="203"/>
                </a:lnTo>
                <a:lnTo>
                  <a:pt x="1238" y="205"/>
                </a:lnTo>
                <a:lnTo>
                  <a:pt x="1239" y="211"/>
                </a:lnTo>
                <a:lnTo>
                  <a:pt x="1239" y="212"/>
                </a:lnTo>
                <a:lnTo>
                  <a:pt x="1241" y="214"/>
                </a:lnTo>
                <a:lnTo>
                  <a:pt x="1241" y="216"/>
                </a:lnTo>
                <a:lnTo>
                  <a:pt x="1239" y="218"/>
                </a:lnTo>
                <a:lnTo>
                  <a:pt x="1239" y="219"/>
                </a:lnTo>
                <a:lnTo>
                  <a:pt x="1239" y="221"/>
                </a:lnTo>
                <a:lnTo>
                  <a:pt x="1239" y="223"/>
                </a:lnTo>
                <a:lnTo>
                  <a:pt x="1241" y="226"/>
                </a:lnTo>
                <a:lnTo>
                  <a:pt x="1242" y="229"/>
                </a:lnTo>
                <a:lnTo>
                  <a:pt x="1244" y="232"/>
                </a:lnTo>
                <a:lnTo>
                  <a:pt x="1244" y="233"/>
                </a:lnTo>
                <a:lnTo>
                  <a:pt x="1245" y="233"/>
                </a:lnTo>
                <a:lnTo>
                  <a:pt x="1246" y="233"/>
                </a:lnTo>
                <a:lnTo>
                  <a:pt x="1250" y="233"/>
                </a:lnTo>
                <a:lnTo>
                  <a:pt x="1253" y="233"/>
                </a:lnTo>
                <a:lnTo>
                  <a:pt x="1255" y="232"/>
                </a:lnTo>
                <a:lnTo>
                  <a:pt x="1256" y="230"/>
                </a:lnTo>
                <a:lnTo>
                  <a:pt x="1259" y="227"/>
                </a:lnTo>
                <a:lnTo>
                  <a:pt x="1263" y="227"/>
                </a:lnTo>
                <a:lnTo>
                  <a:pt x="1263" y="226"/>
                </a:lnTo>
                <a:lnTo>
                  <a:pt x="1264" y="226"/>
                </a:lnTo>
                <a:lnTo>
                  <a:pt x="1266" y="226"/>
                </a:lnTo>
                <a:lnTo>
                  <a:pt x="1267" y="225"/>
                </a:lnTo>
                <a:lnTo>
                  <a:pt x="1268" y="225"/>
                </a:lnTo>
                <a:lnTo>
                  <a:pt x="1270" y="223"/>
                </a:lnTo>
                <a:lnTo>
                  <a:pt x="1271" y="223"/>
                </a:lnTo>
                <a:lnTo>
                  <a:pt x="1272" y="223"/>
                </a:lnTo>
                <a:lnTo>
                  <a:pt x="1274" y="223"/>
                </a:lnTo>
                <a:lnTo>
                  <a:pt x="1275" y="223"/>
                </a:lnTo>
                <a:lnTo>
                  <a:pt x="1277" y="223"/>
                </a:lnTo>
                <a:lnTo>
                  <a:pt x="1277" y="222"/>
                </a:lnTo>
                <a:lnTo>
                  <a:pt x="1278" y="222"/>
                </a:lnTo>
                <a:lnTo>
                  <a:pt x="1279" y="222"/>
                </a:lnTo>
                <a:lnTo>
                  <a:pt x="1278" y="222"/>
                </a:lnTo>
                <a:lnTo>
                  <a:pt x="1279" y="221"/>
                </a:lnTo>
                <a:lnTo>
                  <a:pt x="1281" y="221"/>
                </a:lnTo>
                <a:lnTo>
                  <a:pt x="1282" y="221"/>
                </a:lnTo>
                <a:lnTo>
                  <a:pt x="1282" y="219"/>
                </a:lnTo>
                <a:lnTo>
                  <a:pt x="1283" y="219"/>
                </a:lnTo>
                <a:lnTo>
                  <a:pt x="1285" y="219"/>
                </a:lnTo>
                <a:lnTo>
                  <a:pt x="1286" y="219"/>
                </a:lnTo>
                <a:lnTo>
                  <a:pt x="1286" y="218"/>
                </a:lnTo>
                <a:lnTo>
                  <a:pt x="1288" y="218"/>
                </a:lnTo>
                <a:lnTo>
                  <a:pt x="1289" y="216"/>
                </a:lnTo>
                <a:lnTo>
                  <a:pt x="1290" y="216"/>
                </a:lnTo>
                <a:lnTo>
                  <a:pt x="1290" y="215"/>
                </a:lnTo>
                <a:lnTo>
                  <a:pt x="1292" y="215"/>
                </a:lnTo>
                <a:lnTo>
                  <a:pt x="1292" y="214"/>
                </a:lnTo>
                <a:lnTo>
                  <a:pt x="1293" y="214"/>
                </a:lnTo>
                <a:lnTo>
                  <a:pt x="1294" y="214"/>
                </a:lnTo>
                <a:lnTo>
                  <a:pt x="1294" y="212"/>
                </a:lnTo>
                <a:lnTo>
                  <a:pt x="1296" y="212"/>
                </a:lnTo>
                <a:lnTo>
                  <a:pt x="1297" y="211"/>
                </a:lnTo>
                <a:lnTo>
                  <a:pt x="1299" y="210"/>
                </a:lnTo>
                <a:lnTo>
                  <a:pt x="1300" y="210"/>
                </a:lnTo>
                <a:lnTo>
                  <a:pt x="1300" y="208"/>
                </a:lnTo>
                <a:lnTo>
                  <a:pt x="1301" y="207"/>
                </a:lnTo>
                <a:lnTo>
                  <a:pt x="1303" y="207"/>
                </a:lnTo>
                <a:lnTo>
                  <a:pt x="1304" y="207"/>
                </a:lnTo>
                <a:lnTo>
                  <a:pt x="1304" y="205"/>
                </a:lnTo>
                <a:lnTo>
                  <a:pt x="1305" y="205"/>
                </a:lnTo>
                <a:lnTo>
                  <a:pt x="1307" y="204"/>
                </a:lnTo>
                <a:lnTo>
                  <a:pt x="1308" y="204"/>
                </a:lnTo>
                <a:lnTo>
                  <a:pt x="1310" y="204"/>
                </a:lnTo>
                <a:lnTo>
                  <a:pt x="1310" y="204"/>
                </a:lnTo>
                <a:lnTo>
                  <a:pt x="1311" y="203"/>
                </a:lnTo>
                <a:lnTo>
                  <a:pt x="1312" y="203"/>
                </a:lnTo>
                <a:lnTo>
                  <a:pt x="1314" y="203"/>
                </a:lnTo>
                <a:lnTo>
                  <a:pt x="1315" y="203"/>
                </a:lnTo>
                <a:lnTo>
                  <a:pt x="1315" y="204"/>
                </a:lnTo>
                <a:lnTo>
                  <a:pt x="1316" y="204"/>
                </a:lnTo>
                <a:lnTo>
                  <a:pt x="1318" y="204"/>
                </a:lnTo>
                <a:lnTo>
                  <a:pt x="1319" y="204"/>
                </a:lnTo>
                <a:lnTo>
                  <a:pt x="1319" y="203"/>
                </a:lnTo>
                <a:lnTo>
                  <a:pt x="1321" y="203"/>
                </a:lnTo>
                <a:lnTo>
                  <a:pt x="1322" y="203"/>
                </a:lnTo>
                <a:lnTo>
                  <a:pt x="1323" y="203"/>
                </a:lnTo>
                <a:lnTo>
                  <a:pt x="1325" y="203"/>
                </a:lnTo>
                <a:lnTo>
                  <a:pt x="1326" y="203"/>
                </a:lnTo>
                <a:lnTo>
                  <a:pt x="1326" y="204"/>
                </a:lnTo>
                <a:lnTo>
                  <a:pt x="1327" y="205"/>
                </a:lnTo>
                <a:lnTo>
                  <a:pt x="1329" y="205"/>
                </a:lnTo>
                <a:lnTo>
                  <a:pt x="1330" y="205"/>
                </a:lnTo>
                <a:lnTo>
                  <a:pt x="1332" y="205"/>
                </a:lnTo>
                <a:lnTo>
                  <a:pt x="1333" y="205"/>
                </a:lnTo>
                <a:lnTo>
                  <a:pt x="1333" y="207"/>
                </a:lnTo>
                <a:lnTo>
                  <a:pt x="1334" y="207"/>
                </a:lnTo>
                <a:lnTo>
                  <a:pt x="1334" y="205"/>
                </a:lnTo>
                <a:lnTo>
                  <a:pt x="1336" y="205"/>
                </a:lnTo>
                <a:lnTo>
                  <a:pt x="1337" y="205"/>
                </a:lnTo>
                <a:lnTo>
                  <a:pt x="1338" y="205"/>
                </a:lnTo>
                <a:lnTo>
                  <a:pt x="1340" y="205"/>
                </a:lnTo>
                <a:lnTo>
                  <a:pt x="1340" y="204"/>
                </a:lnTo>
                <a:lnTo>
                  <a:pt x="1341" y="204"/>
                </a:lnTo>
                <a:lnTo>
                  <a:pt x="1341" y="205"/>
                </a:lnTo>
                <a:lnTo>
                  <a:pt x="1343" y="205"/>
                </a:lnTo>
                <a:lnTo>
                  <a:pt x="1343" y="207"/>
                </a:lnTo>
                <a:lnTo>
                  <a:pt x="1343" y="207"/>
                </a:lnTo>
                <a:lnTo>
                  <a:pt x="1343" y="208"/>
                </a:lnTo>
                <a:lnTo>
                  <a:pt x="1343" y="208"/>
                </a:lnTo>
                <a:lnTo>
                  <a:pt x="1344" y="210"/>
                </a:lnTo>
                <a:lnTo>
                  <a:pt x="1344" y="211"/>
                </a:lnTo>
                <a:lnTo>
                  <a:pt x="1345" y="211"/>
                </a:lnTo>
                <a:lnTo>
                  <a:pt x="1347" y="211"/>
                </a:lnTo>
                <a:lnTo>
                  <a:pt x="1347" y="210"/>
                </a:lnTo>
                <a:lnTo>
                  <a:pt x="1348" y="210"/>
                </a:lnTo>
                <a:lnTo>
                  <a:pt x="1349" y="210"/>
                </a:lnTo>
                <a:lnTo>
                  <a:pt x="1351" y="210"/>
                </a:lnTo>
                <a:lnTo>
                  <a:pt x="1351" y="211"/>
                </a:lnTo>
                <a:lnTo>
                  <a:pt x="1352" y="211"/>
                </a:lnTo>
                <a:lnTo>
                  <a:pt x="1351" y="212"/>
                </a:lnTo>
                <a:lnTo>
                  <a:pt x="1352" y="212"/>
                </a:lnTo>
                <a:lnTo>
                  <a:pt x="1352" y="214"/>
                </a:lnTo>
                <a:lnTo>
                  <a:pt x="1352" y="215"/>
                </a:lnTo>
                <a:lnTo>
                  <a:pt x="1352" y="218"/>
                </a:lnTo>
                <a:lnTo>
                  <a:pt x="1354" y="216"/>
                </a:lnTo>
                <a:lnTo>
                  <a:pt x="1355" y="216"/>
                </a:lnTo>
                <a:lnTo>
                  <a:pt x="1356" y="216"/>
                </a:lnTo>
                <a:lnTo>
                  <a:pt x="1358" y="216"/>
                </a:lnTo>
                <a:lnTo>
                  <a:pt x="1358" y="215"/>
                </a:lnTo>
                <a:lnTo>
                  <a:pt x="1358" y="216"/>
                </a:lnTo>
                <a:lnTo>
                  <a:pt x="1359" y="215"/>
                </a:lnTo>
                <a:lnTo>
                  <a:pt x="1360" y="214"/>
                </a:lnTo>
                <a:lnTo>
                  <a:pt x="1362" y="214"/>
                </a:lnTo>
                <a:lnTo>
                  <a:pt x="1363" y="212"/>
                </a:lnTo>
                <a:lnTo>
                  <a:pt x="1365" y="212"/>
                </a:lnTo>
                <a:lnTo>
                  <a:pt x="1366" y="214"/>
                </a:lnTo>
                <a:lnTo>
                  <a:pt x="1365" y="214"/>
                </a:lnTo>
                <a:lnTo>
                  <a:pt x="1366" y="215"/>
                </a:lnTo>
                <a:lnTo>
                  <a:pt x="1367" y="215"/>
                </a:lnTo>
                <a:lnTo>
                  <a:pt x="1369" y="215"/>
                </a:lnTo>
                <a:lnTo>
                  <a:pt x="1370" y="215"/>
                </a:lnTo>
                <a:lnTo>
                  <a:pt x="1371" y="215"/>
                </a:lnTo>
                <a:lnTo>
                  <a:pt x="1373" y="215"/>
                </a:lnTo>
                <a:lnTo>
                  <a:pt x="1373" y="214"/>
                </a:lnTo>
                <a:lnTo>
                  <a:pt x="1374" y="214"/>
                </a:lnTo>
                <a:lnTo>
                  <a:pt x="1374" y="215"/>
                </a:lnTo>
                <a:lnTo>
                  <a:pt x="1376" y="215"/>
                </a:lnTo>
                <a:lnTo>
                  <a:pt x="1376" y="214"/>
                </a:lnTo>
                <a:lnTo>
                  <a:pt x="1376" y="214"/>
                </a:lnTo>
                <a:lnTo>
                  <a:pt x="1376" y="215"/>
                </a:lnTo>
                <a:lnTo>
                  <a:pt x="1377" y="214"/>
                </a:lnTo>
                <a:lnTo>
                  <a:pt x="1378" y="214"/>
                </a:lnTo>
                <a:lnTo>
                  <a:pt x="1380" y="214"/>
                </a:lnTo>
                <a:lnTo>
                  <a:pt x="1380" y="212"/>
                </a:lnTo>
                <a:lnTo>
                  <a:pt x="1380" y="214"/>
                </a:lnTo>
                <a:lnTo>
                  <a:pt x="1381" y="214"/>
                </a:lnTo>
                <a:lnTo>
                  <a:pt x="1382" y="214"/>
                </a:lnTo>
                <a:lnTo>
                  <a:pt x="1382" y="212"/>
                </a:lnTo>
                <a:lnTo>
                  <a:pt x="1384" y="212"/>
                </a:lnTo>
                <a:lnTo>
                  <a:pt x="1382" y="214"/>
                </a:lnTo>
                <a:lnTo>
                  <a:pt x="1382" y="215"/>
                </a:lnTo>
                <a:lnTo>
                  <a:pt x="1384" y="215"/>
                </a:lnTo>
                <a:lnTo>
                  <a:pt x="1385" y="214"/>
                </a:lnTo>
                <a:lnTo>
                  <a:pt x="1387" y="214"/>
                </a:lnTo>
                <a:lnTo>
                  <a:pt x="1385" y="215"/>
                </a:lnTo>
                <a:lnTo>
                  <a:pt x="1387" y="215"/>
                </a:lnTo>
                <a:lnTo>
                  <a:pt x="1388" y="215"/>
                </a:lnTo>
                <a:lnTo>
                  <a:pt x="1388" y="216"/>
                </a:lnTo>
                <a:lnTo>
                  <a:pt x="1388" y="218"/>
                </a:lnTo>
                <a:lnTo>
                  <a:pt x="1388" y="219"/>
                </a:lnTo>
                <a:lnTo>
                  <a:pt x="1388" y="219"/>
                </a:lnTo>
                <a:lnTo>
                  <a:pt x="1389" y="219"/>
                </a:lnTo>
                <a:lnTo>
                  <a:pt x="1389" y="218"/>
                </a:lnTo>
                <a:lnTo>
                  <a:pt x="1391" y="218"/>
                </a:lnTo>
                <a:lnTo>
                  <a:pt x="1389" y="219"/>
                </a:lnTo>
                <a:lnTo>
                  <a:pt x="1391" y="219"/>
                </a:lnTo>
                <a:lnTo>
                  <a:pt x="1392" y="219"/>
                </a:lnTo>
                <a:lnTo>
                  <a:pt x="1392" y="218"/>
                </a:lnTo>
                <a:lnTo>
                  <a:pt x="1393" y="218"/>
                </a:lnTo>
                <a:lnTo>
                  <a:pt x="1393" y="219"/>
                </a:lnTo>
                <a:lnTo>
                  <a:pt x="1395" y="219"/>
                </a:lnTo>
                <a:lnTo>
                  <a:pt x="1396" y="219"/>
                </a:lnTo>
                <a:lnTo>
                  <a:pt x="1396" y="219"/>
                </a:lnTo>
                <a:lnTo>
                  <a:pt x="1396" y="219"/>
                </a:lnTo>
                <a:lnTo>
                  <a:pt x="1398" y="219"/>
                </a:lnTo>
                <a:lnTo>
                  <a:pt x="1399" y="219"/>
                </a:lnTo>
                <a:lnTo>
                  <a:pt x="1399" y="221"/>
                </a:lnTo>
                <a:lnTo>
                  <a:pt x="1398" y="221"/>
                </a:lnTo>
                <a:lnTo>
                  <a:pt x="1398" y="222"/>
                </a:lnTo>
                <a:lnTo>
                  <a:pt x="1399" y="222"/>
                </a:lnTo>
                <a:lnTo>
                  <a:pt x="1399" y="223"/>
                </a:lnTo>
                <a:lnTo>
                  <a:pt x="1400" y="225"/>
                </a:lnTo>
                <a:lnTo>
                  <a:pt x="1403" y="226"/>
                </a:lnTo>
                <a:lnTo>
                  <a:pt x="1404" y="226"/>
                </a:lnTo>
                <a:lnTo>
                  <a:pt x="1404" y="227"/>
                </a:lnTo>
                <a:lnTo>
                  <a:pt x="1406" y="227"/>
                </a:lnTo>
                <a:lnTo>
                  <a:pt x="1406" y="226"/>
                </a:lnTo>
                <a:lnTo>
                  <a:pt x="1404" y="226"/>
                </a:lnTo>
                <a:lnTo>
                  <a:pt x="1404" y="225"/>
                </a:lnTo>
                <a:lnTo>
                  <a:pt x="1406" y="223"/>
                </a:lnTo>
                <a:lnTo>
                  <a:pt x="1406" y="225"/>
                </a:lnTo>
                <a:lnTo>
                  <a:pt x="1407" y="225"/>
                </a:lnTo>
                <a:lnTo>
                  <a:pt x="1409" y="225"/>
                </a:lnTo>
                <a:lnTo>
                  <a:pt x="1409" y="225"/>
                </a:lnTo>
                <a:lnTo>
                  <a:pt x="1409" y="226"/>
                </a:lnTo>
                <a:lnTo>
                  <a:pt x="1410" y="227"/>
                </a:lnTo>
                <a:lnTo>
                  <a:pt x="1411" y="227"/>
                </a:lnTo>
                <a:lnTo>
                  <a:pt x="1413" y="227"/>
                </a:lnTo>
                <a:lnTo>
                  <a:pt x="1414" y="227"/>
                </a:lnTo>
                <a:lnTo>
                  <a:pt x="1415" y="227"/>
                </a:lnTo>
                <a:lnTo>
                  <a:pt x="1417" y="229"/>
                </a:lnTo>
                <a:lnTo>
                  <a:pt x="1418" y="229"/>
                </a:lnTo>
                <a:lnTo>
                  <a:pt x="1420" y="229"/>
                </a:lnTo>
                <a:lnTo>
                  <a:pt x="1421" y="230"/>
                </a:lnTo>
                <a:lnTo>
                  <a:pt x="1421" y="232"/>
                </a:lnTo>
                <a:lnTo>
                  <a:pt x="1422" y="232"/>
                </a:lnTo>
                <a:lnTo>
                  <a:pt x="1424" y="232"/>
                </a:lnTo>
                <a:lnTo>
                  <a:pt x="1425" y="232"/>
                </a:lnTo>
                <a:lnTo>
                  <a:pt x="1426" y="232"/>
                </a:lnTo>
                <a:lnTo>
                  <a:pt x="1428" y="233"/>
                </a:lnTo>
                <a:lnTo>
                  <a:pt x="1428" y="234"/>
                </a:lnTo>
                <a:lnTo>
                  <a:pt x="1429" y="236"/>
                </a:lnTo>
                <a:lnTo>
                  <a:pt x="1431" y="237"/>
                </a:lnTo>
                <a:lnTo>
                  <a:pt x="1432" y="237"/>
                </a:lnTo>
                <a:lnTo>
                  <a:pt x="1433" y="237"/>
                </a:lnTo>
                <a:lnTo>
                  <a:pt x="1435" y="237"/>
                </a:lnTo>
                <a:lnTo>
                  <a:pt x="1435" y="238"/>
                </a:lnTo>
                <a:lnTo>
                  <a:pt x="1436" y="238"/>
                </a:lnTo>
                <a:lnTo>
                  <a:pt x="1436" y="240"/>
                </a:lnTo>
                <a:lnTo>
                  <a:pt x="1436" y="241"/>
                </a:lnTo>
                <a:lnTo>
                  <a:pt x="1437" y="243"/>
                </a:lnTo>
                <a:lnTo>
                  <a:pt x="1436" y="243"/>
                </a:lnTo>
                <a:lnTo>
                  <a:pt x="1436" y="244"/>
                </a:lnTo>
                <a:lnTo>
                  <a:pt x="1436" y="245"/>
                </a:lnTo>
                <a:lnTo>
                  <a:pt x="1436" y="247"/>
                </a:lnTo>
                <a:lnTo>
                  <a:pt x="1435" y="247"/>
                </a:lnTo>
                <a:lnTo>
                  <a:pt x="1435" y="248"/>
                </a:lnTo>
                <a:lnTo>
                  <a:pt x="1435" y="249"/>
                </a:lnTo>
                <a:lnTo>
                  <a:pt x="1433" y="249"/>
                </a:lnTo>
                <a:lnTo>
                  <a:pt x="1433" y="251"/>
                </a:lnTo>
                <a:lnTo>
                  <a:pt x="1432" y="251"/>
                </a:lnTo>
                <a:lnTo>
                  <a:pt x="1431" y="251"/>
                </a:lnTo>
                <a:lnTo>
                  <a:pt x="1431" y="252"/>
                </a:lnTo>
                <a:lnTo>
                  <a:pt x="1431" y="252"/>
                </a:lnTo>
                <a:lnTo>
                  <a:pt x="1429" y="252"/>
                </a:lnTo>
                <a:lnTo>
                  <a:pt x="1428" y="252"/>
                </a:lnTo>
                <a:lnTo>
                  <a:pt x="1429" y="254"/>
                </a:lnTo>
                <a:lnTo>
                  <a:pt x="1428" y="254"/>
                </a:lnTo>
                <a:lnTo>
                  <a:pt x="1428" y="255"/>
                </a:lnTo>
                <a:lnTo>
                  <a:pt x="1426" y="255"/>
                </a:lnTo>
                <a:lnTo>
                  <a:pt x="1426" y="256"/>
                </a:lnTo>
                <a:lnTo>
                  <a:pt x="1425" y="256"/>
                </a:lnTo>
                <a:lnTo>
                  <a:pt x="1425" y="258"/>
                </a:lnTo>
                <a:lnTo>
                  <a:pt x="1424" y="258"/>
                </a:lnTo>
                <a:lnTo>
                  <a:pt x="1424" y="259"/>
                </a:lnTo>
                <a:lnTo>
                  <a:pt x="1424" y="260"/>
                </a:lnTo>
                <a:lnTo>
                  <a:pt x="1424" y="262"/>
                </a:lnTo>
                <a:lnTo>
                  <a:pt x="1422" y="263"/>
                </a:lnTo>
                <a:lnTo>
                  <a:pt x="1424" y="265"/>
                </a:lnTo>
                <a:lnTo>
                  <a:pt x="1424" y="266"/>
                </a:lnTo>
                <a:lnTo>
                  <a:pt x="1424" y="267"/>
                </a:lnTo>
                <a:lnTo>
                  <a:pt x="1424" y="269"/>
                </a:lnTo>
                <a:lnTo>
                  <a:pt x="1425" y="269"/>
                </a:lnTo>
                <a:lnTo>
                  <a:pt x="1425" y="270"/>
                </a:lnTo>
                <a:lnTo>
                  <a:pt x="1425" y="271"/>
                </a:lnTo>
                <a:lnTo>
                  <a:pt x="1426" y="274"/>
                </a:lnTo>
                <a:lnTo>
                  <a:pt x="1428" y="277"/>
                </a:lnTo>
                <a:lnTo>
                  <a:pt x="1431" y="278"/>
                </a:lnTo>
                <a:lnTo>
                  <a:pt x="1432" y="278"/>
                </a:lnTo>
                <a:lnTo>
                  <a:pt x="1433" y="280"/>
                </a:lnTo>
                <a:lnTo>
                  <a:pt x="1433" y="281"/>
                </a:lnTo>
                <a:lnTo>
                  <a:pt x="1435" y="282"/>
                </a:lnTo>
                <a:lnTo>
                  <a:pt x="1435" y="284"/>
                </a:lnTo>
                <a:lnTo>
                  <a:pt x="1436" y="285"/>
                </a:lnTo>
                <a:lnTo>
                  <a:pt x="1436" y="285"/>
                </a:lnTo>
                <a:lnTo>
                  <a:pt x="1436" y="287"/>
                </a:lnTo>
                <a:lnTo>
                  <a:pt x="1436" y="288"/>
                </a:lnTo>
                <a:lnTo>
                  <a:pt x="1436" y="289"/>
                </a:lnTo>
                <a:lnTo>
                  <a:pt x="1437" y="289"/>
                </a:lnTo>
                <a:lnTo>
                  <a:pt x="1436" y="291"/>
                </a:lnTo>
                <a:lnTo>
                  <a:pt x="1435" y="292"/>
                </a:lnTo>
                <a:lnTo>
                  <a:pt x="1435" y="293"/>
                </a:lnTo>
                <a:lnTo>
                  <a:pt x="1435" y="295"/>
                </a:lnTo>
                <a:lnTo>
                  <a:pt x="1435" y="296"/>
                </a:lnTo>
                <a:lnTo>
                  <a:pt x="1433" y="298"/>
                </a:lnTo>
                <a:lnTo>
                  <a:pt x="1432" y="298"/>
                </a:lnTo>
                <a:lnTo>
                  <a:pt x="1432" y="299"/>
                </a:lnTo>
                <a:lnTo>
                  <a:pt x="1431" y="299"/>
                </a:lnTo>
                <a:lnTo>
                  <a:pt x="1431" y="300"/>
                </a:lnTo>
                <a:lnTo>
                  <a:pt x="1429" y="300"/>
                </a:lnTo>
                <a:lnTo>
                  <a:pt x="1429" y="302"/>
                </a:lnTo>
                <a:lnTo>
                  <a:pt x="1429" y="303"/>
                </a:lnTo>
                <a:lnTo>
                  <a:pt x="1428" y="303"/>
                </a:lnTo>
                <a:lnTo>
                  <a:pt x="1428" y="304"/>
                </a:lnTo>
                <a:lnTo>
                  <a:pt x="1428" y="306"/>
                </a:lnTo>
                <a:lnTo>
                  <a:pt x="1426" y="307"/>
                </a:lnTo>
                <a:lnTo>
                  <a:pt x="1425" y="307"/>
                </a:lnTo>
                <a:lnTo>
                  <a:pt x="1424" y="309"/>
                </a:lnTo>
                <a:lnTo>
                  <a:pt x="1424" y="310"/>
                </a:lnTo>
                <a:lnTo>
                  <a:pt x="1422" y="310"/>
                </a:lnTo>
                <a:lnTo>
                  <a:pt x="1422" y="311"/>
                </a:lnTo>
                <a:lnTo>
                  <a:pt x="1421" y="313"/>
                </a:lnTo>
                <a:lnTo>
                  <a:pt x="1420" y="313"/>
                </a:lnTo>
                <a:lnTo>
                  <a:pt x="1421" y="321"/>
                </a:lnTo>
                <a:lnTo>
                  <a:pt x="1422" y="425"/>
                </a:lnTo>
                <a:lnTo>
                  <a:pt x="1465" y="478"/>
                </a:lnTo>
                <a:lnTo>
                  <a:pt x="1466" y="478"/>
                </a:lnTo>
                <a:lnTo>
                  <a:pt x="1466" y="479"/>
                </a:lnTo>
                <a:lnTo>
                  <a:pt x="1354" y="479"/>
                </a:lnTo>
                <a:lnTo>
                  <a:pt x="1263" y="479"/>
                </a:lnTo>
                <a:lnTo>
                  <a:pt x="1139" y="479"/>
                </a:lnTo>
                <a:lnTo>
                  <a:pt x="920" y="478"/>
                </a:lnTo>
                <a:lnTo>
                  <a:pt x="897" y="502"/>
                </a:lnTo>
                <a:lnTo>
                  <a:pt x="786" y="615"/>
                </a:lnTo>
                <a:lnTo>
                  <a:pt x="765" y="637"/>
                </a:lnTo>
                <a:lnTo>
                  <a:pt x="671" y="731"/>
                </a:lnTo>
                <a:lnTo>
                  <a:pt x="648" y="754"/>
                </a:lnTo>
                <a:lnTo>
                  <a:pt x="619" y="783"/>
                </a:lnTo>
                <a:lnTo>
                  <a:pt x="505" y="775"/>
                </a:lnTo>
                <a:lnTo>
                  <a:pt x="451" y="735"/>
                </a:lnTo>
                <a:lnTo>
                  <a:pt x="407" y="761"/>
                </a:lnTo>
                <a:lnTo>
                  <a:pt x="399" y="764"/>
                </a:lnTo>
                <a:lnTo>
                  <a:pt x="347" y="780"/>
                </a:lnTo>
                <a:lnTo>
                  <a:pt x="270" y="783"/>
                </a:lnTo>
                <a:lnTo>
                  <a:pt x="241" y="784"/>
                </a:lnTo>
                <a:lnTo>
                  <a:pt x="164" y="837"/>
                </a:lnTo>
                <a:lnTo>
                  <a:pt x="165" y="838"/>
                </a:lnTo>
                <a:lnTo>
                  <a:pt x="167" y="838"/>
                </a:lnTo>
                <a:lnTo>
                  <a:pt x="168" y="838"/>
                </a:lnTo>
                <a:lnTo>
                  <a:pt x="169" y="838"/>
                </a:lnTo>
                <a:lnTo>
                  <a:pt x="169" y="839"/>
                </a:lnTo>
                <a:lnTo>
                  <a:pt x="169" y="841"/>
                </a:lnTo>
                <a:lnTo>
                  <a:pt x="171" y="842"/>
                </a:lnTo>
                <a:lnTo>
                  <a:pt x="171" y="844"/>
                </a:lnTo>
                <a:lnTo>
                  <a:pt x="171" y="845"/>
                </a:lnTo>
                <a:lnTo>
                  <a:pt x="171" y="846"/>
                </a:lnTo>
                <a:lnTo>
                  <a:pt x="171" y="848"/>
                </a:lnTo>
                <a:lnTo>
                  <a:pt x="172" y="848"/>
                </a:lnTo>
                <a:lnTo>
                  <a:pt x="172" y="848"/>
                </a:lnTo>
                <a:lnTo>
                  <a:pt x="171" y="849"/>
                </a:lnTo>
                <a:lnTo>
                  <a:pt x="169" y="850"/>
                </a:lnTo>
                <a:lnTo>
                  <a:pt x="169" y="853"/>
                </a:lnTo>
                <a:lnTo>
                  <a:pt x="168" y="853"/>
                </a:lnTo>
                <a:lnTo>
                  <a:pt x="168" y="855"/>
                </a:lnTo>
                <a:lnTo>
                  <a:pt x="169" y="856"/>
                </a:lnTo>
                <a:lnTo>
                  <a:pt x="168" y="857"/>
                </a:lnTo>
                <a:lnTo>
                  <a:pt x="167" y="859"/>
                </a:lnTo>
                <a:lnTo>
                  <a:pt x="167" y="860"/>
                </a:lnTo>
                <a:lnTo>
                  <a:pt x="167" y="863"/>
                </a:lnTo>
                <a:lnTo>
                  <a:pt x="167" y="864"/>
                </a:lnTo>
                <a:lnTo>
                  <a:pt x="168" y="866"/>
                </a:lnTo>
                <a:lnTo>
                  <a:pt x="167" y="867"/>
                </a:lnTo>
                <a:lnTo>
                  <a:pt x="167" y="868"/>
                </a:lnTo>
                <a:lnTo>
                  <a:pt x="131" y="859"/>
                </a:lnTo>
                <a:lnTo>
                  <a:pt x="125" y="859"/>
                </a:lnTo>
                <a:lnTo>
                  <a:pt x="125" y="857"/>
                </a:lnTo>
                <a:lnTo>
                  <a:pt x="127" y="857"/>
                </a:lnTo>
                <a:lnTo>
                  <a:pt x="127" y="856"/>
                </a:lnTo>
                <a:lnTo>
                  <a:pt x="125" y="855"/>
                </a:lnTo>
                <a:lnTo>
                  <a:pt x="127" y="853"/>
                </a:lnTo>
                <a:lnTo>
                  <a:pt x="125" y="853"/>
                </a:lnTo>
                <a:lnTo>
                  <a:pt x="124" y="853"/>
                </a:lnTo>
                <a:lnTo>
                  <a:pt x="124" y="852"/>
                </a:lnTo>
                <a:lnTo>
                  <a:pt x="124" y="850"/>
                </a:lnTo>
                <a:lnTo>
                  <a:pt x="124" y="849"/>
                </a:lnTo>
                <a:lnTo>
                  <a:pt x="125" y="848"/>
                </a:lnTo>
                <a:lnTo>
                  <a:pt x="124" y="848"/>
                </a:lnTo>
                <a:lnTo>
                  <a:pt x="124" y="849"/>
                </a:lnTo>
                <a:lnTo>
                  <a:pt x="124" y="848"/>
                </a:lnTo>
                <a:lnTo>
                  <a:pt x="124" y="848"/>
                </a:lnTo>
                <a:lnTo>
                  <a:pt x="123" y="848"/>
                </a:lnTo>
                <a:lnTo>
                  <a:pt x="123" y="846"/>
                </a:lnTo>
                <a:lnTo>
                  <a:pt x="121" y="846"/>
                </a:lnTo>
                <a:lnTo>
                  <a:pt x="120" y="846"/>
                </a:lnTo>
                <a:lnTo>
                  <a:pt x="120" y="845"/>
                </a:lnTo>
                <a:lnTo>
                  <a:pt x="120" y="844"/>
                </a:lnTo>
                <a:lnTo>
                  <a:pt x="120" y="844"/>
                </a:lnTo>
                <a:lnTo>
                  <a:pt x="120" y="845"/>
                </a:lnTo>
                <a:lnTo>
                  <a:pt x="120" y="844"/>
                </a:lnTo>
                <a:lnTo>
                  <a:pt x="118" y="844"/>
                </a:lnTo>
                <a:lnTo>
                  <a:pt x="118" y="842"/>
                </a:lnTo>
                <a:lnTo>
                  <a:pt x="117" y="842"/>
                </a:lnTo>
                <a:lnTo>
                  <a:pt x="117" y="841"/>
                </a:lnTo>
                <a:lnTo>
                  <a:pt x="117" y="839"/>
                </a:lnTo>
                <a:lnTo>
                  <a:pt x="116" y="839"/>
                </a:lnTo>
                <a:lnTo>
                  <a:pt x="114" y="839"/>
                </a:lnTo>
                <a:lnTo>
                  <a:pt x="116" y="839"/>
                </a:lnTo>
                <a:lnTo>
                  <a:pt x="116" y="838"/>
                </a:lnTo>
                <a:lnTo>
                  <a:pt x="114" y="838"/>
                </a:lnTo>
                <a:lnTo>
                  <a:pt x="113" y="839"/>
                </a:lnTo>
                <a:lnTo>
                  <a:pt x="112" y="839"/>
                </a:lnTo>
                <a:lnTo>
                  <a:pt x="112" y="838"/>
                </a:lnTo>
                <a:lnTo>
                  <a:pt x="112" y="839"/>
                </a:lnTo>
                <a:lnTo>
                  <a:pt x="110" y="839"/>
                </a:lnTo>
                <a:lnTo>
                  <a:pt x="109" y="839"/>
                </a:lnTo>
                <a:lnTo>
                  <a:pt x="80" y="839"/>
                </a:lnTo>
                <a:lnTo>
                  <a:pt x="80" y="838"/>
                </a:lnTo>
                <a:lnTo>
                  <a:pt x="80" y="837"/>
                </a:lnTo>
                <a:lnTo>
                  <a:pt x="80" y="833"/>
                </a:lnTo>
                <a:lnTo>
                  <a:pt x="80" y="828"/>
                </a:lnTo>
                <a:lnTo>
                  <a:pt x="79" y="824"/>
                </a:lnTo>
                <a:lnTo>
                  <a:pt x="79" y="820"/>
                </a:lnTo>
                <a:lnTo>
                  <a:pt x="77" y="819"/>
                </a:lnTo>
                <a:lnTo>
                  <a:pt x="77" y="817"/>
                </a:lnTo>
                <a:lnTo>
                  <a:pt x="77" y="815"/>
                </a:lnTo>
                <a:lnTo>
                  <a:pt x="77" y="812"/>
                </a:lnTo>
                <a:lnTo>
                  <a:pt x="76" y="809"/>
                </a:lnTo>
                <a:lnTo>
                  <a:pt x="73" y="804"/>
                </a:lnTo>
                <a:lnTo>
                  <a:pt x="72" y="801"/>
                </a:lnTo>
                <a:lnTo>
                  <a:pt x="69" y="797"/>
                </a:lnTo>
                <a:lnTo>
                  <a:pt x="69" y="795"/>
                </a:lnTo>
                <a:lnTo>
                  <a:pt x="66" y="795"/>
                </a:lnTo>
                <a:lnTo>
                  <a:pt x="66" y="794"/>
                </a:lnTo>
                <a:lnTo>
                  <a:pt x="65" y="793"/>
                </a:lnTo>
                <a:lnTo>
                  <a:pt x="65" y="791"/>
                </a:lnTo>
                <a:lnTo>
                  <a:pt x="63" y="790"/>
                </a:lnTo>
                <a:lnTo>
                  <a:pt x="63" y="787"/>
                </a:lnTo>
                <a:lnTo>
                  <a:pt x="62" y="787"/>
                </a:lnTo>
                <a:lnTo>
                  <a:pt x="61" y="786"/>
                </a:lnTo>
                <a:lnTo>
                  <a:pt x="61" y="784"/>
                </a:lnTo>
                <a:lnTo>
                  <a:pt x="61" y="783"/>
                </a:lnTo>
                <a:lnTo>
                  <a:pt x="58" y="780"/>
                </a:lnTo>
                <a:lnTo>
                  <a:pt x="57" y="779"/>
                </a:lnTo>
                <a:lnTo>
                  <a:pt x="54" y="779"/>
                </a:lnTo>
                <a:lnTo>
                  <a:pt x="54" y="779"/>
                </a:lnTo>
                <a:lnTo>
                  <a:pt x="52" y="773"/>
                </a:lnTo>
                <a:lnTo>
                  <a:pt x="51" y="771"/>
                </a:lnTo>
                <a:lnTo>
                  <a:pt x="47" y="767"/>
                </a:lnTo>
                <a:lnTo>
                  <a:pt x="41" y="764"/>
                </a:lnTo>
                <a:lnTo>
                  <a:pt x="36" y="758"/>
                </a:lnTo>
                <a:lnTo>
                  <a:pt x="26" y="756"/>
                </a:lnTo>
                <a:lnTo>
                  <a:pt x="0" y="696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3" name="Freeform 172"/>
          <p:cNvSpPr>
            <a:spLocks/>
          </p:cNvSpPr>
          <p:nvPr>
            <p:custDataLst>
              <p:tags r:id="rId91"/>
            </p:custDataLst>
          </p:nvPr>
        </p:nvSpPr>
        <p:spPr bwMode="gray">
          <a:xfrm>
            <a:off x="3540674" y="3562897"/>
            <a:ext cx="1066839" cy="671535"/>
          </a:xfrm>
          <a:custGeom>
            <a:avLst/>
            <a:gdLst>
              <a:gd name="T0" fmla="*/ 5 w 1121"/>
              <a:gd name="T1" fmla="*/ 523 h 751"/>
              <a:gd name="T2" fmla="*/ 12 w 1121"/>
              <a:gd name="T3" fmla="*/ 510 h 751"/>
              <a:gd name="T4" fmla="*/ 0 w 1121"/>
              <a:gd name="T5" fmla="*/ 469 h 751"/>
              <a:gd name="T6" fmla="*/ 11 w 1121"/>
              <a:gd name="T7" fmla="*/ 465 h 751"/>
              <a:gd name="T8" fmla="*/ 114 w 1121"/>
              <a:gd name="T9" fmla="*/ 503 h 751"/>
              <a:gd name="T10" fmla="*/ 151 w 1121"/>
              <a:gd name="T11" fmla="*/ 497 h 751"/>
              <a:gd name="T12" fmla="*/ 181 w 1121"/>
              <a:gd name="T13" fmla="*/ 454 h 751"/>
              <a:gd name="T14" fmla="*/ 187 w 1121"/>
              <a:gd name="T15" fmla="*/ 421 h 751"/>
              <a:gd name="T16" fmla="*/ 180 w 1121"/>
              <a:gd name="T17" fmla="*/ 374 h 751"/>
              <a:gd name="T18" fmla="*/ 139 w 1121"/>
              <a:gd name="T19" fmla="*/ 272 h 751"/>
              <a:gd name="T20" fmla="*/ 213 w 1121"/>
              <a:gd name="T21" fmla="*/ 146 h 751"/>
              <a:gd name="T22" fmla="*/ 299 w 1121"/>
              <a:gd name="T23" fmla="*/ 59 h 751"/>
              <a:gd name="T24" fmla="*/ 371 w 1121"/>
              <a:gd name="T25" fmla="*/ 48 h 751"/>
              <a:gd name="T26" fmla="*/ 427 w 1121"/>
              <a:gd name="T27" fmla="*/ 0 h 751"/>
              <a:gd name="T28" fmla="*/ 427 w 1121"/>
              <a:gd name="T29" fmla="*/ 3 h 751"/>
              <a:gd name="T30" fmla="*/ 507 w 1121"/>
              <a:gd name="T31" fmla="*/ 15 h 751"/>
              <a:gd name="T32" fmla="*/ 613 w 1121"/>
              <a:gd name="T33" fmla="*/ 257 h 751"/>
              <a:gd name="T34" fmla="*/ 719 w 1121"/>
              <a:gd name="T35" fmla="*/ 268 h 751"/>
              <a:gd name="T36" fmla="*/ 748 w 1121"/>
              <a:gd name="T37" fmla="*/ 221 h 751"/>
              <a:gd name="T38" fmla="*/ 777 w 1121"/>
              <a:gd name="T39" fmla="*/ 215 h 751"/>
              <a:gd name="T40" fmla="*/ 778 w 1121"/>
              <a:gd name="T41" fmla="*/ 217 h 751"/>
              <a:gd name="T42" fmla="*/ 946 w 1121"/>
              <a:gd name="T43" fmla="*/ 358 h 751"/>
              <a:gd name="T44" fmla="*/ 1044 w 1121"/>
              <a:gd name="T45" fmla="*/ 517 h 751"/>
              <a:gd name="T46" fmla="*/ 1121 w 1121"/>
              <a:gd name="T47" fmla="*/ 682 h 751"/>
              <a:gd name="T48" fmla="*/ 887 w 1121"/>
              <a:gd name="T49" fmla="*/ 670 h 751"/>
              <a:gd name="T50" fmla="*/ 745 w 1121"/>
              <a:gd name="T51" fmla="*/ 552 h 751"/>
              <a:gd name="T52" fmla="*/ 715 w 1121"/>
              <a:gd name="T53" fmla="*/ 607 h 751"/>
              <a:gd name="T54" fmla="*/ 634 w 1121"/>
              <a:gd name="T55" fmla="*/ 607 h 751"/>
              <a:gd name="T56" fmla="*/ 638 w 1121"/>
              <a:gd name="T57" fmla="*/ 611 h 751"/>
              <a:gd name="T58" fmla="*/ 599 w 1121"/>
              <a:gd name="T59" fmla="*/ 605 h 751"/>
              <a:gd name="T60" fmla="*/ 605 w 1121"/>
              <a:gd name="T61" fmla="*/ 585 h 751"/>
              <a:gd name="T62" fmla="*/ 587 w 1121"/>
              <a:gd name="T63" fmla="*/ 556 h 751"/>
              <a:gd name="T64" fmla="*/ 575 w 1121"/>
              <a:gd name="T65" fmla="*/ 516 h 751"/>
              <a:gd name="T66" fmla="*/ 517 w 1121"/>
              <a:gd name="T67" fmla="*/ 512 h 751"/>
              <a:gd name="T68" fmla="*/ 497 w 1121"/>
              <a:gd name="T69" fmla="*/ 530 h 751"/>
              <a:gd name="T70" fmla="*/ 502 w 1121"/>
              <a:gd name="T71" fmla="*/ 550 h 751"/>
              <a:gd name="T72" fmla="*/ 489 w 1121"/>
              <a:gd name="T73" fmla="*/ 547 h 751"/>
              <a:gd name="T74" fmla="*/ 484 w 1121"/>
              <a:gd name="T75" fmla="*/ 530 h 751"/>
              <a:gd name="T76" fmla="*/ 460 w 1121"/>
              <a:gd name="T77" fmla="*/ 531 h 751"/>
              <a:gd name="T78" fmla="*/ 459 w 1121"/>
              <a:gd name="T79" fmla="*/ 609 h 751"/>
              <a:gd name="T80" fmla="*/ 404 w 1121"/>
              <a:gd name="T81" fmla="*/ 648 h 751"/>
              <a:gd name="T82" fmla="*/ 383 w 1121"/>
              <a:gd name="T83" fmla="*/ 751 h 751"/>
              <a:gd name="T84" fmla="*/ 192 w 1121"/>
              <a:gd name="T85" fmla="*/ 737 h 751"/>
              <a:gd name="T86" fmla="*/ 123 w 1121"/>
              <a:gd name="T87" fmla="*/ 701 h 751"/>
              <a:gd name="T88" fmla="*/ 66 w 1121"/>
              <a:gd name="T89" fmla="*/ 618 h 751"/>
              <a:gd name="T90" fmla="*/ 37 w 1121"/>
              <a:gd name="T91" fmla="*/ 612 h 751"/>
              <a:gd name="T92" fmla="*/ 22 w 1121"/>
              <a:gd name="T93" fmla="*/ 552 h 751"/>
              <a:gd name="T94" fmla="*/ 0 w 1121"/>
              <a:gd name="T95" fmla="*/ 535 h 751"/>
              <a:gd name="T96" fmla="*/ 5 w 1121"/>
              <a:gd name="T97" fmla="*/ 523 h 7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121" h="751">
                <a:moveTo>
                  <a:pt x="5" y="523"/>
                </a:moveTo>
                <a:lnTo>
                  <a:pt x="12" y="510"/>
                </a:lnTo>
                <a:lnTo>
                  <a:pt x="0" y="469"/>
                </a:lnTo>
                <a:lnTo>
                  <a:pt x="11" y="465"/>
                </a:lnTo>
                <a:lnTo>
                  <a:pt x="114" y="503"/>
                </a:lnTo>
                <a:lnTo>
                  <a:pt x="151" y="497"/>
                </a:lnTo>
                <a:lnTo>
                  <a:pt x="181" y="454"/>
                </a:lnTo>
                <a:lnTo>
                  <a:pt x="187" y="421"/>
                </a:lnTo>
                <a:lnTo>
                  <a:pt x="180" y="374"/>
                </a:lnTo>
                <a:lnTo>
                  <a:pt x="139" y="272"/>
                </a:lnTo>
                <a:lnTo>
                  <a:pt x="213" y="146"/>
                </a:lnTo>
                <a:lnTo>
                  <a:pt x="299" y="59"/>
                </a:lnTo>
                <a:lnTo>
                  <a:pt x="371" y="48"/>
                </a:lnTo>
                <a:lnTo>
                  <a:pt x="427" y="0"/>
                </a:lnTo>
                <a:lnTo>
                  <a:pt x="427" y="3"/>
                </a:lnTo>
                <a:lnTo>
                  <a:pt x="507" y="15"/>
                </a:lnTo>
                <a:lnTo>
                  <a:pt x="613" y="257"/>
                </a:lnTo>
                <a:lnTo>
                  <a:pt x="719" y="268"/>
                </a:lnTo>
                <a:lnTo>
                  <a:pt x="748" y="221"/>
                </a:lnTo>
                <a:lnTo>
                  <a:pt x="777" y="215"/>
                </a:lnTo>
                <a:lnTo>
                  <a:pt x="778" y="217"/>
                </a:lnTo>
                <a:lnTo>
                  <a:pt x="946" y="358"/>
                </a:lnTo>
                <a:lnTo>
                  <a:pt x="1044" y="517"/>
                </a:lnTo>
                <a:lnTo>
                  <a:pt x="1121" y="682"/>
                </a:lnTo>
                <a:lnTo>
                  <a:pt x="887" y="670"/>
                </a:lnTo>
                <a:lnTo>
                  <a:pt x="745" y="552"/>
                </a:lnTo>
                <a:lnTo>
                  <a:pt x="715" y="607"/>
                </a:lnTo>
                <a:lnTo>
                  <a:pt x="634" y="607"/>
                </a:lnTo>
                <a:lnTo>
                  <a:pt x="638" y="611"/>
                </a:lnTo>
                <a:lnTo>
                  <a:pt x="599" y="605"/>
                </a:lnTo>
                <a:lnTo>
                  <a:pt x="605" y="585"/>
                </a:lnTo>
                <a:lnTo>
                  <a:pt x="587" y="556"/>
                </a:lnTo>
                <a:lnTo>
                  <a:pt x="575" y="516"/>
                </a:lnTo>
                <a:lnTo>
                  <a:pt x="517" y="512"/>
                </a:lnTo>
                <a:lnTo>
                  <a:pt x="497" y="530"/>
                </a:lnTo>
                <a:lnTo>
                  <a:pt x="502" y="550"/>
                </a:lnTo>
                <a:lnTo>
                  <a:pt x="489" y="547"/>
                </a:lnTo>
                <a:lnTo>
                  <a:pt x="484" y="530"/>
                </a:lnTo>
                <a:lnTo>
                  <a:pt x="460" y="531"/>
                </a:lnTo>
                <a:lnTo>
                  <a:pt x="459" y="609"/>
                </a:lnTo>
                <a:lnTo>
                  <a:pt x="404" y="648"/>
                </a:lnTo>
                <a:lnTo>
                  <a:pt x="383" y="751"/>
                </a:lnTo>
                <a:lnTo>
                  <a:pt x="192" y="737"/>
                </a:lnTo>
                <a:lnTo>
                  <a:pt x="123" y="701"/>
                </a:lnTo>
                <a:lnTo>
                  <a:pt x="66" y="618"/>
                </a:lnTo>
                <a:lnTo>
                  <a:pt x="37" y="612"/>
                </a:lnTo>
                <a:lnTo>
                  <a:pt x="22" y="552"/>
                </a:lnTo>
                <a:lnTo>
                  <a:pt x="0" y="535"/>
                </a:lnTo>
                <a:lnTo>
                  <a:pt x="5" y="523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4" name="Freeform 173"/>
          <p:cNvSpPr>
            <a:spLocks/>
          </p:cNvSpPr>
          <p:nvPr>
            <p:custDataLst>
              <p:tags r:id="rId92"/>
            </p:custDataLst>
          </p:nvPr>
        </p:nvSpPr>
        <p:spPr bwMode="gray">
          <a:xfrm>
            <a:off x="2122663" y="2757234"/>
            <a:ext cx="1447513" cy="1174962"/>
          </a:xfrm>
          <a:custGeom>
            <a:avLst/>
            <a:gdLst>
              <a:gd name="T0" fmla="*/ 19 w 1521"/>
              <a:gd name="T1" fmla="*/ 663 h 1314"/>
              <a:gd name="T2" fmla="*/ 34 w 1521"/>
              <a:gd name="T3" fmla="*/ 611 h 1314"/>
              <a:gd name="T4" fmla="*/ 102 w 1521"/>
              <a:gd name="T5" fmla="*/ 568 h 1314"/>
              <a:gd name="T6" fmla="*/ 142 w 1521"/>
              <a:gd name="T7" fmla="*/ 530 h 1314"/>
              <a:gd name="T8" fmla="*/ 136 w 1521"/>
              <a:gd name="T9" fmla="*/ 492 h 1314"/>
              <a:gd name="T10" fmla="*/ 143 w 1521"/>
              <a:gd name="T11" fmla="*/ 447 h 1314"/>
              <a:gd name="T12" fmla="*/ 144 w 1521"/>
              <a:gd name="T13" fmla="*/ 404 h 1314"/>
              <a:gd name="T14" fmla="*/ 164 w 1521"/>
              <a:gd name="T15" fmla="*/ 373 h 1314"/>
              <a:gd name="T16" fmla="*/ 180 w 1521"/>
              <a:gd name="T17" fmla="*/ 337 h 1314"/>
              <a:gd name="T18" fmla="*/ 199 w 1521"/>
              <a:gd name="T19" fmla="*/ 304 h 1314"/>
              <a:gd name="T20" fmla="*/ 208 w 1521"/>
              <a:gd name="T21" fmla="*/ 263 h 1314"/>
              <a:gd name="T22" fmla="*/ 223 w 1521"/>
              <a:gd name="T23" fmla="*/ 235 h 1314"/>
              <a:gd name="T24" fmla="*/ 246 w 1521"/>
              <a:gd name="T25" fmla="*/ 213 h 1314"/>
              <a:gd name="T26" fmla="*/ 264 w 1521"/>
              <a:gd name="T27" fmla="*/ 201 h 1314"/>
              <a:gd name="T28" fmla="*/ 282 w 1521"/>
              <a:gd name="T29" fmla="*/ 186 h 1314"/>
              <a:gd name="T30" fmla="*/ 294 w 1521"/>
              <a:gd name="T31" fmla="*/ 165 h 1314"/>
              <a:gd name="T32" fmla="*/ 308 w 1521"/>
              <a:gd name="T33" fmla="*/ 145 h 1314"/>
              <a:gd name="T34" fmla="*/ 312 w 1521"/>
              <a:gd name="T35" fmla="*/ 128 h 1314"/>
              <a:gd name="T36" fmla="*/ 318 w 1521"/>
              <a:gd name="T37" fmla="*/ 105 h 1314"/>
              <a:gd name="T38" fmla="*/ 309 w 1521"/>
              <a:gd name="T39" fmla="*/ 85 h 1314"/>
              <a:gd name="T40" fmla="*/ 319 w 1521"/>
              <a:gd name="T41" fmla="*/ 59 h 1314"/>
              <a:gd name="T42" fmla="*/ 345 w 1521"/>
              <a:gd name="T43" fmla="*/ 37 h 1314"/>
              <a:gd name="T44" fmla="*/ 366 w 1521"/>
              <a:gd name="T45" fmla="*/ 33 h 1314"/>
              <a:gd name="T46" fmla="*/ 385 w 1521"/>
              <a:gd name="T47" fmla="*/ 33 h 1314"/>
              <a:gd name="T48" fmla="*/ 409 w 1521"/>
              <a:gd name="T49" fmla="*/ 25 h 1314"/>
              <a:gd name="T50" fmla="*/ 432 w 1521"/>
              <a:gd name="T51" fmla="*/ 21 h 1314"/>
              <a:gd name="T52" fmla="*/ 458 w 1521"/>
              <a:gd name="T53" fmla="*/ 22 h 1314"/>
              <a:gd name="T54" fmla="*/ 477 w 1521"/>
              <a:gd name="T55" fmla="*/ 14 h 1314"/>
              <a:gd name="T56" fmla="*/ 498 w 1521"/>
              <a:gd name="T57" fmla="*/ 11 h 1314"/>
              <a:gd name="T58" fmla="*/ 521 w 1521"/>
              <a:gd name="T59" fmla="*/ 4 h 1314"/>
              <a:gd name="T60" fmla="*/ 543 w 1521"/>
              <a:gd name="T61" fmla="*/ 7 h 1314"/>
              <a:gd name="T62" fmla="*/ 561 w 1521"/>
              <a:gd name="T63" fmla="*/ 6 h 1314"/>
              <a:gd name="T64" fmla="*/ 578 w 1521"/>
              <a:gd name="T65" fmla="*/ 7 h 1314"/>
              <a:gd name="T66" fmla="*/ 594 w 1521"/>
              <a:gd name="T67" fmla="*/ 12 h 1314"/>
              <a:gd name="T68" fmla="*/ 612 w 1521"/>
              <a:gd name="T69" fmla="*/ 21 h 1314"/>
              <a:gd name="T70" fmla="*/ 671 w 1521"/>
              <a:gd name="T71" fmla="*/ 135 h 1314"/>
              <a:gd name="T72" fmla="*/ 774 w 1521"/>
              <a:gd name="T73" fmla="*/ 1307 h 1314"/>
              <a:gd name="T74" fmla="*/ 730 w 1521"/>
              <a:gd name="T75" fmla="*/ 1287 h 1314"/>
              <a:gd name="T76" fmla="*/ 703 w 1521"/>
              <a:gd name="T77" fmla="*/ 1260 h 1314"/>
              <a:gd name="T78" fmla="*/ 670 w 1521"/>
              <a:gd name="T79" fmla="*/ 1235 h 1314"/>
              <a:gd name="T80" fmla="*/ 657 w 1521"/>
              <a:gd name="T81" fmla="*/ 1208 h 1314"/>
              <a:gd name="T82" fmla="*/ 634 w 1521"/>
              <a:gd name="T83" fmla="*/ 1179 h 1314"/>
              <a:gd name="T84" fmla="*/ 591 w 1521"/>
              <a:gd name="T85" fmla="*/ 1155 h 1314"/>
              <a:gd name="T86" fmla="*/ 553 w 1521"/>
              <a:gd name="T87" fmla="*/ 1128 h 1314"/>
              <a:gd name="T88" fmla="*/ 512 w 1521"/>
              <a:gd name="T89" fmla="*/ 1117 h 1314"/>
              <a:gd name="T90" fmla="*/ 483 w 1521"/>
              <a:gd name="T91" fmla="*/ 1099 h 1314"/>
              <a:gd name="T92" fmla="*/ 450 w 1521"/>
              <a:gd name="T93" fmla="*/ 1085 h 1314"/>
              <a:gd name="T94" fmla="*/ 418 w 1521"/>
              <a:gd name="T95" fmla="*/ 1067 h 1314"/>
              <a:gd name="T96" fmla="*/ 395 w 1521"/>
              <a:gd name="T97" fmla="*/ 1034 h 1314"/>
              <a:gd name="T98" fmla="*/ 360 w 1521"/>
              <a:gd name="T99" fmla="*/ 1011 h 1314"/>
              <a:gd name="T100" fmla="*/ 367 w 1521"/>
              <a:gd name="T101" fmla="*/ 979 h 1314"/>
              <a:gd name="T102" fmla="*/ 392 w 1521"/>
              <a:gd name="T103" fmla="*/ 942 h 1314"/>
              <a:gd name="T104" fmla="*/ 384 w 1521"/>
              <a:gd name="T105" fmla="*/ 908 h 1314"/>
              <a:gd name="T106" fmla="*/ 351 w 1521"/>
              <a:gd name="T107" fmla="*/ 876 h 1314"/>
              <a:gd name="T108" fmla="*/ 297 w 1521"/>
              <a:gd name="T109" fmla="*/ 861 h 1314"/>
              <a:gd name="T110" fmla="*/ 261 w 1521"/>
              <a:gd name="T111" fmla="*/ 827 h 1314"/>
              <a:gd name="T112" fmla="*/ 232 w 1521"/>
              <a:gd name="T113" fmla="*/ 781 h 1314"/>
              <a:gd name="T114" fmla="*/ 188 w 1521"/>
              <a:gd name="T115" fmla="*/ 773 h 1314"/>
              <a:gd name="T116" fmla="*/ 146 w 1521"/>
              <a:gd name="T117" fmla="*/ 774 h 1314"/>
              <a:gd name="T118" fmla="*/ 106 w 1521"/>
              <a:gd name="T119" fmla="*/ 750 h 1314"/>
              <a:gd name="T120" fmla="*/ 66 w 1521"/>
              <a:gd name="T121" fmla="*/ 752 h 1314"/>
              <a:gd name="T122" fmla="*/ 22 w 1521"/>
              <a:gd name="T123" fmla="*/ 736 h 1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521" h="1314">
                <a:moveTo>
                  <a:pt x="0" y="708"/>
                </a:moveTo>
                <a:lnTo>
                  <a:pt x="0" y="707"/>
                </a:lnTo>
                <a:lnTo>
                  <a:pt x="3" y="706"/>
                </a:lnTo>
                <a:lnTo>
                  <a:pt x="3" y="704"/>
                </a:lnTo>
                <a:lnTo>
                  <a:pt x="4" y="703"/>
                </a:lnTo>
                <a:lnTo>
                  <a:pt x="4" y="700"/>
                </a:lnTo>
                <a:lnTo>
                  <a:pt x="6" y="699"/>
                </a:lnTo>
                <a:lnTo>
                  <a:pt x="6" y="697"/>
                </a:lnTo>
                <a:lnTo>
                  <a:pt x="4" y="696"/>
                </a:lnTo>
                <a:lnTo>
                  <a:pt x="4" y="696"/>
                </a:lnTo>
                <a:lnTo>
                  <a:pt x="4" y="693"/>
                </a:lnTo>
                <a:lnTo>
                  <a:pt x="4" y="692"/>
                </a:lnTo>
                <a:lnTo>
                  <a:pt x="6" y="688"/>
                </a:lnTo>
                <a:lnTo>
                  <a:pt x="6" y="686"/>
                </a:lnTo>
                <a:lnTo>
                  <a:pt x="6" y="685"/>
                </a:lnTo>
                <a:lnTo>
                  <a:pt x="6" y="682"/>
                </a:lnTo>
                <a:lnTo>
                  <a:pt x="4" y="681"/>
                </a:lnTo>
                <a:lnTo>
                  <a:pt x="4" y="680"/>
                </a:lnTo>
                <a:lnTo>
                  <a:pt x="4" y="678"/>
                </a:lnTo>
                <a:lnTo>
                  <a:pt x="6" y="677"/>
                </a:lnTo>
                <a:lnTo>
                  <a:pt x="7" y="677"/>
                </a:lnTo>
                <a:lnTo>
                  <a:pt x="8" y="675"/>
                </a:lnTo>
                <a:lnTo>
                  <a:pt x="10" y="675"/>
                </a:lnTo>
                <a:lnTo>
                  <a:pt x="11" y="675"/>
                </a:lnTo>
                <a:lnTo>
                  <a:pt x="14" y="675"/>
                </a:lnTo>
                <a:lnTo>
                  <a:pt x="14" y="674"/>
                </a:lnTo>
                <a:lnTo>
                  <a:pt x="15" y="673"/>
                </a:lnTo>
                <a:lnTo>
                  <a:pt x="17" y="673"/>
                </a:lnTo>
                <a:lnTo>
                  <a:pt x="17" y="670"/>
                </a:lnTo>
                <a:lnTo>
                  <a:pt x="19" y="670"/>
                </a:lnTo>
                <a:lnTo>
                  <a:pt x="19" y="667"/>
                </a:lnTo>
                <a:lnTo>
                  <a:pt x="19" y="666"/>
                </a:lnTo>
                <a:lnTo>
                  <a:pt x="21" y="664"/>
                </a:lnTo>
                <a:lnTo>
                  <a:pt x="19" y="663"/>
                </a:lnTo>
                <a:lnTo>
                  <a:pt x="19" y="662"/>
                </a:lnTo>
                <a:lnTo>
                  <a:pt x="19" y="662"/>
                </a:lnTo>
                <a:lnTo>
                  <a:pt x="22" y="662"/>
                </a:lnTo>
                <a:lnTo>
                  <a:pt x="22" y="660"/>
                </a:lnTo>
                <a:lnTo>
                  <a:pt x="22" y="659"/>
                </a:lnTo>
                <a:lnTo>
                  <a:pt x="23" y="656"/>
                </a:lnTo>
                <a:lnTo>
                  <a:pt x="25" y="656"/>
                </a:lnTo>
                <a:lnTo>
                  <a:pt x="26" y="656"/>
                </a:lnTo>
                <a:lnTo>
                  <a:pt x="28" y="656"/>
                </a:lnTo>
                <a:lnTo>
                  <a:pt x="29" y="655"/>
                </a:lnTo>
                <a:lnTo>
                  <a:pt x="29" y="653"/>
                </a:lnTo>
                <a:lnTo>
                  <a:pt x="29" y="652"/>
                </a:lnTo>
                <a:lnTo>
                  <a:pt x="29" y="649"/>
                </a:lnTo>
                <a:lnTo>
                  <a:pt x="30" y="649"/>
                </a:lnTo>
                <a:lnTo>
                  <a:pt x="32" y="649"/>
                </a:lnTo>
                <a:lnTo>
                  <a:pt x="33" y="648"/>
                </a:lnTo>
                <a:lnTo>
                  <a:pt x="36" y="647"/>
                </a:lnTo>
                <a:lnTo>
                  <a:pt x="37" y="645"/>
                </a:lnTo>
                <a:lnTo>
                  <a:pt x="37" y="644"/>
                </a:lnTo>
                <a:lnTo>
                  <a:pt x="36" y="641"/>
                </a:lnTo>
                <a:lnTo>
                  <a:pt x="36" y="638"/>
                </a:lnTo>
                <a:lnTo>
                  <a:pt x="34" y="636"/>
                </a:lnTo>
                <a:lnTo>
                  <a:pt x="33" y="634"/>
                </a:lnTo>
                <a:lnTo>
                  <a:pt x="32" y="631"/>
                </a:lnTo>
                <a:lnTo>
                  <a:pt x="29" y="631"/>
                </a:lnTo>
                <a:lnTo>
                  <a:pt x="28" y="629"/>
                </a:lnTo>
                <a:lnTo>
                  <a:pt x="26" y="629"/>
                </a:lnTo>
                <a:lnTo>
                  <a:pt x="26" y="626"/>
                </a:lnTo>
                <a:lnTo>
                  <a:pt x="25" y="623"/>
                </a:lnTo>
                <a:lnTo>
                  <a:pt x="26" y="620"/>
                </a:lnTo>
                <a:lnTo>
                  <a:pt x="28" y="619"/>
                </a:lnTo>
                <a:lnTo>
                  <a:pt x="30" y="616"/>
                </a:lnTo>
                <a:lnTo>
                  <a:pt x="33" y="614"/>
                </a:lnTo>
                <a:lnTo>
                  <a:pt x="34" y="611"/>
                </a:lnTo>
                <a:lnTo>
                  <a:pt x="36" y="608"/>
                </a:lnTo>
                <a:lnTo>
                  <a:pt x="37" y="605"/>
                </a:lnTo>
                <a:lnTo>
                  <a:pt x="39" y="604"/>
                </a:lnTo>
                <a:lnTo>
                  <a:pt x="40" y="603"/>
                </a:lnTo>
                <a:lnTo>
                  <a:pt x="41" y="600"/>
                </a:lnTo>
                <a:lnTo>
                  <a:pt x="44" y="598"/>
                </a:lnTo>
                <a:lnTo>
                  <a:pt x="47" y="597"/>
                </a:lnTo>
                <a:lnTo>
                  <a:pt x="50" y="597"/>
                </a:lnTo>
                <a:lnTo>
                  <a:pt x="52" y="597"/>
                </a:lnTo>
                <a:lnTo>
                  <a:pt x="55" y="596"/>
                </a:lnTo>
                <a:lnTo>
                  <a:pt x="56" y="596"/>
                </a:lnTo>
                <a:lnTo>
                  <a:pt x="58" y="593"/>
                </a:lnTo>
                <a:lnTo>
                  <a:pt x="59" y="592"/>
                </a:lnTo>
                <a:lnTo>
                  <a:pt x="63" y="592"/>
                </a:lnTo>
                <a:lnTo>
                  <a:pt x="65" y="593"/>
                </a:lnTo>
                <a:lnTo>
                  <a:pt x="67" y="593"/>
                </a:lnTo>
                <a:lnTo>
                  <a:pt x="70" y="594"/>
                </a:lnTo>
                <a:lnTo>
                  <a:pt x="73" y="594"/>
                </a:lnTo>
                <a:lnTo>
                  <a:pt x="76" y="593"/>
                </a:lnTo>
                <a:lnTo>
                  <a:pt x="78" y="592"/>
                </a:lnTo>
                <a:lnTo>
                  <a:pt x="83" y="592"/>
                </a:lnTo>
                <a:lnTo>
                  <a:pt x="85" y="589"/>
                </a:lnTo>
                <a:lnTo>
                  <a:pt x="87" y="586"/>
                </a:lnTo>
                <a:lnTo>
                  <a:pt x="87" y="583"/>
                </a:lnTo>
                <a:lnTo>
                  <a:pt x="88" y="581"/>
                </a:lnTo>
                <a:lnTo>
                  <a:pt x="88" y="575"/>
                </a:lnTo>
                <a:lnTo>
                  <a:pt x="88" y="572"/>
                </a:lnTo>
                <a:lnTo>
                  <a:pt x="88" y="571"/>
                </a:lnTo>
                <a:lnTo>
                  <a:pt x="89" y="568"/>
                </a:lnTo>
                <a:lnTo>
                  <a:pt x="92" y="567"/>
                </a:lnTo>
                <a:lnTo>
                  <a:pt x="95" y="565"/>
                </a:lnTo>
                <a:lnTo>
                  <a:pt x="99" y="564"/>
                </a:lnTo>
                <a:lnTo>
                  <a:pt x="100" y="565"/>
                </a:lnTo>
                <a:lnTo>
                  <a:pt x="102" y="568"/>
                </a:lnTo>
                <a:lnTo>
                  <a:pt x="103" y="570"/>
                </a:lnTo>
                <a:lnTo>
                  <a:pt x="106" y="568"/>
                </a:lnTo>
                <a:lnTo>
                  <a:pt x="106" y="565"/>
                </a:lnTo>
                <a:lnTo>
                  <a:pt x="106" y="563"/>
                </a:lnTo>
                <a:lnTo>
                  <a:pt x="106" y="561"/>
                </a:lnTo>
                <a:lnTo>
                  <a:pt x="103" y="559"/>
                </a:lnTo>
                <a:lnTo>
                  <a:pt x="103" y="557"/>
                </a:lnTo>
                <a:lnTo>
                  <a:pt x="102" y="556"/>
                </a:lnTo>
                <a:lnTo>
                  <a:pt x="102" y="554"/>
                </a:lnTo>
                <a:lnTo>
                  <a:pt x="105" y="553"/>
                </a:lnTo>
                <a:lnTo>
                  <a:pt x="106" y="552"/>
                </a:lnTo>
                <a:lnTo>
                  <a:pt x="107" y="552"/>
                </a:lnTo>
                <a:lnTo>
                  <a:pt x="107" y="550"/>
                </a:lnTo>
                <a:lnTo>
                  <a:pt x="110" y="550"/>
                </a:lnTo>
                <a:lnTo>
                  <a:pt x="111" y="550"/>
                </a:lnTo>
                <a:lnTo>
                  <a:pt x="113" y="549"/>
                </a:lnTo>
                <a:lnTo>
                  <a:pt x="116" y="548"/>
                </a:lnTo>
                <a:lnTo>
                  <a:pt x="117" y="546"/>
                </a:lnTo>
                <a:lnTo>
                  <a:pt x="120" y="546"/>
                </a:lnTo>
                <a:lnTo>
                  <a:pt x="121" y="546"/>
                </a:lnTo>
                <a:lnTo>
                  <a:pt x="122" y="545"/>
                </a:lnTo>
                <a:lnTo>
                  <a:pt x="125" y="543"/>
                </a:lnTo>
                <a:lnTo>
                  <a:pt x="128" y="543"/>
                </a:lnTo>
                <a:lnTo>
                  <a:pt x="129" y="543"/>
                </a:lnTo>
                <a:lnTo>
                  <a:pt x="132" y="542"/>
                </a:lnTo>
                <a:lnTo>
                  <a:pt x="135" y="541"/>
                </a:lnTo>
                <a:lnTo>
                  <a:pt x="136" y="538"/>
                </a:lnTo>
                <a:lnTo>
                  <a:pt x="138" y="537"/>
                </a:lnTo>
                <a:lnTo>
                  <a:pt x="138" y="535"/>
                </a:lnTo>
                <a:lnTo>
                  <a:pt x="139" y="535"/>
                </a:lnTo>
                <a:lnTo>
                  <a:pt x="140" y="534"/>
                </a:lnTo>
                <a:lnTo>
                  <a:pt x="140" y="532"/>
                </a:lnTo>
                <a:lnTo>
                  <a:pt x="140" y="531"/>
                </a:lnTo>
                <a:lnTo>
                  <a:pt x="142" y="530"/>
                </a:lnTo>
                <a:lnTo>
                  <a:pt x="143" y="530"/>
                </a:lnTo>
                <a:lnTo>
                  <a:pt x="144" y="530"/>
                </a:lnTo>
                <a:lnTo>
                  <a:pt x="146" y="530"/>
                </a:lnTo>
                <a:lnTo>
                  <a:pt x="147" y="530"/>
                </a:lnTo>
                <a:lnTo>
                  <a:pt x="147" y="528"/>
                </a:lnTo>
                <a:lnTo>
                  <a:pt x="147" y="527"/>
                </a:lnTo>
                <a:lnTo>
                  <a:pt x="147" y="526"/>
                </a:lnTo>
                <a:lnTo>
                  <a:pt x="147" y="524"/>
                </a:lnTo>
                <a:lnTo>
                  <a:pt x="147" y="521"/>
                </a:lnTo>
                <a:lnTo>
                  <a:pt x="147" y="520"/>
                </a:lnTo>
                <a:lnTo>
                  <a:pt x="147" y="519"/>
                </a:lnTo>
                <a:lnTo>
                  <a:pt x="147" y="517"/>
                </a:lnTo>
                <a:lnTo>
                  <a:pt x="147" y="516"/>
                </a:lnTo>
                <a:lnTo>
                  <a:pt x="147" y="514"/>
                </a:lnTo>
                <a:lnTo>
                  <a:pt x="146" y="514"/>
                </a:lnTo>
                <a:lnTo>
                  <a:pt x="146" y="513"/>
                </a:lnTo>
                <a:lnTo>
                  <a:pt x="144" y="512"/>
                </a:lnTo>
                <a:lnTo>
                  <a:pt x="144" y="510"/>
                </a:lnTo>
                <a:lnTo>
                  <a:pt x="144" y="509"/>
                </a:lnTo>
                <a:lnTo>
                  <a:pt x="143" y="509"/>
                </a:lnTo>
                <a:lnTo>
                  <a:pt x="142" y="509"/>
                </a:lnTo>
                <a:lnTo>
                  <a:pt x="142" y="508"/>
                </a:lnTo>
                <a:lnTo>
                  <a:pt x="140" y="506"/>
                </a:lnTo>
                <a:lnTo>
                  <a:pt x="139" y="505"/>
                </a:lnTo>
                <a:lnTo>
                  <a:pt x="138" y="503"/>
                </a:lnTo>
                <a:lnTo>
                  <a:pt x="136" y="502"/>
                </a:lnTo>
                <a:lnTo>
                  <a:pt x="136" y="501"/>
                </a:lnTo>
                <a:lnTo>
                  <a:pt x="138" y="499"/>
                </a:lnTo>
                <a:lnTo>
                  <a:pt x="138" y="498"/>
                </a:lnTo>
                <a:lnTo>
                  <a:pt x="136" y="497"/>
                </a:lnTo>
                <a:lnTo>
                  <a:pt x="136" y="497"/>
                </a:lnTo>
                <a:lnTo>
                  <a:pt x="136" y="495"/>
                </a:lnTo>
                <a:lnTo>
                  <a:pt x="136" y="494"/>
                </a:lnTo>
                <a:lnTo>
                  <a:pt x="136" y="492"/>
                </a:lnTo>
                <a:lnTo>
                  <a:pt x="138" y="491"/>
                </a:lnTo>
                <a:lnTo>
                  <a:pt x="138" y="490"/>
                </a:lnTo>
                <a:lnTo>
                  <a:pt x="136" y="488"/>
                </a:lnTo>
                <a:lnTo>
                  <a:pt x="136" y="487"/>
                </a:lnTo>
                <a:lnTo>
                  <a:pt x="136" y="486"/>
                </a:lnTo>
                <a:lnTo>
                  <a:pt x="135" y="484"/>
                </a:lnTo>
                <a:lnTo>
                  <a:pt x="135" y="481"/>
                </a:lnTo>
                <a:lnTo>
                  <a:pt x="135" y="480"/>
                </a:lnTo>
                <a:lnTo>
                  <a:pt x="135" y="479"/>
                </a:lnTo>
                <a:lnTo>
                  <a:pt x="136" y="477"/>
                </a:lnTo>
                <a:lnTo>
                  <a:pt x="135" y="476"/>
                </a:lnTo>
                <a:lnTo>
                  <a:pt x="136" y="475"/>
                </a:lnTo>
                <a:lnTo>
                  <a:pt x="136" y="473"/>
                </a:lnTo>
                <a:lnTo>
                  <a:pt x="136" y="472"/>
                </a:lnTo>
                <a:lnTo>
                  <a:pt x="136" y="470"/>
                </a:lnTo>
                <a:lnTo>
                  <a:pt x="136" y="469"/>
                </a:lnTo>
                <a:lnTo>
                  <a:pt x="136" y="469"/>
                </a:lnTo>
                <a:lnTo>
                  <a:pt x="136" y="468"/>
                </a:lnTo>
                <a:lnTo>
                  <a:pt x="136" y="466"/>
                </a:lnTo>
                <a:lnTo>
                  <a:pt x="136" y="465"/>
                </a:lnTo>
                <a:lnTo>
                  <a:pt x="136" y="464"/>
                </a:lnTo>
                <a:lnTo>
                  <a:pt x="136" y="464"/>
                </a:lnTo>
                <a:lnTo>
                  <a:pt x="136" y="462"/>
                </a:lnTo>
                <a:lnTo>
                  <a:pt x="136" y="461"/>
                </a:lnTo>
                <a:lnTo>
                  <a:pt x="138" y="459"/>
                </a:lnTo>
                <a:lnTo>
                  <a:pt x="138" y="458"/>
                </a:lnTo>
                <a:lnTo>
                  <a:pt x="139" y="457"/>
                </a:lnTo>
                <a:lnTo>
                  <a:pt x="139" y="455"/>
                </a:lnTo>
                <a:lnTo>
                  <a:pt x="140" y="454"/>
                </a:lnTo>
                <a:lnTo>
                  <a:pt x="140" y="453"/>
                </a:lnTo>
                <a:lnTo>
                  <a:pt x="142" y="451"/>
                </a:lnTo>
                <a:lnTo>
                  <a:pt x="143" y="450"/>
                </a:lnTo>
                <a:lnTo>
                  <a:pt x="143" y="448"/>
                </a:lnTo>
                <a:lnTo>
                  <a:pt x="143" y="447"/>
                </a:lnTo>
                <a:lnTo>
                  <a:pt x="144" y="446"/>
                </a:lnTo>
                <a:lnTo>
                  <a:pt x="146" y="444"/>
                </a:lnTo>
                <a:lnTo>
                  <a:pt x="146" y="443"/>
                </a:lnTo>
                <a:lnTo>
                  <a:pt x="146" y="442"/>
                </a:lnTo>
                <a:lnTo>
                  <a:pt x="146" y="440"/>
                </a:lnTo>
                <a:lnTo>
                  <a:pt x="144" y="440"/>
                </a:lnTo>
                <a:lnTo>
                  <a:pt x="143" y="440"/>
                </a:lnTo>
                <a:lnTo>
                  <a:pt x="143" y="439"/>
                </a:lnTo>
                <a:lnTo>
                  <a:pt x="143" y="437"/>
                </a:lnTo>
                <a:lnTo>
                  <a:pt x="143" y="436"/>
                </a:lnTo>
                <a:lnTo>
                  <a:pt x="142" y="435"/>
                </a:lnTo>
                <a:lnTo>
                  <a:pt x="142" y="433"/>
                </a:lnTo>
                <a:lnTo>
                  <a:pt x="142" y="432"/>
                </a:lnTo>
                <a:lnTo>
                  <a:pt x="143" y="431"/>
                </a:lnTo>
                <a:lnTo>
                  <a:pt x="143" y="431"/>
                </a:lnTo>
                <a:lnTo>
                  <a:pt x="142" y="431"/>
                </a:lnTo>
                <a:lnTo>
                  <a:pt x="142" y="429"/>
                </a:lnTo>
                <a:lnTo>
                  <a:pt x="140" y="428"/>
                </a:lnTo>
                <a:lnTo>
                  <a:pt x="139" y="426"/>
                </a:lnTo>
                <a:lnTo>
                  <a:pt x="139" y="425"/>
                </a:lnTo>
                <a:lnTo>
                  <a:pt x="139" y="424"/>
                </a:lnTo>
                <a:lnTo>
                  <a:pt x="139" y="422"/>
                </a:lnTo>
                <a:lnTo>
                  <a:pt x="138" y="420"/>
                </a:lnTo>
                <a:lnTo>
                  <a:pt x="138" y="418"/>
                </a:lnTo>
                <a:lnTo>
                  <a:pt x="139" y="417"/>
                </a:lnTo>
                <a:lnTo>
                  <a:pt x="139" y="414"/>
                </a:lnTo>
                <a:lnTo>
                  <a:pt x="140" y="414"/>
                </a:lnTo>
                <a:lnTo>
                  <a:pt x="140" y="413"/>
                </a:lnTo>
                <a:lnTo>
                  <a:pt x="142" y="411"/>
                </a:lnTo>
                <a:lnTo>
                  <a:pt x="143" y="411"/>
                </a:lnTo>
                <a:lnTo>
                  <a:pt x="143" y="410"/>
                </a:lnTo>
                <a:lnTo>
                  <a:pt x="143" y="407"/>
                </a:lnTo>
                <a:lnTo>
                  <a:pt x="144" y="407"/>
                </a:lnTo>
                <a:lnTo>
                  <a:pt x="144" y="404"/>
                </a:lnTo>
                <a:lnTo>
                  <a:pt x="143" y="403"/>
                </a:lnTo>
                <a:lnTo>
                  <a:pt x="143" y="402"/>
                </a:lnTo>
                <a:lnTo>
                  <a:pt x="144" y="400"/>
                </a:lnTo>
                <a:lnTo>
                  <a:pt x="146" y="399"/>
                </a:lnTo>
                <a:lnTo>
                  <a:pt x="147" y="399"/>
                </a:lnTo>
                <a:lnTo>
                  <a:pt x="149" y="398"/>
                </a:lnTo>
                <a:lnTo>
                  <a:pt x="150" y="398"/>
                </a:lnTo>
                <a:lnTo>
                  <a:pt x="151" y="398"/>
                </a:lnTo>
                <a:lnTo>
                  <a:pt x="151" y="396"/>
                </a:lnTo>
                <a:lnTo>
                  <a:pt x="153" y="396"/>
                </a:lnTo>
                <a:lnTo>
                  <a:pt x="153" y="395"/>
                </a:lnTo>
                <a:lnTo>
                  <a:pt x="154" y="395"/>
                </a:lnTo>
                <a:lnTo>
                  <a:pt x="155" y="393"/>
                </a:lnTo>
                <a:lnTo>
                  <a:pt x="154" y="393"/>
                </a:lnTo>
                <a:lnTo>
                  <a:pt x="154" y="392"/>
                </a:lnTo>
                <a:lnTo>
                  <a:pt x="155" y="391"/>
                </a:lnTo>
                <a:lnTo>
                  <a:pt x="157" y="391"/>
                </a:lnTo>
                <a:lnTo>
                  <a:pt x="157" y="389"/>
                </a:lnTo>
                <a:lnTo>
                  <a:pt x="158" y="389"/>
                </a:lnTo>
                <a:lnTo>
                  <a:pt x="160" y="389"/>
                </a:lnTo>
                <a:lnTo>
                  <a:pt x="160" y="388"/>
                </a:lnTo>
                <a:lnTo>
                  <a:pt x="160" y="387"/>
                </a:lnTo>
                <a:lnTo>
                  <a:pt x="161" y="385"/>
                </a:lnTo>
                <a:lnTo>
                  <a:pt x="160" y="385"/>
                </a:lnTo>
                <a:lnTo>
                  <a:pt x="158" y="384"/>
                </a:lnTo>
                <a:lnTo>
                  <a:pt x="158" y="382"/>
                </a:lnTo>
                <a:lnTo>
                  <a:pt x="160" y="381"/>
                </a:lnTo>
                <a:lnTo>
                  <a:pt x="160" y="380"/>
                </a:lnTo>
                <a:lnTo>
                  <a:pt x="160" y="378"/>
                </a:lnTo>
                <a:lnTo>
                  <a:pt x="160" y="377"/>
                </a:lnTo>
                <a:lnTo>
                  <a:pt x="160" y="376"/>
                </a:lnTo>
                <a:lnTo>
                  <a:pt x="161" y="374"/>
                </a:lnTo>
                <a:lnTo>
                  <a:pt x="162" y="373"/>
                </a:lnTo>
                <a:lnTo>
                  <a:pt x="164" y="373"/>
                </a:lnTo>
                <a:lnTo>
                  <a:pt x="164" y="371"/>
                </a:lnTo>
                <a:lnTo>
                  <a:pt x="165" y="371"/>
                </a:lnTo>
                <a:lnTo>
                  <a:pt x="165" y="370"/>
                </a:lnTo>
                <a:lnTo>
                  <a:pt x="165" y="369"/>
                </a:lnTo>
                <a:lnTo>
                  <a:pt x="165" y="367"/>
                </a:lnTo>
                <a:lnTo>
                  <a:pt x="165" y="366"/>
                </a:lnTo>
                <a:lnTo>
                  <a:pt x="165" y="365"/>
                </a:lnTo>
                <a:lnTo>
                  <a:pt x="166" y="365"/>
                </a:lnTo>
                <a:lnTo>
                  <a:pt x="168" y="363"/>
                </a:lnTo>
                <a:lnTo>
                  <a:pt x="168" y="362"/>
                </a:lnTo>
                <a:lnTo>
                  <a:pt x="169" y="360"/>
                </a:lnTo>
                <a:lnTo>
                  <a:pt x="169" y="362"/>
                </a:lnTo>
                <a:lnTo>
                  <a:pt x="171" y="362"/>
                </a:lnTo>
                <a:lnTo>
                  <a:pt x="172" y="360"/>
                </a:lnTo>
                <a:lnTo>
                  <a:pt x="173" y="359"/>
                </a:lnTo>
                <a:lnTo>
                  <a:pt x="175" y="360"/>
                </a:lnTo>
                <a:lnTo>
                  <a:pt x="175" y="359"/>
                </a:lnTo>
                <a:lnTo>
                  <a:pt x="176" y="358"/>
                </a:lnTo>
                <a:lnTo>
                  <a:pt x="177" y="355"/>
                </a:lnTo>
                <a:lnTo>
                  <a:pt x="179" y="355"/>
                </a:lnTo>
                <a:lnTo>
                  <a:pt x="177" y="352"/>
                </a:lnTo>
                <a:lnTo>
                  <a:pt x="177" y="351"/>
                </a:lnTo>
                <a:lnTo>
                  <a:pt x="179" y="348"/>
                </a:lnTo>
                <a:lnTo>
                  <a:pt x="179" y="347"/>
                </a:lnTo>
                <a:lnTo>
                  <a:pt x="177" y="347"/>
                </a:lnTo>
                <a:lnTo>
                  <a:pt x="177" y="345"/>
                </a:lnTo>
                <a:lnTo>
                  <a:pt x="177" y="344"/>
                </a:lnTo>
                <a:lnTo>
                  <a:pt x="179" y="343"/>
                </a:lnTo>
                <a:lnTo>
                  <a:pt x="179" y="341"/>
                </a:lnTo>
                <a:lnTo>
                  <a:pt x="177" y="341"/>
                </a:lnTo>
                <a:lnTo>
                  <a:pt x="177" y="340"/>
                </a:lnTo>
                <a:lnTo>
                  <a:pt x="179" y="338"/>
                </a:lnTo>
                <a:lnTo>
                  <a:pt x="180" y="338"/>
                </a:lnTo>
                <a:lnTo>
                  <a:pt x="180" y="337"/>
                </a:lnTo>
                <a:lnTo>
                  <a:pt x="182" y="337"/>
                </a:lnTo>
                <a:lnTo>
                  <a:pt x="183" y="337"/>
                </a:lnTo>
                <a:lnTo>
                  <a:pt x="184" y="336"/>
                </a:lnTo>
                <a:lnTo>
                  <a:pt x="183" y="334"/>
                </a:lnTo>
                <a:lnTo>
                  <a:pt x="184" y="333"/>
                </a:lnTo>
                <a:lnTo>
                  <a:pt x="186" y="332"/>
                </a:lnTo>
                <a:lnTo>
                  <a:pt x="187" y="330"/>
                </a:lnTo>
                <a:lnTo>
                  <a:pt x="188" y="330"/>
                </a:lnTo>
                <a:lnTo>
                  <a:pt x="190" y="329"/>
                </a:lnTo>
                <a:lnTo>
                  <a:pt x="190" y="327"/>
                </a:lnTo>
                <a:lnTo>
                  <a:pt x="188" y="326"/>
                </a:lnTo>
                <a:lnTo>
                  <a:pt x="190" y="325"/>
                </a:lnTo>
                <a:lnTo>
                  <a:pt x="191" y="323"/>
                </a:lnTo>
                <a:lnTo>
                  <a:pt x="190" y="323"/>
                </a:lnTo>
                <a:lnTo>
                  <a:pt x="190" y="322"/>
                </a:lnTo>
                <a:lnTo>
                  <a:pt x="191" y="321"/>
                </a:lnTo>
                <a:lnTo>
                  <a:pt x="191" y="319"/>
                </a:lnTo>
                <a:lnTo>
                  <a:pt x="191" y="316"/>
                </a:lnTo>
                <a:lnTo>
                  <a:pt x="193" y="316"/>
                </a:lnTo>
                <a:lnTo>
                  <a:pt x="194" y="316"/>
                </a:lnTo>
                <a:lnTo>
                  <a:pt x="194" y="315"/>
                </a:lnTo>
                <a:lnTo>
                  <a:pt x="195" y="312"/>
                </a:lnTo>
                <a:lnTo>
                  <a:pt x="197" y="314"/>
                </a:lnTo>
                <a:lnTo>
                  <a:pt x="198" y="314"/>
                </a:lnTo>
                <a:lnTo>
                  <a:pt x="197" y="312"/>
                </a:lnTo>
                <a:lnTo>
                  <a:pt x="197" y="311"/>
                </a:lnTo>
                <a:lnTo>
                  <a:pt x="195" y="310"/>
                </a:lnTo>
                <a:lnTo>
                  <a:pt x="195" y="308"/>
                </a:lnTo>
                <a:lnTo>
                  <a:pt x="198" y="310"/>
                </a:lnTo>
                <a:lnTo>
                  <a:pt x="198" y="308"/>
                </a:lnTo>
                <a:lnTo>
                  <a:pt x="198" y="307"/>
                </a:lnTo>
                <a:lnTo>
                  <a:pt x="198" y="305"/>
                </a:lnTo>
                <a:lnTo>
                  <a:pt x="197" y="304"/>
                </a:lnTo>
                <a:lnTo>
                  <a:pt x="199" y="304"/>
                </a:lnTo>
                <a:lnTo>
                  <a:pt x="199" y="303"/>
                </a:lnTo>
                <a:lnTo>
                  <a:pt x="201" y="300"/>
                </a:lnTo>
                <a:lnTo>
                  <a:pt x="202" y="299"/>
                </a:lnTo>
                <a:lnTo>
                  <a:pt x="202" y="299"/>
                </a:lnTo>
                <a:lnTo>
                  <a:pt x="204" y="297"/>
                </a:lnTo>
                <a:lnTo>
                  <a:pt x="204" y="294"/>
                </a:lnTo>
                <a:lnTo>
                  <a:pt x="205" y="294"/>
                </a:lnTo>
                <a:lnTo>
                  <a:pt x="206" y="294"/>
                </a:lnTo>
                <a:lnTo>
                  <a:pt x="208" y="296"/>
                </a:lnTo>
                <a:lnTo>
                  <a:pt x="209" y="294"/>
                </a:lnTo>
                <a:lnTo>
                  <a:pt x="209" y="293"/>
                </a:lnTo>
                <a:lnTo>
                  <a:pt x="209" y="292"/>
                </a:lnTo>
                <a:lnTo>
                  <a:pt x="209" y="290"/>
                </a:lnTo>
                <a:lnTo>
                  <a:pt x="209" y="288"/>
                </a:lnTo>
                <a:lnTo>
                  <a:pt x="209" y="286"/>
                </a:lnTo>
                <a:lnTo>
                  <a:pt x="209" y="283"/>
                </a:lnTo>
                <a:lnTo>
                  <a:pt x="209" y="282"/>
                </a:lnTo>
                <a:lnTo>
                  <a:pt x="209" y="281"/>
                </a:lnTo>
                <a:lnTo>
                  <a:pt x="209" y="279"/>
                </a:lnTo>
                <a:lnTo>
                  <a:pt x="208" y="278"/>
                </a:lnTo>
                <a:lnTo>
                  <a:pt x="210" y="277"/>
                </a:lnTo>
                <a:lnTo>
                  <a:pt x="209" y="277"/>
                </a:lnTo>
                <a:lnTo>
                  <a:pt x="210" y="275"/>
                </a:lnTo>
                <a:lnTo>
                  <a:pt x="209" y="275"/>
                </a:lnTo>
                <a:lnTo>
                  <a:pt x="209" y="274"/>
                </a:lnTo>
                <a:lnTo>
                  <a:pt x="209" y="272"/>
                </a:lnTo>
                <a:lnTo>
                  <a:pt x="208" y="271"/>
                </a:lnTo>
                <a:lnTo>
                  <a:pt x="205" y="271"/>
                </a:lnTo>
                <a:lnTo>
                  <a:pt x="205" y="270"/>
                </a:lnTo>
                <a:lnTo>
                  <a:pt x="205" y="268"/>
                </a:lnTo>
                <a:lnTo>
                  <a:pt x="205" y="267"/>
                </a:lnTo>
                <a:lnTo>
                  <a:pt x="206" y="266"/>
                </a:lnTo>
                <a:lnTo>
                  <a:pt x="206" y="264"/>
                </a:lnTo>
                <a:lnTo>
                  <a:pt x="208" y="263"/>
                </a:lnTo>
                <a:lnTo>
                  <a:pt x="208" y="260"/>
                </a:lnTo>
                <a:lnTo>
                  <a:pt x="206" y="260"/>
                </a:lnTo>
                <a:lnTo>
                  <a:pt x="205" y="259"/>
                </a:lnTo>
                <a:lnTo>
                  <a:pt x="206" y="259"/>
                </a:lnTo>
                <a:lnTo>
                  <a:pt x="206" y="257"/>
                </a:lnTo>
                <a:lnTo>
                  <a:pt x="208" y="256"/>
                </a:lnTo>
                <a:lnTo>
                  <a:pt x="206" y="255"/>
                </a:lnTo>
                <a:lnTo>
                  <a:pt x="205" y="253"/>
                </a:lnTo>
                <a:lnTo>
                  <a:pt x="205" y="252"/>
                </a:lnTo>
                <a:lnTo>
                  <a:pt x="204" y="252"/>
                </a:lnTo>
                <a:lnTo>
                  <a:pt x="202" y="250"/>
                </a:lnTo>
                <a:lnTo>
                  <a:pt x="202" y="249"/>
                </a:lnTo>
                <a:lnTo>
                  <a:pt x="204" y="248"/>
                </a:lnTo>
                <a:lnTo>
                  <a:pt x="205" y="245"/>
                </a:lnTo>
                <a:lnTo>
                  <a:pt x="206" y="248"/>
                </a:lnTo>
                <a:lnTo>
                  <a:pt x="206" y="246"/>
                </a:lnTo>
                <a:lnTo>
                  <a:pt x="208" y="245"/>
                </a:lnTo>
                <a:lnTo>
                  <a:pt x="209" y="244"/>
                </a:lnTo>
                <a:lnTo>
                  <a:pt x="210" y="244"/>
                </a:lnTo>
                <a:lnTo>
                  <a:pt x="209" y="242"/>
                </a:lnTo>
                <a:lnTo>
                  <a:pt x="208" y="241"/>
                </a:lnTo>
                <a:lnTo>
                  <a:pt x="209" y="239"/>
                </a:lnTo>
                <a:lnTo>
                  <a:pt x="210" y="241"/>
                </a:lnTo>
                <a:lnTo>
                  <a:pt x="212" y="241"/>
                </a:lnTo>
                <a:lnTo>
                  <a:pt x="213" y="241"/>
                </a:lnTo>
                <a:lnTo>
                  <a:pt x="215" y="241"/>
                </a:lnTo>
                <a:lnTo>
                  <a:pt x="215" y="239"/>
                </a:lnTo>
                <a:lnTo>
                  <a:pt x="216" y="238"/>
                </a:lnTo>
                <a:lnTo>
                  <a:pt x="217" y="237"/>
                </a:lnTo>
                <a:lnTo>
                  <a:pt x="219" y="237"/>
                </a:lnTo>
                <a:lnTo>
                  <a:pt x="220" y="238"/>
                </a:lnTo>
                <a:lnTo>
                  <a:pt x="221" y="238"/>
                </a:lnTo>
                <a:lnTo>
                  <a:pt x="221" y="237"/>
                </a:lnTo>
                <a:lnTo>
                  <a:pt x="223" y="235"/>
                </a:lnTo>
                <a:lnTo>
                  <a:pt x="223" y="234"/>
                </a:lnTo>
                <a:lnTo>
                  <a:pt x="223" y="233"/>
                </a:lnTo>
                <a:lnTo>
                  <a:pt x="224" y="233"/>
                </a:lnTo>
                <a:lnTo>
                  <a:pt x="226" y="234"/>
                </a:lnTo>
                <a:lnTo>
                  <a:pt x="226" y="233"/>
                </a:lnTo>
                <a:lnTo>
                  <a:pt x="228" y="233"/>
                </a:lnTo>
                <a:lnTo>
                  <a:pt x="228" y="233"/>
                </a:lnTo>
                <a:lnTo>
                  <a:pt x="227" y="231"/>
                </a:lnTo>
                <a:lnTo>
                  <a:pt x="227" y="230"/>
                </a:lnTo>
                <a:lnTo>
                  <a:pt x="228" y="230"/>
                </a:lnTo>
                <a:lnTo>
                  <a:pt x="228" y="228"/>
                </a:lnTo>
                <a:lnTo>
                  <a:pt x="230" y="228"/>
                </a:lnTo>
                <a:lnTo>
                  <a:pt x="231" y="230"/>
                </a:lnTo>
                <a:lnTo>
                  <a:pt x="232" y="230"/>
                </a:lnTo>
                <a:lnTo>
                  <a:pt x="232" y="228"/>
                </a:lnTo>
                <a:lnTo>
                  <a:pt x="234" y="228"/>
                </a:lnTo>
                <a:lnTo>
                  <a:pt x="234" y="227"/>
                </a:lnTo>
                <a:lnTo>
                  <a:pt x="235" y="227"/>
                </a:lnTo>
                <a:lnTo>
                  <a:pt x="235" y="227"/>
                </a:lnTo>
                <a:lnTo>
                  <a:pt x="235" y="226"/>
                </a:lnTo>
                <a:lnTo>
                  <a:pt x="237" y="223"/>
                </a:lnTo>
                <a:lnTo>
                  <a:pt x="237" y="222"/>
                </a:lnTo>
                <a:lnTo>
                  <a:pt x="237" y="220"/>
                </a:lnTo>
                <a:lnTo>
                  <a:pt x="238" y="220"/>
                </a:lnTo>
                <a:lnTo>
                  <a:pt x="238" y="219"/>
                </a:lnTo>
                <a:lnTo>
                  <a:pt x="238" y="217"/>
                </a:lnTo>
                <a:lnTo>
                  <a:pt x="239" y="216"/>
                </a:lnTo>
                <a:lnTo>
                  <a:pt x="241" y="216"/>
                </a:lnTo>
                <a:lnTo>
                  <a:pt x="242" y="216"/>
                </a:lnTo>
                <a:lnTo>
                  <a:pt x="242" y="215"/>
                </a:lnTo>
                <a:lnTo>
                  <a:pt x="243" y="215"/>
                </a:lnTo>
                <a:lnTo>
                  <a:pt x="245" y="215"/>
                </a:lnTo>
                <a:lnTo>
                  <a:pt x="245" y="213"/>
                </a:lnTo>
                <a:lnTo>
                  <a:pt x="246" y="213"/>
                </a:lnTo>
                <a:lnTo>
                  <a:pt x="248" y="213"/>
                </a:lnTo>
                <a:lnTo>
                  <a:pt x="246" y="212"/>
                </a:lnTo>
                <a:lnTo>
                  <a:pt x="248" y="212"/>
                </a:lnTo>
                <a:lnTo>
                  <a:pt x="249" y="211"/>
                </a:lnTo>
                <a:lnTo>
                  <a:pt x="250" y="211"/>
                </a:lnTo>
                <a:lnTo>
                  <a:pt x="250" y="212"/>
                </a:lnTo>
                <a:lnTo>
                  <a:pt x="252" y="212"/>
                </a:lnTo>
                <a:lnTo>
                  <a:pt x="252" y="211"/>
                </a:lnTo>
                <a:lnTo>
                  <a:pt x="252" y="209"/>
                </a:lnTo>
                <a:lnTo>
                  <a:pt x="252" y="211"/>
                </a:lnTo>
                <a:lnTo>
                  <a:pt x="250" y="209"/>
                </a:lnTo>
                <a:lnTo>
                  <a:pt x="252" y="208"/>
                </a:lnTo>
                <a:lnTo>
                  <a:pt x="253" y="206"/>
                </a:lnTo>
                <a:lnTo>
                  <a:pt x="253" y="205"/>
                </a:lnTo>
                <a:lnTo>
                  <a:pt x="254" y="206"/>
                </a:lnTo>
                <a:lnTo>
                  <a:pt x="256" y="206"/>
                </a:lnTo>
                <a:lnTo>
                  <a:pt x="256" y="205"/>
                </a:lnTo>
                <a:lnTo>
                  <a:pt x="257" y="205"/>
                </a:lnTo>
                <a:lnTo>
                  <a:pt x="259" y="206"/>
                </a:lnTo>
                <a:lnTo>
                  <a:pt x="260" y="206"/>
                </a:lnTo>
                <a:lnTo>
                  <a:pt x="259" y="205"/>
                </a:lnTo>
                <a:lnTo>
                  <a:pt x="257" y="205"/>
                </a:lnTo>
                <a:lnTo>
                  <a:pt x="260" y="204"/>
                </a:lnTo>
                <a:lnTo>
                  <a:pt x="260" y="202"/>
                </a:lnTo>
                <a:lnTo>
                  <a:pt x="261" y="202"/>
                </a:lnTo>
                <a:lnTo>
                  <a:pt x="261" y="201"/>
                </a:lnTo>
                <a:lnTo>
                  <a:pt x="261" y="200"/>
                </a:lnTo>
                <a:lnTo>
                  <a:pt x="263" y="200"/>
                </a:lnTo>
                <a:lnTo>
                  <a:pt x="263" y="201"/>
                </a:lnTo>
                <a:lnTo>
                  <a:pt x="263" y="202"/>
                </a:lnTo>
                <a:lnTo>
                  <a:pt x="264" y="204"/>
                </a:lnTo>
                <a:lnTo>
                  <a:pt x="265" y="202"/>
                </a:lnTo>
                <a:lnTo>
                  <a:pt x="265" y="201"/>
                </a:lnTo>
                <a:lnTo>
                  <a:pt x="264" y="201"/>
                </a:lnTo>
                <a:lnTo>
                  <a:pt x="263" y="200"/>
                </a:lnTo>
                <a:lnTo>
                  <a:pt x="264" y="200"/>
                </a:lnTo>
                <a:lnTo>
                  <a:pt x="265" y="200"/>
                </a:lnTo>
                <a:lnTo>
                  <a:pt x="267" y="200"/>
                </a:lnTo>
                <a:lnTo>
                  <a:pt x="268" y="200"/>
                </a:lnTo>
                <a:lnTo>
                  <a:pt x="268" y="200"/>
                </a:lnTo>
                <a:lnTo>
                  <a:pt x="268" y="198"/>
                </a:lnTo>
                <a:lnTo>
                  <a:pt x="268" y="197"/>
                </a:lnTo>
                <a:lnTo>
                  <a:pt x="270" y="197"/>
                </a:lnTo>
                <a:lnTo>
                  <a:pt x="271" y="197"/>
                </a:lnTo>
                <a:lnTo>
                  <a:pt x="272" y="197"/>
                </a:lnTo>
                <a:lnTo>
                  <a:pt x="274" y="197"/>
                </a:lnTo>
                <a:lnTo>
                  <a:pt x="275" y="197"/>
                </a:lnTo>
                <a:lnTo>
                  <a:pt x="275" y="195"/>
                </a:lnTo>
                <a:lnTo>
                  <a:pt x="274" y="195"/>
                </a:lnTo>
                <a:lnTo>
                  <a:pt x="274" y="194"/>
                </a:lnTo>
                <a:lnTo>
                  <a:pt x="275" y="194"/>
                </a:lnTo>
                <a:lnTo>
                  <a:pt x="275" y="193"/>
                </a:lnTo>
                <a:lnTo>
                  <a:pt x="275" y="191"/>
                </a:lnTo>
                <a:lnTo>
                  <a:pt x="276" y="190"/>
                </a:lnTo>
                <a:lnTo>
                  <a:pt x="276" y="191"/>
                </a:lnTo>
                <a:lnTo>
                  <a:pt x="278" y="191"/>
                </a:lnTo>
                <a:lnTo>
                  <a:pt x="279" y="191"/>
                </a:lnTo>
                <a:lnTo>
                  <a:pt x="279" y="190"/>
                </a:lnTo>
                <a:lnTo>
                  <a:pt x="278" y="190"/>
                </a:lnTo>
                <a:lnTo>
                  <a:pt x="276" y="189"/>
                </a:lnTo>
                <a:lnTo>
                  <a:pt x="276" y="187"/>
                </a:lnTo>
                <a:lnTo>
                  <a:pt x="278" y="187"/>
                </a:lnTo>
                <a:lnTo>
                  <a:pt x="279" y="189"/>
                </a:lnTo>
                <a:lnTo>
                  <a:pt x="279" y="187"/>
                </a:lnTo>
                <a:lnTo>
                  <a:pt x="278" y="187"/>
                </a:lnTo>
                <a:lnTo>
                  <a:pt x="279" y="186"/>
                </a:lnTo>
                <a:lnTo>
                  <a:pt x="281" y="186"/>
                </a:lnTo>
                <a:lnTo>
                  <a:pt x="282" y="186"/>
                </a:lnTo>
                <a:lnTo>
                  <a:pt x="282" y="187"/>
                </a:lnTo>
                <a:lnTo>
                  <a:pt x="285" y="187"/>
                </a:lnTo>
                <a:lnTo>
                  <a:pt x="285" y="189"/>
                </a:lnTo>
                <a:lnTo>
                  <a:pt x="286" y="189"/>
                </a:lnTo>
                <a:lnTo>
                  <a:pt x="287" y="189"/>
                </a:lnTo>
                <a:lnTo>
                  <a:pt x="289" y="186"/>
                </a:lnTo>
                <a:lnTo>
                  <a:pt x="287" y="184"/>
                </a:lnTo>
                <a:lnTo>
                  <a:pt x="287" y="186"/>
                </a:lnTo>
                <a:lnTo>
                  <a:pt x="286" y="186"/>
                </a:lnTo>
                <a:lnTo>
                  <a:pt x="285" y="186"/>
                </a:lnTo>
                <a:lnTo>
                  <a:pt x="285" y="184"/>
                </a:lnTo>
                <a:lnTo>
                  <a:pt x="285" y="183"/>
                </a:lnTo>
                <a:lnTo>
                  <a:pt x="286" y="182"/>
                </a:lnTo>
                <a:lnTo>
                  <a:pt x="286" y="180"/>
                </a:lnTo>
                <a:lnTo>
                  <a:pt x="287" y="179"/>
                </a:lnTo>
                <a:lnTo>
                  <a:pt x="287" y="178"/>
                </a:lnTo>
                <a:lnTo>
                  <a:pt x="286" y="176"/>
                </a:lnTo>
                <a:lnTo>
                  <a:pt x="287" y="176"/>
                </a:lnTo>
                <a:lnTo>
                  <a:pt x="290" y="175"/>
                </a:lnTo>
                <a:lnTo>
                  <a:pt x="290" y="173"/>
                </a:lnTo>
                <a:lnTo>
                  <a:pt x="290" y="172"/>
                </a:lnTo>
                <a:lnTo>
                  <a:pt x="290" y="171"/>
                </a:lnTo>
                <a:lnTo>
                  <a:pt x="292" y="169"/>
                </a:lnTo>
                <a:lnTo>
                  <a:pt x="290" y="169"/>
                </a:lnTo>
                <a:lnTo>
                  <a:pt x="289" y="169"/>
                </a:lnTo>
                <a:lnTo>
                  <a:pt x="289" y="168"/>
                </a:lnTo>
                <a:lnTo>
                  <a:pt x="290" y="168"/>
                </a:lnTo>
                <a:lnTo>
                  <a:pt x="289" y="167"/>
                </a:lnTo>
                <a:lnTo>
                  <a:pt x="290" y="165"/>
                </a:lnTo>
                <a:lnTo>
                  <a:pt x="292" y="165"/>
                </a:lnTo>
                <a:lnTo>
                  <a:pt x="293" y="165"/>
                </a:lnTo>
                <a:lnTo>
                  <a:pt x="293" y="164"/>
                </a:lnTo>
                <a:lnTo>
                  <a:pt x="294" y="164"/>
                </a:lnTo>
                <a:lnTo>
                  <a:pt x="294" y="165"/>
                </a:lnTo>
                <a:lnTo>
                  <a:pt x="294" y="164"/>
                </a:lnTo>
                <a:lnTo>
                  <a:pt x="294" y="162"/>
                </a:lnTo>
                <a:lnTo>
                  <a:pt x="296" y="161"/>
                </a:lnTo>
                <a:lnTo>
                  <a:pt x="297" y="162"/>
                </a:lnTo>
                <a:lnTo>
                  <a:pt x="297" y="164"/>
                </a:lnTo>
                <a:lnTo>
                  <a:pt x="298" y="164"/>
                </a:lnTo>
                <a:lnTo>
                  <a:pt x="300" y="164"/>
                </a:lnTo>
                <a:lnTo>
                  <a:pt x="301" y="164"/>
                </a:lnTo>
                <a:lnTo>
                  <a:pt x="301" y="162"/>
                </a:lnTo>
                <a:lnTo>
                  <a:pt x="301" y="161"/>
                </a:lnTo>
                <a:lnTo>
                  <a:pt x="301" y="161"/>
                </a:lnTo>
                <a:lnTo>
                  <a:pt x="301" y="160"/>
                </a:lnTo>
                <a:lnTo>
                  <a:pt x="301" y="160"/>
                </a:lnTo>
                <a:lnTo>
                  <a:pt x="300" y="158"/>
                </a:lnTo>
                <a:lnTo>
                  <a:pt x="298" y="158"/>
                </a:lnTo>
                <a:lnTo>
                  <a:pt x="298" y="156"/>
                </a:lnTo>
                <a:lnTo>
                  <a:pt x="300" y="154"/>
                </a:lnTo>
                <a:lnTo>
                  <a:pt x="300" y="153"/>
                </a:lnTo>
                <a:lnTo>
                  <a:pt x="300" y="151"/>
                </a:lnTo>
                <a:lnTo>
                  <a:pt x="301" y="150"/>
                </a:lnTo>
                <a:lnTo>
                  <a:pt x="301" y="151"/>
                </a:lnTo>
                <a:lnTo>
                  <a:pt x="301" y="151"/>
                </a:lnTo>
                <a:lnTo>
                  <a:pt x="301" y="150"/>
                </a:lnTo>
                <a:lnTo>
                  <a:pt x="301" y="149"/>
                </a:lnTo>
                <a:lnTo>
                  <a:pt x="303" y="147"/>
                </a:lnTo>
                <a:lnTo>
                  <a:pt x="303" y="149"/>
                </a:lnTo>
                <a:lnTo>
                  <a:pt x="304" y="149"/>
                </a:lnTo>
                <a:lnTo>
                  <a:pt x="305" y="149"/>
                </a:lnTo>
                <a:lnTo>
                  <a:pt x="307" y="149"/>
                </a:lnTo>
                <a:lnTo>
                  <a:pt x="308" y="147"/>
                </a:lnTo>
                <a:lnTo>
                  <a:pt x="308" y="146"/>
                </a:lnTo>
                <a:lnTo>
                  <a:pt x="307" y="146"/>
                </a:lnTo>
                <a:lnTo>
                  <a:pt x="307" y="145"/>
                </a:lnTo>
                <a:lnTo>
                  <a:pt x="308" y="145"/>
                </a:lnTo>
                <a:lnTo>
                  <a:pt x="309" y="146"/>
                </a:lnTo>
                <a:lnTo>
                  <a:pt x="311" y="146"/>
                </a:lnTo>
                <a:lnTo>
                  <a:pt x="311" y="145"/>
                </a:lnTo>
                <a:lnTo>
                  <a:pt x="309" y="143"/>
                </a:lnTo>
                <a:lnTo>
                  <a:pt x="309" y="142"/>
                </a:lnTo>
                <a:lnTo>
                  <a:pt x="311" y="142"/>
                </a:lnTo>
                <a:lnTo>
                  <a:pt x="311" y="140"/>
                </a:lnTo>
                <a:lnTo>
                  <a:pt x="309" y="140"/>
                </a:lnTo>
                <a:lnTo>
                  <a:pt x="308" y="142"/>
                </a:lnTo>
                <a:lnTo>
                  <a:pt x="307" y="143"/>
                </a:lnTo>
                <a:lnTo>
                  <a:pt x="305" y="142"/>
                </a:lnTo>
                <a:lnTo>
                  <a:pt x="307" y="140"/>
                </a:lnTo>
                <a:lnTo>
                  <a:pt x="308" y="140"/>
                </a:lnTo>
                <a:lnTo>
                  <a:pt x="308" y="139"/>
                </a:lnTo>
                <a:lnTo>
                  <a:pt x="307" y="139"/>
                </a:lnTo>
                <a:lnTo>
                  <a:pt x="305" y="140"/>
                </a:lnTo>
                <a:lnTo>
                  <a:pt x="304" y="139"/>
                </a:lnTo>
                <a:lnTo>
                  <a:pt x="305" y="139"/>
                </a:lnTo>
                <a:lnTo>
                  <a:pt x="307" y="138"/>
                </a:lnTo>
                <a:lnTo>
                  <a:pt x="307" y="136"/>
                </a:lnTo>
                <a:lnTo>
                  <a:pt x="307" y="135"/>
                </a:lnTo>
                <a:lnTo>
                  <a:pt x="305" y="134"/>
                </a:lnTo>
                <a:lnTo>
                  <a:pt x="304" y="134"/>
                </a:lnTo>
                <a:lnTo>
                  <a:pt x="305" y="132"/>
                </a:lnTo>
                <a:lnTo>
                  <a:pt x="305" y="132"/>
                </a:lnTo>
                <a:lnTo>
                  <a:pt x="307" y="132"/>
                </a:lnTo>
                <a:lnTo>
                  <a:pt x="309" y="132"/>
                </a:lnTo>
                <a:lnTo>
                  <a:pt x="311" y="131"/>
                </a:lnTo>
                <a:lnTo>
                  <a:pt x="312" y="131"/>
                </a:lnTo>
                <a:lnTo>
                  <a:pt x="312" y="132"/>
                </a:lnTo>
                <a:lnTo>
                  <a:pt x="314" y="132"/>
                </a:lnTo>
                <a:lnTo>
                  <a:pt x="314" y="131"/>
                </a:lnTo>
                <a:lnTo>
                  <a:pt x="314" y="129"/>
                </a:lnTo>
                <a:lnTo>
                  <a:pt x="312" y="128"/>
                </a:lnTo>
                <a:lnTo>
                  <a:pt x="312" y="127"/>
                </a:lnTo>
                <a:lnTo>
                  <a:pt x="312" y="125"/>
                </a:lnTo>
                <a:lnTo>
                  <a:pt x="311" y="125"/>
                </a:lnTo>
                <a:lnTo>
                  <a:pt x="311" y="124"/>
                </a:lnTo>
                <a:lnTo>
                  <a:pt x="312" y="122"/>
                </a:lnTo>
                <a:lnTo>
                  <a:pt x="314" y="124"/>
                </a:lnTo>
                <a:lnTo>
                  <a:pt x="314" y="125"/>
                </a:lnTo>
                <a:lnTo>
                  <a:pt x="315" y="127"/>
                </a:lnTo>
                <a:lnTo>
                  <a:pt x="316" y="127"/>
                </a:lnTo>
                <a:lnTo>
                  <a:pt x="316" y="125"/>
                </a:lnTo>
                <a:lnTo>
                  <a:pt x="316" y="124"/>
                </a:lnTo>
                <a:lnTo>
                  <a:pt x="318" y="124"/>
                </a:lnTo>
                <a:lnTo>
                  <a:pt x="319" y="125"/>
                </a:lnTo>
                <a:lnTo>
                  <a:pt x="319" y="124"/>
                </a:lnTo>
                <a:lnTo>
                  <a:pt x="319" y="122"/>
                </a:lnTo>
                <a:lnTo>
                  <a:pt x="320" y="122"/>
                </a:lnTo>
                <a:lnTo>
                  <a:pt x="320" y="124"/>
                </a:lnTo>
                <a:lnTo>
                  <a:pt x="322" y="122"/>
                </a:lnTo>
                <a:lnTo>
                  <a:pt x="322" y="121"/>
                </a:lnTo>
                <a:lnTo>
                  <a:pt x="322" y="120"/>
                </a:lnTo>
                <a:lnTo>
                  <a:pt x="320" y="118"/>
                </a:lnTo>
                <a:lnTo>
                  <a:pt x="319" y="118"/>
                </a:lnTo>
                <a:lnTo>
                  <a:pt x="320" y="117"/>
                </a:lnTo>
                <a:lnTo>
                  <a:pt x="320" y="116"/>
                </a:lnTo>
                <a:lnTo>
                  <a:pt x="322" y="114"/>
                </a:lnTo>
                <a:lnTo>
                  <a:pt x="322" y="113"/>
                </a:lnTo>
                <a:lnTo>
                  <a:pt x="320" y="113"/>
                </a:lnTo>
                <a:lnTo>
                  <a:pt x="319" y="113"/>
                </a:lnTo>
                <a:lnTo>
                  <a:pt x="319" y="110"/>
                </a:lnTo>
                <a:lnTo>
                  <a:pt x="320" y="109"/>
                </a:lnTo>
                <a:lnTo>
                  <a:pt x="320" y="107"/>
                </a:lnTo>
                <a:lnTo>
                  <a:pt x="319" y="107"/>
                </a:lnTo>
                <a:lnTo>
                  <a:pt x="318" y="106"/>
                </a:lnTo>
                <a:lnTo>
                  <a:pt x="318" y="105"/>
                </a:lnTo>
                <a:lnTo>
                  <a:pt x="318" y="103"/>
                </a:lnTo>
                <a:lnTo>
                  <a:pt x="316" y="103"/>
                </a:lnTo>
                <a:lnTo>
                  <a:pt x="315" y="102"/>
                </a:lnTo>
                <a:lnTo>
                  <a:pt x="314" y="102"/>
                </a:lnTo>
                <a:lnTo>
                  <a:pt x="314" y="100"/>
                </a:lnTo>
                <a:lnTo>
                  <a:pt x="315" y="100"/>
                </a:lnTo>
                <a:lnTo>
                  <a:pt x="315" y="99"/>
                </a:lnTo>
                <a:lnTo>
                  <a:pt x="314" y="99"/>
                </a:lnTo>
                <a:lnTo>
                  <a:pt x="314" y="99"/>
                </a:lnTo>
                <a:lnTo>
                  <a:pt x="312" y="99"/>
                </a:lnTo>
                <a:lnTo>
                  <a:pt x="311" y="99"/>
                </a:lnTo>
                <a:lnTo>
                  <a:pt x="309" y="99"/>
                </a:lnTo>
                <a:lnTo>
                  <a:pt x="308" y="99"/>
                </a:lnTo>
                <a:lnTo>
                  <a:pt x="307" y="99"/>
                </a:lnTo>
                <a:lnTo>
                  <a:pt x="308" y="99"/>
                </a:lnTo>
                <a:lnTo>
                  <a:pt x="309" y="99"/>
                </a:lnTo>
                <a:lnTo>
                  <a:pt x="308" y="99"/>
                </a:lnTo>
                <a:lnTo>
                  <a:pt x="307" y="98"/>
                </a:lnTo>
                <a:lnTo>
                  <a:pt x="305" y="96"/>
                </a:lnTo>
                <a:lnTo>
                  <a:pt x="305" y="98"/>
                </a:lnTo>
                <a:lnTo>
                  <a:pt x="304" y="96"/>
                </a:lnTo>
                <a:lnTo>
                  <a:pt x="304" y="95"/>
                </a:lnTo>
                <a:lnTo>
                  <a:pt x="305" y="95"/>
                </a:lnTo>
                <a:lnTo>
                  <a:pt x="307" y="94"/>
                </a:lnTo>
                <a:lnTo>
                  <a:pt x="308" y="92"/>
                </a:lnTo>
                <a:lnTo>
                  <a:pt x="309" y="92"/>
                </a:lnTo>
                <a:lnTo>
                  <a:pt x="311" y="91"/>
                </a:lnTo>
                <a:lnTo>
                  <a:pt x="312" y="91"/>
                </a:lnTo>
                <a:lnTo>
                  <a:pt x="314" y="89"/>
                </a:lnTo>
                <a:lnTo>
                  <a:pt x="312" y="88"/>
                </a:lnTo>
                <a:lnTo>
                  <a:pt x="311" y="88"/>
                </a:lnTo>
                <a:lnTo>
                  <a:pt x="309" y="88"/>
                </a:lnTo>
                <a:lnTo>
                  <a:pt x="309" y="87"/>
                </a:lnTo>
                <a:lnTo>
                  <a:pt x="309" y="85"/>
                </a:lnTo>
                <a:lnTo>
                  <a:pt x="309" y="84"/>
                </a:lnTo>
                <a:lnTo>
                  <a:pt x="311" y="83"/>
                </a:lnTo>
                <a:lnTo>
                  <a:pt x="312" y="83"/>
                </a:lnTo>
                <a:lnTo>
                  <a:pt x="312" y="81"/>
                </a:lnTo>
                <a:lnTo>
                  <a:pt x="312" y="80"/>
                </a:lnTo>
                <a:lnTo>
                  <a:pt x="314" y="80"/>
                </a:lnTo>
                <a:lnTo>
                  <a:pt x="315" y="78"/>
                </a:lnTo>
                <a:lnTo>
                  <a:pt x="315" y="77"/>
                </a:lnTo>
                <a:lnTo>
                  <a:pt x="314" y="76"/>
                </a:lnTo>
                <a:lnTo>
                  <a:pt x="312" y="76"/>
                </a:lnTo>
                <a:lnTo>
                  <a:pt x="311" y="74"/>
                </a:lnTo>
                <a:lnTo>
                  <a:pt x="312" y="74"/>
                </a:lnTo>
                <a:lnTo>
                  <a:pt x="314" y="73"/>
                </a:lnTo>
                <a:lnTo>
                  <a:pt x="314" y="72"/>
                </a:lnTo>
                <a:lnTo>
                  <a:pt x="314" y="70"/>
                </a:lnTo>
                <a:lnTo>
                  <a:pt x="315" y="70"/>
                </a:lnTo>
                <a:lnTo>
                  <a:pt x="316" y="70"/>
                </a:lnTo>
                <a:lnTo>
                  <a:pt x="316" y="69"/>
                </a:lnTo>
                <a:lnTo>
                  <a:pt x="315" y="69"/>
                </a:lnTo>
                <a:lnTo>
                  <a:pt x="315" y="67"/>
                </a:lnTo>
                <a:lnTo>
                  <a:pt x="316" y="66"/>
                </a:lnTo>
                <a:lnTo>
                  <a:pt x="316" y="66"/>
                </a:lnTo>
                <a:lnTo>
                  <a:pt x="315" y="65"/>
                </a:lnTo>
                <a:lnTo>
                  <a:pt x="314" y="65"/>
                </a:lnTo>
                <a:lnTo>
                  <a:pt x="314" y="63"/>
                </a:lnTo>
                <a:lnTo>
                  <a:pt x="315" y="62"/>
                </a:lnTo>
                <a:lnTo>
                  <a:pt x="316" y="62"/>
                </a:lnTo>
                <a:lnTo>
                  <a:pt x="318" y="62"/>
                </a:lnTo>
                <a:lnTo>
                  <a:pt x="318" y="61"/>
                </a:lnTo>
                <a:lnTo>
                  <a:pt x="316" y="61"/>
                </a:lnTo>
                <a:lnTo>
                  <a:pt x="316" y="59"/>
                </a:lnTo>
                <a:lnTo>
                  <a:pt x="316" y="58"/>
                </a:lnTo>
                <a:lnTo>
                  <a:pt x="318" y="59"/>
                </a:lnTo>
                <a:lnTo>
                  <a:pt x="319" y="59"/>
                </a:lnTo>
                <a:lnTo>
                  <a:pt x="319" y="58"/>
                </a:lnTo>
                <a:lnTo>
                  <a:pt x="319" y="56"/>
                </a:lnTo>
                <a:lnTo>
                  <a:pt x="320" y="56"/>
                </a:lnTo>
                <a:lnTo>
                  <a:pt x="322" y="56"/>
                </a:lnTo>
                <a:lnTo>
                  <a:pt x="323" y="56"/>
                </a:lnTo>
                <a:lnTo>
                  <a:pt x="325" y="55"/>
                </a:lnTo>
                <a:lnTo>
                  <a:pt x="325" y="52"/>
                </a:lnTo>
                <a:lnTo>
                  <a:pt x="325" y="51"/>
                </a:lnTo>
                <a:lnTo>
                  <a:pt x="323" y="48"/>
                </a:lnTo>
                <a:lnTo>
                  <a:pt x="323" y="47"/>
                </a:lnTo>
                <a:lnTo>
                  <a:pt x="326" y="44"/>
                </a:lnTo>
                <a:lnTo>
                  <a:pt x="327" y="43"/>
                </a:lnTo>
                <a:lnTo>
                  <a:pt x="329" y="43"/>
                </a:lnTo>
                <a:lnTo>
                  <a:pt x="330" y="41"/>
                </a:lnTo>
                <a:lnTo>
                  <a:pt x="333" y="41"/>
                </a:lnTo>
                <a:lnTo>
                  <a:pt x="334" y="43"/>
                </a:lnTo>
                <a:lnTo>
                  <a:pt x="334" y="44"/>
                </a:lnTo>
                <a:lnTo>
                  <a:pt x="334" y="45"/>
                </a:lnTo>
                <a:lnTo>
                  <a:pt x="336" y="47"/>
                </a:lnTo>
                <a:lnTo>
                  <a:pt x="337" y="47"/>
                </a:lnTo>
                <a:lnTo>
                  <a:pt x="337" y="45"/>
                </a:lnTo>
                <a:lnTo>
                  <a:pt x="337" y="44"/>
                </a:lnTo>
                <a:lnTo>
                  <a:pt x="336" y="43"/>
                </a:lnTo>
                <a:lnTo>
                  <a:pt x="337" y="41"/>
                </a:lnTo>
                <a:lnTo>
                  <a:pt x="337" y="40"/>
                </a:lnTo>
                <a:lnTo>
                  <a:pt x="337" y="39"/>
                </a:lnTo>
                <a:lnTo>
                  <a:pt x="340" y="39"/>
                </a:lnTo>
                <a:lnTo>
                  <a:pt x="341" y="39"/>
                </a:lnTo>
                <a:lnTo>
                  <a:pt x="342" y="37"/>
                </a:lnTo>
                <a:lnTo>
                  <a:pt x="342" y="36"/>
                </a:lnTo>
                <a:lnTo>
                  <a:pt x="344" y="34"/>
                </a:lnTo>
                <a:lnTo>
                  <a:pt x="345" y="34"/>
                </a:lnTo>
                <a:lnTo>
                  <a:pt x="345" y="36"/>
                </a:lnTo>
                <a:lnTo>
                  <a:pt x="345" y="37"/>
                </a:lnTo>
                <a:lnTo>
                  <a:pt x="345" y="39"/>
                </a:lnTo>
                <a:lnTo>
                  <a:pt x="347" y="39"/>
                </a:lnTo>
                <a:lnTo>
                  <a:pt x="348" y="39"/>
                </a:lnTo>
                <a:lnTo>
                  <a:pt x="349" y="39"/>
                </a:lnTo>
                <a:lnTo>
                  <a:pt x="349" y="40"/>
                </a:lnTo>
                <a:lnTo>
                  <a:pt x="351" y="41"/>
                </a:lnTo>
                <a:lnTo>
                  <a:pt x="352" y="40"/>
                </a:lnTo>
                <a:lnTo>
                  <a:pt x="352" y="39"/>
                </a:lnTo>
                <a:lnTo>
                  <a:pt x="352" y="37"/>
                </a:lnTo>
                <a:lnTo>
                  <a:pt x="353" y="37"/>
                </a:lnTo>
                <a:lnTo>
                  <a:pt x="355" y="39"/>
                </a:lnTo>
                <a:lnTo>
                  <a:pt x="355" y="40"/>
                </a:lnTo>
                <a:lnTo>
                  <a:pt x="356" y="40"/>
                </a:lnTo>
                <a:lnTo>
                  <a:pt x="358" y="41"/>
                </a:lnTo>
                <a:lnTo>
                  <a:pt x="359" y="40"/>
                </a:lnTo>
                <a:lnTo>
                  <a:pt x="358" y="37"/>
                </a:lnTo>
                <a:lnTo>
                  <a:pt x="356" y="36"/>
                </a:lnTo>
                <a:lnTo>
                  <a:pt x="356" y="34"/>
                </a:lnTo>
                <a:lnTo>
                  <a:pt x="358" y="34"/>
                </a:lnTo>
                <a:lnTo>
                  <a:pt x="359" y="34"/>
                </a:lnTo>
                <a:lnTo>
                  <a:pt x="359" y="36"/>
                </a:lnTo>
                <a:lnTo>
                  <a:pt x="360" y="36"/>
                </a:lnTo>
                <a:lnTo>
                  <a:pt x="362" y="36"/>
                </a:lnTo>
                <a:lnTo>
                  <a:pt x="362" y="34"/>
                </a:lnTo>
                <a:lnTo>
                  <a:pt x="362" y="33"/>
                </a:lnTo>
                <a:lnTo>
                  <a:pt x="360" y="33"/>
                </a:lnTo>
                <a:lnTo>
                  <a:pt x="360" y="32"/>
                </a:lnTo>
                <a:lnTo>
                  <a:pt x="362" y="32"/>
                </a:lnTo>
                <a:lnTo>
                  <a:pt x="363" y="32"/>
                </a:lnTo>
                <a:lnTo>
                  <a:pt x="363" y="33"/>
                </a:lnTo>
                <a:lnTo>
                  <a:pt x="363" y="33"/>
                </a:lnTo>
                <a:lnTo>
                  <a:pt x="363" y="34"/>
                </a:lnTo>
                <a:lnTo>
                  <a:pt x="365" y="34"/>
                </a:lnTo>
                <a:lnTo>
                  <a:pt x="366" y="33"/>
                </a:lnTo>
                <a:lnTo>
                  <a:pt x="366" y="33"/>
                </a:lnTo>
                <a:lnTo>
                  <a:pt x="366" y="32"/>
                </a:lnTo>
                <a:lnTo>
                  <a:pt x="367" y="32"/>
                </a:lnTo>
                <a:lnTo>
                  <a:pt x="367" y="33"/>
                </a:lnTo>
                <a:lnTo>
                  <a:pt x="367" y="32"/>
                </a:lnTo>
                <a:lnTo>
                  <a:pt x="367" y="32"/>
                </a:lnTo>
                <a:lnTo>
                  <a:pt x="367" y="29"/>
                </a:lnTo>
                <a:lnTo>
                  <a:pt x="367" y="28"/>
                </a:lnTo>
                <a:lnTo>
                  <a:pt x="369" y="28"/>
                </a:lnTo>
                <a:lnTo>
                  <a:pt x="371" y="29"/>
                </a:lnTo>
                <a:lnTo>
                  <a:pt x="373" y="29"/>
                </a:lnTo>
                <a:lnTo>
                  <a:pt x="373" y="30"/>
                </a:lnTo>
                <a:lnTo>
                  <a:pt x="373" y="32"/>
                </a:lnTo>
                <a:lnTo>
                  <a:pt x="374" y="32"/>
                </a:lnTo>
                <a:lnTo>
                  <a:pt x="376" y="30"/>
                </a:lnTo>
                <a:lnTo>
                  <a:pt x="377" y="29"/>
                </a:lnTo>
                <a:lnTo>
                  <a:pt x="378" y="29"/>
                </a:lnTo>
                <a:lnTo>
                  <a:pt x="378" y="30"/>
                </a:lnTo>
                <a:lnTo>
                  <a:pt x="378" y="32"/>
                </a:lnTo>
                <a:lnTo>
                  <a:pt x="377" y="32"/>
                </a:lnTo>
                <a:lnTo>
                  <a:pt x="377" y="33"/>
                </a:lnTo>
                <a:lnTo>
                  <a:pt x="377" y="33"/>
                </a:lnTo>
                <a:lnTo>
                  <a:pt x="378" y="33"/>
                </a:lnTo>
                <a:lnTo>
                  <a:pt x="380" y="33"/>
                </a:lnTo>
                <a:lnTo>
                  <a:pt x="381" y="33"/>
                </a:lnTo>
                <a:lnTo>
                  <a:pt x="381" y="33"/>
                </a:lnTo>
                <a:lnTo>
                  <a:pt x="380" y="33"/>
                </a:lnTo>
                <a:lnTo>
                  <a:pt x="380" y="34"/>
                </a:lnTo>
                <a:lnTo>
                  <a:pt x="381" y="34"/>
                </a:lnTo>
                <a:lnTo>
                  <a:pt x="382" y="34"/>
                </a:lnTo>
                <a:lnTo>
                  <a:pt x="382" y="33"/>
                </a:lnTo>
                <a:lnTo>
                  <a:pt x="382" y="33"/>
                </a:lnTo>
                <a:lnTo>
                  <a:pt x="384" y="33"/>
                </a:lnTo>
                <a:lnTo>
                  <a:pt x="385" y="33"/>
                </a:lnTo>
                <a:lnTo>
                  <a:pt x="385" y="33"/>
                </a:lnTo>
                <a:lnTo>
                  <a:pt x="387" y="33"/>
                </a:lnTo>
                <a:lnTo>
                  <a:pt x="388" y="33"/>
                </a:lnTo>
                <a:lnTo>
                  <a:pt x="389" y="33"/>
                </a:lnTo>
                <a:lnTo>
                  <a:pt x="389" y="34"/>
                </a:lnTo>
                <a:lnTo>
                  <a:pt x="389" y="36"/>
                </a:lnTo>
                <a:lnTo>
                  <a:pt x="391" y="33"/>
                </a:lnTo>
                <a:lnTo>
                  <a:pt x="391" y="33"/>
                </a:lnTo>
                <a:lnTo>
                  <a:pt x="391" y="30"/>
                </a:lnTo>
                <a:lnTo>
                  <a:pt x="391" y="29"/>
                </a:lnTo>
                <a:lnTo>
                  <a:pt x="391" y="28"/>
                </a:lnTo>
                <a:lnTo>
                  <a:pt x="392" y="28"/>
                </a:lnTo>
                <a:lnTo>
                  <a:pt x="393" y="28"/>
                </a:lnTo>
                <a:lnTo>
                  <a:pt x="393" y="29"/>
                </a:lnTo>
                <a:lnTo>
                  <a:pt x="395" y="30"/>
                </a:lnTo>
                <a:lnTo>
                  <a:pt x="396" y="29"/>
                </a:lnTo>
                <a:lnTo>
                  <a:pt x="398" y="29"/>
                </a:lnTo>
                <a:lnTo>
                  <a:pt x="399" y="29"/>
                </a:lnTo>
                <a:lnTo>
                  <a:pt x="400" y="29"/>
                </a:lnTo>
                <a:lnTo>
                  <a:pt x="400" y="28"/>
                </a:lnTo>
                <a:lnTo>
                  <a:pt x="400" y="28"/>
                </a:lnTo>
                <a:lnTo>
                  <a:pt x="400" y="29"/>
                </a:lnTo>
                <a:lnTo>
                  <a:pt x="402" y="29"/>
                </a:lnTo>
                <a:lnTo>
                  <a:pt x="403" y="30"/>
                </a:lnTo>
                <a:lnTo>
                  <a:pt x="404" y="30"/>
                </a:lnTo>
                <a:lnTo>
                  <a:pt x="406" y="30"/>
                </a:lnTo>
                <a:lnTo>
                  <a:pt x="406" y="29"/>
                </a:lnTo>
                <a:lnTo>
                  <a:pt x="404" y="29"/>
                </a:lnTo>
                <a:lnTo>
                  <a:pt x="404" y="28"/>
                </a:lnTo>
                <a:lnTo>
                  <a:pt x="404" y="26"/>
                </a:lnTo>
                <a:lnTo>
                  <a:pt x="406" y="26"/>
                </a:lnTo>
                <a:lnTo>
                  <a:pt x="407" y="26"/>
                </a:lnTo>
                <a:lnTo>
                  <a:pt x="409" y="26"/>
                </a:lnTo>
                <a:lnTo>
                  <a:pt x="409" y="25"/>
                </a:lnTo>
                <a:lnTo>
                  <a:pt x="409" y="23"/>
                </a:lnTo>
                <a:lnTo>
                  <a:pt x="410" y="23"/>
                </a:lnTo>
                <a:lnTo>
                  <a:pt x="411" y="22"/>
                </a:lnTo>
                <a:lnTo>
                  <a:pt x="411" y="21"/>
                </a:lnTo>
                <a:lnTo>
                  <a:pt x="413" y="21"/>
                </a:lnTo>
                <a:lnTo>
                  <a:pt x="414" y="22"/>
                </a:lnTo>
                <a:lnTo>
                  <a:pt x="415" y="23"/>
                </a:lnTo>
                <a:lnTo>
                  <a:pt x="417" y="23"/>
                </a:lnTo>
                <a:lnTo>
                  <a:pt x="417" y="22"/>
                </a:lnTo>
                <a:lnTo>
                  <a:pt x="417" y="21"/>
                </a:lnTo>
                <a:lnTo>
                  <a:pt x="418" y="22"/>
                </a:lnTo>
                <a:lnTo>
                  <a:pt x="420" y="21"/>
                </a:lnTo>
                <a:lnTo>
                  <a:pt x="421" y="19"/>
                </a:lnTo>
                <a:lnTo>
                  <a:pt x="422" y="19"/>
                </a:lnTo>
                <a:lnTo>
                  <a:pt x="424" y="21"/>
                </a:lnTo>
                <a:lnTo>
                  <a:pt x="424" y="22"/>
                </a:lnTo>
                <a:lnTo>
                  <a:pt x="424" y="23"/>
                </a:lnTo>
                <a:lnTo>
                  <a:pt x="422" y="23"/>
                </a:lnTo>
                <a:lnTo>
                  <a:pt x="421" y="23"/>
                </a:lnTo>
                <a:lnTo>
                  <a:pt x="421" y="25"/>
                </a:lnTo>
                <a:lnTo>
                  <a:pt x="422" y="23"/>
                </a:lnTo>
                <a:lnTo>
                  <a:pt x="424" y="23"/>
                </a:lnTo>
                <a:lnTo>
                  <a:pt x="425" y="23"/>
                </a:lnTo>
                <a:lnTo>
                  <a:pt x="426" y="23"/>
                </a:lnTo>
                <a:lnTo>
                  <a:pt x="426" y="22"/>
                </a:lnTo>
                <a:lnTo>
                  <a:pt x="428" y="21"/>
                </a:lnTo>
                <a:lnTo>
                  <a:pt x="429" y="21"/>
                </a:lnTo>
                <a:lnTo>
                  <a:pt x="429" y="19"/>
                </a:lnTo>
                <a:lnTo>
                  <a:pt x="429" y="18"/>
                </a:lnTo>
                <a:lnTo>
                  <a:pt x="429" y="17"/>
                </a:lnTo>
                <a:lnTo>
                  <a:pt x="431" y="17"/>
                </a:lnTo>
                <a:lnTo>
                  <a:pt x="432" y="18"/>
                </a:lnTo>
                <a:lnTo>
                  <a:pt x="432" y="19"/>
                </a:lnTo>
                <a:lnTo>
                  <a:pt x="432" y="21"/>
                </a:lnTo>
                <a:lnTo>
                  <a:pt x="432" y="22"/>
                </a:lnTo>
                <a:lnTo>
                  <a:pt x="432" y="23"/>
                </a:lnTo>
                <a:lnTo>
                  <a:pt x="433" y="22"/>
                </a:lnTo>
                <a:lnTo>
                  <a:pt x="433" y="21"/>
                </a:lnTo>
                <a:lnTo>
                  <a:pt x="433" y="19"/>
                </a:lnTo>
                <a:lnTo>
                  <a:pt x="435" y="19"/>
                </a:lnTo>
                <a:lnTo>
                  <a:pt x="436" y="21"/>
                </a:lnTo>
                <a:lnTo>
                  <a:pt x="437" y="21"/>
                </a:lnTo>
                <a:lnTo>
                  <a:pt x="437" y="19"/>
                </a:lnTo>
                <a:lnTo>
                  <a:pt x="437" y="18"/>
                </a:lnTo>
                <a:lnTo>
                  <a:pt x="437" y="17"/>
                </a:lnTo>
                <a:lnTo>
                  <a:pt x="439" y="17"/>
                </a:lnTo>
                <a:lnTo>
                  <a:pt x="440" y="18"/>
                </a:lnTo>
                <a:lnTo>
                  <a:pt x="442" y="19"/>
                </a:lnTo>
                <a:lnTo>
                  <a:pt x="443" y="18"/>
                </a:lnTo>
                <a:lnTo>
                  <a:pt x="444" y="18"/>
                </a:lnTo>
                <a:lnTo>
                  <a:pt x="444" y="19"/>
                </a:lnTo>
                <a:lnTo>
                  <a:pt x="446" y="19"/>
                </a:lnTo>
                <a:lnTo>
                  <a:pt x="447" y="19"/>
                </a:lnTo>
                <a:lnTo>
                  <a:pt x="448" y="18"/>
                </a:lnTo>
                <a:lnTo>
                  <a:pt x="448" y="17"/>
                </a:lnTo>
                <a:lnTo>
                  <a:pt x="447" y="15"/>
                </a:lnTo>
                <a:lnTo>
                  <a:pt x="448" y="15"/>
                </a:lnTo>
                <a:lnTo>
                  <a:pt x="450" y="17"/>
                </a:lnTo>
                <a:lnTo>
                  <a:pt x="450" y="18"/>
                </a:lnTo>
                <a:lnTo>
                  <a:pt x="450" y="19"/>
                </a:lnTo>
                <a:lnTo>
                  <a:pt x="450" y="21"/>
                </a:lnTo>
                <a:lnTo>
                  <a:pt x="451" y="21"/>
                </a:lnTo>
                <a:lnTo>
                  <a:pt x="453" y="22"/>
                </a:lnTo>
                <a:lnTo>
                  <a:pt x="454" y="23"/>
                </a:lnTo>
                <a:lnTo>
                  <a:pt x="455" y="23"/>
                </a:lnTo>
                <a:lnTo>
                  <a:pt x="455" y="22"/>
                </a:lnTo>
                <a:lnTo>
                  <a:pt x="457" y="22"/>
                </a:lnTo>
                <a:lnTo>
                  <a:pt x="458" y="22"/>
                </a:lnTo>
                <a:lnTo>
                  <a:pt x="459" y="23"/>
                </a:lnTo>
                <a:lnTo>
                  <a:pt x="459" y="22"/>
                </a:lnTo>
                <a:lnTo>
                  <a:pt x="459" y="21"/>
                </a:lnTo>
                <a:lnTo>
                  <a:pt x="459" y="19"/>
                </a:lnTo>
                <a:lnTo>
                  <a:pt x="459" y="18"/>
                </a:lnTo>
                <a:lnTo>
                  <a:pt x="458" y="17"/>
                </a:lnTo>
                <a:lnTo>
                  <a:pt x="459" y="17"/>
                </a:lnTo>
                <a:lnTo>
                  <a:pt x="461" y="17"/>
                </a:lnTo>
                <a:lnTo>
                  <a:pt x="461" y="18"/>
                </a:lnTo>
                <a:lnTo>
                  <a:pt x="462" y="18"/>
                </a:lnTo>
                <a:lnTo>
                  <a:pt x="462" y="19"/>
                </a:lnTo>
                <a:lnTo>
                  <a:pt x="464" y="19"/>
                </a:lnTo>
                <a:lnTo>
                  <a:pt x="464" y="21"/>
                </a:lnTo>
                <a:lnTo>
                  <a:pt x="465" y="21"/>
                </a:lnTo>
                <a:lnTo>
                  <a:pt x="466" y="21"/>
                </a:lnTo>
                <a:lnTo>
                  <a:pt x="466" y="21"/>
                </a:lnTo>
                <a:lnTo>
                  <a:pt x="466" y="22"/>
                </a:lnTo>
                <a:lnTo>
                  <a:pt x="468" y="22"/>
                </a:lnTo>
                <a:lnTo>
                  <a:pt x="468" y="21"/>
                </a:lnTo>
                <a:lnTo>
                  <a:pt x="468" y="19"/>
                </a:lnTo>
                <a:lnTo>
                  <a:pt x="469" y="19"/>
                </a:lnTo>
                <a:lnTo>
                  <a:pt x="469" y="18"/>
                </a:lnTo>
                <a:lnTo>
                  <a:pt x="469" y="17"/>
                </a:lnTo>
                <a:lnTo>
                  <a:pt x="469" y="15"/>
                </a:lnTo>
                <a:lnTo>
                  <a:pt x="470" y="15"/>
                </a:lnTo>
                <a:lnTo>
                  <a:pt x="472" y="15"/>
                </a:lnTo>
                <a:lnTo>
                  <a:pt x="472" y="17"/>
                </a:lnTo>
                <a:lnTo>
                  <a:pt x="473" y="17"/>
                </a:lnTo>
                <a:lnTo>
                  <a:pt x="475" y="18"/>
                </a:lnTo>
                <a:lnTo>
                  <a:pt x="476" y="18"/>
                </a:lnTo>
                <a:lnTo>
                  <a:pt x="476" y="17"/>
                </a:lnTo>
                <a:lnTo>
                  <a:pt x="476" y="15"/>
                </a:lnTo>
                <a:lnTo>
                  <a:pt x="476" y="14"/>
                </a:lnTo>
                <a:lnTo>
                  <a:pt x="477" y="14"/>
                </a:lnTo>
                <a:lnTo>
                  <a:pt x="479" y="15"/>
                </a:lnTo>
                <a:lnTo>
                  <a:pt x="480" y="15"/>
                </a:lnTo>
                <a:lnTo>
                  <a:pt x="481" y="15"/>
                </a:lnTo>
                <a:lnTo>
                  <a:pt x="481" y="17"/>
                </a:lnTo>
                <a:lnTo>
                  <a:pt x="480" y="17"/>
                </a:lnTo>
                <a:lnTo>
                  <a:pt x="480" y="18"/>
                </a:lnTo>
                <a:lnTo>
                  <a:pt x="481" y="18"/>
                </a:lnTo>
                <a:lnTo>
                  <a:pt x="483" y="17"/>
                </a:lnTo>
                <a:lnTo>
                  <a:pt x="483" y="15"/>
                </a:lnTo>
                <a:lnTo>
                  <a:pt x="483" y="14"/>
                </a:lnTo>
                <a:lnTo>
                  <a:pt x="484" y="14"/>
                </a:lnTo>
                <a:lnTo>
                  <a:pt x="484" y="12"/>
                </a:lnTo>
                <a:lnTo>
                  <a:pt x="486" y="11"/>
                </a:lnTo>
                <a:lnTo>
                  <a:pt x="487" y="11"/>
                </a:lnTo>
                <a:lnTo>
                  <a:pt x="488" y="11"/>
                </a:lnTo>
                <a:lnTo>
                  <a:pt x="487" y="12"/>
                </a:lnTo>
                <a:lnTo>
                  <a:pt x="488" y="12"/>
                </a:lnTo>
                <a:lnTo>
                  <a:pt x="488" y="14"/>
                </a:lnTo>
                <a:lnTo>
                  <a:pt x="490" y="14"/>
                </a:lnTo>
                <a:lnTo>
                  <a:pt x="490" y="15"/>
                </a:lnTo>
                <a:lnTo>
                  <a:pt x="490" y="14"/>
                </a:lnTo>
                <a:lnTo>
                  <a:pt x="491" y="14"/>
                </a:lnTo>
                <a:lnTo>
                  <a:pt x="491" y="12"/>
                </a:lnTo>
                <a:lnTo>
                  <a:pt x="491" y="11"/>
                </a:lnTo>
                <a:lnTo>
                  <a:pt x="492" y="12"/>
                </a:lnTo>
                <a:lnTo>
                  <a:pt x="492" y="15"/>
                </a:lnTo>
                <a:lnTo>
                  <a:pt x="492" y="17"/>
                </a:lnTo>
                <a:lnTo>
                  <a:pt x="494" y="17"/>
                </a:lnTo>
                <a:lnTo>
                  <a:pt x="495" y="17"/>
                </a:lnTo>
                <a:lnTo>
                  <a:pt x="495" y="15"/>
                </a:lnTo>
                <a:lnTo>
                  <a:pt x="494" y="14"/>
                </a:lnTo>
                <a:lnTo>
                  <a:pt x="495" y="12"/>
                </a:lnTo>
                <a:lnTo>
                  <a:pt x="497" y="11"/>
                </a:lnTo>
                <a:lnTo>
                  <a:pt x="498" y="11"/>
                </a:lnTo>
                <a:lnTo>
                  <a:pt x="498" y="12"/>
                </a:lnTo>
                <a:lnTo>
                  <a:pt x="498" y="14"/>
                </a:lnTo>
                <a:lnTo>
                  <a:pt x="499" y="14"/>
                </a:lnTo>
                <a:lnTo>
                  <a:pt x="499" y="14"/>
                </a:lnTo>
                <a:lnTo>
                  <a:pt x="499" y="12"/>
                </a:lnTo>
                <a:lnTo>
                  <a:pt x="501" y="12"/>
                </a:lnTo>
                <a:lnTo>
                  <a:pt x="501" y="11"/>
                </a:lnTo>
                <a:lnTo>
                  <a:pt x="502" y="11"/>
                </a:lnTo>
                <a:lnTo>
                  <a:pt x="503" y="11"/>
                </a:lnTo>
                <a:lnTo>
                  <a:pt x="505" y="11"/>
                </a:lnTo>
                <a:lnTo>
                  <a:pt x="506" y="12"/>
                </a:lnTo>
                <a:lnTo>
                  <a:pt x="508" y="12"/>
                </a:lnTo>
                <a:lnTo>
                  <a:pt x="509" y="12"/>
                </a:lnTo>
                <a:lnTo>
                  <a:pt x="510" y="12"/>
                </a:lnTo>
                <a:lnTo>
                  <a:pt x="510" y="11"/>
                </a:lnTo>
                <a:lnTo>
                  <a:pt x="512" y="11"/>
                </a:lnTo>
                <a:lnTo>
                  <a:pt x="513" y="11"/>
                </a:lnTo>
                <a:lnTo>
                  <a:pt x="514" y="11"/>
                </a:lnTo>
                <a:lnTo>
                  <a:pt x="516" y="12"/>
                </a:lnTo>
                <a:lnTo>
                  <a:pt x="516" y="14"/>
                </a:lnTo>
                <a:lnTo>
                  <a:pt x="517" y="14"/>
                </a:lnTo>
                <a:lnTo>
                  <a:pt x="519" y="14"/>
                </a:lnTo>
                <a:lnTo>
                  <a:pt x="519" y="12"/>
                </a:lnTo>
                <a:lnTo>
                  <a:pt x="520" y="12"/>
                </a:lnTo>
                <a:lnTo>
                  <a:pt x="520" y="11"/>
                </a:lnTo>
                <a:lnTo>
                  <a:pt x="521" y="11"/>
                </a:lnTo>
                <a:lnTo>
                  <a:pt x="520" y="10"/>
                </a:lnTo>
                <a:lnTo>
                  <a:pt x="520" y="8"/>
                </a:lnTo>
                <a:lnTo>
                  <a:pt x="520" y="7"/>
                </a:lnTo>
                <a:lnTo>
                  <a:pt x="521" y="7"/>
                </a:lnTo>
                <a:lnTo>
                  <a:pt x="523" y="7"/>
                </a:lnTo>
                <a:lnTo>
                  <a:pt x="521" y="7"/>
                </a:lnTo>
                <a:lnTo>
                  <a:pt x="521" y="6"/>
                </a:lnTo>
                <a:lnTo>
                  <a:pt x="521" y="4"/>
                </a:lnTo>
                <a:lnTo>
                  <a:pt x="523" y="4"/>
                </a:lnTo>
                <a:lnTo>
                  <a:pt x="524" y="4"/>
                </a:lnTo>
                <a:lnTo>
                  <a:pt x="525" y="4"/>
                </a:lnTo>
                <a:lnTo>
                  <a:pt x="524" y="3"/>
                </a:lnTo>
                <a:lnTo>
                  <a:pt x="524" y="1"/>
                </a:lnTo>
                <a:lnTo>
                  <a:pt x="525" y="1"/>
                </a:lnTo>
                <a:lnTo>
                  <a:pt x="525" y="3"/>
                </a:lnTo>
                <a:lnTo>
                  <a:pt x="527" y="3"/>
                </a:lnTo>
                <a:lnTo>
                  <a:pt x="527" y="4"/>
                </a:lnTo>
                <a:lnTo>
                  <a:pt x="527" y="6"/>
                </a:lnTo>
                <a:lnTo>
                  <a:pt x="525" y="6"/>
                </a:lnTo>
                <a:lnTo>
                  <a:pt x="525" y="7"/>
                </a:lnTo>
                <a:lnTo>
                  <a:pt x="527" y="7"/>
                </a:lnTo>
                <a:lnTo>
                  <a:pt x="527" y="8"/>
                </a:lnTo>
                <a:lnTo>
                  <a:pt x="527" y="10"/>
                </a:lnTo>
                <a:lnTo>
                  <a:pt x="528" y="8"/>
                </a:lnTo>
                <a:lnTo>
                  <a:pt x="530" y="8"/>
                </a:lnTo>
                <a:lnTo>
                  <a:pt x="530" y="10"/>
                </a:lnTo>
                <a:lnTo>
                  <a:pt x="530" y="11"/>
                </a:lnTo>
                <a:lnTo>
                  <a:pt x="531" y="11"/>
                </a:lnTo>
                <a:lnTo>
                  <a:pt x="532" y="11"/>
                </a:lnTo>
                <a:lnTo>
                  <a:pt x="532" y="11"/>
                </a:lnTo>
                <a:lnTo>
                  <a:pt x="534" y="12"/>
                </a:lnTo>
                <a:lnTo>
                  <a:pt x="534" y="11"/>
                </a:lnTo>
                <a:lnTo>
                  <a:pt x="534" y="10"/>
                </a:lnTo>
                <a:lnTo>
                  <a:pt x="534" y="8"/>
                </a:lnTo>
                <a:lnTo>
                  <a:pt x="535" y="8"/>
                </a:lnTo>
                <a:lnTo>
                  <a:pt x="536" y="10"/>
                </a:lnTo>
                <a:lnTo>
                  <a:pt x="538" y="8"/>
                </a:lnTo>
                <a:lnTo>
                  <a:pt x="539" y="8"/>
                </a:lnTo>
                <a:lnTo>
                  <a:pt x="541" y="8"/>
                </a:lnTo>
                <a:lnTo>
                  <a:pt x="541" y="7"/>
                </a:lnTo>
                <a:lnTo>
                  <a:pt x="542" y="6"/>
                </a:lnTo>
                <a:lnTo>
                  <a:pt x="543" y="7"/>
                </a:lnTo>
                <a:lnTo>
                  <a:pt x="543" y="6"/>
                </a:lnTo>
                <a:lnTo>
                  <a:pt x="545" y="6"/>
                </a:lnTo>
                <a:lnTo>
                  <a:pt x="545" y="7"/>
                </a:lnTo>
                <a:lnTo>
                  <a:pt x="546" y="7"/>
                </a:lnTo>
                <a:lnTo>
                  <a:pt x="546" y="8"/>
                </a:lnTo>
                <a:lnTo>
                  <a:pt x="547" y="8"/>
                </a:lnTo>
                <a:lnTo>
                  <a:pt x="547" y="10"/>
                </a:lnTo>
                <a:lnTo>
                  <a:pt x="549" y="8"/>
                </a:lnTo>
                <a:lnTo>
                  <a:pt x="550" y="7"/>
                </a:lnTo>
                <a:lnTo>
                  <a:pt x="552" y="7"/>
                </a:lnTo>
                <a:lnTo>
                  <a:pt x="552" y="6"/>
                </a:lnTo>
                <a:lnTo>
                  <a:pt x="553" y="6"/>
                </a:lnTo>
                <a:lnTo>
                  <a:pt x="554" y="6"/>
                </a:lnTo>
                <a:lnTo>
                  <a:pt x="554" y="4"/>
                </a:lnTo>
                <a:lnTo>
                  <a:pt x="554" y="3"/>
                </a:lnTo>
                <a:lnTo>
                  <a:pt x="554" y="4"/>
                </a:lnTo>
                <a:lnTo>
                  <a:pt x="556" y="6"/>
                </a:lnTo>
                <a:lnTo>
                  <a:pt x="556" y="4"/>
                </a:lnTo>
                <a:lnTo>
                  <a:pt x="556" y="3"/>
                </a:lnTo>
                <a:lnTo>
                  <a:pt x="557" y="3"/>
                </a:lnTo>
                <a:lnTo>
                  <a:pt x="557" y="1"/>
                </a:lnTo>
                <a:lnTo>
                  <a:pt x="557" y="0"/>
                </a:lnTo>
                <a:lnTo>
                  <a:pt x="558" y="0"/>
                </a:lnTo>
                <a:lnTo>
                  <a:pt x="560" y="0"/>
                </a:lnTo>
                <a:lnTo>
                  <a:pt x="560" y="0"/>
                </a:lnTo>
                <a:lnTo>
                  <a:pt x="560" y="1"/>
                </a:lnTo>
                <a:lnTo>
                  <a:pt x="558" y="3"/>
                </a:lnTo>
                <a:lnTo>
                  <a:pt x="560" y="4"/>
                </a:lnTo>
                <a:lnTo>
                  <a:pt x="561" y="4"/>
                </a:lnTo>
                <a:lnTo>
                  <a:pt x="561" y="6"/>
                </a:lnTo>
                <a:lnTo>
                  <a:pt x="560" y="6"/>
                </a:lnTo>
                <a:lnTo>
                  <a:pt x="560" y="7"/>
                </a:lnTo>
                <a:lnTo>
                  <a:pt x="560" y="6"/>
                </a:lnTo>
                <a:lnTo>
                  <a:pt x="561" y="6"/>
                </a:lnTo>
                <a:lnTo>
                  <a:pt x="564" y="6"/>
                </a:lnTo>
                <a:lnTo>
                  <a:pt x="564" y="4"/>
                </a:lnTo>
                <a:lnTo>
                  <a:pt x="565" y="4"/>
                </a:lnTo>
                <a:lnTo>
                  <a:pt x="565" y="6"/>
                </a:lnTo>
                <a:lnTo>
                  <a:pt x="565" y="6"/>
                </a:lnTo>
                <a:lnTo>
                  <a:pt x="565" y="4"/>
                </a:lnTo>
                <a:lnTo>
                  <a:pt x="565" y="3"/>
                </a:lnTo>
                <a:lnTo>
                  <a:pt x="565" y="1"/>
                </a:lnTo>
                <a:lnTo>
                  <a:pt x="565" y="3"/>
                </a:lnTo>
                <a:lnTo>
                  <a:pt x="567" y="4"/>
                </a:lnTo>
                <a:lnTo>
                  <a:pt x="565" y="6"/>
                </a:lnTo>
                <a:lnTo>
                  <a:pt x="567" y="6"/>
                </a:lnTo>
                <a:lnTo>
                  <a:pt x="568" y="7"/>
                </a:lnTo>
                <a:lnTo>
                  <a:pt x="568" y="6"/>
                </a:lnTo>
                <a:lnTo>
                  <a:pt x="569" y="6"/>
                </a:lnTo>
                <a:lnTo>
                  <a:pt x="571" y="6"/>
                </a:lnTo>
                <a:lnTo>
                  <a:pt x="571" y="7"/>
                </a:lnTo>
                <a:lnTo>
                  <a:pt x="571" y="8"/>
                </a:lnTo>
                <a:lnTo>
                  <a:pt x="571" y="7"/>
                </a:lnTo>
                <a:lnTo>
                  <a:pt x="572" y="7"/>
                </a:lnTo>
                <a:lnTo>
                  <a:pt x="572" y="6"/>
                </a:lnTo>
                <a:lnTo>
                  <a:pt x="574" y="7"/>
                </a:lnTo>
                <a:lnTo>
                  <a:pt x="574" y="6"/>
                </a:lnTo>
                <a:lnTo>
                  <a:pt x="574" y="4"/>
                </a:lnTo>
                <a:lnTo>
                  <a:pt x="575" y="4"/>
                </a:lnTo>
                <a:lnTo>
                  <a:pt x="574" y="4"/>
                </a:lnTo>
                <a:lnTo>
                  <a:pt x="574" y="3"/>
                </a:lnTo>
                <a:lnTo>
                  <a:pt x="572" y="3"/>
                </a:lnTo>
                <a:lnTo>
                  <a:pt x="574" y="3"/>
                </a:lnTo>
                <a:lnTo>
                  <a:pt x="575" y="3"/>
                </a:lnTo>
                <a:lnTo>
                  <a:pt x="576" y="3"/>
                </a:lnTo>
                <a:lnTo>
                  <a:pt x="576" y="4"/>
                </a:lnTo>
                <a:lnTo>
                  <a:pt x="576" y="6"/>
                </a:lnTo>
                <a:lnTo>
                  <a:pt x="578" y="7"/>
                </a:lnTo>
                <a:lnTo>
                  <a:pt x="579" y="7"/>
                </a:lnTo>
                <a:lnTo>
                  <a:pt x="578" y="8"/>
                </a:lnTo>
                <a:lnTo>
                  <a:pt x="579" y="8"/>
                </a:lnTo>
                <a:lnTo>
                  <a:pt x="579" y="7"/>
                </a:lnTo>
                <a:lnTo>
                  <a:pt x="579" y="6"/>
                </a:lnTo>
                <a:lnTo>
                  <a:pt x="579" y="4"/>
                </a:lnTo>
                <a:lnTo>
                  <a:pt x="579" y="6"/>
                </a:lnTo>
                <a:lnTo>
                  <a:pt x="580" y="6"/>
                </a:lnTo>
                <a:lnTo>
                  <a:pt x="582" y="7"/>
                </a:lnTo>
                <a:lnTo>
                  <a:pt x="583" y="7"/>
                </a:lnTo>
                <a:lnTo>
                  <a:pt x="585" y="6"/>
                </a:lnTo>
                <a:lnTo>
                  <a:pt x="586" y="4"/>
                </a:lnTo>
                <a:lnTo>
                  <a:pt x="587" y="6"/>
                </a:lnTo>
                <a:lnTo>
                  <a:pt x="587" y="7"/>
                </a:lnTo>
                <a:lnTo>
                  <a:pt x="587" y="8"/>
                </a:lnTo>
                <a:lnTo>
                  <a:pt x="589" y="8"/>
                </a:lnTo>
                <a:lnTo>
                  <a:pt x="587" y="10"/>
                </a:lnTo>
                <a:lnTo>
                  <a:pt x="587" y="11"/>
                </a:lnTo>
                <a:lnTo>
                  <a:pt x="589" y="11"/>
                </a:lnTo>
                <a:lnTo>
                  <a:pt x="590" y="11"/>
                </a:lnTo>
                <a:lnTo>
                  <a:pt x="591" y="10"/>
                </a:lnTo>
                <a:lnTo>
                  <a:pt x="591" y="11"/>
                </a:lnTo>
                <a:lnTo>
                  <a:pt x="591" y="12"/>
                </a:lnTo>
                <a:lnTo>
                  <a:pt x="591" y="14"/>
                </a:lnTo>
                <a:lnTo>
                  <a:pt x="591" y="12"/>
                </a:lnTo>
                <a:lnTo>
                  <a:pt x="593" y="12"/>
                </a:lnTo>
                <a:lnTo>
                  <a:pt x="593" y="14"/>
                </a:lnTo>
                <a:lnTo>
                  <a:pt x="594" y="14"/>
                </a:lnTo>
                <a:lnTo>
                  <a:pt x="594" y="15"/>
                </a:lnTo>
                <a:lnTo>
                  <a:pt x="594" y="17"/>
                </a:lnTo>
                <a:lnTo>
                  <a:pt x="596" y="15"/>
                </a:lnTo>
                <a:lnTo>
                  <a:pt x="596" y="14"/>
                </a:lnTo>
                <a:lnTo>
                  <a:pt x="594" y="14"/>
                </a:lnTo>
                <a:lnTo>
                  <a:pt x="594" y="12"/>
                </a:lnTo>
                <a:lnTo>
                  <a:pt x="596" y="12"/>
                </a:lnTo>
                <a:lnTo>
                  <a:pt x="597" y="12"/>
                </a:lnTo>
                <a:lnTo>
                  <a:pt x="597" y="11"/>
                </a:lnTo>
                <a:lnTo>
                  <a:pt x="597" y="12"/>
                </a:lnTo>
                <a:lnTo>
                  <a:pt x="598" y="12"/>
                </a:lnTo>
                <a:lnTo>
                  <a:pt x="598" y="11"/>
                </a:lnTo>
                <a:lnTo>
                  <a:pt x="598" y="12"/>
                </a:lnTo>
                <a:lnTo>
                  <a:pt x="600" y="12"/>
                </a:lnTo>
                <a:lnTo>
                  <a:pt x="600" y="11"/>
                </a:lnTo>
                <a:lnTo>
                  <a:pt x="601" y="11"/>
                </a:lnTo>
                <a:lnTo>
                  <a:pt x="601" y="12"/>
                </a:lnTo>
                <a:lnTo>
                  <a:pt x="602" y="12"/>
                </a:lnTo>
                <a:lnTo>
                  <a:pt x="602" y="11"/>
                </a:lnTo>
                <a:lnTo>
                  <a:pt x="604" y="12"/>
                </a:lnTo>
                <a:lnTo>
                  <a:pt x="604" y="11"/>
                </a:lnTo>
                <a:lnTo>
                  <a:pt x="604" y="10"/>
                </a:lnTo>
                <a:lnTo>
                  <a:pt x="605" y="8"/>
                </a:lnTo>
                <a:lnTo>
                  <a:pt x="605" y="10"/>
                </a:lnTo>
                <a:lnTo>
                  <a:pt x="607" y="11"/>
                </a:lnTo>
                <a:lnTo>
                  <a:pt x="607" y="12"/>
                </a:lnTo>
                <a:lnTo>
                  <a:pt x="608" y="12"/>
                </a:lnTo>
                <a:lnTo>
                  <a:pt x="608" y="14"/>
                </a:lnTo>
                <a:lnTo>
                  <a:pt x="608" y="15"/>
                </a:lnTo>
                <a:lnTo>
                  <a:pt x="608" y="17"/>
                </a:lnTo>
                <a:lnTo>
                  <a:pt x="607" y="18"/>
                </a:lnTo>
                <a:lnTo>
                  <a:pt x="605" y="21"/>
                </a:lnTo>
                <a:lnTo>
                  <a:pt x="607" y="21"/>
                </a:lnTo>
                <a:lnTo>
                  <a:pt x="608" y="21"/>
                </a:lnTo>
                <a:lnTo>
                  <a:pt x="609" y="22"/>
                </a:lnTo>
                <a:lnTo>
                  <a:pt x="609" y="21"/>
                </a:lnTo>
                <a:lnTo>
                  <a:pt x="611" y="21"/>
                </a:lnTo>
                <a:lnTo>
                  <a:pt x="611" y="19"/>
                </a:lnTo>
                <a:lnTo>
                  <a:pt x="612" y="19"/>
                </a:lnTo>
                <a:lnTo>
                  <a:pt x="612" y="21"/>
                </a:lnTo>
                <a:lnTo>
                  <a:pt x="612" y="22"/>
                </a:lnTo>
                <a:lnTo>
                  <a:pt x="613" y="23"/>
                </a:lnTo>
                <a:lnTo>
                  <a:pt x="615" y="23"/>
                </a:lnTo>
                <a:lnTo>
                  <a:pt x="615" y="22"/>
                </a:lnTo>
                <a:lnTo>
                  <a:pt x="616" y="21"/>
                </a:lnTo>
                <a:lnTo>
                  <a:pt x="615" y="21"/>
                </a:lnTo>
                <a:lnTo>
                  <a:pt x="615" y="19"/>
                </a:lnTo>
                <a:lnTo>
                  <a:pt x="616" y="19"/>
                </a:lnTo>
                <a:lnTo>
                  <a:pt x="618" y="18"/>
                </a:lnTo>
                <a:lnTo>
                  <a:pt x="618" y="19"/>
                </a:lnTo>
                <a:lnTo>
                  <a:pt x="618" y="21"/>
                </a:lnTo>
                <a:lnTo>
                  <a:pt x="618" y="22"/>
                </a:lnTo>
                <a:lnTo>
                  <a:pt x="618" y="34"/>
                </a:lnTo>
                <a:lnTo>
                  <a:pt x="618" y="50"/>
                </a:lnTo>
                <a:lnTo>
                  <a:pt x="618" y="67"/>
                </a:lnTo>
                <a:lnTo>
                  <a:pt x="618" y="88"/>
                </a:lnTo>
                <a:lnTo>
                  <a:pt x="618" y="89"/>
                </a:lnTo>
                <a:lnTo>
                  <a:pt x="619" y="89"/>
                </a:lnTo>
                <a:lnTo>
                  <a:pt x="622" y="91"/>
                </a:lnTo>
                <a:lnTo>
                  <a:pt x="624" y="91"/>
                </a:lnTo>
                <a:lnTo>
                  <a:pt x="627" y="92"/>
                </a:lnTo>
                <a:lnTo>
                  <a:pt x="630" y="94"/>
                </a:lnTo>
                <a:lnTo>
                  <a:pt x="635" y="95"/>
                </a:lnTo>
                <a:lnTo>
                  <a:pt x="641" y="98"/>
                </a:lnTo>
                <a:lnTo>
                  <a:pt x="645" y="99"/>
                </a:lnTo>
                <a:lnTo>
                  <a:pt x="651" y="103"/>
                </a:lnTo>
                <a:lnTo>
                  <a:pt x="655" y="107"/>
                </a:lnTo>
                <a:lnTo>
                  <a:pt x="659" y="111"/>
                </a:lnTo>
                <a:lnTo>
                  <a:pt x="662" y="114"/>
                </a:lnTo>
                <a:lnTo>
                  <a:pt x="663" y="117"/>
                </a:lnTo>
                <a:lnTo>
                  <a:pt x="664" y="121"/>
                </a:lnTo>
                <a:lnTo>
                  <a:pt x="666" y="125"/>
                </a:lnTo>
                <a:lnTo>
                  <a:pt x="667" y="129"/>
                </a:lnTo>
                <a:lnTo>
                  <a:pt x="671" y="135"/>
                </a:lnTo>
                <a:lnTo>
                  <a:pt x="677" y="143"/>
                </a:lnTo>
                <a:lnTo>
                  <a:pt x="681" y="147"/>
                </a:lnTo>
                <a:lnTo>
                  <a:pt x="682" y="150"/>
                </a:lnTo>
                <a:lnTo>
                  <a:pt x="681" y="154"/>
                </a:lnTo>
                <a:lnTo>
                  <a:pt x="714" y="182"/>
                </a:lnTo>
                <a:lnTo>
                  <a:pt x="715" y="183"/>
                </a:lnTo>
                <a:lnTo>
                  <a:pt x="715" y="184"/>
                </a:lnTo>
                <a:lnTo>
                  <a:pt x="717" y="186"/>
                </a:lnTo>
                <a:lnTo>
                  <a:pt x="717" y="189"/>
                </a:lnTo>
                <a:lnTo>
                  <a:pt x="689" y="475"/>
                </a:lnTo>
                <a:lnTo>
                  <a:pt x="737" y="772"/>
                </a:lnTo>
                <a:lnTo>
                  <a:pt x="917" y="883"/>
                </a:lnTo>
                <a:lnTo>
                  <a:pt x="1104" y="779"/>
                </a:lnTo>
                <a:lnTo>
                  <a:pt x="1239" y="730"/>
                </a:lnTo>
                <a:lnTo>
                  <a:pt x="1267" y="673"/>
                </a:lnTo>
                <a:lnTo>
                  <a:pt x="1300" y="671"/>
                </a:lnTo>
                <a:lnTo>
                  <a:pt x="1305" y="730"/>
                </a:lnTo>
                <a:lnTo>
                  <a:pt x="1293" y="750"/>
                </a:lnTo>
                <a:lnTo>
                  <a:pt x="1287" y="817"/>
                </a:lnTo>
                <a:lnTo>
                  <a:pt x="1388" y="838"/>
                </a:lnTo>
                <a:lnTo>
                  <a:pt x="1443" y="922"/>
                </a:lnTo>
                <a:lnTo>
                  <a:pt x="1435" y="946"/>
                </a:lnTo>
                <a:lnTo>
                  <a:pt x="1437" y="963"/>
                </a:lnTo>
                <a:lnTo>
                  <a:pt x="1521" y="1041"/>
                </a:lnTo>
                <a:lnTo>
                  <a:pt x="1505" y="1131"/>
                </a:lnTo>
                <a:lnTo>
                  <a:pt x="1506" y="1275"/>
                </a:lnTo>
                <a:lnTo>
                  <a:pt x="1352" y="1283"/>
                </a:lnTo>
                <a:lnTo>
                  <a:pt x="1311" y="1261"/>
                </a:lnTo>
                <a:lnTo>
                  <a:pt x="785" y="1314"/>
                </a:lnTo>
                <a:lnTo>
                  <a:pt x="780" y="1311"/>
                </a:lnTo>
                <a:lnTo>
                  <a:pt x="777" y="1310"/>
                </a:lnTo>
                <a:lnTo>
                  <a:pt x="774" y="1310"/>
                </a:lnTo>
                <a:lnTo>
                  <a:pt x="774" y="1308"/>
                </a:lnTo>
                <a:lnTo>
                  <a:pt x="774" y="1307"/>
                </a:lnTo>
                <a:lnTo>
                  <a:pt x="774" y="1305"/>
                </a:lnTo>
                <a:lnTo>
                  <a:pt x="773" y="1304"/>
                </a:lnTo>
                <a:lnTo>
                  <a:pt x="772" y="1303"/>
                </a:lnTo>
                <a:lnTo>
                  <a:pt x="769" y="1303"/>
                </a:lnTo>
                <a:lnTo>
                  <a:pt x="767" y="1303"/>
                </a:lnTo>
                <a:lnTo>
                  <a:pt x="766" y="1303"/>
                </a:lnTo>
                <a:lnTo>
                  <a:pt x="766" y="1301"/>
                </a:lnTo>
                <a:lnTo>
                  <a:pt x="766" y="1300"/>
                </a:lnTo>
                <a:lnTo>
                  <a:pt x="766" y="1298"/>
                </a:lnTo>
                <a:lnTo>
                  <a:pt x="765" y="1297"/>
                </a:lnTo>
                <a:lnTo>
                  <a:pt x="765" y="1298"/>
                </a:lnTo>
                <a:lnTo>
                  <a:pt x="763" y="1298"/>
                </a:lnTo>
                <a:lnTo>
                  <a:pt x="761" y="1298"/>
                </a:lnTo>
                <a:lnTo>
                  <a:pt x="759" y="1298"/>
                </a:lnTo>
                <a:lnTo>
                  <a:pt x="758" y="1298"/>
                </a:lnTo>
                <a:lnTo>
                  <a:pt x="756" y="1297"/>
                </a:lnTo>
                <a:lnTo>
                  <a:pt x="756" y="1294"/>
                </a:lnTo>
                <a:lnTo>
                  <a:pt x="755" y="1294"/>
                </a:lnTo>
                <a:lnTo>
                  <a:pt x="752" y="1294"/>
                </a:lnTo>
                <a:lnTo>
                  <a:pt x="751" y="1294"/>
                </a:lnTo>
                <a:lnTo>
                  <a:pt x="748" y="1293"/>
                </a:lnTo>
                <a:lnTo>
                  <a:pt x="747" y="1293"/>
                </a:lnTo>
                <a:lnTo>
                  <a:pt x="744" y="1293"/>
                </a:lnTo>
                <a:lnTo>
                  <a:pt x="743" y="1293"/>
                </a:lnTo>
                <a:lnTo>
                  <a:pt x="740" y="1293"/>
                </a:lnTo>
                <a:lnTo>
                  <a:pt x="739" y="1294"/>
                </a:lnTo>
                <a:lnTo>
                  <a:pt x="736" y="1294"/>
                </a:lnTo>
                <a:lnTo>
                  <a:pt x="733" y="1294"/>
                </a:lnTo>
                <a:lnTo>
                  <a:pt x="732" y="1293"/>
                </a:lnTo>
                <a:lnTo>
                  <a:pt x="730" y="1293"/>
                </a:lnTo>
                <a:lnTo>
                  <a:pt x="729" y="1292"/>
                </a:lnTo>
                <a:lnTo>
                  <a:pt x="730" y="1290"/>
                </a:lnTo>
                <a:lnTo>
                  <a:pt x="730" y="1289"/>
                </a:lnTo>
                <a:lnTo>
                  <a:pt x="730" y="1287"/>
                </a:lnTo>
                <a:lnTo>
                  <a:pt x="730" y="1286"/>
                </a:lnTo>
                <a:lnTo>
                  <a:pt x="732" y="1285"/>
                </a:lnTo>
                <a:lnTo>
                  <a:pt x="732" y="1285"/>
                </a:lnTo>
                <a:lnTo>
                  <a:pt x="733" y="1283"/>
                </a:lnTo>
                <a:lnTo>
                  <a:pt x="732" y="1283"/>
                </a:lnTo>
                <a:lnTo>
                  <a:pt x="732" y="1282"/>
                </a:lnTo>
                <a:lnTo>
                  <a:pt x="730" y="1282"/>
                </a:lnTo>
                <a:lnTo>
                  <a:pt x="729" y="1282"/>
                </a:lnTo>
                <a:lnTo>
                  <a:pt x="728" y="1282"/>
                </a:lnTo>
                <a:lnTo>
                  <a:pt x="725" y="1282"/>
                </a:lnTo>
                <a:lnTo>
                  <a:pt x="723" y="1282"/>
                </a:lnTo>
                <a:lnTo>
                  <a:pt x="722" y="1282"/>
                </a:lnTo>
                <a:lnTo>
                  <a:pt x="719" y="1282"/>
                </a:lnTo>
                <a:lnTo>
                  <a:pt x="717" y="1282"/>
                </a:lnTo>
                <a:lnTo>
                  <a:pt x="714" y="1281"/>
                </a:lnTo>
                <a:lnTo>
                  <a:pt x="712" y="1281"/>
                </a:lnTo>
                <a:lnTo>
                  <a:pt x="711" y="1279"/>
                </a:lnTo>
                <a:lnTo>
                  <a:pt x="711" y="1278"/>
                </a:lnTo>
                <a:lnTo>
                  <a:pt x="711" y="1276"/>
                </a:lnTo>
                <a:lnTo>
                  <a:pt x="711" y="1275"/>
                </a:lnTo>
                <a:lnTo>
                  <a:pt x="710" y="1274"/>
                </a:lnTo>
                <a:lnTo>
                  <a:pt x="708" y="1274"/>
                </a:lnTo>
                <a:lnTo>
                  <a:pt x="707" y="1272"/>
                </a:lnTo>
                <a:lnTo>
                  <a:pt x="707" y="1271"/>
                </a:lnTo>
                <a:lnTo>
                  <a:pt x="706" y="1271"/>
                </a:lnTo>
                <a:lnTo>
                  <a:pt x="706" y="1270"/>
                </a:lnTo>
                <a:lnTo>
                  <a:pt x="704" y="1268"/>
                </a:lnTo>
                <a:lnTo>
                  <a:pt x="703" y="1268"/>
                </a:lnTo>
                <a:lnTo>
                  <a:pt x="700" y="1268"/>
                </a:lnTo>
                <a:lnTo>
                  <a:pt x="700" y="1265"/>
                </a:lnTo>
                <a:lnTo>
                  <a:pt x="700" y="1264"/>
                </a:lnTo>
                <a:lnTo>
                  <a:pt x="701" y="1263"/>
                </a:lnTo>
                <a:lnTo>
                  <a:pt x="703" y="1261"/>
                </a:lnTo>
                <a:lnTo>
                  <a:pt x="703" y="1260"/>
                </a:lnTo>
                <a:lnTo>
                  <a:pt x="701" y="1259"/>
                </a:lnTo>
                <a:lnTo>
                  <a:pt x="701" y="1259"/>
                </a:lnTo>
                <a:lnTo>
                  <a:pt x="700" y="1259"/>
                </a:lnTo>
                <a:lnTo>
                  <a:pt x="699" y="1257"/>
                </a:lnTo>
                <a:lnTo>
                  <a:pt x="697" y="1257"/>
                </a:lnTo>
                <a:lnTo>
                  <a:pt x="696" y="1256"/>
                </a:lnTo>
                <a:lnTo>
                  <a:pt x="695" y="1256"/>
                </a:lnTo>
                <a:lnTo>
                  <a:pt x="693" y="1254"/>
                </a:lnTo>
                <a:lnTo>
                  <a:pt x="690" y="1254"/>
                </a:lnTo>
                <a:lnTo>
                  <a:pt x="689" y="1256"/>
                </a:lnTo>
                <a:lnTo>
                  <a:pt x="688" y="1257"/>
                </a:lnTo>
                <a:lnTo>
                  <a:pt x="686" y="1259"/>
                </a:lnTo>
                <a:lnTo>
                  <a:pt x="685" y="1257"/>
                </a:lnTo>
                <a:lnTo>
                  <a:pt x="685" y="1256"/>
                </a:lnTo>
                <a:lnTo>
                  <a:pt x="684" y="1256"/>
                </a:lnTo>
                <a:lnTo>
                  <a:pt x="681" y="1257"/>
                </a:lnTo>
                <a:lnTo>
                  <a:pt x="678" y="1257"/>
                </a:lnTo>
                <a:lnTo>
                  <a:pt x="677" y="1256"/>
                </a:lnTo>
                <a:lnTo>
                  <a:pt x="675" y="1256"/>
                </a:lnTo>
                <a:lnTo>
                  <a:pt x="675" y="1253"/>
                </a:lnTo>
                <a:lnTo>
                  <a:pt x="675" y="1252"/>
                </a:lnTo>
                <a:lnTo>
                  <a:pt x="675" y="1250"/>
                </a:lnTo>
                <a:lnTo>
                  <a:pt x="674" y="1250"/>
                </a:lnTo>
                <a:lnTo>
                  <a:pt x="673" y="1250"/>
                </a:lnTo>
                <a:lnTo>
                  <a:pt x="671" y="1249"/>
                </a:lnTo>
                <a:lnTo>
                  <a:pt x="670" y="1248"/>
                </a:lnTo>
                <a:lnTo>
                  <a:pt x="670" y="1246"/>
                </a:lnTo>
                <a:lnTo>
                  <a:pt x="670" y="1245"/>
                </a:lnTo>
                <a:lnTo>
                  <a:pt x="668" y="1242"/>
                </a:lnTo>
                <a:lnTo>
                  <a:pt x="670" y="1241"/>
                </a:lnTo>
                <a:lnTo>
                  <a:pt x="668" y="1239"/>
                </a:lnTo>
                <a:lnTo>
                  <a:pt x="668" y="1238"/>
                </a:lnTo>
                <a:lnTo>
                  <a:pt x="668" y="1237"/>
                </a:lnTo>
                <a:lnTo>
                  <a:pt x="670" y="1235"/>
                </a:lnTo>
                <a:lnTo>
                  <a:pt x="668" y="1235"/>
                </a:lnTo>
                <a:lnTo>
                  <a:pt x="668" y="1232"/>
                </a:lnTo>
                <a:lnTo>
                  <a:pt x="668" y="1231"/>
                </a:lnTo>
                <a:lnTo>
                  <a:pt x="670" y="1231"/>
                </a:lnTo>
                <a:lnTo>
                  <a:pt x="671" y="1228"/>
                </a:lnTo>
                <a:lnTo>
                  <a:pt x="673" y="1228"/>
                </a:lnTo>
                <a:lnTo>
                  <a:pt x="671" y="1227"/>
                </a:lnTo>
                <a:lnTo>
                  <a:pt x="671" y="1226"/>
                </a:lnTo>
                <a:lnTo>
                  <a:pt x="668" y="1226"/>
                </a:lnTo>
                <a:lnTo>
                  <a:pt x="667" y="1226"/>
                </a:lnTo>
                <a:lnTo>
                  <a:pt x="666" y="1226"/>
                </a:lnTo>
                <a:lnTo>
                  <a:pt x="666" y="1226"/>
                </a:lnTo>
                <a:lnTo>
                  <a:pt x="664" y="1226"/>
                </a:lnTo>
                <a:lnTo>
                  <a:pt x="663" y="1226"/>
                </a:lnTo>
                <a:lnTo>
                  <a:pt x="663" y="1226"/>
                </a:lnTo>
                <a:lnTo>
                  <a:pt x="662" y="1226"/>
                </a:lnTo>
                <a:lnTo>
                  <a:pt x="660" y="1224"/>
                </a:lnTo>
                <a:lnTo>
                  <a:pt x="660" y="1221"/>
                </a:lnTo>
                <a:lnTo>
                  <a:pt x="660" y="1220"/>
                </a:lnTo>
                <a:lnTo>
                  <a:pt x="663" y="1220"/>
                </a:lnTo>
                <a:lnTo>
                  <a:pt x="663" y="1219"/>
                </a:lnTo>
                <a:lnTo>
                  <a:pt x="662" y="1219"/>
                </a:lnTo>
                <a:lnTo>
                  <a:pt x="659" y="1219"/>
                </a:lnTo>
                <a:lnTo>
                  <a:pt x="657" y="1220"/>
                </a:lnTo>
                <a:lnTo>
                  <a:pt x="656" y="1219"/>
                </a:lnTo>
                <a:lnTo>
                  <a:pt x="655" y="1219"/>
                </a:lnTo>
                <a:lnTo>
                  <a:pt x="655" y="1216"/>
                </a:lnTo>
                <a:lnTo>
                  <a:pt x="655" y="1215"/>
                </a:lnTo>
                <a:lnTo>
                  <a:pt x="656" y="1213"/>
                </a:lnTo>
                <a:lnTo>
                  <a:pt x="657" y="1213"/>
                </a:lnTo>
                <a:lnTo>
                  <a:pt x="659" y="1212"/>
                </a:lnTo>
                <a:lnTo>
                  <a:pt x="660" y="1210"/>
                </a:lnTo>
                <a:lnTo>
                  <a:pt x="659" y="1209"/>
                </a:lnTo>
                <a:lnTo>
                  <a:pt x="657" y="1208"/>
                </a:lnTo>
                <a:lnTo>
                  <a:pt x="656" y="1208"/>
                </a:lnTo>
                <a:lnTo>
                  <a:pt x="656" y="1206"/>
                </a:lnTo>
                <a:lnTo>
                  <a:pt x="656" y="1205"/>
                </a:lnTo>
                <a:lnTo>
                  <a:pt x="656" y="1204"/>
                </a:lnTo>
                <a:lnTo>
                  <a:pt x="656" y="1202"/>
                </a:lnTo>
                <a:lnTo>
                  <a:pt x="656" y="1201"/>
                </a:lnTo>
                <a:lnTo>
                  <a:pt x="657" y="1201"/>
                </a:lnTo>
                <a:lnTo>
                  <a:pt x="657" y="1199"/>
                </a:lnTo>
                <a:lnTo>
                  <a:pt x="657" y="1198"/>
                </a:lnTo>
                <a:lnTo>
                  <a:pt x="659" y="1197"/>
                </a:lnTo>
                <a:lnTo>
                  <a:pt x="659" y="1195"/>
                </a:lnTo>
                <a:lnTo>
                  <a:pt x="657" y="1194"/>
                </a:lnTo>
                <a:lnTo>
                  <a:pt x="657" y="1193"/>
                </a:lnTo>
                <a:lnTo>
                  <a:pt x="657" y="1193"/>
                </a:lnTo>
                <a:lnTo>
                  <a:pt x="655" y="1191"/>
                </a:lnTo>
                <a:lnTo>
                  <a:pt x="655" y="1190"/>
                </a:lnTo>
                <a:lnTo>
                  <a:pt x="653" y="1191"/>
                </a:lnTo>
                <a:lnTo>
                  <a:pt x="651" y="1191"/>
                </a:lnTo>
                <a:lnTo>
                  <a:pt x="651" y="1193"/>
                </a:lnTo>
                <a:lnTo>
                  <a:pt x="651" y="1193"/>
                </a:lnTo>
                <a:lnTo>
                  <a:pt x="649" y="1193"/>
                </a:lnTo>
                <a:lnTo>
                  <a:pt x="646" y="1193"/>
                </a:lnTo>
                <a:lnTo>
                  <a:pt x="646" y="1191"/>
                </a:lnTo>
                <a:lnTo>
                  <a:pt x="645" y="1188"/>
                </a:lnTo>
                <a:lnTo>
                  <a:pt x="642" y="1188"/>
                </a:lnTo>
                <a:lnTo>
                  <a:pt x="641" y="1188"/>
                </a:lnTo>
                <a:lnTo>
                  <a:pt x="640" y="1188"/>
                </a:lnTo>
                <a:lnTo>
                  <a:pt x="638" y="1187"/>
                </a:lnTo>
                <a:lnTo>
                  <a:pt x="635" y="1186"/>
                </a:lnTo>
                <a:lnTo>
                  <a:pt x="635" y="1184"/>
                </a:lnTo>
                <a:lnTo>
                  <a:pt x="635" y="1183"/>
                </a:lnTo>
                <a:lnTo>
                  <a:pt x="635" y="1180"/>
                </a:lnTo>
                <a:lnTo>
                  <a:pt x="635" y="1179"/>
                </a:lnTo>
                <a:lnTo>
                  <a:pt x="634" y="1179"/>
                </a:lnTo>
                <a:lnTo>
                  <a:pt x="631" y="1179"/>
                </a:lnTo>
                <a:lnTo>
                  <a:pt x="630" y="1179"/>
                </a:lnTo>
                <a:lnTo>
                  <a:pt x="629" y="1179"/>
                </a:lnTo>
                <a:lnTo>
                  <a:pt x="626" y="1179"/>
                </a:lnTo>
                <a:lnTo>
                  <a:pt x="622" y="1179"/>
                </a:lnTo>
                <a:lnTo>
                  <a:pt x="619" y="1177"/>
                </a:lnTo>
                <a:lnTo>
                  <a:pt x="619" y="1176"/>
                </a:lnTo>
                <a:lnTo>
                  <a:pt x="619" y="1175"/>
                </a:lnTo>
                <a:lnTo>
                  <a:pt x="619" y="1173"/>
                </a:lnTo>
                <a:lnTo>
                  <a:pt x="619" y="1172"/>
                </a:lnTo>
                <a:lnTo>
                  <a:pt x="618" y="1171"/>
                </a:lnTo>
                <a:lnTo>
                  <a:pt x="615" y="1169"/>
                </a:lnTo>
                <a:lnTo>
                  <a:pt x="613" y="1169"/>
                </a:lnTo>
                <a:lnTo>
                  <a:pt x="611" y="1171"/>
                </a:lnTo>
                <a:lnTo>
                  <a:pt x="608" y="1171"/>
                </a:lnTo>
                <a:lnTo>
                  <a:pt x="607" y="1169"/>
                </a:lnTo>
                <a:lnTo>
                  <a:pt x="607" y="1168"/>
                </a:lnTo>
                <a:lnTo>
                  <a:pt x="607" y="1166"/>
                </a:lnTo>
                <a:lnTo>
                  <a:pt x="607" y="1165"/>
                </a:lnTo>
                <a:lnTo>
                  <a:pt x="608" y="1164"/>
                </a:lnTo>
                <a:lnTo>
                  <a:pt x="609" y="1162"/>
                </a:lnTo>
                <a:lnTo>
                  <a:pt x="608" y="1161"/>
                </a:lnTo>
                <a:lnTo>
                  <a:pt x="607" y="1161"/>
                </a:lnTo>
                <a:lnTo>
                  <a:pt x="605" y="1160"/>
                </a:lnTo>
                <a:lnTo>
                  <a:pt x="604" y="1158"/>
                </a:lnTo>
                <a:lnTo>
                  <a:pt x="602" y="1158"/>
                </a:lnTo>
                <a:lnTo>
                  <a:pt x="601" y="1158"/>
                </a:lnTo>
                <a:lnTo>
                  <a:pt x="600" y="1157"/>
                </a:lnTo>
                <a:lnTo>
                  <a:pt x="598" y="1157"/>
                </a:lnTo>
                <a:lnTo>
                  <a:pt x="597" y="1157"/>
                </a:lnTo>
                <a:lnTo>
                  <a:pt x="597" y="1155"/>
                </a:lnTo>
                <a:lnTo>
                  <a:pt x="596" y="1155"/>
                </a:lnTo>
                <a:lnTo>
                  <a:pt x="594" y="1155"/>
                </a:lnTo>
                <a:lnTo>
                  <a:pt x="591" y="1155"/>
                </a:lnTo>
                <a:lnTo>
                  <a:pt x="590" y="1157"/>
                </a:lnTo>
                <a:lnTo>
                  <a:pt x="589" y="1157"/>
                </a:lnTo>
                <a:lnTo>
                  <a:pt x="587" y="1155"/>
                </a:lnTo>
                <a:lnTo>
                  <a:pt x="586" y="1155"/>
                </a:lnTo>
                <a:lnTo>
                  <a:pt x="585" y="1155"/>
                </a:lnTo>
                <a:lnTo>
                  <a:pt x="583" y="1154"/>
                </a:lnTo>
                <a:lnTo>
                  <a:pt x="583" y="1153"/>
                </a:lnTo>
                <a:lnTo>
                  <a:pt x="579" y="1150"/>
                </a:lnTo>
                <a:lnTo>
                  <a:pt x="579" y="1149"/>
                </a:lnTo>
                <a:lnTo>
                  <a:pt x="579" y="1147"/>
                </a:lnTo>
                <a:lnTo>
                  <a:pt x="579" y="1146"/>
                </a:lnTo>
                <a:lnTo>
                  <a:pt x="580" y="1144"/>
                </a:lnTo>
                <a:lnTo>
                  <a:pt x="582" y="1142"/>
                </a:lnTo>
                <a:lnTo>
                  <a:pt x="580" y="1139"/>
                </a:lnTo>
                <a:lnTo>
                  <a:pt x="579" y="1138"/>
                </a:lnTo>
                <a:lnTo>
                  <a:pt x="576" y="1138"/>
                </a:lnTo>
                <a:lnTo>
                  <a:pt x="575" y="1139"/>
                </a:lnTo>
                <a:lnTo>
                  <a:pt x="572" y="1139"/>
                </a:lnTo>
                <a:lnTo>
                  <a:pt x="571" y="1139"/>
                </a:lnTo>
                <a:lnTo>
                  <a:pt x="569" y="1139"/>
                </a:lnTo>
                <a:lnTo>
                  <a:pt x="568" y="1139"/>
                </a:lnTo>
                <a:lnTo>
                  <a:pt x="565" y="1138"/>
                </a:lnTo>
                <a:lnTo>
                  <a:pt x="565" y="1136"/>
                </a:lnTo>
                <a:lnTo>
                  <a:pt x="564" y="1136"/>
                </a:lnTo>
                <a:lnTo>
                  <a:pt x="561" y="1135"/>
                </a:lnTo>
                <a:lnTo>
                  <a:pt x="560" y="1135"/>
                </a:lnTo>
                <a:lnTo>
                  <a:pt x="558" y="1135"/>
                </a:lnTo>
                <a:lnTo>
                  <a:pt x="558" y="1133"/>
                </a:lnTo>
                <a:lnTo>
                  <a:pt x="558" y="1132"/>
                </a:lnTo>
                <a:lnTo>
                  <a:pt x="558" y="1131"/>
                </a:lnTo>
                <a:lnTo>
                  <a:pt x="558" y="1129"/>
                </a:lnTo>
                <a:lnTo>
                  <a:pt x="556" y="1128"/>
                </a:lnTo>
                <a:lnTo>
                  <a:pt x="554" y="1128"/>
                </a:lnTo>
                <a:lnTo>
                  <a:pt x="553" y="1128"/>
                </a:lnTo>
                <a:lnTo>
                  <a:pt x="550" y="1128"/>
                </a:lnTo>
                <a:lnTo>
                  <a:pt x="549" y="1128"/>
                </a:lnTo>
                <a:lnTo>
                  <a:pt x="547" y="1129"/>
                </a:lnTo>
                <a:lnTo>
                  <a:pt x="546" y="1131"/>
                </a:lnTo>
                <a:lnTo>
                  <a:pt x="545" y="1132"/>
                </a:lnTo>
                <a:lnTo>
                  <a:pt x="543" y="1131"/>
                </a:lnTo>
                <a:lnTo>
                  <a:pt x="543" y="1129"/>
                </a:lnTo>
                <a:lnTo>
                  <a:pt x="542" y="1128"/>
                </a:lnTo>
                <a:lnTo>
                  <a:pt x="542" y="1127"/>
                </a:lnTo>
                <a:lnTo>
                  <a:pt x="539" y="1125"/>
                </a:lnTo>
                <a:lnTo>
                  <a:pt x="538" y="1125"/>
                </a:lnTo>
                <a:lnTo>
                  <a:pt x="536" y="1125"/>
                </a:lnTo>
                <a:lnTo>
                  <a:pt x="534" y="1125"/>
                </a:lnTo>
                <a:lnTo>
                  <a:pt x="532" y="1125"/>
                </a:lnTo>
                <a:lnTo>
                  <a:pt x="532" y="1125"/>
                </a:lnTo>
                <a:lnTo>
                  <a:pt x="531" y="1125"/>
                </a:lnTo>
                <a:lnTo>
                  <a:pt x="530" y="1125"/>
                </a:lnTo>
                <a:lnTo>
                  <a:pt x="528" y="1125"/>
                </a:lnTo>
                <a:lnTo>
                  <a:pt x="527" y="1125"/>
                </a:lnTo>
                <a:lnTo>
                  <a:pt x="525" y="1125"/>
                </a:lnTo>
                <a:lnTo>
                  <a:pt x="523" y="1125"/>
                </a:lnTo>
                <a:lnTo>
                  <a:pt x="523" y="1124"/>
                </a:lnTo>
                <a:lnTo>
                  <a:pt x="523" y="1122"/>
                </a:lnTo>
                <a:lnTo>
                  <a:pt x="521" y="1122"/>
                </a:lnTo>
                <a:lnTo>
                  <a:pt x="520" y="1121"/>
                </a:lnTo>
                <a:lnTo>
                  <a:pt x="520" y="1120"/>
                </a:lnTo>
                <a:lnTo>
                  <a:pt x="520" y="1118"/>
                </a:lnTo>
                <a:lnTo>
                  <a:pt x="519" y="1117"/>
                </a:lnTo>
                <a:lnTo>
                  <a:pt x="517" y="1118"/>
                </a:lnTo>
                <a:lnTo>
                  <a:pt x="516" y="1120"/>
                </a:lnTo>
                <a:lnTo>
                  <a:pt x="514" y="1120"/>
                </a:lnTo>
                <a:lnTo>
                  <a:pt x="514" y="1118"/>
                </a:lnTo>
                <a:lnTo>
                  <a:pt x="513" y="1117"/>
                </a:lnTo>
                <a:lnTo>
                  <a:pt x="512" y="1117"/>
                </a:lnTo>
                <a:lnTo>
                  <a:pt x="512" y="1116"/>
                </a:lnTo>
                <a:lnTo>
                  <a:pt x="510" y="1116"/>
                </a:lnTo>
                <a:lnTo>
                  <a:pt x="509" y="1116"/>
                </a:lnTo>
                <a:lnTo>
                  <a:pt x="509" y="1117"/>
                </a:lnTo>
                <a:lnTo>
                  <a:pt x="509" y="1118"/>
                </a:lnTo>
                <a:lnTo>
                  <a:pt x="508" y="1118"/>
                </a:lnTo>
                <a:lnTo>
                  <a:pt x="506" y="1118"/>
                </a:lnTo>
                <a:lnTo>
                  <a:pt x="505" y="1117"/>
                </a:lnTo>
                <a:lnTo>
                  <a:pt x="503" y="1117"/>
                </a:lnTo>
                <a:lnTo>
                  <a:pt x="502" y="1116"/>
                </a:lnTo>
                <a:lnTo>
                  <a:pt x="502" y="1114"/>
                </a:lnTo>
                <a:lnTo>
                  <a:pt x="501" y="1113"/>
                </a:lnTo>
                <a:lnTo>
                  <a:pt x="501" y="1111"/>
                </a:lnTo>
                <a:lnTo>
                  <a:pt x="501" y="1110"/>
                </a:lnTo>
                <a:lnTo>
                  <a:pt x="499" y="1110"/>
                </a:lnTo>
                <a:lnTo>
                  <a:pt x="499" y="1109"/>
                </a:lnTo>
                <a:lnTo>
                  <a:pt x="499" y="1107"/>
                </a:lnTo>
                <a:lnTo>
                  <a:pt x="499" y="1109"/>
                </a:lnTo>
                <a:lnTo>
                  <a:pt x="498" y="1110"/>
                </a:lnTo>
                <a:lnTo>
                  <a:pt x="497" y="1109"/>
                </a:lnTo>
                <a:lnTo>
                  <a:pt x="494" y="1109"/>
                </a:lnTo>
                <a:lnTo>
                  <a:pt x="494" y="1107"/>
                </a:lnTo>
                <a:lnTo>
                  <a:pt x="494" y="1106"/>
                </a:lnTo>
                <a:lnTo>
                  <a:pt x="494" y="1105"/>
                </a:lnTo>
                <a:lnTo>
                  <a:pt x="492" y="1103"/>
                </a:lnTo>
                <a:lnTo>
                  <a:pt x="492" y="1102"/>
                </a:lnTo>
                <a:lnTo>
                  <a:pt x="491" y="1102"/>
                </a:lnTo>
                <a:lnTo>
                  <a:pt x="488" y="1102"/>
                </a:lnTo>
                <a:lnTo>
                  <a:pt x="487" y="1103"/>
                </a:lnTo>
                <a:lnTo>
                  <a:pt x="486" y="1103"/>
                </a:lnTo>
                <a:lnTo>
                  <a:pt x="484" y="1103"/>
                </a:lnTo>
                <a:lnTo>
                  <a:pt x="483" y="1102"/>
                </a:lnTo>
                <a:lnTo>
                  <a:pt x="483" y="1100"/>
                </a:lnTo>
                <a:lnTo>
                  <a:pt x="483" y="1099"/>
                </a:lnTo>
                <a:lnTo>
                  <a:pt x="483" y="1098"/>
                </a:lnTo>
                <a:lnTo>
                  <a:pt x="481" y="1095"/>
                </a:lnTo>
                <a:lnTo>
                  <a:pt x="480" y="1095"/>
                </a:lnTo>
                <a:lnTo>
                  <a:pt x="479" y="1095"/>
                </a:lnTo>
                <a:lnTo>
                  <a:pt x="477" y="1096"/>
                </a:lnTo>
                <a:lnTo>
                  <a:pt x="476" y="1096"/>
                </a:lnTo>
                <a:lnTo>
                  <a:pt x="475" y="1096"/>
                </a:lnTo>
                <a:lnTo>
                  <a:pt x="473" y="1096"/>
                </a:lnTo>
                <a:lnTo>
                  <a:pt x="472" y="1098"/>
                </a:lnTo>
                <a:lnTo>
                  <a:pt x="472" y="1099"/>
                </a:lnTo>
                <a:lnTo>
                  <a:pt x="470" y="1100"/>
                </a:lnTo>
                <a:lnTo>
                  <a:pt x="469" y="1099"/>
                </a:lnTo>
                <a:lnTo>
                  <a:pt x="468" y="1098"/>
                </a:lnTo>
                <a:lnTo>
                  <a:pt x="466" y="1096"/>
                </a:lnTo>
                <a:lnTo>
                  <a:pt x="466" y="1096"/>
                </a:lnTo>
                <a:lnTo>
                  <a:pt x="465" y="1098"/>
                </a:lnTo>
                <a:lnTo>
                  <a:pt x="464" y="1098"/>
                </a:lnTo>
                <a:lnTo>
                  <a:pt x="462" y="1098"/>
                </a:lnTo>
                <a:lnTo>
                  <a:pt x="461" y="1098"/>
                </a:lnTo>
                <a:lnTo>
                  <a:pt x="459" y="1096"/>
                </a:lnTo>
                <a:lnTo>
                  <a:pt x="461" y="1095"/>
                </a:lnTo>
                <a:lnTo>
                  <a:pt x="459" y="1094"/>
                </a:lnTo>
                <a:lnTo>
                  <a:pt x="458" y="1094"/>
                </a:lnTo>
                <a:lnTo>
                  <a:pt x="455" y="1094"/>
                </a:lnTo>
                <a:lnTo>
                  <a:pt x="454" y="1092"/>
                </a:lnTo>
                <a:lnTo>
                  <a:pt x="453" y="1092"/>
                </a:lnTo>
                <a:lnTo>
                  <a:pt x="453" y="1092"/>
                </a:lnTo>
                <a:lnTo>
                  <a:pt x="453" y="1091"/>
                </a:lnTo>
                <a:lnTo>
                  <a:pt x="453" y="1089"/>
                </a:lnTo>
                <a:lnTo>
                  <a:pt x="453" y="1088"/>
                </a:lnTo>
                <a:lnTo>
                  <a:pt x="453" y="1087"/>
                </a:lnTo>
                <a:lnTo>
                  <a:pt x="451" y="1087"/>
                </a:lnTo>
                <a:lnTo>
                  <a:pt x="451" y="1085"/>
                </a:lnTo>
                <a:lnTo>
                  <a:pt x="450" y="1085"/>
                </a:lnTo>
                <a:lnTo>
                  <a:pt x="448" y="1085"/>
                </a:lnTo>
                <a:lnTo>
                  <a:pt x="447" y="1085"/>
                </a:lnTo>
                <a:lnTo>
                  <a:pt x="446" y="1084"/>
                </a:lnTo>
                <a:lnTo>
                  <a:pt x="446" y="1083"/>
                </a:lnTo>
                <a:lnTo>
                  <a:pt x="444" y="1081"/>
                </a:lnTo>
                <a:lnTo>
                  <a:pt x="443" y="1081"/>
                </a:lnTo>
                <a:lnTo>
                  <a:pt x="442" y="1081"/>
                </a:lnTo>
                <a:lnTo>
                  <a:pt x="440" y="1080"/>
                </a:lnTo>
                <a:lnTo>
                  <a:pt x="440" y="1078"/>
                </a:lnTo>
                <a:lnTo>
                  <a:pt x="439" y="1078"/>
                </a:lnTo>
                <a:lnTo>
                  <a:pt x="437" y="1077"/>
                </a:lnTo>
                <a:lnTo>
                  <a:pt x="437" y="1076"/>
                </a:lnTo>
                <a:lnTo>
                  <a:pt x="436" y="1074"/>
                </a:lnTo>
                <a:lnTo>
                  <a:pt x="436" y="1073"/>
                </a:lnTo>
                <a:lnTo>
                  <a:pt x="436" y="1072"/>
                </a:lnTo>
                <a:lnTo>
                  <a:pt x="435" y="1073"/>
                </a:lnTo>
                <a:lnTo>
                  <a:pt x="433" y="1073"/>
                </a:lnTo>
                <a:lnTo>
                  <a:pt x="433" y="1072"/>
                </a:lnTo>
                <a:lnTo>
                  <a:pt x="433" y="1072"/>
                </a:lnTo>
                <a:lnTo>
                  <a:pt x="433" y="1073"/>
                </a:lnTo>
                <a:lnTo>
                  <a:pt x="433" y="1074"/>
                </a:lnTo>
                <a:lnTo>
                  <a:pt x="432" y="1076"/>
                </a:lnTo>
                <a:lnTo>
                  <a:pt x="432" y="1077"/>
                </a:lnTo>
                <a:lnTo>
                  <a:pt x="431" y="1077"/>
                </a:lnTo>
                <a:lnTo>
                  <a:pt x="429" y="1077"/>
                </a:lnTo>
                <a:lnTo>
                  <a:pt x="428" y="1076"/>
                </a:lnTo>
                <a:lnTo>
                  <a:pt x="426" y="1074"/>
                </a:lnTo>
                <a:lnTo>
                  <a:pt x="424" y="1074"/>
                </a:lnTo>
                <a:lnTo>
                  <a:pt x="422" y="1074"/>
                </a:lnTo>
                <a:lnTo>
                  <a:pt x="421" y="1073"/>
                </a:lnTo>
                <a:lnTo>
                  <a:pt x="421" y="1072"/>
                </a:lnTo>
                <a:lnTo>
                  <a:pt x="418" y="1070"/>
                </a:lnTo>
                <a:lnTo>
                  <a:pt x="417" y="1069"/>
                </a:lnTo>
                <a:lnTo>
                  <a:pt x="418" y="1067"/>
                </a:lnTo>
                <a:lnTo>
                  <a:pt x="418" y="1066"/>
                </a:lnTo>
                <a:lnTo>
                  <a:pt x="418" y="1065"/>
                </a:lnTo>
                <a:lnTo>
                  <a:pt x="417" y="1063"/>
                </a:lnTo>
                <a:lnTo>
                  <a:pt x="415" y="1062"/>
                </a:lnTo>
                <a:lnTo>
                  <a:pt x="414" y="1062"/>
                </a:lnTo>
                <a:lnTo>
                  <a:pt x="414" y="1061"/>
                </a:lnTo>
                <a:lnTo>
                  <a:pt x="414" y="1059"/>
                </a:lnTo>
                <a:lnTo>
                  <a:pt x="414" y="1059"/>
                </a:lnTo>
                <a:lnTo>
                  <a:pt x="414" y="1058"/>
                </a:lnTo>
                <a:lnTo>
                  <a:pt x="414" y="1056"/>
                </a:lnTo>
                <a:lnTo>
                  <a:pt x="413" y="1055"/>
                </a:lnTo>
                <a:lnTo>
                  <a:pt x="413" y="1054"/>
                </a:lnTo>
                <a:lnTo>
                  <a:pt x="413" y="1052"/>
                </a:lnTo>
                <a:lnTo>
                  <a:pt x="411" y="1051"/>
                </a:lnTo>
                <a:lnTo>
                  <a:pt x="410" y="1050"/>
                </a:lnTo>
                <a:lnTo>
                  <a:pt x="411" y="1048"/>
                </a:lnTo>
                <a:lnTo>
                  <a:pt x="411" y="1047"/>
                </a:lnTo>
                <a:lnTo>
                  <a:pt x="411" y="1045"/>
                </a:lnTo>
                <a:lnTo>
                  <a:pt x="411" y="1044"/>
                </a:lnTo>
                <a:lnTo>
                  <a:pt x="409" y="1044"/>
                </a:lnTo>
                <a:lnTo>
                  <a:pt x="407" y="1044"/>
                </a:lnTo>
                <a:lnTo>
                  <a:pt x="406" y="1044"/>
                </a:lnTo>
                <a:lnTo>
                  <a:pt x="404" y="1044"/>
                </a:lnTo>
                <a:lnTo>
                  <a:pt x="403" y="1044"/>
                </a:lnTo>
                <a:lnTo>
                  <a:pt x="402" y="1044"/>
                </a:lnTo>
                <a:lnTo>
                  <a:pt x="402" y="1043"/>
                </a:lnTo>
                <a:lnTo>
                  <a:pt x="402" y="1041"/>
                </a:lnTo>
                <a:lnTo>
                  <a:pt x="400" y="1040"/>
                </a:lnTo>
                <a:lnTo>
                  <a:pt x="400" y="1040"/>
                </a:lnTo>
                <a:lnTo>
                  <a:pt x="399" y="1039"/>
                </a:lnTo>
                <a:lnTo>
                  <a:pt x="399" y="1037"/>
                </a:lnTo>
                <a:lnTo>
                  <a:pt x="398" y="1037"/>
                </a:lnTo>
                <a:lnTo>
                  <a:pt x="396" y="1036"/>
                </a:lnTo>
                <a:lnTo>
                  <a:pt x="395" y="1034"/>
                </a:lnTo>
                <a:lnTo>
                  <a:pt x="395" y="1033"/>
                </a:lnTo>
                <a:lnTo>
                  <a:pt x="393" y="1032"/>
                </a:lnTo>
                <a:lnTo>
                  <a:pt x="393" y="1029"/>
                </a:lnTo>
                <a:lnTo>
                  <a:pt x="393" y="1028"/>
                </a:lnTo>
                <a:lnTo>
                  <a:pt x="392" y="1028"/>
                </a:lnTo>
                <a:lnTo>
                  <a:pt x="391" y="1028"/>
                </a:lnTo>
                <a:lnTo>
                  <a:pt x="389" y="1026"/>
                </a:lnTo>
                <a:lnTo>
                  <a:pt x="388" y="1026"/>
                </a:lnTo>
                <a:lnTo>
                  <a:pt x="388" y="1025"/>
                </a:lnTo>
                <a:lnTo>
                  <a:pt x="385" y="1026"/>
                </a:lnTo>
                <a:lnTo>
                  <a:pt x="384" y="1026"/>
                </a:lnTo>
                <a:lnTo>
                  <a:pt x="382" y="1026"/>
                </a:lnTo>
                <a:lnTo>
                  <a:pt x="381" y="1026"/>
                </a:lnTo>
                <a:lnTo>
                  <a:pt x="378" y="1026"/>
                </a:lnTo>
                <a:lnTo>
                  <a:pt x="377" y="1026"/>
                </a:lnTo>
                <a:lnTo>
                  <a:pt x="376" y="1026"/>
                </a:lnTo>
                <a:lnTo>
                  <a:pt x="374" y="1025"/>
                </a:lnTo>
                <a:lnTo>
                  <a:pt x="373" y="1023"/>
                </a:lnTo>
                <a:lnTo>
                  <a:pt x="371" y="1023"/>
                </a:lnTo>
                <a:lnTo>
                  <a:pt x="370" y="1022"/>
                </a:lnTo>
                <a:lnTo>
                  <a:pt x="367" y="1023"/>
                </a:lnTo>
                <a:lnTo>
                  <a:pt x="367" y="1023"/>
                </a:lnTo>
                <a:lnTo>
                  <a:pt x="366" y="1022"/>
                </a:lnTo>
                <a:lnTo>
                  <a:pt x="366" y="1021"/>
                </a:lnTo>
                <a:lnTo>
                  <a:pt x="365" y="1022"/>
                </a:lnTo>
                <a:lnTo>
                  <a:pt x="363" y="1022"/>
                </a:lnTo>
                <a:lnTo>
                  <a:pt x="363" y="1021"/>
                </a:lnTo>
                <a:lnTo>
                  <a:pt x="363" y="1019"/>
                </a:lnTo>
                <a:lnTo>
                  <a:pt x="365" y="1018"/>
                </a:lnTo>
                <a:lnTo>
                  <a:pt x="363" y="1017"/>
                </a:lnTo>
                <a:lnTo>
                  <a:pt x="363" y="1015"/>
                </a:lnTo>
                <a:lnTo>
                  <a:pt x="362" y="1012"/>
                </a:lnTo>
                <a:lnTo>
                  <a:pt x="360" y="1012"/>
                </a:lnTo>
                <a:lnTo>
                  <a:pt x="360" y="1011"/>
                </a:lnTo>
                <a:lnTo>
                  <a:pt x="359" y="1010"/>
                </a:lnTo>
                <a:lnTo>
                  <a:pt x="359" y="1008"/>
                </a:lnTo>
                <a:lnTo>
                  <a:pt x="360" y="1007"/>
                </a:lnTo>
                <a:lnTo>
                  <a:pt x="362" y="1007"/>
                </a:lnTo>
                <a:lnTo>
                  <a:pt x="362" y="1006"/>
                </a:lnTo>
                <a:lnTo>
                  <a:pt x="363" y="1004"/>
                </a:lnTo>
                <a:lnTo>
                  <a:pt x="363" y="1003"/>
                </a:lnTo>
                <a:lnTo>
                  <a:pt x="362" y="1001"/>
                </a:lnTo>
                <a:lnTo>
                  <a:pt x="360" y="1000"/>
                </a:lnTo>
                <a:lnTo>
                  <a:pt x="360" y="999"/>
                </a:lnTo>
                <a:lnTo>
                  <a:pt x="358" y="999"/>
                </a:lnTo>
                <a:lnTo>
                  <a:pt x="358" y="997"/>
                </a:lnTo>
                <a:lnTo>
                  <a:pt x="356" y="996"/>
                </a:lnTo>
                <a:lnTo>
                  <a:pt x="358" y="996"/>
                </a:lnTo>
                <a:lnTo>
                  <a:pt x="358" y="995"/>
                </a:lnTo>
                <a:lnTo>
                  <a:pt x="356" y="993"/>
                </a:lnTo>
                <a:lnTo>
                  <a:pt x="353" y="993"/>
                </a:lnTo>
                <a:lnTo>
                  <a:pt x="353" y="992"/>
                </a:lnTo>
                <a:lnTo>
                  <a:pt x="352" y="990"/>
                </a:lnTo>
                <a:lnTo>
                  <a:pt x="352" y="989"/>
                </a:lnTo>
                <a:lnTo>
                  <a:pt x="353" y="989"/>
                </a:lnTo>
                <a:lnTo>
                  <a:pt x="355" y="989"/>
                </a:lnTo>
                <a:lnTo>
                  <a:pt x="356" y="989"/>
                </a:lnTo>
                <a:lnTo>
                  <a:pt x="356" y="988"/>
                </a:lnTo>
                <a:lnTo>
                  <a:pt x="358" y="986"/>
                </a:lnTo>
                <a:lnTo>
                  <a:pt x="358" y="985"/>
                </a:lnTo>
                <a:lnTo>
                  <a:pt x="358" y="984"/>
                </a:lnTo>
                <a:lnTo>
                  <a:pt x="359" y="982"/>
                </a:lnTo>
                <a:lnTo>
                  <a:pt x="362" y="982"/>
                </a:lnTo>
                <a:lnTo>
                  <a:pt x="363" y="982"/>
                </a:lnTo>
                <a:lnTo>
                  <a:pt x="365" y="982"/>
                </a:lnTo>
                <a:lnTo>
                  <a:pt x="365" y="981"/>
                </a:lnTo>
                <a:lnTo>
                  <a:pt x="366" y="979"/>
                </a:lnTo>
                <a:lnTo>
                  <a:pt x="367" y="979"/>
                </a:lnTo>
                <a:lnTo>
                  <a:pt x="367" y="978"/>
                </a:lnTo>
                <a:lnTo>
                  <a:pt x="370" y="978"/>
                </a:lnTo>
                <a:lnTo>
                  <a:pt x="373" y="977"/>
                </a:lnTo>
                <a:lnTo>
                  <a:pt x="373" y="975"/>
                </a:lnTo>
                <a:lnTo>
                  <a:pt x="371" y="973"/>
                </a:lnTo>
                <a:lnTo>
                  <a:pt x="373" y="973"/>
                </a:lnTo>
                <a:lnTo>
                  <a:pt x="376" y="971"/>
                </a:lnTo>
                <a:lnTo>
                  <a:pt x="378" y="971"/>
                </a:lnTo>
                <a:lnTo>
                  <a:pt x="380" y="973"/>
                </a:lnTo>
                <a:lnTo>
                  <a:pt x="381" y="973"/>
                </a:lnTo>
                <a:lnTo>
                  <a:pt x="382" y="971"/>
                </a:lnTo>
                <a:lnTo>
                  <a:pt x="384" y="971"/>
                </a:lnTo>
                <a:lnTo>
                  <a:pt x="385" y="970"/>
                </a:lnTo>
                <a:lnTo>
                  <a:pt x="389" y="970"/>
                </a:lnTo>
                <a:lnTo>
                  <a:pt x="391" y="970"/>
                </a:lnTo>
                <a:lnTo>
                  <a:pt x="392" y="967"/>
                </a:lnTo>
                <a:lnTo>
                  <a:pt x="393" y="967"/>
                </a:lnTo>
                <a:lnTo>
                  <a:pt x="395" y="964"/>
                </a:lnTo>
                <a:lnTo>
                  <a:pt x="395" y="963"/>
                </a:lnTo>
                <a:lnTo>
                  <a:pt x="393" y="962"/>
                </a:lnTo>
                <a:lnTo>
                  <a:pt x="393" y="960"/>
                </a:lnTo>
                <a:lnTo>
                  <a:pt x="395" y="960"/>
                </a:lnTo>
                <a:lnTo>
                  <a:pt x="396" y="960"/>
                </a:lnTo>
                <a:lnTo>
                  <a:pt x="398" y="959"/>
                </a:lnTo>
                <a:lnTo>
                  <a:pt x="398" y="957"/>
                </a:lnTo>
                <a:lnTo>
                  <a:pt x="398" y="956"/>
                </a:lnTo>
                <a:lnTo>
                  <a:pt x="396" y="955"/>
                </a:lnTo>
                <a:lnTo>
                  <a:pt x="395" y="953"/>
                </a:lnTo>
                <a:lnTo>
                  <a:pt x="393" y="951"/>
                </a:lnTo>
                <a:lnTo>
                  <a:pt x="393" y="948"/>
                </a:lnTo>
                <a:lnTo>
                  <a:pt x="392" y="946"/>
                </a:lnTo>
                <a:lnTo>
                  <a:pt x="392" y="945"/>
                </a:lnTo>
                <a:lnTo>
                  <a:pt x="392" y="944"/>
                </a:lnTo>
                <a:lnTo>
                  <a:pt x="392" y="942"/>
                </a:lnTo>
                <a:lnTo>
                  <a:pt x="392" y="941"/>
                </a:lnTo>
                <a:lnTo>
                  <a:pt x="392" y="940"/>
                </a:lnTo>
                <a:lnTo>
                  <a:pt x="392" y="938"/>
                </a:lnTo>
                <a:lnTo>
                  <a:pt x="392" y="937"/>
                </a:lnTo>
                <a:lnTo>
                  <a:pt x="391" y="935"/>
                </a:lnTo>
                <a:lnTo>
                  <a:pt x="392" y="935"/>
                </a:lnTo>
                <a:lnTo>
                  <a:pt x="392" y="934"/>
                </a:lnTo>
                <a:lnTo>
                  <a:pt x="392" y="933"/>
                </a:lnTo>
                <a:lnTo>
                  <a:pt x="393" y="933"/>
                </a:lnTo>
                <a:lnTo>
                  <a:pt x="393" y="931"/>
                </a:lnTo>
                <a:lnTo>
                  <a:pt x="393" y="930"/>
                </a:lnTo>
                <a:lnTo>
                  <a:pt x="393" y="929"/>
                </a:lnTo>
                <a:lnTo>
                  <a:pt x="393" y="927"/>
                </a:lnTo>
                <a:lnTo>
                  <a:pt x="393" y="926"/>
                </a:lnTo>
                <a:lnTo>
                  <a:pt x="393" y="924"/>
                </a:lnTo>
                <a:lnTo>
                  <a:pt x="393" y="923"/>
                </a:lnTo>
                <a:lnTo>
                  <a:pt x="392" y="922"/>
                </a:lnTo>
                <a:lnTo>
                  <a:pt x="393" y="920"/>
                </a:lnTo>
                <a:lnTo>
                  <a:pt x="393" y="919"/>
                </a:lnTo>
                <a:lnTo>
                  <a:pt x="393" y="918"/>
                </a:lnTo>
                <a:lnTo>
                  <a:pt x="393" y="916"/>
                </a:lnTo>
                <a:lnTo>
                  <a:pt x="393" y="913"/>
                </a:lnTo>
                <a:lnTo>
                  <a:pt x="391" y="912"/>
                </a:lnTo>
                <a:lnTo>
                  <a:pt x="389" y="913"/>
                </a:lnTo>
                <a:lnTo>
                  <a:pt x="388" y="915"/>
                </a:lnTo>
                <a:lnTo>
                  <a:pt x="388" y="916"/>
                </a:lnTo>
                <a:lnTo>
                  <a:pt x="387" y="918"/>
                </a:lnTo>
                <a:lnTo>
                  <a:pt x="387" y="916"/>
                </a:lnTo>
                <a:lnTo>
                  <a:pt x="387" y="915"/>
                </a:lnTo>
                <a:lnTo>
                  <a:pt x="387" y="913"/>
                </a:lnTo>
                <a:lnTo>
                  <a:pt x="387" y="912"/>
                </a:lnTo>
                <a:lnTo>
                  <a:pt x="385" y="911"/>
                </a:lnTo>
                <a:lnTo>
                  <a:pt x="384" y="911"/>
                </a:lnTo>
                <a:lnTo>
                  <a:pt x="384" y="908"/>
                </a:lnTo>
                <a:lnTo>
                  <a:pt x="382" y="906"/>
                </a:lnTo>
                <a:lnTo>
                  <a:pt x="382" y="905"/>
                </a:lnTo>
                <a:lnTo>
                  <a:pt x="381" y="904"/>
                </a:lnTo>
                <a:lnTo>
                  <a:pt x="380" y="904"/>
                </a:lnTo>
                <a:lnTo>
                  <a:pt x="380" y="901"/>
                </a:lnTo>
                <a:lnTo>
                  <a:pt x="378" y="900"/>
                </a:lnTo>
                <a:lnTo>
                  <a:pt x="378" y="898"/>
                </a:lnTo>
                <a:lnTo>
                  <a:pt x="377" y="898"/>
                </a:lnTo>
                <a:lnTo>
                  <a:pt x="377" y="897"/>
                </a:lnTo>
                <a:lnTo>
                  <a:pt x="377" y="895"/>
                </a:lnTo>
                <a:lnTo>
                  <a:pt x="376" y="894"/>
                </a:lnTo>
                <a:lnTo>
                  <a:pt x="374" y="894"/>
                </a:lnTo>
                <a:lnTo>
                  <a:pt x="373" y="893"/>
                </a:lnTo>
                <a:lnTo>
                  <a:pt x="371" y="891"/>
                </a:lnTo>
                <a:lnTo>
                  <a:pt x="370" y="890"/>
                </a:lnTo>
                <a:lnTo>
                  <a:pt x="370" y="889"/>
                </a:lnTo>
                <a:lnTo>
                  <a:pt x="370" y="887"/>
                </a:lnTo>
                <a:lnTo>
                  <a:pt x="369" y="887"/>
                </a:lnTo>
                <a:lnTo>
                  <a:pt x="367" y="887"/>
                </a:lnTo>
                <a:lnTo>
                  <a:pt x="367" y="887"/>
                </a:lnTo>
                <a:lnTo>
                  <a:pt x="365" y="887"/>
                </a:lnTo>
                <a:lnTo>
                  <a:pt x="363" y="886"/>
                </a:lnTo>
                <a:lnTo>
                  <a:pt x="363" y="884"/>
                </a:lnTo>
                <a:lnTo>
                  <a:pt x="363" y="883"/>
                </a:lnTo>
                <a:lnTo>
                  <a:pt x="363" y="882"/>
                </a:lnTo>
                <a:lnTo>
                  <a:pt x="362" y="882"/>
                </a:lnTo>
                <a:lnTo>
                  <a:pt x="360" y="882"/>
                </a:lnTo>
                <a:lnTo>
                  <a:pt x="360" y="880"/>
                </a:lnTo>
                <a:lnTo>
                  <a:pt x="359" y="880"/>
                </a:lnTo>
                <a:lnTo>
                  <a:pt x="358" y="879"/>
                </a:lnTo>
                <a:lnTo>
                  <a:pt x="356" y="878"/>
                </a:lnTo>
                <a:lnTo>
                  <a:pt x="355" y="876"/>
                </a:lnTo>
                <a:lnTo>
                  <a:pt x="353" y="876"/>
                </a:lnTo>
                <a:lnTo>
                  <a:pt x="351" y="876"/>
                </a:lnTo>
                <a:lnTo>
                  <a:pt x="349" y="876"/>
                </a:lnTo>
                <a:lnTo>
                  <a:pt x="348" y="879"/>
                </a:lnTo>
                <a:lnTo>
                  <a:pt x="345" y="876"/>
                </a:lnTo>
                <a:lnTo>
                  <a:pt x="344" y="876"/>
                </a:lnTo>
                <a:lnTo>
                  <a:pt x="342" y="878"/>
                </a:lnTo>
                <a:lnTo>
                  <a:pt x="341" y="878"/>
                </a:lnTo>
                <a:lnTo>
                  <a:pt x="340" y="876"/>
                </a:lnTo>
                <a:lnTo>
                  <a:pt x="337" y="876"/>
                </a:lnTo>
                <a:lnTo>
                  <a:pt x="337" y="878"/>
                </a:lnTo>
                <a:lnTo>
                  <a:pt x="336" y="879"/>
                </a:lnTo>
                <a:lnTo>
                  <a:pt x="334" y="878"/>
                </a:lnTo>
                <a:lnTo>
                  <a:pt x="333" y="878"/>
                </a:lnTo>
                <a:lnTo>
                  <a:pt x="333" y="879"/>
                </a:lnTo>
                <a:lnTo>
                  <a:pt x="333" y="880"/>
                </a:lnTo>
                <a:lnTo>
                  <a:pt x="331" y="880"/>
                </a:lnTo>
                <a:lnTo>
                  <a:pt x="327" y="880"/>
                </a:lnTo>
                <a:lnTo>
                  <a:pt x="326" y="880"/>
                </a:lnTo>
                <a:lnTo>
                  <a:pt x="323" y="880"/>
                </a:lnTo>
                <a:lnTo>
                  <a:pt x="322" y="879"/>
                </a:lnTo>
                <a:lnTo>
                  <a:pt x="320" y="879"/>
                </a:lnTo>
                <a:lnTo>
                  <a:pt x="319" y="878"/>
                </a:lnTo>
                <a:lnTo>
                  <a:pt x="319" y="875"/>
                </a:lnTo>
                <a:lnTo>
                  <a:pt x="318" y="873"/>
                </a:lnTo>
                <a:lnTo>
                  <a:pt x="316" y="872"/>
                </a:lnTo>
                <a:lnTo>
                  <a:pt x="314" y="871"/>
                </a:lnTo>
                <a:lnTo>
                  <a:pt x="312" y="869"/>
                </a:lnTo>
                <a:lnTo>
                  <a:pt x="311" y="867"/>
                </a:lnTo>
                <a:lnTo>
                  <a:pt x="308" y="865"/>
                </a:lnTo>
                <a:lnTo>
                  <a:pt x="307" y="864"/>
                </a:lnTo>
                <a:lnTo>
                  <a:pt x="305" y="862"/>
                </a:lnTo>
                <a:lnTo>
                  <a:pt x="303" y="861"/>
                </a:lnTo>
                <a:lnTo>
                  <a:pt x="301" y="861"/>
                </a:lnTo>
                <a:lnTo>
                  <a:pt x="298" y="861"/>
                </a:lnTo>
                <a:lnTo>
                  <a:pt x="297" y="861"/>
                </a:lnTo>
                <a:lnTo>
                  <a:pt x="296" y="858"/>
                </a:lnTo>
                <a:lnTo>
                  <a:pt x="294" y="857"/>
                </a:lnTo>
                <a:lnTo>
                  <a:pt x="292" y="858"/>
                </a:lnTo>
                <a:lnTo>
                  <a:pt x="290" y="858"/>
                </a:lnTo>
                <a:lnTo>
                  <a:pt x="289" y="856"/>
                </a:lnTo>
                <a:lnTo>
                  <a:pt x="286" y="854"/>
                </a:lnTo>
                <a:lnTo>
                  <a:pt x="285" y="853"/>
                </a:lnTo>
                <a:lnTo>
                  <a:pt x="282" y="853"/>
                </a:lnTo>
                <a:lnTo>
                  <a:pt x="281" y="851"/>
                </a:lnTo>
                <a:lnTo>
                  <a:pt x="281" y="850"/>
                </a:lnTo>
                <a:lnTo>
                  <a:pt x="281" y="849"/>
                </a:lnTo>
                <a:lnTo>
                  <a:pt x="281" y="846"/>
                </a:lnTo>
                <a:lnTo>
                  <a:pt x="281" y="845"/>
                </a:lnTo>
                <a:lnTo>
                  <a:pt x="278" y="845"/>
                </a:lnTo>
                <a:lnTo>
                  <a:pt x="279" y="843"/>
                </a:lnTo>
                <a:lnTo>
                  <a:pt x="279" y="840"/>
                </a:lnTo>
                <a:lnTo>
                  <a:pt x="279" y="839"/>
                </a:lnTo>
                <a:lnTo>
                  <a:pt x="278" y="838"/>
                </a:lnTo>
                <a:lnTo>
                  <a:pt x="276" y="838"/>
                </a:lnTo>
                <a:lnTo>
                  <a:pt x="275" y="835"/>
                </a:lnTo>
                <a:lnTo>
                  <a:pt x="274" y="835"/>
                </a:lnTo>
                <a:lnTo>
                  <a:pt x="274" y="832"/>
                </a:lnTo>
                <a:lnTo>
                  <a:pt x="272" y="832"/>
                </a:lnTo>
                <a:lnTo>
                  <a:pt x="271" y="832"/>
                </a:lnTo>
                <a:lnTo>
                  <a:pt x="268" y="832"/>
                </a:lnTo>
                <a:lnTo>
                  <a:pt x="268" y="834"/>
                </a:lnTo>
                <a:lnTo>
                  <a:pt x="267" y="832"/>
                </a:lnTo>
                <a:lnTo>
                  <a:pt x="265" y="832"/>
                </a:lnTo>
                <a:lnTo>
                  <a:pt x="263" y="832"/>
                </a:lnTo>
                <a:lnTo>
                  <a:pt x="263" y="831"/>
                </a:lnTo>
                <a:lnTo>
                  <a:pt x="261" y="829"/>
                </a:lnTo>
                <a:lnTo>
                  <a:pt x="261" y="828"/>
                </a:lnTo>
                <a:lnTo>
                  <a:pt x="261" y="828"/>
                </a:lnTo>
                <a:lnTo>
                  <a:pt x="261" y="827"/>
                </a:lnTo>
                <a:lnTo>
                  <a:pt x="260" y="824"/>
                </a:lnTo>
                <a:lnTo>
                  <a:pt x="260" y="823"/>
                </a:lnTo>
                <a:lnTo>
                  <a:pt x="260" y="820"/>
                </a:lnTo>
                <a:lnTo>
                  <a:pt x="259" y="818"/>
                </a:lnTo>
                <a:lnTo>
                  <a:pt x="257" y="817"/>
                </a:lnTo>
                <a:lnTo>
                  <a:pt x="254" y="814"/>
                </a:lnTo>
                <a:lnTo>
                  <a:pt x="254" y="812"/>
                </a:lnTo>
                <a:lnTo>
                  <a:pt x="254" y="809"/>
                </a:lnTo>
                <a:lnTo>
                  <a:pt x="256" y="807"/>
                </a:lnTo>
                <a:lnTo>
                  <a:pt x="256" y="805"/>
                </a:lnTo>
                <a:lnTo>
                  <a:pt x="254" y="803"/>
                </a:lnTo>
                <a:lnTo>
                  <a:pt x="253" y="801"/>
                </a:lnTo>
                <a:lnTo>
                  <a:pt x="253" y="798"/>
                </a:lnTo>
                <a:lnTo>
                  <a:pt x="253" y="796"/>
                </a:lnTo>
                <a:lnTo>
                  <a:pt x="253" y="795"/>
                </a:lnTo>
                <a:lnTo>
                  <a:pt x="252" y="795"/>
                </a:lnTo>
                <a:lnTo>
                  <a:pt x="250" y="795"/>
                </a:lnTo>
                <a:lnTo>
                  <a:pt x="249" y="794"/>
                </a:lnTo>
                <a:lnTo>
                  <a:pt x="248" y="794"/>
                </a:lnTo>
                <a:lnTo>
                  <a:pt x="249" y="791"/>
                </a:lnTo>
                <a:lnTo>
                  <a:pt x="248" y="790"/>
                </a:lnTo>
                <a:lnTo>
                  <a:pt x="246" y="788"/>
                </a:lnTo>
                <a:lnTo>
                  <a:pt x="246" y="785"/>
                </a:lnTo>
                <a:lnTo>
                  <a:pt x="245" y="784"/>
                </a:lnTo>
                <a:lnTo>
                  <a:pt x="243" y="783"/>
                </a:lnTo>
                <a:lnTo>
                  <a:pt x="242" y="784"/>
                </a:lnTo>
                <a:lnTo>
                  <a:pt x="241" y="785"/>
                </a:lnTo>
                <a:lnTo>
                  <a:pt x="239" y="785"/>
                </a:lnTo>
                <a:lnTo>
                  <a:pt x="238" y="785"/>
                </a:lnTo>
                <a:lnTo>
                  <a:pt x="238" y="784"/>
                </a:lnTo>
                <a:lnTo>
                  <a:pt x="237" y="781"/>
                </a:lnTo>
                <a:lnTo>
                  <a:pt x="235" y="781"/>
                </a:lnTo>
                <a:lnTo>
                  <a:pt x="234" y="781"/>
                </a:lnTo>
                <a:lnTo>
                  <a:pt x="232" y="781"/>
                </a:lnTo>
                <a:lnTo>
                  <a:pt x="231" y="781"/>
                </a:lnTo>
                <a:lnTo>
                  <a:pt x="230" y="780"/>
                </a:lnTo>
                <a:lnTo>
                  <a:pt x="228" y="780"/>
                </a:lnTo>
                <a:lnTo>
                  <a:pt x="228" y="779"/>
                </a:lnTo>
                <a:lnTo>
                  <a:pt x="227" y="777"/>
                </a:lnTo>
                <a:lnTo>
                  <a:pt x="224" y="779"/>
                </a:lnTo>
                <a:lnTo>
                  <a:pt x="223" y="780"/>
                </a:lnTo>
                <a:lnTo>
                  <a:pt x="221" y="780"/>
                </a:lnTo>
                <a:lnTo>
                  <a:pt x="221" y="783"/>
                </a:lnTo>
                <a:lnTo>
                  <a:pt x="219" y="783"/>
                </a:lnTo>
                <a:lnTo>
                  <a:pt x="217" y="783"/>
                </a:lnTo>
                <a:lnTo>
                  <a:pt x="217" y="781"/>
                </a:lnTo>
                <a:lnTo>
                  <a:pt x="216" y="781"/>
                </a:lnTo>
                <a:lnTo>
                  <a:pt x="215" y="780"/>
                </a:lnTo>
                <a:lnTo>
                  <a:pt x="213" y="780"/>
                </a:lnTo>
                <a:lnTo>
                  <a:pt x="212" y="781"/>
                </a:lnTo>
                <a:lnTo>
                  <a:pt x="209" y="783"/>
                </a:lnTo>
                <a:lnTo>
                  <a:pt x="208" y="781"/>
                </a:lnTo>
                <a:lnTo>
                  <a:pt x="206" y="780"/>
                </a:lnTo>
                <a:lnTo>
                  <a:pt x="205" y="779"/>
                </a:lnTo>
                <a:lnTo>
                  <a:pt x="205" y="777"/>
                </a:lnTo>
                <a:lnTo>
                  <a:pt x="205" y="776"/>
                </a:lnTo>
                <a:lnTo>
                  <a:pt x="204" y="774"/>
                </a:lnTo>
                <a:lnTo>
                  <a:pt x="202" y="774"/>
                </a:lnTo>
                <a:lnTo>
                  <a:pt x="202" y="773"/>
                </a:lnTo>
                <a:lnTo>
                  <a:pt x="201" y="773"/>
                </a:lnTo>
                <a:lnTo>
                  <a:pt x="198" y="772"/>
                </a:lnTo>
                <a:lnTo>
                  <a:pt x="197" y="772"/>
                </a:lnTo>
                <a:lnTo>
                  <a:pt x="195" y="773"/>
                </a:lnTo>
                <a:lnTo>
                  <a:pt x="194" y="773"/>
                </a:lnTo>
                <a:lnTo>
                  <a:pt x="193" y="773"/>
                </a:lnTo>
                <a:lnTo>
                  <a:pt x="191" y="773"/>
                </a:lnTo>
                <a:lnTo>
                  <a:pt x="190" y="774"/>
                </a:lnTo>
                <a:lnTo>
                  <a:pt x="188" y="773"/>
                </a:lnTo>
                <a:lnTo>
                  <a:pt x="187" y="773"/>
                </a:lnTo>
                <a:lnTo>
                  <a:pt x="184" y="773"/>
                </a:lnTo>
                <a:lnTo>
                  <a:pt x="184" y="772"/>
                </a:lnTo>
                <a:lnTo>
                  <a:pt x="183" y="772"/>
                </a:lnTo>
                <a:lnTo>
                  <a:pt x="182" y="770"/>
                </a:lnTo>
                <a:lnTo>
                  <a:pt x="182" y="769"/>
                </a:lnTo>
                <a:lnTo>
                  <a:pt x="179" y="768"/>
                </a:lnTo>
                <a:lnTo>
                  <a:pt x="177" y="769"/>
                </a:lnTo>
                <a:lnTo>
                  <a:pt x="176" y="769"/>
                </a:lnTo>
                <a:lnTo>
                  <a:pt x="175" y="769"/>
                </a:lnTo>
                <a:lnTo>
                  <a:pt x="173" y="769"/>
                </a:lnTo>
                <a:lnTo>
                  <a:pt x="172" y="769"/>
                </a:lnTo>
                <a:lnTo>
                  <a:pt x="171" y="769"/>
                </a:lnTo>
                <a:lnTo>
                  <a:pt x="169" y="768"/>
                </a:lnTo>
                <a:lnTo>
                  <a:pt x="168" y="766"/>
                </a:lnTo>
                <a:lnTo>
                  <a:pt x="168" y="768"/>
                </a:lnTo>
                <a:lnTo>
                  <a:pt x="168" y="769"/>
                </a:lnTo>
                <a:lnTo>
                  <a:pt x="166" y="769"/>
                </a:lnTo>
                <a:lnTo>
                  <a:pt x="165" y="770"/>
                </a:lnTo>
                <a:lnTo>
                  <a:pt x="165" y="769"/>
                </a:lnTo>
                <a:lnTo>
                  <a:pt x="162" y="769"/>
                </a:lnTo>
                <a:lnTo>
                  <a:pt x="161" y="768"/>
                </a:lnTo>
                <a:lnTo>
                  <a:pt x="158" y="766"/>
                </a:lnTo>
                <a:lnTo>
                  <a:pt x="158" y="768"/>
                </a:lnTo>
                <a:lnTo>
                  <a:pt x="158" y="769"/>
                </a:lnTo>
                <a:lnTo>
                  <a:pt x="157" y="769"/>
                </a:lnTo>
                <a:lnTo>
                  <a:pt x="155" y="769"/>
                </a:lnTo>
                <a:lnTo>
                  <a:pt x="154" y="770"/>
                </a:lnTo>
                <a:lnTo>
                  <a:pt x="154" y="772"/>
                </a:lnTo>
                <a:lnTo>
                  <a:pt x="151" y="772"/>
                </a:lnTo>
                <a:lnTo>
                  <a:pt x="150" y="772"/>
                </a:lnTo>
                <a:lnTo>
                  <a:pt x="149" y="773"/>
                </a:lnTo>
                <a:lnTo>
                  <a:pt x="147" y="773"/>
                </a:lnTo>
                <a:lnTo>
                  <a:pt x="146" y="774"/>
                </a:lnTo>
                <a:lnTo>
                  <a:pt x="143" y="776"/>
                </a:lnTo>
                <a:lnTo>
                  <a:pt x="142" y="776"/>
                </a:lnTo>
                <a:lnTo>
                  <a:pt x="140" y="776"/>
                </a:lnTo>
                <a:lnTo>
                  <a:pt x="139" y="774"/>
                </a:lnTo>
                <a:lnTo>
                  <a:pt x="139" y="773"/>
                </a:lnTo>
                <a:lnTo>
                  <a:pt x="138" y="772"/>
                </a:lnTo>
                <a:lnTo>
                  <a:pt x="136" y="772"/>
                </a:lnTo>
                <a:lnTo>
                  <a:pt x="136" y="773"/>
                </a:lnTo>
                <a:lnTo>
                  <a:pt x="135" y="773"/>
                </a:lnTo>
                <a:lnTo>
                  <a:pt x="133" y="772"/>
                </a:lnTo>
                <a:lnTo>
                  <a:pt x="133" y="770"/>
                </a:lnTo>
                <a:lnTo>
                  <a:pt x="132" y="769"/>
                </a:lnTo>
                <a:lnTo>
                  <a:pt x="131" y="769"/>
                </a:lnTo>
                <a:lnTo>
                  <a:pt x="128" y="769"/>
                </a:lnTo>
                <a:lnTo>
                  <a:pt x="127" y="769"/>
                </a:lnTo>
                <a:lnTo>
                  <a:pt x="127" y="766"/>
                </a:lnTo>
                <a:lnTo>
                  <a:pt x="127" y="765"/>
                </a:lnTo>
                <a:lnTo>
                  <a:pt x="125" y="763"/>
                </a:lnTo>
                <a:lnTo>
                  <a:pt x="124" y="762"/>
                </a:lnTo>
                <a:lnTo>
                  <a:pt x="122" y="762"/>
                </a:lnTo>
                <a:lnTo>
                  <a:pt x="121" y="763"/>
                </a:lnTo>
                <a:lnTo>
                  <a:pt x="120" y="763"/>
                </a:lnTo>
                <a:lnTo>
                  <a:pt x="118" y="762"/>
                </a:lnTo>
                <a:lnTo>
                  <a:pt x="118" y="762"/>
                </a:lnTo>
                <a:lnTo>
                  <a:pt x="118" y="761"/>
                </a:lnTo>
                <a:lnTo>
                  <a:pt x="117" y="758"/>
                </a:lnTo>
                <a:lnTo>
                  <a:pt x="117" y="757"/>
                </a:lnTo>
                <a:lnTo>
                  <a:pt x="116" y="755"/>
                </a:lnTo>
                <a:lnTo>
                  <a:pt x="116" y="754"/>
                </a:lnTo>
                <a:lnTo>
                  <a:pt x="114" y="751"/>
                </a:lnTo>
                <a:lnTo>
                  <a:pt x="111" y="751"/>
                </a:lnTo>
                <a:lnTo>
                  <a:pt x="110" y="751"/>
                </a:lnTo>
                <a:lnTo>
                  <a:pt x="109" y="751"/>
                </a:lnTo>
                <a:lnTo>
                  <a:pt x="106" y="750"/>
                </a:lnTo>
                <a:lnTo>
                  <a:pt x="106" y="748"/>
                </a:lnTo>
                <a:lnTo>
                  <a:pt x="105" y="748"/>
                </a:lnTo>
                <a:lnTo>
                  <a:pt x="103" y="750"/>
                </a:lnTo>
                <a:lnTo>
                  <a:pt x="103" y="751"/>
                </a:lnTo>
                <a:lnTo>
                  <a:pt x="103" y="750"/>
                </a:lnTo>
                <a:lnTo>
                  <a:pt x="100" y="750"/>
                </a:lnTo>
                <a:lnTo>
                  <a:pt x="99" y="750"/>
                </a:lnTo>
                <a:lnTo>
                  <a:pt x="96" y="750"/>
                </a:lnTo>
                <a:lnTo>
                  <a:pt x="95" y="748"/>
                </a:lnTo>
                <a:lnTo>
                  <a:pt x="92" y="748"/>
                </a:lnTo>
                <a:lnTo>
                  <a:pt x="91" y="750"/>
                </a:lnTo>
                <a:lnTo>
                  <a:pt x="91" y="751"/>
                </a:lnTo>
                <a:lnTo>
                  <a:pt x="89" y="751"/>
                </a:lnTo>
                <a:lnTo>
                  <a:pt x="87" y="751"/>
                </a:lnTo>
                <a:lnTo>
                  <a:pt x="85" y="751"/>
                </a:lnTo>
                <a:lnTo>
                  <a:pt x="84" y="751"/>
                </a:lnTo>
                <a:lnTo>
                  <a:pt x="83" y="752"/>
                </a:lnTo>
                <a:lnTo>
                  <a:pt x="83" y="754"/>
                </a:lnTo>
                <a:lnTo>
                  <a:pt x="81" y="755"/>
                </a:lnTo>
                <a:lnTo>
                  <a:pt x="80" y="755"/>
                </a:lnTo>
                <a:lnTo>
                  <a:pt x="80" y="757"/>
                </a:lnTo>
                <a:lnTo>
                  <a:pt x="80" y="758"/>
                </a:lnTo>
                <a:lnTo>
                  <a:pt x="78" y="758"/>
                </a:lnTo>
                <a:lnTo>
                  <a:pt x="77" y="758"/>
                </a:lnTo>
                <a:lnTo>
                  <a:pt x="76" y="759"/>
                </a:lnTo>
                <a:lnTo>
                  <a:pt x="74" y="761"/>
                </a:lnTo>
                <a:lnTo>
                  <a:pt x="72" y="761"/>
                </a:lnTo>
                <a:lnTo>
                  <a:pt x="70" y="761"/>
                </a:lnTo>
                <a:lnTo>
                  <a:pt x="70" y="759"/>
                </a:lnTo>
                <a:lnTo>
                  <a:pt x="70" y="758"/>
                </a:lnTo>
                <a:lnTo>
                  <a:pt x="70" y="757"/>
                </a:lnTo>
                <a:lnTo>
                  <a:pt x="69" y="757"/>
                </a:lnTo>
                <a:lnTo>
                  <a:pt x="66" y="755"/>
                </a:lnTo>
                <a:lnTo>
                  <a:pt x="66" y="752"/>
                </a:lnTo>
                <a:lnTo>
                  <a:pt x="65" y="752"/>
                </a:lnTo>
                <a:lnTo>
                  <a:pt x="62" y="752"/>
                </a:lnTo>
                <a:lnTo>
                  <a:pt x="59" y="751"/>
                </a:lnTo>
                <a:lnTo>
                  <a:pt x="58" y="752"/>
                </a:lnTo>
                <a:lnTo>
                  <a:pt x="56" y="754"/>
                </a:lnTo>
                <a:lnTo>
                  <a:pt x="55" y="754"/>
                </a:lnTo>
                <a:lnTo>
                  <a:pt x="54" y="754"/>
                </a:lnTo>
                <a:lnTo>
                  <a:pt x="52" y="754"/>
                </a:lnTo>
                <a:lnTo>
                  <a:pt x="51" y="754"/>
                </a:lnTo>
                <a:lnTo>
                  <a:pt x="50" y="752"/>
                </a:lnTo>
                <a:lnTo>
                  <a:pt x="48" y="752"/>
                </a:lnTo>
                <a:lnTo>
                  <a:pt x="47" y="752"/>
                </a:lnTo>
                <a:lnTo>
                  <a:pt x="47" y="751"/>
                </a:lnTo>
                <a:lnTo>
                  <a:pt x="45" y="751"/>
                </a:lnTo>
                <a:lnTo>
                  <a:pt x="44" y="751"/>
                </a:lnTo>
                <a:lnTo>
                  <a:pt x="41" y="751"/>
                </a:lnTo>
                <a:lnTo>
                  <a:pt x="40" y="750"/>
                </a:lnTo>
                <a:lnTo>
                  <a:pt x="39" y="748"/>
                </a:lnTo>
                <a:lnTo>
                  <a:pt x="39" y="747"/>
                </a:lnTo>
                <a:lnTo>
                  <a:pt x="37" y="748"/>
                </a:lnTo>
                <a:lnTo>
                  <a:pt x="37" y="748"/>
                </a:lnTo>
                <a:lnTo>
                  <a:pt x="36" y="747"/>
                </a:lnTo>
                <a:lnTo>
                  <a:pt x="36" y="746"/>
                </a:lnTo>
                <a:lnTo>
                  <a:pt x="34" y="746"/>
                </a:lnTo>
                <a:lnTo>
                  <a:pt x="33" y="744"/>
                </a:lnTo>
                <a:lnTo>
                  <a:pt x="32" y="744"/>
                </a:lnTo>
                <a:lnTo>
                  <a:pt x="30" y="746"/>
                </a:lnTo>
                <a:lnTo>
                  <a:pt x="29" y="746"/>
                </a:lnTo>
                <a:lnTo>
                  <a:pt x="28" y="746"/>
                </a:lnTo>
                <a:lnTo>
                  <a:pt x="28" y="744"/>
                </a:lnTo>
                <a:lnTo>
                  <a:pt x="25" y="741"/>
                </a:lnTo>
                <a:lnTo>
                  <a:pt x="25" y="740"/>
                </a:lnTo>
                <a:lnTo>
                  <a:pt x="23" y="737"/>
                </a:lnTo>
                <a:lnTo>
                  <a:pt x="22" y="736"/>
                </a:lnTo>
                <a:lnTo>
                  <a:pt x="19" y="736"/>
                </a:lnTo>
                <a:lnTo>
                  <a:pt x="18" y="735"/>
                </a:lnTo>
                <a:lnTo>
                  <a:pt x="17" y="733"/>
                </a:lnTo>
                <a:lnTo>
                  <a:pt x="15" y="732"/>
                </a:lnTo>
                <a:lnTo>
                  <a:pt x="14" y="732"/>
                </a:lnTo>
                <a:lnTo>
                  <a:pt x="12" y="730"/>
                </a:lnTo>
                <a:lnTo>
                  <a:pt x="12" y="732"/>
                </a:lnTo>
                <a:lnTo>
                  <a:pt x="10" y="732"/>
                </a:lnTo>
                <a:lnTo>
                  <a:pt x="10" y="730"/>
                </a:lnTo>
                <a:lnTo>
                  <a:pt x="10" y="729"/>
                </a:lnTo>
                <a:lnTo>
                  <a:pt x="10" y="728"/>
                </a:lnTo>
                <a:lnTo>
                  <a:pt x="8" y="726"/>
                </a:lnTo>
                <a:lnTo>
                  <a:pt x="7" y="725"/>
                </a:lnTo>
                <a:lnTo>
                  <a:pt x="7" y="724"/>
                </a:lnTo>
                <a:lnTo>
                  <a:pt x="6" y="722"/>
                </a:lnTo>
                <a:lnTo>
                  <a:pt x="6" y="721"/>
                </a:lnTo>
                <a:lnTo>
                  <a:pt x="4" y="719"/>
                </a:lnTo>
                <a:lnTo>
                  <a:pt x="4" y="718"/>
                </a:lnTo>
                <a:lnTo>
                  <a:pt x="3" y="718"/>
                </a:lnTo>
                <a:lnTo>
                  <a:pt x="1" y="717"/>
                </a:lnTo>
                <a:lnTo>
                  <a:pt x="1" y="715"/>
                </a:lnTo>
                <a:lnTo>
                  <a:pt x="1" y="714"/>
                </a:lnTo>
                <a:lnTo>
                  <a:pt x="1" y="713"/>
                </a:lnTo>
                <a:lnTo>
                  <a:pt x="1" y="711"/>
                </a:lnTo>
                <a:lnTo>
                  <a:pt x="1" y="710"/>
                </a:lnTo>
                <a:lnTo>
                  <a:pt x="1" y="708"/>
                </a:lnTo>
                <a:lnTo>
                  <a:pt x="0" y="708"/>
                </a:lnTo>
                <a:close/>
              </a:path>
            </a:pathLst>
          </a:custGeom>
          <a:noFill/>
          <a:ln w="19050" cmpd="sng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5" name="Freeform 174"/>
          <p:cNvSpPr>
            <a:spLocks/>
          </p:cNvSpPr>
          <p:nvPr>
            <p:custDataLst>
              <p:tags r:id="rId93"/>
            </p:custDataLst>
          </p:nvPr>
        </p:nvSpPr>
        <p:spPr bwMode="gray">
          <a:xfrm>
            <a:off x="4121202" y="3042479"/>
            <a:ext cx="1589314" cy="1176751"/>
          </a:xfrm>
          <a:custGeom>
            <a:avLst/>
            <a:gdLst>
              <a:gd name="T0" fmla="*/ 845 w 1670"/>
              <a:gd name="T1" fmla="*/ 376 h 1316"/>
              <a:gd name="T2" fmla="*/ 970 w 1670"/>
              <a:gd name="T3" fmla="*/ 552 h 1316"/>
              <a:gd name="T4" fmla="*/ 970 w 1670"/>
              <a:gd name="T5" fmla="*/ 575 h 1316"/>
              <a:gd name="T6" fmla="*/ 985 w 1670"/>
              <a:gd name="T7" fmla="*/ 597 h 1316"/>
              <a:gd name="T8" fmla="*/ 1000 w 1670"/>
              <a:gd name="T9" fmla="*/ 596 h 1316"/>
              <a:gd name="T10" fmla="*/ 1015 w 1670"/>
              <a:gd name="T11" fmla="*/ 601 h 1316"/>
              <a:gd name="T12" fmla="*/ 1030 w 1670"/>
              <a:gd name="T13" fmla="*/ 600 h 1316"/>
              <a:gd name="T14" fmla="*/ 1046 w 1670"/>
              <a:gd name="T15" fmla="*/ 607 h 1316"/>
              <a:gd name="T16" fmla="*/ 1057 w 1670"/>
              <a:gd name="T17" fmla="*/ 608 h 1316"/>
              <a:gd name="T18" fmla="*/ 1066 w 1670"/>
              <a:gd name="T19" fmla="*/ 615 h 1316"/>
              <a:gd name="T20" fmla="*/ 1074 w 1670"/>
              <a:gd name="T21" fmla="*/ 619 h 1316"/>
              <a:gd name="T22" fmla="*/ 1083 w 1670"/>
              <a:gd name="T23" fmla="*/ 626 h 1316"/>
              <a:gd name="T24" fmla="*/ 1092 w 1670"/>
              <a:gd name="T25" fmla="*/ 622 h 1316"/>
              <a:gd name="T26" fmla="*/ 1105 w 1670"/>
              <a:gd name="T27" fmla="*/ 621 h 1316"/>
              <a:gd name="T28" fmla="*/ 1124 w 1670"/>
              <a:gd name="T29" fmla="*/ 614 h 1316"/>
              <a:gd name="T30" fmla="*/ 1135 w 1670"/>
              <a:gd name="T31" fmla="*/ 616 h 1316"/>
              <a:gd name="T32" fmla="*/ 1147 w 1670"/>
              <a:gd name="T33" fmla="*/ 619 h 1316"/>
              <a:gd name="T34" fmla="*/ 1156 w 1670"/>
              <a:gd name="T35" fmla="*/ 629 h 1316"/>
              <a:gd name="T36" fmla="*/ 1171 w 1670"/>
              <a:gd name="T37" fmla="*/ 634 h 1316"/>
              <a:gd name="T38" fmla="*/ 1190 w 1670"/>
              <a:gd name="T39" fmla="*/ 632 h 1316"/>
              <a:gd name="T40" fmla="*/ 1205 w 1670"/>
              <a:gd name="T41" fmla="*/ 638 h 1316"/>
              <a:gd name="T42" fmla="*/ 1219 w 1670"/>
              <a:gd name="T43" fmla="*/ 648 h 1316"/>
              <a:gd name="T44" fmla="*/ 1231 w 1670"/>
              <a:gd name="T45" fmla="*/ 656 h 1316"/>
              <a:gd name="T46" fmla="*/ 1248 w 1670"/>
              <a:gd name="T47" fmla="*/ 667 h 1316"/>
              <a:gd name="T48" fmla="*/ 1262 w 1670"/>
              <a:gd name="T49" fmla="*/ 680 h 1316"/>
              <a:gd name="T50" fmla="*/ 1279 w 1670"/>
              <a:gd name="T51" fmla="*/ 693 h 1316"/>
              <a:gd name="T52" fmla="*/ 1296 w 1670"/>
              <a:gd name="T53" fmla="*/ 703 h 1316"/>
              <a:gd name="T54" fmla="*/ 1312 w 1670"/>
              <a:gd name="T55" fmla="*/ 725 h 1316"/>
              <a:gd name="T56" fmla="*/ 1325 w 1670"/>
              <a:gd name="T57" fmla="*/ 747 h 1316"/>
              <a:gd name="T58" fmla="*/ 1319 w 1670"/>
              <a:gd name="T59" fmla="*/ 779 h 1316"/>
              <a:gd name="T60" fmla="*/ 1337 w 1670"/>
              <a:gd name="T61" fmla="*/ 798 h 1316"/>
              <a:gd name="T62" fmla="*/ 1348 w 1670"/>
              <a:gd name="T63" fmla="*/ 809 h 1316"/>
              <a:gd name="T64" fmla="*/ 1372 w 1670"/>
              <a:gd name="T65" fmla="*/ 823 h 1316"/>
              <a:gd name="T66" fmla="*/ 1381 w 1670"/>
              <a:gd name="T67" fmla="*/ 839 h 1316"/>
              <a:gd name="T68" fmla="*/ 1383 w 1670"/>
              <a:gd name="T69" fmla="*/ 854 h 1316"/>
              <a:gd name="T70" fmla="*/ 1391 w 1670"/>
              <a:gd name="T71" fmla="*/ 867 h 1316"/>
              <a:gd name="T72" fmla="*/ 1406 w 1670"/>
              <a:gd name="T73" fmla="*/ 872 h 1316"/>
              <a:gd name="T74" fmla="*/ 1420 w 1670"/>
              <a:gd name="T75" fmla="*/ 880 h 1316"/>
              <a:gd name="T76" fmla="*/ 1422 w 1670"/>
              <a:gd name="T77" fmla="*/ 891 h 1316"/>
              <a:gd name="T78" fmla="*/ 1435 w 1670"/>
              <a:gd name="T79" fmla="*/ 900 h 1316"/>
              <a:gd name="T80" fmla="*/ 1453 w 1670"/>
              <a:gd name="T81" fmla="*/ 901 h 1316"/>
              <a:gd name="T82" fmla="*/ 1465 w 1670"/>
              <a:gd name="T83" fmla="*/ 904 h 1316"/>
              <a:gd name="T84" fmla="*/ 1475 w 1670"/>
              <a:gd name="T85" fmla="*/ 904 h 1316"/>
              <a:gd name="T86" fmla="*/ 1487 w 1670"/>
              <a:gd name="T87" fmla="*/ 913 h 1316"/>
              <a:gd name="T88" fmla="*/ 1498 w 1670"/>
              <a:gd name="T89" fmla="*/ 924 h 1316"/>
              <a:gd name="T90" fmla="*/ 1501 w 1670"/>
              <a:gd name="T91" fmla="*/ 940 h 1316"/>
              <a:gd name="T92" fmla="*/ 1499 w 1670"/>
              <a:gd name="T93" fmla="*/ 952 h 1316"/>
              <a:gd name="T94" fmla="*/ 1508 w 1670"/>
              <a:gd name="T95" fmla="*/ 964 h 1316"/>
              <a:gd name="T96" fmla="*/ 1530 w 1670"/>
              <a:gd name="T97" fmla="*/ 970 h 1316"/>
              <a:gd name="T98" fmla="*/ 1548 w 1670"/>
              <a:gd name="T99" fmla="*/ 973 h 1316"/>
              <a:gd name="T100" fmla="*/ 1564 w 1670"/>
              <a:gd name="T101" fmla="*/ 992 h 1316"/>
              <a:gd name="T102" fmla="*/ 1581 w 1670"/>
              <a:gd name="T103" fmla="*/ 1011 h 1316"/>
              <a:gd name="T104" fmla="*/ 1600 w 1670"/>
              <a:gd name="T105" fmla="*/ 1010 h 1316"/>
              <a:gd name="T106" fmla="*/ 1623 w 1670"/>
              <a:gd name="T107" fmla="*/ 1018 h 1316"/>
              <a:gd name="T108" fmla="*/ 1643 w 1670"/>
              <a:gd name="T109" fmla="*/ 1030 h 1316"/>
              <a:gd name="T110" fmla="*/ 1654 w 1670"/>
              <a:gd name="T111" fmla="*/ 1046 h 1316"/>
              <a:gd name="T112" fmla="*/ 1670 w 1670"/>
              <a:gd name="T113" fmla="*/ 1066 h 1316"/>
              <a:gd name="T114" fmla="*/ 1660 w 1670"/>
              <a:gd name="T115" fmla="*/ 1084 h 1316"/>
              <a:gd name="T116" fmla="*/ 1658 w 1670"/>
              <a:gd name="T117" fmla="*/ 1107 h 1316"/>
              <a:gd name="T118" fmla="*/ 1654 w 1670"/>
              <a:gd name="T119" fmla="*/ 1157 h 1316"/>
              <a:gd name="T120" fmla="*/ 1655 w 1670"/>
              <a:gd name="T121" fmla="*/ 1186 h 1316"/>
              <a:gd name="T122" fmla="*/ 1663 w 1670"/>
              <a:gd name="T123" fmla="*/ 1209 h 1316"/>
              <a:gd name="T124" fmla="*/ 26 w 1670"/>
              <a:gd name="T125" fmla="*/ 333 h 1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670" h="1316">
                <a:moveTo>
                  <a:pt x="0" y="191"/>
                </a:moveTo>
                <a:lnTo>
                  <a:pt x="64" y="114"/>
                </a:lnTo>
                <a:lnTo>
                  <a:pt x="51" y="62"/>
                </a:lnTo>
                <a:lnTo>
                  <a:pt x="103" y="0"/>
                </a:lnTo>
                <a:lnTo>
                  <a:pt x="190" y="10"/>
                </a:lnTo>
                <a:lnTo>
                  <a:pt x="189" y="15"/>
                </a:lnTo>
                <a:lnTo>
                  <a:pt x="252" y="8"/>
                </a:lnTo>
                <a:lnTo>
                  <a:pt x="434" y="62"/>
                </a:lnTo>
                <a:lnTo>
                  <a:pt x="464" y="46"/>
                </a:lnTo>
                <a:lnTo>
                  <a:pt x="490" y="79"/>
                </a:lnTo>
                <a:lnTo>
                  <a:pt x="546" y="84"/>
                </a:lnTo>
                <a:lnTo>
                  <a:pt x="557" y="129"/>
                </a:lnTo>
                <a:lnTo>
                  <a:pt x="538" y="150"/>
                </a:lnTo>
                <a:lnTo>
                  <a:pt x="570" y="241"/>
                </a:lnTo>
                <a:lnTo>
                  <a:pt x="614" y="278"/>
                </a:lnTo>
                <a:lnTo>
                  <a:pt x="654" y="238"/>
                </a:lnTo>
                <a:lnTo>
                  <a:pt x="711" y="205"/>
                </a:lnTo>
                <a:lnTo>
                  <a:pt x="757" y="146"/>
                </a:lnTo>
                <a:lnTo>
                  <a:pt x="769" y="172"/>
                </a:lnTo>
                <a:lnTo>
                  <a:pt x="764" y="205"/>
                </a:lnTo>
                <a:lnTo>
                  <a:pt x="802" y="213"/>
                </a:lnTo>
                <a:lnTo>
                  <a:pt x="845" y="376"/>
                </a:lnTo>
                <a:lnTo>
                  <a:pt x="942" y="431"/>
                </a:lnTo>
                <a:lnTo>
                  <a:pt x="909" y="531"/>
                </a:lnTo>
                <a:lnTo>
                  <a:pt x="980" y="531"/>
                </a:lnTo>
                <a:lnTo>
                  <a:pt x="981" y="532"/>
                </a:lnTo>
                <a:lnTo>
                  <a:pt x="982" y="534"/>
                </a:lnTo>
                <a:lnTo>
                  <a:pt x="982" y="535"/>
                </a:lnTo>
                <a:lnTo>
                  <a:pt x="982" y="537"/>
                </a:lnTo>
                <a:lnTo>
                  <a:pt x="981" y="538"/>
                </a:lnTo>
                <a:lnTo>
                  <a:pt x="980" y="539"/>
                </a:lnTo>
                <a:lnTo>
                  <a:pt x="978" y="541"/>
                </a:lnTo>
                <a:lnTo>
                  <a:pt x="977" y="541"/>
                </a:lnTo>
                <a:lnTo>
                  <a:pt x="975" y="542"/>
                </a:lnTo>
                <a:lnTo>
                  <a:pt x="974" y="542"/>
                </a:lnTo>
                <a:lnTo>
                  <a:pt x="973" y="542"/>
                </a:lnTo>
                <a:lnTo>
                  <a:pt x="973" y="542"/>
                </a:lnTo>
                <a:lnTo>
                  <a:pt x="971" y="543"/>
                </a:lnTo>
                <a:lnTo>
                  <a:pt x="970" y="543"/>
                </a:lnTo>
                <a:lnTo>
                  <a:pt x="969" y="546"/>
                </a:lnTo>
                <a:lnTo>
                  <a:pt x="970" y="548"/>
                </a:lnTo>
                <a:lnTo>
                  <a:pt x="970" y="549"/>
                </a:lnTo>
                <a:lnTo>
                  <a:pt x="970" y="550"/>
                </a:lnTo>
                <a:lnTo>
                  <a:pt x="970" y="552"/>
                </a:lnTo>
                <a:lnTo>
                  <a:pt x="970" y="553"/>
                </a:lnTo>
                <a:lnTo>
                  <a:pt x="969" y="554"/>
                </a:lnTo>
                <a:lnTo>
                  <a:pt x="969" y="556"/>
                </a:lnTo>
                <a:lnTo>
                  <a:pt x="969" y="557"/>
                </a:lnTo>
                <a:lnTo>
                  <a:pt x="970" y="557"/>
                </a:lnTo>
                <a:lnTo>
                  <a:pt x="971" y="559"/>
                </a:lnTo>
                <a:lnTo>
                  <a:pt x="971" y="560"/>
                </a:lnTo>
                <a:lnTo>
                  <a:pt x="973" y="561"/>
                </a:lnTo>
                <a:lnTo>
                  <a:pt x="974" y="563"/>
                </a:lnTo>
                <a:lnTo>
                  <a:pt x="974" y="564"/>
                </a:lnTo>
                <a:lnTo>
                  <a:pt x="974" y="565"/>
                </a:lnTo>
                <a:lnTo>
                  <a:pt x="973" y="565"/>
                </a:lnTo>
                <a:lnTo>
                  <a:pt x="971" y="564"/>
                </a:lnTo>
                <a:lnTo>
                  <a:pt x="970" y="564"/>
                </a:lnTo>
                <a:lnTo>
                  <a:pt x="970" y="565"/>
                </a:lnTo>
                <a:lnTo>
                  <a:pt x="970" y="567"/>
                </a:lnTo>
                <a:lnTo>
                  <a:pt x="970" y="568"/>
                </a:lnTo>
                <a:lnTo>
                  <a:pt x="969" y="570"/>
                </a:lnTo>
                <a:lnTo>
                  <a:pt x="969" y="571"/>
                </a:lnTo>
                <a:lnTo>
                  <a:pt x="970" y="572"/>
                </a:lnTo>
                <a:lnTo>
                  <a:pt x="970" y="574"/>
                </a:lnTo>
                <a:lnTo>
                  <a:pt x="970" y="575"/>
                </a:lnTo>
                <a:lnTo>
                  <a:pt x="970" y="575"/>
                </a:lnTo>
                <a:lnTo>
                  <a:pt x="971" y="576"/>
                </a:lnTo>
                <a:lnTo>
                  <a:pt x="973" y="576"/>
                </a:lnTo>
                <a:lnTo>
                  <a:pt x="974" y="578"/>
                </a:lnTo>
                <a:lnTo>
                  <a:pt x="974" y="579"/>
                </a:lnTo>
                <a:lnTo>
                  <a:pt x="975" y="579"/>
                </a:lnTo>
                <a:lnTo>
                  <a:pt x="975" y="581"/>
                </a:lnTo>
                <a:lnTo>
                  <a:pt x="975" y="582"/>
                </a:lnTo>
                <a:lnTo>
                  <a:pt x="975" y="583"/>
                </a:lnTo>
                <a:lnTo>
                  <a:pt x="977" y="583"/>
                </a:lnTo>
                <a:lnTo>
                  <a:pt x="977" y="585"/>
                </a:lnTo>
                <a:lnTo>
                  <a:pt x="978" y="586"/>
                </a:lnTo>
                <a:lnTo>
                  <a:pt x="980" y="587"/>
                </a:lnTo>
                <a:lnTo>
                  <a:pt x="981" y="589"/>
                </a:lnTo>
                <a:lnTo>
                  <a:pt x="982" y="589"/>
                </a:lnTo>
                <a:lnTo>
                  <a:pt x="984" y="590"/>
                </a:lnTo>
                <a:lnTo>
                  <a:pt x="984" y="592"/>
                </a:lnTo>
                <a:lnTo>
                  <a:pt x="985" y="592"/>
                </a:lnTo>
                <a:lnTo>
                  <a:pt x="985" y="593"/>
                </a:lnTo>
                <a:lnTo>
                  <a:pt x="985" y="594"/>
                </a:lnTo>
                <a:lnTo>
                  <a:pt x="985" y="596"/>
                </a:lnTo>
                <a:lnTo>
                  <a:pt x="985" y="597"/>
                </a:lnTo>
                <a:lnTo>
                  <a:pt x="984" y="597"/>
                </a:lnTo>
                <a:lnTo>
                  <a:pt x="984" y="599"/>
                </a:lnTo>
                <a:lnTo>
                  <a:pt x="984" y="600"/>
                </a:lnTo>
                <a:lnTo>
                  <a:pt x="985" y="600"/>
                </a:lnTo>
                <a:lnTo>
                  <a:pt x="985" y="599"/>
                </a:lnTo>
                <a:lnTo>
                  <a:pt x="986" y="599"/>
                </a:lnTo>
                <a:lnTo>
                  <a:pt x="986" y="600"/>
                </a:lnTo>
                <a:lnTo>
                  <a:pt x="988" y="600"/>
                </a:lnTo>
                <a:lnTo>
                  <a:pt x="988" y="599"/>
                </a:lnTo>
                <a:lnTo>
                  <a:pt x="988" y="597"/>
                </a:lnTo>
                <a:lnTo>
                  <a:pt x="989" y="597"/>
                </a:lnTo>
                <a:lnTo>
                  <a:pt x="989" y="599"/>
                </a:lnTo>
                <a:lnTo>
                  <a:pt x="991" y="600"/>
                </a:lnTo>
                <a:lnTo>
                  <a:pt x="991" y="599"/>
                </a:lnTo>
                <a:lnTo>
                  <a:pt x="992" y="599"/>
                </a:lnTo>
                <a:lnTo>
                  <a:pt x="993" y="599"/>
                </a:lnTo>
                <a:lnTo>
                  <a:pt x="995" y="599"/>
                </a:lnTo>
                <a:lnTo>
                  <a:pt x="995" y="597"/>
                </a:lnTo>
                <a:lnTo>
                  <a:pt x="996" y="597"/>
                </a:lnTo>
                <a:lnTo>
                  <a:pt x="997" y="597"/>
                </a:lnTo>
                <a:lnTo>
                  <a:pt x="999" y="597"/>
                </a:lnTo>
                <a:lnTo>
                  <a:pt x="1000" y="596"/>
                </a:lnTo>
                <a:lnTo>
                  <a:pt x="1002" y="596"/>
                </a:lnTo>
                <a:lnTo>
                  <a:pt x="1002" y="597"/>
                </a:lnTo>
                <a:lnTo>
                  <a:pt x="1003" y="599"/>
                </a:lnTo>
                <a:lnTo>
                  <a:pt x="1004" y="599"/>
                </a:lnTo>
                <a:lnTo>
                  <a:pt x="1006" y="599"/>
                </a:lnTo>
                <a:lnTo>
                  <a:pt x="1006" y="600"/>
                </a:lnTo>
                <a:lnTo>
                  <a:pt x="1006" y="601"/>
                </a:lnTo>
                <a:lnTo>
                  <a:pt x="1003" y="603"/>
                </a:lnTo>
                <a:lnTo>
                  <a:pt x="1004" y="603"/>
                </a:lnTo>
                <a:lnTo>
                  <a:pt x="1006" y="603"/>
                </a:lnTo>
                <a:lnTo>
                  <a:pt x="1007" y="603"/>
                </a:lnTo>
                <a:lnTo>
                  <a:pt x="1007" y="601"/>
                </a:lnTo>
                <a:lnTo>
                  <a:pt x="1008" y="603"/>
                </a:lnTo>
                <a:lnTo>
                  <a:pt x="1008" y="601"/>
                </a:lnTo>
                <a:lnTo>
                  <a:pt x="1008" y="601"/>
                </a:lnTo>
                <a:lnTo>
                  <a:pt x="1010" y="600"/>
                </a:lnTo>
                <a:lnTo>
                  <a:pt x="1011" y="600"/>
                </a:lnTo>
                <a:lnTo>
                  <a:pt x="1013" y="600"/>
                </a:lnTo>
                <a:lnTo>
                  <a:pt x="1013" y="601"/>
                </a:lnTo>
                <a:lnTo>
                  <a:pt x="1014" y="600"/>
                </a:lnTo>
                <a:lnTo>
                  <a:pt x="1015" y="600"/>
                </a:lnTo>
                <a:lnTo>
                  <a:pt x="1015" y="601"/>
                </a:lnTo>
                <a:lnTo>
                  <a:pt x="1017" y="601"/>
                </a:lnTo>
                <a:lnTo>
                  <a:pt x="1017" y="600"/>
                </a:lnTo>
                <a:lnTo>
                  <a:pt x="1018" y="600"/>
                </a:lnTo>
                <a:lnTo>
                  <a:pt x="1019" y="600"/>
                </a:lnTo>
                <a:lnTo>
                  <a:pt x="1021" y="600"/>
                </a:lnTo>
                <a:lnTo>
                  <a:pt x="1022" y="600"/>
                </a:lnTo>
                <a:lnTo>
                  <a:pt x="1022" y="599"/>
                </a:lnTo>
                <a:lnTo>
                  <a:pt x="1024" y="597"/>
                </a:lnTo>
                <a:lnTo>
                  <a:pt x="1024" y="596"/>
                </a:lnTo>
                <a:lnTo>
                  <a:pt x="1025" y="596"/>
                </a:lnTo>
                <a:lnTo>
                  <a:pt x="1026" y="597"/>
                </a:lnTo>
                <a:lnTo>
                  <a:pt x="1028" y="597"/>
                </a:lnTo>
                <a:lnTo>
                  <a:pt x="1026" y="597"/>
                </a:lnTo>
                <a:lnTo>
                  <a:pt x="1026" y="599"/>
                </a:lnTo>
                <a:lnTo>
                  <a:pt x="1028" y="599"/>
                </a:lnTo>
                <a:lnTo>
                  <a:pt x="1028" y="600"/>
                </a:lnTo>
                <a:lnTo>
                  <a:pt x="1028" y="599"/>
                </a:lnTo>
                <a:lnTo>
                  <a:pt x="1029" y="597"/>
                </a:lnTo>
                <a:lnTo>
                  <a:pt x="1030" y="597"/>
                </a:lnTo>
                <a:lnTo>
                  <a:pt x="1029" y="599"/>
                </a:lnTo>
                <a:lnTo>
                  <a:pt x="1029" y="600"/>
                </a:lnTo>
                <a:lnTo>
                  <a:pt x="1030" y="600"/>
                </a:lnTo>
                <a:lnTo>
                  <a:pt x="1032" y="600"/>
                </a:lnTo>
                <a:lnTo>
                  <a:pt x="1033" y="600"/>
                </a:lnTo>
                <a:lnTo>
                  <a:pt x="1033" y="601"/>
                </a:lnTo>
                <a:lnTo>
                  <a:pt x="1033" y="603"/>
                </a:lnTo>
                <a:lnTo>
                  <a:pt x="1035" y="603"/>
                </a:lnTo>
                <a:lnTo>
                  <a:pt x="1035" y="601"/>
                </a:lnTo>
                <a:lnTo>
                  <a:pt x="1037" y="603"/>
                </a:lnTo>
                <a:lnTo>
                  <a:pt x="1039" y="603"/>
                </a:lnTo>
                <a:lnTo>
                  <a:pt x="1040" y="604"/>
                </a:lnTo>
                <a:lnTo>
                  <a:pt x="1040" y="605"/>
                </a:lnTo>
                <a:lnTo>
                  <a:pt x="1040" y="604"/>
                </a:lnTo>
                <a:lnTo>
                  <a:pt x="1041" y="604"/>
                </a:lnTo>
                <a:lnTo>
                  <a:pt x="1041" y="604"/>
                </a:lnTo>
                <a:lnTo>
                  <a:pt x="1041" y="605"/>
                </a:lnTo>
                <a:lnTo>
                  <a:pt x="1041" y="607"/>
                </a:lnTo>
                <a:lnTo>
                  <a:pt x="1041" y="605"/>
                </a:lnTo>
                <a:lnTo>
                  <a:pt x="1043" y="605"/>
                </a:lnTo>
                <a:lnTo>
                  <a:pt x="1044" y="605"/>
                </a:lnTo>
                <a:lnTo>
                  <a:pt x="1044" y="607"/>
                </a:lnTo>
                <a:lnTo>
                  <a:pt x="1046" y="607"/>
                </a:lnTo>
                <a:lnTo>
                  <a:pt x="1046" y="608"/>
                </a:lnTo>
                <a:lnTo>
                  <a:pt x="1046" y="607"/>
                </a:lnTo>
                <a:lnTo>
                  <a:pt x="1046" y="605"/>
                </a:lnTo>
                <a:lnTo>
                  <a:pt x="1047" y="605"/>
                </a:lnTo>
                <a:lnTo>
                  <a:pt x="1047" y="604"/>
                </a:lnTo>
                <a:lnTo>
                  <a:pt x="1048" y="604"/>
                </a:lnTo>
                <a:lnTo>
                  <a:pt x="1048" y="603"/>
                </a:lnTo>
                <a:lnTo>
                  <a:pt x="1050" y="603"/>
                </a:lnTo>
                <a:lnTo>
                  <a:pt x="1051" y="603"/>
                </a:lnTo>
                <a:lnTo>
                  <a:pt x="1051" y="604"/>
                </a:lnTo>
                <a:lnTo>
                  <a:pt x="1052" y="605"/>
                </a:lnTo>
                <a:lnTo>
                  <a:pt x="1052" y="604"/>
                </a:lnTo>
                <a:lnTo>
                  <a:pt x="1054" y="604"/>
                </a:lnTo>
                <a:lnTo>
                  <a:pt x="1055" y="604"/>
                </a:lnTo>
                <a:lnTo>
                  <a:pt x="1054" y="605"/>
                </a:lnTo>
                <a:lnTo>
                  <a:pt x="1054" y="607"/>
                </a:lnTo>
                <a:lnTo>
                  <a:pt x="1054" y="605"/>
                </a:lnTo>
                <a:lnTo>
                  <a:pt x="1054" y="607"/>
                </a:lnTo>
                <a:lnTo>
                  <a:pt x="1055" y="607"/>
                </a:lnTo>
                <a:lnTo>
                  <a:pt x="1057" y="607"/>
                </a:lnTo>
                <a:lnTo>
                  <a:pt x="1057" y="608"/>
                </a:lnTo>
                <a:lnTo>
                  <a:pt x="1055" y="608"/>
                </a:lnTo>
                <a:lnTo>
                  <a:pt x="1055" y="608"/>
                </a:lnTo>
                <a:lnTo>
                  <a:pt x="1057" y="608"/>
                </a:lnTo>
                <a:lnTo>
                  <a:pt x="1057" y="610"/>
                </a:lnTo>
                <a:lnTo>
                  <a:pt x="1057" y="608"/>
                </a:lnTo>
                <a:lnTo>
                  <a:pt x="1058" y="608"/>
                </a:lnTo>
                <a:lnTo>
                  <a:pt x="1058" y="610"/>
                </a:lnTo>
                <a:lnTo>
                  <a:pt x="1059" y="608"/>
                </a:lnTo>
                <a:lnTo>
                  <a:pt x="1059" y="610"/>
                </a:lnTo>
                <a:lnTo>
                  <a:pt x="1061" y="610"/>
                </a:lnTo>
                <a:lnTo>
                  <a:pt x="1061" y="611"/>
                </a:lnTo>
                <a:lnTo>
                  <a:pt x="1062" y="611"/>
                </a:lnTo>
                <a:lnTo>
                  <a:pt x="1061" y="612"/>
                </a:lnTo>
                <a:lnTo>
                  <a:pt x="1062" y="612"/>
                </a:lnTo>
                <a:lnTo>
                  <a:pt x="1062" y="611"/>
                </a:lnTo>
                <a:lnTo>
                  <a:pt x="1063" y="611"/>
                </a:lnTo>
                <a:lnTo>
                  <a:pt x="1065" y="611"/>
                </a:lnTo>
                <a:lnTo>
                  <a:pt x="1063" y="612"/>
                </a:lnTo>
                <a:lnTo>
                  <a:pt x="1063" y="614"/>
                </a:lnTo>
                <a:lnTo>
                  <a:pt x="1065" y="614"/>
                </a:lnTo>
                <a:lnTo>
                  <a:pt x="1066" y="612"/>
                </a:lnTo>
                <a:lnTo>
                  <a:pt x="1068" y="612"/>
                </a:lnTo>
                <a:lnTo>
                  <a:pt x="1068" y="614"/>
                </a:lnTo>
                <a:lnTo>
                  <a:pt x="1066" y="614"/>
                </a:lnTo>
                <a:lnTo>
                  <a:pt x="1066" y="615"/>
                </a:lnTo>
                <a:lnTo>
                  <a:pt x="1068" y="615"/>
                </a:lnTo>
                <a:lnTo>
                  <a:pt x="1069" y="615"/>
                </a:lnTo>
                <a:lnTo>
                  <a:pt x="1069" y="614"/>
                </a:lnTo>
                <a:lnTo>
                  <a:pt x="1070" y="614"/>
                </a:lnTo>
                <a:lnTo>
                  <a:pt x="1072" y="614"/>
                </a:lnTo>
                <a:lnTo>
                  <a:pt x="1070" y="615"/>
                </a:lnTo>
                <a:lnTo>
                  <a:pt x="1070" y="616"/>
                </a:lnTo>
                <a:lnTo>
                  <a:pt x="1070" y="618"/>
                </a:lnTo>
                <a:lnTo>
                  <a:pt x="1072" y="619"/>
                </a:lnTo>
                <a:lnTo>
                  <a:pt x="1072" y="618"/>
                </a:lnTo>
                <a:lnTo>
                  <a:pt x="1073" y="618"/>
                </a:lnTo>
                <a:lnTo>
                  <a:pt x="1072" y="618"/>
                </a:lnTo>
                <a:lnTo>
                  <a:pt x="1072" y="616"/>
                </a:lnTo>
                <a:lnTo>
                  <a:pt x="1073" y="615"/>
                </a:lnTo>
                <a:lnTo>
                  <a:pt x="1074" y="615"/>
                </a:lnTo>
                <a:lnTo>
                  <a:pt x="1073" y="616"/>
                </a:lnTo>
                <a:lnTo>
                  <a:pt x="1074" y="616"/>
                </a:lnTo>
                <a:lnTo>
                  <a:pt x="1073" y="618"/>
                </a:lnTo>
                <a:lnTo>
                  <a:pt x="1073" y="619"/>
                </a:lnTo>
                <a:lnTo>
                  <a:pt x="1073" y="618"/>
                </a:lnTo>
                <a:lnTo>
                  <a:pt x="1074" y="618"/>
                </a:lnTo>
                <a:lnTo>
                  <a:pt x="1074" y="619"/>
                </a:lnTo>
                <a:lnTo>
                  <a:pt x="1074" y="621"/>
                </a:lnTo>
                <a:lnTo>
                  <a:pt x="1074" y="622"/>
                </a:lnTo>
                <a:lnTo>
                  <a:pt x="1074" y="621"/>
                </a:lnTo>
                <a:lnTo>
                  <a:pt x="1074" y="621"/>
                </a:lnTo>
                <a:lnTo>
                  <a:pt x="1074" y="622"/>
                </a:lnTo>
                <a:lnTo>
                  <a:pt x="1076" y="622"/>
                </a:lnTo>
                <a:lnTo>
                  <a:pt x="1077" y="622"/>
                </a:lnTo>
                <a:lnTo>
                  <a:pt x="1076" y="621"/>
                </a:lnTo>
                <a:lnTo>
                  <a:pt x="1077" y="619"/>
                </a:lnTo>
                <a:lnTo>
                  <a:pt x="1077" y="621"/>
                </a:lnTo>
                <a:lnTo>
                  <a:pt x="1077" y="622"/>
                </a:lnTo>
                <a:lnTo>
                  <a:pt x="1079" y="622"/>
                </a:lnTo>
                <a:lnTo>
                  <a:pt x="1079" y="623"/>
                </a:lnTo>
                <a:lnTo>
                  <a:pt x="1079" y="625"/>
                </a:lnTo>
                <a:lnTo>
                  <a:pt x="1079" y="626"/>
                </a:lnTo>
                <a:lnTo>
                  <a:pt x="1079" y="627"/>
                </a:lnTo>
                <a:lnTo>
                  <a:pt x="1080" y="627"/>
                </a:lnTo>
                <a:lnTo>
                  <a:pt x="1080" y="626"/>
                </a:lnTo>
                <a:lnTo>
                  <a:pt x="1081" y="627"/>
                </a:lnTo>
                <a:lnTo>
                  <a:pt x="1083" y="626"/>
                </a:lnTo>
                <a:lnTo>
                  <a:pt x="1081" y="626"/>
                </a:lnTo>
                <a:lnTo>
                  <a:pt x="1083" y="626"/>
                </a:lnTo>
                <a:lnTo>
                  <a:pt x="1084" y="626"/>
                </a:lnTo>
                <a:lnTo>
                  <a:pt x="1085" y="626"/>
                </a:lnTo>
                <a:lnTo>
                  <a:pt x="1085" y="627"/>
                </a:lnTo>
                <a:lnTo>
                  <a:pt x="1087" y="627"/>
                </a:lnTo>
                <a:lnTo>
                  <a:pt x="1087" y="626"/>
                </a:lnTo>
                <a:lnTo>
                  <a:pt x="1085" y="626"/>
                </a:lnTo>
                <a:lnTo>
                  <a:pt x="1085" y="625"/>
                </a:lnTo>
                <a:lnTo>
                  <a:pt x="1087" y="625"/>
                </a:lnTo>
                <a:lnTo>
                  <a:pt x="1088" y="626"/>
                </a:lnTo>
                <a:lnTo>
                  <a:pt x="1090" y="625"/>
                </a:lnTo>
                <a:lnTo>
                  <a:pt x="1088" y="625"/>
                </a:lnTo>
                <a:lnTo>
                  <a:pt x="1087" y="625"/>
                </a:lnTo>
                <a:lnTo>
                  <a:pt x="1088" y="625"/>
                </a:lnTo>
                <a:lnTo>
                  <a:pt x="1088" y="623"/>
                </a:lnTo>
                <a:lnTo>
                  <a:pt x="1088" y="622"/>
                </a:lnTo>
                <a:lnTo>
                  <a:pt x="1090" y="622"/>
                </a:lnTo>
                <a:lnTo>
                  <a:pt x="1090" y="621"/>
                </a:lnTo>
                <a:lnTo>
                  <a:pt x="1090" y="619"/>
                </a:lnTo>
                <a:lnTo>
                  <a:pt x="1090" y="621"/>
                </a:lnTo>
                <a:lnTo>
                  <a:pt x="1091" y="621"/>
                </a:lnTo>
                <a:lnTo>
                  <a:pt x="1091" y="622"/>
                </a:lnTo>
                <a:lnTo>
                  <a:pt x="1092" y="622"/>
                </a:lnTo>
                <a:lnTo>
                  <a:pt x="1092" y="623"/>
                </a:lnTo>
                <a:lnTo>
                  <a:pt x="1094" y="623"/>
                </a:lnTo>
                <a:lnTo>
                  <a:pt x="1095" y="623"/>
                </a:lnTo>
                <a:lnTo>
                  <a:pt x="1095" y="622"/>
                </a:lnTo>
                <a:lnTo>
                  <a:pt x="1095" y="621"/>
                </a:lnTo>
                <a:lnTo>
                  <a:pt x="1095" y="619"/>
                </a:lnTo>
                <a:lnTo>
                  <a:pt x="1096" y="619"/>
                </a:lnTo>
                <a:lnTo>
                  <a:pt x="1098" y="619"/>
                </a:lnTo>
                <a:lnTo>
                  <a:pt x="1098" y="621"/>
                </a:lnTo>
                <a:lnTo>
                  <a:pt x="1099" y="619"/>
                </a:lnTo>
                <a:lnTo>
                  <a:pt x="1101" y="619"/>
                </a:lnTo>
                <a:lnTo>
                  <a:pt x="1101" y="618"/>
                </a:lnTo>
                <a:lnTo>
                  <a:pt x="1101" y="616"/>
                </a:lnTo>
                <a:lnTo>
                  <a:pt x="1101" y="615"/>
                </a:lnTo>
                <a:lnTo>
                  <a:pt x="1102" y="616"/>
                </a:lnTo>
                <a:lnTo>
                  <a:pt x="1102" y="618"/>
                </a:lnTo>
                <a:lnTo>
                  <a:pt x="1102" y="616"/>
                </a:lnTo>
                <a:lnTo>
                  <a:pt x="1103" y="616"/>
                </a:lnTo>
                <a:lnTo>
                  <a:pt x="1105" y="616"/>
                </a:lnTo>
                <a:lnTo>
                  <a:pt x="1105" y="618"/>
                </a:lnTo>
                <a:lnTo>
                  <a:pt x="1105" y="619"/>
                </a:lnTo>
                <a:lnTo>
                  <a:pt x="1105" y="621"/>
                </a:lnTo>
                <a:lnTo>
                  <a:pt x="1106" y="619"/>
                </a:lnTo>
                <a:lnTo>
                  <a:pt x="1107" y="619"/>
                </a:lnTo>
                <a:lnTo>
                  <a:pt x="1107" y="619"/>
                </a:lnTo>
                <a:lnTo>
                  <a:pt x="1107" y="618"/>
                </a:lnTo>
                <a:lnTo>
                  <a:pt x="1107" y="616"/>
                </a:lnTo>
                <a:lnTo>
                  <a:pt x="1109" y="618"/>
                </a:lnTo>
                <a:lnTo>
                  <a:pt x="1112" y="616"/>
                </a:lnTo>
                <a:lnTo>
                  <a:pt x="1113" y="618"/>
                </a:lnTo>
                <a:lnTo>
                  <a:pt x="1114" y="616"/>
                </a:lnTo>
                <a:lnTo>
                  <a:pt x="1114" y="615"/>
                </a:lnTo>
                <a:lnTo>
                  <a:pt x="1116" y="614"/>
                </a:lnTo>
                <a:lnTo>
                  <a:pt x="1116" y="612"/>
                </a:lnTo>
                <a:lnTo>
                  <a:pt x="1117" y="612"/>
                </a:lnTo>
                <a:lnTo>
                  <a:pt x="1116" y="611"/>
                </a:lnTo>
                <a:lnTo>
                  <a:pt x="1117" y="611"/>
                </a:lnTo>
                <a:lnTo>
                  <a:pt x="1118" y="611"/>
                </a:lnTo>
                <a:lnTo>
                  <a:pt x="1120" y="612"/>
                </a:lnTo>
                <a:lnTo>
                  <a:pt x="1120" y="614"/>
                </a:lnTo>
                <a:lnTo>
                  <a:pt x="1121" y="614"/>
                </a:lnTo>
                <a:lnTo>
                  <a:pt x="1123" y="612"/>
                </a:lnTo>
                <a:lnTo>
                  <a:pt x="1123" y="614"/>
                </a:lnTo>
                <a:lnTo>
                  <a:pt x="1124" y="614"/>
                </a:lnTo>
                <a:lnTo>
                  <a:pt x="1124" y="615"/>
                </a:lnTo>
                <a:lnTo>
                  <a:pt x="1124" y="616"/>
                </a:lnTo>
                <a:lnTo>
                  <a:pt x="1125" y="616"/>
                </a:lnTo>
                <a:lnTo>
                  <a:pt x="1127" y="618"/>
                </a:lnTo>
                <a:lnTo>
                  <a:pt x="1127" y="616"/>
                </a:lnTo>
                <a:lnTo>
                  <a:pt x="1127" y="615"/>
                </a:lnTo>
                <a:lnTo>
                  <a:pt x="1127" y="614"/>
                </a:lnTo>
                <a:lnTo>
                  <a:pt x="1127" y="615"/>
                </a:lnTo>
                <a:lnTo>
                  <a:pt x="1128" y="615"/>
                </a:lnTo>
                <a:lnTo>
                  <a:pt x="1129" y="614"/>
                </a:lnTo>
                <a:lnTo>
                  <a:pt x="1128" y="612"/>
                </a:lnTo>
                <a:lnTo>
                  <a:pt x="1129" y="612"/>
                </a:lnTo>
                <a:lnTo>
                  <a:pt x="1129" y="614"/>
                </a:lnTo>
                <a:lnTo>
                  <a:pt x="1131" y="614"/>
                </a:lnTo>
                <a:lnTo>
                  <a:pt x="1131" y="612"/>
                </a:lnTo>
                <a:lnTo>
                  <a:pt x="1132" y="612"/>
                </a:lnTo>
                <a:lnTo>
                  <a:pt x="1132" y="614"/>
                </a:lnTo>
                <a:lnTo>
                  <a:pt x="1134" y="614"/>
                </a:lnTo>
                <a:lnTo>
                  <a:pt x="1135" y="614"/>
                </a:lnTo>
                <a:lnTo>
                  <a:pt x="1136" y="614"/>
                </a:lnTo>
                <a:lnTo>
                  <a:pt x="1135" y="615"/>
                </a:lnTo>
                <a:lnTo>
                  <a:pt x="1135" y="616"/>
                </a:lnTo>
                <a:lnTo>
                  <a:pt x="1136" y="615"/>
                </a:lnTo>
                <a:lnTo>
                  <a:pt x="1138" y="616"/>
                </a:lnTo>
                <a:lnTo>
                  <a:pt x="1136" y="616"/>
                </a:lnTo>
                <a:lnTo>
                  <a:pt x="1136" y="618"/>
                </a:lnTo>
                <a:lnTo>
                  <a:pt x="1138" y="618"/>
                </a:lnTo>
                <a:lnTo>
                  <a:pt x="1139" y="618"/>
                </a:lnTo>
                <a:lnTo>
                  <a:pt x="1140" y="618"/>
                </a:lnTo>
                <a:lnTo>
                  <a:pt x="1140" y="616"/>
                </a:lnTo>
                <a:lnTo>
                  <a:pt x="1140" y="616"/>
                </a:lnTo>
                <a:lnTo>
                  <a:pt x="1140" y="618"/>
                </a:lnTo>
                <a:lnTo>
                  <a:pt x="1140" y="619"/>
                </a:lnTo>
                <a:lnTo>
                  <a:pt x="1142" y="621"/>
                </a:lnTo>
                <a:lnTo>
                  <a:pt x="1142" y="619"/>
                </a:lnTo>
                <a:lnTo>
                  <a:pt x="1142" y="618"/>
                </a:lnTo>
                <a:lnTo>
                  <a:pt x="1142" y="616"/>
                </a:lnTo>
                <a:lnTo>
                  <a:pt x="1143" y="616"/>
                </a:lnTo>
                <a:lnTo>
                  <a:pt x="1143" y="618"/>
                </a:lnTo>
                <a:lnTo>
                  <a:pt x="1145" y="619"/>
                </a:lnTo>
                <a:lnTo>
                  <a:pt x="1145" y="618"/>
                </a:lnTo>
                <a:lnTo>
                  <a:pt x="1146" y="618"/>
                </a:lnTo>
                <a:lnTo>
                  <a:pt x="1147" y="618"/>
                </a:lnTo>
                <a:lnTo>
                  <a:pt x="1147" y="619"/>
                </a:lnTo>
                <a:lnTo>
                  <a:pt x="1146" y="619"/>
                </a:lnTo>
                <a:lnTo>
                  <a:pt x="1146" y="621"/>
                </a:lnTo>
                <a:lnTo>
                  <a:pt x="1147" y="621"/>
                </a:lnTo>
                <a:lnTo>
                  <a:pt x="1149" y="621"/>
                </a:lnTo>
                <a:lnTo>
                  <a:pt x="1150" y="621"/>
                </a:lnTo>
                <a:lnTo>
                  <a:pt x="1149" y="622"/>
                </a:lnTo>
                <a:lnTo>
                  <a:pt x="1150" y="623"/>
                </a:lnTo>
                <a:lnTo>
                  <a:pt x="1149" y="625"/>
                </a:lnTo>
                <a:lnTo>
                  <a:pt x="1149" y="626"/>
                </a:lnTo>
                <a:lnTo>
                  <a:pt x="1150" y="625"/>
                </a:lnTo>
                <a:lnTo>
                  <a:pt x="1151" y="623"/>
                </a:lnTo>
                <a:lnTo>
                  <a:pt x="1153" y="625"/>
                </a:lnTo>
                <a:lnTo>
                  <a:pt x="1153" y="626"/>
                </a:lnTo>
                <a:lnTo>
                  <a:pt x="1151" y="627"/>
                </a:lnTo>
                <a:lnTo>
                  <a:pt x="1154" y="627"/>
                </a:lnTo>
                <a:lnTo>
                  <a:pt x="1154" y="626"/>
                </a:lnTo>
                <a:lnTo>
                  <a:pt x="1154" y="625"/>
                </a:lnTo>
                <a:lnTo>
                  <a:pt x="1156" y="625"/>
                </a:lnTo>
                <a:lnTo>
                  <a:pt x="1156" y="626"/>
                </a:lnTo>
                <a:lnTo>
                  <a:pt x="1154" y="627"/>
                </a:lnTo>
                <a:lnTo>
                  <a:pt x="1154" y="629"/>
                </a:lnTo>
                <a:lnTo>
                  <a:pt x="1156" y="629"/>
                </a:lnTo>
                <a:lnTo>
                  <a:pt x="1156" y="627"/>
                </a:lnTo>
                <a:lnTo>
                  <a:pt x="1157" y="629"/>
                </a:lnTo>
                <a:lnTo>
                  <a:pt x="1158" y="627"/>
                </a:lnTo>
                <a:lnTo>
                  <a:pt x="1160" y="629"/>
                </a:lnTo>
                <a:lnTo>
                  <a:pt x="1161" y="629"/>
                </a:lnTo>
                <a:lnTo>
                  <a:pt x="1160" y="630"/>
                </a:lnTo>
                <a:lnTo>
                  <a:pt x="1161" y="629"/>
                </a:lnTo>
                <a:lnTo>
                  <a:pt x="1164" y="627"/>
                </a:lnTo>
                <a:lnTo>
                  <a:pt x="1164" y="629"/>
                </a:lnTo>
                <a:lnTo>
                  <a:pt x="1162" y="629"/>
                </a:lnTo>
                <a:lnTo>
                  <a:pt x="1164" y="630"/>
                </a:lnTo>
                <a:lnTo>
                  <a:pt x="1162" y="630"/>
                </a:lnTo>
                <a:lnTo>
                  <a:pt x="1161" y="630"/>
                </a:lnTo>
                <a:lnTo>
                  <a:pt x="1161" y="632"/>
                </a:lnTo>
                <a:lnTo>
                  <a:pt x="1162" y="632"/>
                </a:lnTo>
                <a:lnTo>
                  <a:pt x="1164" y="632"/>
                </a:lnTo>
                <a:lnTo>
                  <a:pt x="1165" y="632"/>
                </a:lnTo>
                <a:lnTo>
                  <a:pt x="1165" y="633"/>
                </a:lnTo>
                <a:lnTo>
                  <a:pt x="1167" y="632"/>
                </a:lnTo>
                <a:lnTo>
                  <a:pt x="1168" y="633"/>
                </a:lnTo>
                <a:lnTo>
                  <a:pt x="1169" y="634"/>
                </a:lnTo>
                <a:lnTo>
                  <a:pt x="1171" y="634"/>
                </a:lnTo>
                <a:lnTo>
                  <a:pt x="1172" y="634"/>
                </a:lnTo>
                <a:lnTo>
                  <a:pt x="1174" y="633"/>
                </a:lnTo>
                <a:lnTo>
                  <a:pt x="1175" y="633"/>
                </a:lnTo>
                <a:lnTo>
                  <a:pt x="1176" y="634"/>
                </a:lnTo>
                <a:lnTo>
                  <a:pt x="1178" y="633"/>
                </a:lnTo>
                <a:lnTo>
                  <a:pt x="1179" y="633"/>
                </a:lnTo>
                <a:lnTo>
                  <a:pt x="1180" y="633"/>
                </a:lnTo>
                <a:lnTo>
                  <a:pt x="1182" y="632"/>
                </a:lnTo>
                <a:lnTo>
                  <a:pt x="1183" y="632"/>
                </a:lnTo>
                <a:lnTo>
                  <a:pt x="1185" y="632"/>
                </a:lnTo>
                <a:lnTo>
                  <a:pt x="1185" y="630"/>
                </a:lnTo>
                <a:lnTo>
                  <a:pt x="1185" y="629"/>
                </a:lnTo>
                <a:lnTo>
                  <a:pt x="1186" y="627"/>
                </a:lnTo>
                <a:lnTo>
                  <a:pt x="1186" y="629"/>
                </a:lnTo>
                <a:lnTo>
                  <a:pt x="1187" y="627"/>
                </a:lnTo>
                <a:lnTo>
                  <a:pt x="1187" y="629"/>
                </a:lnTo>
                <a:lnTo>
                  <a:pt x="1187" y="630"/>
                </a:lnTo>
                <a:lnTo>
                  <a:pt x="1189" y="632"/>
                </a:lnTo>
                <a:lnTo>
                  <a:pt x="1187" y="632"/>
                </a:lnTo>
                <a:lnTo>
                  <a:pt x="1189" y="633"/>
                </a:lnTo>
                <a:lnTo>
                  <a:pt x="1189" y="632"/>
                </a:lnTo>
                <a:lnTo>
                  <a:pt x="1190" y="632"/>
                </a:lnTo>
                <a:lnTo>
                  <a:pt x="1191" y="632"/>
                </a:lnTo>
                <a:lnTo>
                  <a:pt x="1193" y="632"/>
                </a:lnTo>
                <a:lnTo>
                  <a:pt x="1194" y="632"/>
                </a:lnTo>
                <a:lnTo>
                  <a:pt x="1196" y="632"/>
                </a:lnTo>
                <a:lnTo>
                  <a:pt x="1196" y="633"/>
                </a:lnTo>
                <a:lnTo>
                  <a:pt x="1198" y="634"/>
                </a:lnTo>
                <a:lnTo>
                  <a:pt x="1197" y="633"/>
                </a:lnTo>
                <a:lnTo>
                  <a:pt x="1197" y="632"/>
                </a:lnTo>
                <a:lnTo>
                  <a:pt x="1198" y="633"/>
                </a:lnTo>
                <a:lnTo>
                  <a:pt x="1200" y="632"/>
                </a:lnTo>
                <a:lnTo>
                  <a:pt x="1201" y="630"/>
                </a:lnTo>
                <a:lnTo>
                  <a:pt x="1202" y="632"/>
                </a:lnTo>
                <a:lnTo>
                  <a:pt x="1202" y="633"/>
                </a:lnTo>
                <a:lnTo>
                  <a:pt x="1204" y="636"/>
                </a:lnTo>
                <a:lnTo>
                  <a:pt x="1205" y="636"/>
                </a:lnTo>
                <a:lnTo>
                  <a:pt x="1205" y="634"/>
                </a:lnTo>
                <a:lnTo>
                  <a:pt x="1207" y="634"/>
                </a:lnTo>
                <a:lnTo>
                  <a:pt x="1207" y="636"/>
                </a:lnTo>
                <a:lnTo>
                  <a:pt x="1207" y="637"/>
                </a:lnTo>
                <a:lnTo>
                  <a:pt x="1207" y="637"/>
                </a:lnTo>
                <a:lnTo>
                  <a:pt x="1205" y="637"/>
                </a:lnTo>
                <a:lnTo>
                  <a:pt x="1205" y="638"/>
                </a:lnTo>
                <a:lnTo>
                  <a:pt x="1207" y="640"/>
                </a:lnTo>
                <a:lnTo>
                  <a:pt x="1207" y="638"/>
                </a:lnTo>
                <a:lnTo>
                  <a:pt x="1208" y="638"/>
                </a:lnTo>
                <a:lnTo>
                  <a:pt x="1207" y="640"/>
                </a:lnTo>
                <a:lnTo>
                  <a:pt x="1207" y="641"/>
                </a:lnTo>
                <a:lnTo>
                  <a:pt x="1207" y="641"/>
                </a:lnTo>
                <a:lnTo>
                  <a:pt x="1208" y="641"/>
                </a:lnTo>
                <a:lnTo>
                  <a:pt x="1209" y="641"/>
                </a:lnTo>
                <a:lnTo>
                  <a:pt x="1209" y="643"/>
                </a:lnTo>
                <a:lnTo>
                  <a:pt x="1211" y="644"/>
                </a:lnTo>
                <a:lnTo>
                  <a:pt x="1212" y="643"/>
                </a:lnTo>
                <a:lnTo>
                  <a:pt x="1213" y="643"/>
                </a:lnTo>
                <a:lnTo>
                  <a:pt x="1215" y="643"/>
                </a:lnTo>
                <a:lnTo>
                  <a:pt x="1216" y="643"/>
                </a:lnTo>
                <a:lnTo>
                  <a:pt x="1216" y="644"/>
                </a:lnTo>
                <a:lnTo>
                  <a:pt x="1216" y="645"/>
                </a:lnTo>
                <a:lnTo>
                  <a:pt x="1218" y="645"/>
                </a:lnTo>
                <a:lnTo>
                  <a:pt x="1219" y="644"/>
                </a:lnTo>
                <a:lnTo>
                  <a:pt x="1219" y="645"/>
                </a:lnTo>
                <a:lnTo>
                  <a:pt x="1219" y="647"/>
                </a:lnTo>
                <a:lnTo>
                  <a:pt x="1218" y="648"/>
                </a:lnTo>
                <a:lnTo>
                  <a:pt x="1219" y="648"/>
                </a:lnTo>
                <a:lnTo>
                  <a:pt x="1220" y="648"/>
                </a:lnTo>
                <a:lnTo>
                  <a:pt x="1222" y="648"/>
                </a:lnTo>
                <a:lnTo>
                  <a:pt x="1220" y="648"/>
                </a:lnTo>
                <a:lnTo>
                  <a:pt x="1220" y="647"/>
                </a:lnTo>
                <a:lnTo>
                  <a:pt x="1222" y="647"/>
                </a:lnTo>
                <a:lnTo>
                  <a:pt x="1223" y="647"/>
                </a:lnTo>
                <a:lnTo>
                  <a:pt x="1224" y="648"/>
                </a:lnTo>
                <a:lnTo>
                  <a:pt x="1226" y="648"/>
                </a:lnTo>
                <a:lnTo>
                  <a:pt x="1224" y="649"/>
                </a:lnTo>
                <a:lnTo>
                  <a:pt x="1223" y="649"/>
                </a:lnTo>
                <a:lnTo>
                  <a:pt x="1222" y="649"/>
                </a:lnTo>
                <a:lnTo>
                  <a:pt x="1222" y="651"/>
                </a:lnTo>
                <a:lnTo>
                  <a:pt x="1223" y="651"/>
                </a:lnTo>
                <a:lnTo>
                  <a:pt x="1223" y="652"/>
                </a:lnTo>
                <a:lnTo>
                  <a:pt x="1222" y="654"/>
                </a:lnTo>
                <a:lnTo>
                  <a:pt x="1223" y="654"/>
                </a:lnTo>
                <a:lnTo>
                  <a:pt x="1223" y="655"/>
                </a:lnTo>
                <a:lnTo>
                  <a:pt x="1226" y="655"/>
                </a:lnTo>
                <a:lnTo>
                  <a:pt x="1227" y="656"/>
                </a:lnTo>
                <a:lnTo>
                  <a:pt x="1229" y="656"/>
                </a:lnTo>
                <a:lnTo>
                  <a:pt x="1230" y="656"/>
                </a:lnTo>
                <a:lnTo>
                  <a:pt x="1231" y="656"/>
                </a:lnTo>
                <a:lnTo>
                  <a:pt x="1231" y="658"/>
                </a:lnTo>
                <a:lnTo>
                  <a:pt x="1231" y="659"/>
                </a:lnTo>
                <a:lnTo>
                  <a:pt x="1233" y="659"/>
                </a:lnTo>
                <a:lnTo>
                  <a:pt x="1234" y="660"/>
                </a:lnTo>
                <a:lnTo>
                  <a:pt x="1235" y="660"/>
                </a:lnTo>
                <a:lnTo>
                  <a:pt x="1237" y="659"/>
                </a:lnTo>
                <a:lnTo>
                  <a:pt x="1238" y="660"/>
                </a:lnTo>
                <a:lnTo>
                  <a:pt x="1238" y="662"/>
                </a:lnTo>
                <a:lnTo>
                  <a:pt x="1237" y="662"/>
                </a:lnTo>
                <a:lnTo>
                  <a:pt x="1238" y="663"/>
                </a:lnTo>
                <a:lnTo>
                  <a:pt x="1240" y="662"/>
                </a:lnTo>
                <a:lnTo>
                  <a:pt x="1240" y="662"/>
                </a:lnTo>
                <a:lnTo>
                  <a:pt x="1241" y="662"/>
                </a:lnTo>
                <a:lnTo>
                  <a:pt x="1242" y="662"/>
                </a:lnTo>
                <a:lnTo>
                  <a:pt x="1244" y="662"/>
                </a:lnTo>
                <a:lnTo>
                  <a:pt x="1244" y="660"/>
                </a:lnTo>
                <a:lnTo>
                  <a:pt x="1245" y="662"/>
                </a:lnTo>
                <a:lnTo>
                  <a:pt x="1245" y="663"/>
                </a:lnTo>
                <a:lnTo>
                  <a:pt x="1245" y="665"/>
                </a:lnTo>
                <a:lnTo>
                  <a:pt x="1245" y="666"/>
                </a:lnTo>
                <a:lnTo>
                  <a:pt x="1246" y="667"/>
                </a:lnTo>
                <a:lnTo>
                  <a:pt x="1248" y="667"/>
                </a:lnTo>
                <a:lnTo>
                  <a:pt x="1248" y="666"/>
                </a:lnTo>
                <a:lnTo>
                  <a:pt x="1249" y="666"/>
                </a:lnTo>
                <a:lnTo>
                  <a:pt x="1248" y="667"/>
                </a:lnTo>
                <a:lnTo>
                  <a:pt x="1249" y="667"/>
                </a:lnTo>
                <a:lnTo>
                  <a:pt x="1251" y="667"/>
                </a:lnTo>
                <a:lnTo>
                  <a:pt x="1251" y="669"/>
                </a:lnTo>
                <a:lnTo>
                  <a:pt x="1251" y="670"/>
                </a:lnTo>
                <a:lnTo>
                  <a:pt x="1252" y="670"/>
                </a:lnTo>
                <a:lnTo>
                  <a:pt x="1253" y="670"/>
                </a:lnTo>
                <a:lnTo>
                  <a:pt x="1253" y="671"/>
                </a:lnTo>
                <a:lnTo>
                  <a:pt x="1255" y="673"/>
                </a:lnTo>
                <a:lnTo>
                  <a:pt x="1256" y="671"/>
                </a:lnTo>
                <a:lnTo>
                  <a:pt x="1257" y="673"/>
                </a:lnTo>
                <a:lnTo>
                  <a:pt x="1256" y="674"/>
                </a:lnTo>
                <a:lnTo>
                  <a:pt x="1256" y="674"/>
                </a:lnTo>
                <a:lnTo>
                  <a:pt x="1256" y="676"/>
                </a:lnTo>
                <a:lnTo>
                  <a:pt x="1256" y="677"/>
                </a:lnTo>
                <a:lnTo>
                  <a:pt x="1257" y="678"/>
                </a:lnTo>
                <a:lnTo>
                  <a:pt x="1259" y="678"/>
                </a:lnTo>
                <a:lnTo>
                  <a:pt x="1260" y="678"/>
                </a:lnTo>
                <a:lnTo>
                  <a:pt x="1260" y="680"/>
                </a:lnTo>
                <a:lnTo>
                  <a:pt x="1262" y="680"/>
                </a:lnTo>
                <a:lnTo>
                  <a:pt x="1262" y="681"/>
                </a:lnTo>
                <a:lnTo>
                  <a:pt x="1262" y="682"/>
                </a:lnTo>
                <a:lnTo>
                  <a:pt x="1262" y="684"/>
                </a:lnTo>
                <a:lnTo>
                  <a:pt x="1263" y="684"/>
                </a:lnTo>
                <a:lnTo>
                  <a:pt x="1266" y="684"/>
                </a:lnTo>
                <a:lnTo>
                  <a:pt x="1266" y="685"/>
                </a:lnTo>
                <a:lnTo>
                  <a:pt x="1267" y="687"/>
                </a:lnTo>
                <a:lnTo>
                  <a:pt x="1268" y="688"/>
                </a:lnTo>
                <a:lnTo>
                  <a:pt x="1267" y="689"/>
                </a:lnTo>
                <a:lnTo>
                  <a:pt x="1268" y="689"/>
                </a:lnTo>
                <a:lnTo>
                  <a:pt x="1268" y="691"/>
                </a:lnTo>
                <a:lnTo>
                  <a:pt x="1270" y="691"/>
                </a:lnTo>
                <a:lnTo>
                  <a:pt x="1270" y="692"/>
                </a:lnTo>
                <a:lnTo>
                  <a:pt x="1270" y="693"/>
                </a:lnTo>
                <a:lnTo>
                  <a:pt x="1271" y="693"/>
                </a:lnTo>
                <a:lnTo>
                  <a:pt x="1273" y="692"/>
                </a:lnTo>
                <a:lnTo>
                  <a:pt x="1273" y="693"/>
                </a:lnTo>
                <a:lnTo>
                  <a:pt x="1274" y="695"/>
                </a:lnTo>
                <a:lnTo>
                  <a:pt x="1275" y="695"/>
                </a:lnTo>
                <a:lnTo>
                  <a:pt x="1277" y="695"/>
                </a:lnTo>
                <a:lnTo>
                  <a:pt x="1279" y="695"/>
                </a:lnTo>
                <a:lnTo>
                  <a:pt x="1279" y="693"/>
                </a:lnTo>
                <a:lnTo>
                  <a:pt x="1281" y="692"/>
                </a:lnTo>
                <a:lnTo>
                  <a:pt x="1282" y="692"/>
                </a:lnTo>
                <a:lnTo>
                  <a:pt x="1282" y="693"/>
                </a:lnTo>
                <a:lnTo>
                  <a:pt x="1284" y="695"/>
                </a:lnTo>
                <a:lnTo>
                  <a:pt x="1284" y="696"/>
                </a:lnTo>
                <a:lnTo>
                  <a:pt x="1285" y="695"/>
                </a:lnTo>
                <a:lnTo>
                  <a:pt x="1286" y="693"/>
                </a:lnTo>
                <a:lnTo>
                  <a:pt x="1288" y="695"/>
                </a:lnTo>
                <a:lnTo>
                  <a:pt x="1288" y="693"/>
                </a:lnTo>
                <a:lnTo>
                  <a:pt x="1289" y="693"/>
                </a:lnTo>
                <a:lnTo>
                  <a:pt x="1290" y="695"/>
                </a:lnTo>
                <a:lnTo>
                  <a:pt x="1292" y="695"/>
                </a:lnTo>
                <a:lnTo>
                  <a:pt x="1293" y="695"/>
                </a:lnTo>
                <a:lnTo>
                  <a:pt x="1293" y="696"/>
                </a:lnTo>
                <a:lnTo>
                  <a:pt x="1295" y="696"/>
                </a:lnTo>
                <a:lnTo>
                  <a:pt x="1296" y="696"/>
                </a:lnTo>
                <a:lnTo>
                  <a:pt x="1297" y="696"/>
                </a:lnTo>
                <a:lnTo>
                  <a:pt x="1299" y="698"/>
                </a:lnTo>
                <a:lnTo>
                  <a:pt x="1299" y="699"/>
                </a:lnTo>
                <a:lnTo>
                  <a:pt x="1297" y="699"/>
                </a:lnTo>
                <a:lnTo>
                  <a:pt x="1297" y="702"/>
                </a:lnTo>
                <a:lnTo>
                  <a:pt x="1296" y="703"/>
                </a:lnTo>
                <a:lnTo>
                  <a:pt x="1297" y="703"/>
                </a:lnTo>
                <a:lnTo>
                  <a:pt x="1296" y="704"/>
                </a:lnTo>
                <a:lnTo>
                  <a:pt x="1295" y="706"/>
                </a:lnTo>
                <a:lnTo>
                  <a:pt x="1295" y="707"/>
                </a:lnTo>
                <a:lnTo>
                  <a:pt x="1296" y="709"/>
                </a:lnTo>
                <a:lnTo>
                  <a:pt x="1297" y="710"/>
                </a:lnTo>
                <a:lnTo>
                  <a:pt x="1299" y="710"/>
                </a:lnTo>
                <a:lnTo>
                  <a:pt x="1300" y="710"/>
                </a:lnTo>
                <a:lnTo>
                  <a:pt x="1300" y="713"/>
                </a:lnTo>
                <a:lnTo>
                  <a:pt x="1301" y="714"/>
                </a:lnTo>
                <a:lnTo>
                  <a:pt x="1300" y="715"/>
                </a:lnTo>
                <a:lnTo>
                  <a:pt x="1300" y="717"/>
                </a:lnTo>
                <a:lnTo>
                  <a:pt x="1301" y="717"/>
                </a:lnTo>
                <a:lnTo>
                  <a:pt x="1303" y="717"/>
                </a:lnTo>
                <a:lnTo>
                  <a:pt x="1304" y="718"/>
                </a:lnTo>
                <a:lnTo>
                  <a:pt x="1306" y="718"/>
                </a:lnTo>
                <a:lnTo>
                  <a:pt x="1306" y="720"/>
                </a:lnTo>
                <a:lnTo>
                  <a:pt x="1307" y="720"/>
                </a:lnTo>
                <a:lnTo>
                  <a:pt x="1308" y="721"/>
                </a:lnTo>
                <a:lnTo>
                  <a:pt x="1310" y="722"/>
                </a:lnTo>
                <a:lnTo>
                  <a:pt x="1311" y="724"/>
                </a:lnTo>
                <a:lnTo>
                  <a:pt x="1312" y="725"/>
                </a:lnTo>
                <a:lnTo>
                  <a:pt x="1314" y="726"/>
                </a:lnTo>
                <a:lnTo>
                  <a:pt x="1315" y="726"/>
                </a:lnTo>
                <a:lnTo>
                  <a:pt x="1315" y="728"/>
                </a:lnTo>
                <a:lnTo>
                  <a:pt x="1317" y="729"/>
                </a:lnTo>
                <a:lnTo>
                  <a:pt x="1317" y="731"/>
                </a:lnTo>
                <a:lnTo>
                  <a:pt x="1317" y="732"/>
                </a:lnTo>
                <a:lnTo>
                  <a:pt x="1318" y="733"/>
                </a:lnTo>
                <a:lnTo>
                  <a:pt x="1318" y="735"/>
                </a:lnTo>
                <a:lnTo>
                  <a:pt x="1317" y="735"/>
                </a:lnTo>
                <a:lnTo>
                  <a:pt x="1318" y="736"/>
                </a:lnTo>
                <a:lnTo>
                  <a:pt x="1317" y="737"/>
                </a:lnTo>
                <a:lnTo>
                  <a:pt x="1317" y="739"/>
                </a:lnTo>
                <a:lnTo>
                  <a:pt x="1317" y="740"/>
                </a:lnTo>
                <a:lnTo>
                  <a:pt x="1317" y="740"/>
                </a:lnTo>
                <a:lnTo>
                  <a:pt x="1318" y="740"/>
                </a:lnTo>
                <a:lnTo>
                  <a:pt x="1319" y="742"/>
                </a:lnTo>
                <a:lnTo>
                  <a:pt x="1321" y="742"/>
                </a:lnTo>
                <a:lnTo>
                  <a:pt x="1322" y="742"/>
                </a:lnTo>
                <a:lnTo>
                  <a:pt x="1322" y="743"/>
                </a:lnTo>
                <a:lnTo>
                  <a:pt x="1323" y="744"/>
                </a:lnTo>
                <a:lnTo>
                  <a:pt x="1325" y="746"/>
                </a:lnTo>
                <a:lnTo>
                  <a:pt x="1325" y="747"/>
                </a:lnTo>
                <a:lnTo>
                  <a:pt x="1326" y="747"/>
                </a:lnTo>
                <a:lnTo>
                  <a:pt x="1328" y="748"/>
                </a:lnTo>
                <a:lnTo>
                  <a:pt x="1328" y="750"/>
                </a:lnTo>
                <a:lnTo>
                  <a:pt x="1328" y="753"/>
                </a:lnTo>
                <a:lnTo>
                  <a:pt x="1326" y="755"/>
                </a:lnTo>
                <a:lnTo>
                  <a:pt x="1326" y="757"/>
                </a:lnTo>
                <a:lnTo>
                  <a:pt x="1325" y="759"/>
                </a:lnTo>
                <a:lnTo>
                  <a:pt x="1326" y="761"/>
                </a:lnTo>
                <a:lnTo>
                  <a:pt x="1328" y="768"/>
                </a:lnTo>
                <a:lnTo>
                  <a:pt x="1328" y="769"/>
                </a:lnTo>
                <a:lnTo>
                  <a:pt x="1328" y="772"/>
                </a:lnTo>
                <a:lnTo>
                  <a:pt x="1328" y="773"/>
                </a:lnTo>
                <a:lnTo>
                  <a:pt x="1329" y="776"/>
                </a:lnTo>
                <a:lnTo>
                  <a:pt x="1330" y="777"/>
                </a:lnTo>
                <a:lnTo>
                  <a:pt x="1329" y="779"/>
                </a:lnTo>
                <a:lnTo>
                  <a:pt x="1328" y="779"/>
                </a:lnTo>
                <a:lnTo>
                  <a:pt x="1326" y="779"/>
                </a:lnTo>
                <a:lnTo>
                  <a:pt x="1325" y="780"/>
                </a:lnTo>
                <a:lnTo>
                  <a:pt x="1323" y="781"/>
                </a:lnTo>
                <a:lnTo>
                  <a:pt x="1322" y="780"/>
                </a:lnTo>
                <a:lnTo>
                  <a:pt x="1321" y="779"/>
                </a:lnTo>
                <a:lnTo>
                  <a:pt x="1319" y="779"/>
                </a:lnTo>
                <a:lnTo>
                  <a:pt x="1319" y="780"/>
                </a:lnTo>
                <a:lnTo>
                  <a:pt x="1319" y="781"/>
                </a:lnTo>
                <a:lnTo>
                  <a:pt x="1319" y="783"/>
                </a:lnTo>
                <a:lnTo>
                  <a:pt x="1321" y="784"/>
                </a:lnTo>
                <a:lnTo>
                  <a:pt x="1322" y="786"/>
                </a:lnTo>
                <a:lnTo>
                  <a:pt x="1322" y="788"/>
                </a:lnTo>
                <a:lnTo>
                  <a:pt x="1323" y="788"/>
                </a:lnTo>
                <a:lnTo>
                  <a:pt x="1325" y="788"/>
                </a:lnTo>
                <a:lnTo>
                  <a:pt x="1326" y="788"/>
                </a:lnTo>
                <a:lnTo>
                  <a:pt x="1328" y="788"/>
                </a:lnTo>
                <a:lnTo>
                  <a:pt x="1326" y="790"/>
                </a:lnTo>
                <a:lnTo>
                  <a:pt x="1326" y="791"/>
                </a:lnTo>
                <a:lnTo>
                  <a:pt x="1328" y="791"/>
                </a:lnTo>
                <a:lnTo>
                  <a:pt x="1329" y="792"/>
                </a:lnTo>
                <a:lnTo>
                  <a:pt x="1329" y="794"/>
                </a:lnTo>
                <a:lnTo>
                  <a:pt x="1329" y="795"/>
                </a:lnTo>
                <a:lnTo>
                  <a:pt x="1329" y="797"/>
                </a:lnTo>
                <a:lnTo>
                  <a:pt x="1332" y="797"/>
                </a:lnTo>
                <a:lnTo>
                  <a:pt x="1333" y="795"/>
                </a:lnTo>
                <a:lnTo>
                  <a:pt x="1334" y="797"/>
                </a:lnTo>
                <a:lnTo>
                  <a:pt x="1336" y="797"/>
                </a:lnTo>
                <a:lnTo>
                  <a:pt x="1337" y="798"/>
                </a:lnTo>
                <a:lnTo>
                  <a:pt x="1337" y="799"/>
                </a:lnTo>
                <a:lnTo>
                  <a:pt x="1339" y="799"/>
                </a:lnTo>
                <a:lnTo>
                  <a:pt x="1339" y="798"/>
                </a:lnTo>
                <a:lnTo>
                  <a:pt x="1339" y="798"/>
                </a:lnTo>
                <a:lnTo>
                  <a:pt x="1337" y="797"/>
                </a:lnTo>
                <a:lnTo>
                  <a:pt x="1339" y="797"/>
                </a:lnTo>
                <a:lnTo>
                  <a:pt x="1340" y="798"/>
                </a:lnTo>
                <a:lnTo>
                  <a:pt x="1340" y="799"/>
                </a:lnTo>
                <a:lnTo>
                  <a:pt x="1341" y="801"/>
                </a:lnTo>
                <a:lnTo>
                  <a:pt x="1343" y="802"/>
                </a:lnTo>
                <a:lnTo>
                  <a:pt x="1344" y="803"/>
                </a:lnTo>
                <a:lnTo>
                  <a:pt x="1344" y="805"/>
                </a:lnTo>
                <a:lnTo>
                  <a:pt x="1345" y="805"/>
                </a:lnTo>
                <a:lnTo>
                  <a:pt x="1347" y="805"/>
                </a:lnTo>
                <a:lnTo>
                  <a:pt x="1348" y="806"/>
                </a:lnTo>
                <a:lnTo>
                  <a:pt x="1347" y="806"/>
                </a:lnTo>
                <a:lnTo>
                  <a:pt x="1348" y="806"/>
                </a:lnTo>
                <a:lnTo>
                  <a:pt x="1348" y="806"/>
                </a:lnTo>
                <a:lnTo>
                  <a:pt x="1350" y="806"/>
                </a:lnTo>
                <a:lnTo>
                  <a:pt x="1351" y="808"/>
                </a:lnTo>
                <a:lnTo>
                  <a:pt x="1350" y="808"/>
                </a:lnTo>
                <a:lnTo>
                  <a:pt x="1348" y="809"/>
                </a:lnTo>
                <a:lnTo>
                  <a:pt x="1350" y="810"/>
                </a:lnTo>
                <a:lnTo>
                  <a:pt x="1351" y="812"/>
                </a:lnTo>
                <a:lnTo>
                  <a:pt x="1351" y="813"/>
                </a:lnTo>
                <a:lnTo>
                  <a:pt x="1351" y="814"/>
                </a:lnTo>
                <a:lnTo>
                  <a:pt x="1352" y="813"/>
                </a:lnTo>
                <a:lnTo>
                  <a:pt x="1354" y="813"/>
                </a:lnTo>
                <a:lnTo>
                  <a:pt x="1354" y="814"/>
                </a:lnTo>
                <a:lnTo>
                  <a:pt x="1356" y="814"/>
                </a:lnTo>
                <a:lnTo>
                  <a:pt x="1358" y="814"/>
                </a:lnTo>
                <a:lnTo>
                  <a:pt x="1359" y="814"/>
                </a:lnTo>
                <a:lnTo>
                  <a:pt x="1361" y="816"/>
                </a:lnTo>
                <a:lnTo>
                  <a:pt x="1361" y="817"/>
                </a:lnTo>
                <a:lnTo>
                  <a:pt x="1362" y="817"/>
                </a:lnTo>
                <a:lnTo>
                  <a:pt x="1363" y="819"/>
                </a:lnTo>
                <a:lnTo>
                  <a:pt x="1363" y="820"/>
                </a:lnTo>
                <a:lnTo>
                  <a:pt x="1365" y="821"/>
                </a:lnTo>
                <a:lnTo>
                  <a:pt x="1365" y="823"/>
                </a:lnTo>
                <a:lnTo>
                  <a:pt x="1366" y="823"/>
                </a:lnTo>
                <a:lnTo>
                  <a:pt x="1367" y="823"/>
                </a:lnTo>
                <a:lnTo>
                  <a:pt x="1369" y="823"/>
                </a:lnTo>
                <a:lnTo>
                  <a:pt x="1370" y="823"/>
                </a:lnTo>
                <a:lnTo>
                  <a:pt x="1372" y="823"/>
                </a:lnTo>
                <a:lnTo>
                  <a:pt x="1372" y="823"/>
                </a:lnTo>
                <a:lnTo>
                  <a:pt x="1373" y="824"/>
                </a:lnTo>
                <a:lnTo>
                  <a:pt x="1374" y="825"/>
                </a:lnTo>
                <a:lnTo>
                  <a:pt x="1376" y="825"/>
                </a:lnTo>
                <a:lnTo>
                  <a:pt x="1376" y="827"/>
                </a:lnTo>
                <a:lnTo>
                  <a:pt x="1377" y="827"/>
                </a:lnTo>
                <a:lnTo>
                  <a:pt x="1378" y="825"/>
                </a:lnTo>
                <a:lnTo>
                  <a:pt x="1380" y="827"/>
                </a:lnTo>
                <a:lnTo>
                  <a:pt x="1381" y="828"/>
                </a:lnTo>
                <a:lnTo>
                  <a:pt x="1381" y="830"/>
                </a:lnTo>
                <a:lnTo>
                  <a:pt x="1381" y="831"/>
                </a:lnTo>
                <a:lnTo>
                  <a:pt x="1383" y="832"/>
                </a:lnTo>
                <a:lnTo>
                  <a:pt x="1381" y="832"/>
                </a:lnTo>
                <a:lnTo>
                  <a:pt x="1380" y="832"/>
                </a:lnTo>
                <a:lnTo>
                  <a:pt x="1381" y="832"/>
                </a:lnTo>
                <a:lnTo>
                  <a:pt x="1381" y="834"/>
                </a:lnTo>
                <a:lnTo>
                  <a:pt x="1380" y="834"/>
                </a:lnTo>
                <a:lnTo>
                  <a:pt x="1380" y="835"/>
                </a:lnTo>
                <a:lnTo>
                  <a:pt x="1381" y="835"/>
                </a:lnTo>
                <a:lnTo>
                  <a:pt x="1381" y="836"/>
                </a:lnTo>
                <a:lnTo>
                  <a:pt x="1381" y="838"/>
                </a:lnTo>
                <a:lnTo>
                  <a:pt x="1381" y="839"/>
                </a:lnTo>
                <a:lnTo>
                  <a:pt x="1383" y="839"/>
                </a:lnTo>
                <a:lnTo>
                  <a:pt x="1384" y="839"/>
                </a:lnTo>
                <a:lnTo>
                  <a:pt x="1384" y="841"/>
                </a:lnTo>
                <a:lnTo>
                  <a:pt x="1383" y="841"/>
                </a:lnTo>
                <a:lnTo>
                  <a:pt x="1381" y="841"/>
                </a:lnTo>
                <a:lnTo>
                  <a:pt x="1381" y="842"/>
                </a:lnTo>
                <a:lnTo>
                  <a:pt x="1380" y="843"/>
                </a:lnTo>
                <a:lnTo>
                  <a:pt x="1380" y="845"/>
                </a:lnTo>
                <a:lnTo>
                  <a:pt x="1380" y="846"/>
                </a:lnTo>
                <a:lnTo>
                  <a:pt x="1380" y="847"/>
                </a:lnTo>
                <a:lnTo>
                  <a:pt x="1381" y="847"/>
                </a:lnTo>
                <a:lnTo>
                  <a:pt x="1383" y="849"/>
                </a:lnTo>
                <a:lnTo>
                  <a:pt x="1381" y="849"/>
                </a:lnTo>
                <a:lnTo>
                  <a:pt x="1381" y="850"/>
                </a:lnTo>
                <a:lnTo>
                  <a:pt x="1380" y="850"/>
                </a:lnTo>
                <a:lnTo>
                  <a:pt x="1381" y="850"/>
                </a:lnTo>
                <a:lnTo>
                  <a:pt x="1383" y="850"/>
                </a:lnTo>
                <a:lnTo>
                  <a:pt x="1383" y="852"/>
                </a:lnTo>
                <a:lnTo>
                  <a:pt x="1383" y="853"/>
                </a:lnTo>
                <a:lnTo>
                  <a:pt x="1381" y="853"/>
                </a:lnTo>
                <a:lnTo>
                  <a:pt x="1381" y="854"/>
                </a:lnTo>
                <a:lnTo>
                  <a:pt x="1383" y="854"/>
                </a:lnTo>
                <a:lnTo>
                  <a:pt x="1383" y="856"/>
                </a:lnTo>
                <a:lnTo>
                  <a:pt x="1381" y="856"/>
                </a:lnTo>
                <a:lnTo>
                  <a:pt x="1383" y="857"/>
                </a:lnTo>
                <a:lnTo>
                  <a:pt x="1383" y="858"/>
                </a:lnTo>
                <a:lnTo>
                  <a:pt x="1383" y="860"/>
                </a:lnTo>
                <a:lnTo>
                  <a:pt x="1384" y="860"/>
                </a:lnTo>
                <a:lnTo>
                  <a:pt x="1385" y="860"/>
                </a:lnTo>
                <a:lnTo>
                  <a:pt x="1387" y="861"/>
                </a:lnTo>
                <a:lnTo>
                  <a:pt x="1388" y="860"/>
                </a:lnTo>
                <a:lnTo>
                  <a:pt x="1389" y="861"/>
                </a:lnTo>
                <a:lnTo>
                  <a:pt x="1388" y="861"/>
                </a:lnTo>
                <a:lnTo>
                  <a:pt x="1389" y="863"/>
                </a:lnTo>
                <a:lnTo>
                  <a:pt x="1389" y="861"/>
                </a:lnTo>
                <a:lnTo>
                  <a:pt x="1391" y="861"/>
                </a:lnTo>
                <a:lnTo>
                  <a:pt x="1391" y="863"/>
                </a:lnTo>
                <a:lnTo>
                  <a:pt x="1391" y="864"/>
                </a:lnTo>
                <a:lnTo>
                  <a:pt x="1391" y="863"/>
                </a:lnTo>
                <a:lnTo>
                  <a:pt x="1391" y="864"/>
                </a:lnTo>
                <a:lnTo>
                  <a:pt x="1392" y="864"/>
                </a:lnTo>
                <a:lnTo>
                  <a:pt x="1392" y="865"/>
                </a:lnTo>
                <a:lnTo>
                  <a:pt x="1391" y="865"/>
                </a:lnTo>
                <a:lnTo>
                  <a:pt x="1391" y="867"/>
                </a:lnTo>
                <a:lnTo>
                  <a:pt x="1391" y="868"/>
                </a:lnTo>
                <a:lnTo>
                  <a:pt x="1392" y="869"/>
                </a:lnTo>
                <a:lnTo>
                  <a:pt x="1392" y="868"/>
                </a:lnTo>
                <a:lnTo>
                  <a:pt x="1394" y="868"/>
                </a:lnTo>
                <a:lnTo>
                  <a:pt x="1394" y="869"/>
                </a:lnTo>
                <a:lnTo>
                  <a:pt x="1395" y="868"/>
                </a:lnTo>
                <a:lnTo>
                  <a:pt x="1395" y="869"/>
                </a:lnTo>
                <a:lnTo>
                  <a:pt x="1396" y="869"/>
                </a:lnTo>
                <a:lnTo>
                  <a:pt x="1396" y="871"/>
                </a:lnTo>
                <a:lnTo>
                  <a:pt x="1395" y="872"/>
                </a:lnTo>
                <a:lnTo>
                  <a:pt x="1396" y="874"/>
                </a:lnTo>
                <a:lnTo>
                  <a:pt x="1398" y="874"/>
                </a:lnTo>
                <a:lnTo>
                  <a:pt x="1399" y="872"/>
                </a:lnTo>
                <a:lnTo>
                  <a:pt x="1400" y="872"/>
                </a:lnTo>
                <a:lnTo>
                  <a:pt x="1400" y="871"/>
                </a:lnTo>
                <a:lnTo>
                  <a:pt x="1403" y="871"/>
                </a:lnTo>
                <a:lnTo>
                  <a:pt x="1403" y="869"/>
                </a:lnTo>
                <a:lnTo>
                  <a:pt x="1405" y="869"/>
                </a:lnTo>
                <a:lnTo>
                  <a:pt x="1405" y="871"/>
                </a:lnTo>
                <a:lnTo>
                  <a:pt x="1405" y="869"/>
                </a:lnTo>
                <a:lnTo>
                  <a:pt x="1406" y="871"/>
                </a:lnTo>
                <a:lnTo>
                  <a:pt x="1406" y="872"/>
                </a:lnTo>
                <a:lnTo>
                  <a:pt x="1406" y="874"/>
                </a:lnTo>
                <a:lnTo>
                  <a:pt x="1407" y="874"/>
                </a:lnTo>
                <a:lnTo>
                  <a:pt x="1407" y="872"/>
                </a:lnTo>
                <a:lnTo>
                  <a:pt x="1409" y="872"/>
                </a:lnTo>
                <a:lnTo>
                  <a:pt x="1410" y="872"/>
                </a:lnTo>
                <a:lnTo>
                  <a:pt x="1410" y="874"/>
                </a:lnTo>
                <a:lnTo>
                  <a:pt x="1409" y="874"/>
                </a:lnTo>
                <a:lnTo>
                  <a:pt x="1407" y="874"/>
                </a:lnTo>
                <a:lnTo>
                  <a:pt x="1409" y="874"/>
                </a:lnTo>
                <a:lnTo>
                  <a:pt x="1410" y="874"/>
                </a:lnTo>
                <a:lnTo>
                  <a:pt x="1410" y="875"/>
                </a:lnTo>
                <a:lnTo>
                  <a:pt x="1410" y="876"/>
                </a:lnTo>
                <a:lnTo>
                  <a:pt x="1411" y="876"/>
                </a:lnTo>
                <a:lnTo>
                  <a:pt x="1413" y="875"/>
                </a:lnTo>
                <a:lnTo>
                  <a:pt x="1414" y="876"/>
                </a:lnTo>
                <a:lnTo>
                  <a:pt x="1414" y="879"/>
                </a:lnTo>
                <a:lnTo>
                  <a:pt x="1416" y="880"/>
                </a:lnTo>
                <a:lnTo>
                  <a:pt x="1416" y="879"/>
                </a:lnTo>
                <a:lnTo>
                  <a:pt x="1417" y="879"/>
                </a:lnTo>
                <a:lnTo>
                  <a:pt x="1418" y="880"/>
                </a:lnTo>
                <a:lnTo>
                  <a:pt x="1421" y="880"/>
                </a:lnTo>
                <a:lnTo>
                  <a:pt x="1420" y="880"/>
                </a:lnTo>
                <a:lnTo>
                  <a:pt x="1420" y="882"/>
                </a:lnTo>
                <a:lnTo>
                  <a:pt x="1418" y="883"/>
                </a:lnTo>
                <a:lnTo>
                  <a:pt x="1420" y="885"/>
                </a:lnTo>
                <a:lnTo>
                  <a:pt x="1418" y="886"/>
                </a:lnTo>
                <a:lnTo>
                  <a:pt x="1418" y="885"/>
                </a:lnTo>
                <a:lnTo>
                  <a:pt x="1417" y="883"/>
                </a:lnTo>
                <a:lnTo>
                  <a:pt x="1417" y="885"/>
                </a:lnTo>
                <a:lnTo>
                  <a:pt x="1416" y="885"/>
                </a:lnTo>
                <a:lnTo>
                  <a:pt x="1416" y="886"/>
                </a:lnTo>
                <a:lnTo>
                  <a:pt x="1417" y="886"/>
                </a:lnTo>
                <a:lnTo>
                  <a:pt x="1417" y="887"/>
                </a:lnTo>
                <a:lnTo>
                  <a:pt x="1418" y="889"/>
                </a:lnTo>
                <a:lnTo>
                  <a:pt x="1417" y="890"/>
                </a:lnTo>
                <a:lnTo>
                  <a:pt x="1416" y="890"/>
                </a:lnTo>
                <a:lnTo>
                  <a:pt x="1416" y="891"/>
                </a:lnTo>
                <a:lnTo>
                  <a:pt x="1417" y="891"/>
                </a:lnTo>
                <a:lnTo>
                  <a:pt x="1418" y="891"/>
                </a:lnTo>
                <a:lnTo>
                  <a:pt x="1420" y="890"/>
                </a:lnTo>
                <a:lnTo>
                  <a:pt x="1420" y="891"/>
                </a:lnTo>
                <a:lnTo>
                  <a:pt x="1421" y="893"/>
                </a:lnTo>
                <a:lnTo>
                  <a:pt x="1422" y="893"/>
                </a:lnTo>
                <a:lnTo>
                  <a:pt x="1422" y="891"/>
                </a:lnTo>
                <a:lnTo>
                  <a:pt x="1422" y="890"/>
                </a:lnTo>
                <a:lnTo>
                  <a:pt x="1424" y="891"/>
                </a:lnTo>
                <a:lnTo>
                  <a:pt x="1424" y="893"/>
                </a:lnTo>
                <a:lnTo>
                  <a:pt x="1425" y="893"/>
                </a:lnTo>
                <a:lnTo>
                  <a:pt x="1425" y="894"/>
                </a:lnTo>
                <a:lnTo>
                  <a:pt x="1425" y="896"/>
                </a:lnTo>
                <a:lnTo>
                  <a:pt x="1427" y="896"/>
                </a:lnTo>
                <a:lnTo>
                  <a:pt x="1427" y="894"/>
                </a:lnTo>
                <a:lnTo>
                  <a:pt x="1428" y="894"/>
                </a:lnTo>
                <a:lnTo>
                  <a:pt x="1428" y="896"/>
                </a:lnTo>
                <a:lnTo>
                  <a:pt x="1428" y="897"/>
                </a:lnTo>
                <a:lnTo>
                  <a:pt x="1428" y="898"/>
                </a:lnTo>
                <a:lnTo>
                  <a:pt x="1429" y="898"/>
                </a:lnTo>
                <a:lnTo>
                  <a:pt x="1429" y="900"/>
                </a:lnTo>
                <a:lnTo>
                  <a:pt x="1431" y="898"/>
                </a:lnTo>
                <a:lnTo>
                  <a:pt x="1431" y="900"/>
                </a:lnTo>
                <a:lnTo>
                  <a:pt x="1432" y="900"/>
                </a:lnTo>
                <a:lnTo>
                  <a:pt x="1433" y="900"/>
                </a:lnTo>
                <a:lnTo>
                  <a:pt x="1433" y="898"/>
                </a:lnTo>
                <a:lnTo>
                  <a:pt x="1433" y="897"/>
                </a:lnTo>
                <a:lnTo>
                  <a:pt x="1435" y="898"/>
                </a:lnTo>
                <a:lnTo>
                  <a:pt x="1435" y="900"/>
                </a:lnTo>
                <a:lnTo>
                  <a:pt x="1436" y="901"/>
                </a:lnTo>
                <a:lnTo>
                  <a:pt x="1436" y="900"/>
                </a:lnTo>
                <a:lnTo>
                  <a:pt x="1438" y="900"/>
                </a:lnTo>
                <a:lnTo>
                  <a:pt x="1438" y="900"/>
                </a:lnTo>
                <a:lnTo>
                  <a:pt x="1438" y="901"/>
                </a:lnTo>
                <a:lnTo>
                  <a:pt x="1439" y="902"/>
                </a:lnTo>
                <a:lnTo>
                  <a:pt x="1440" y="901"/>
                </a:lnTo>
                <a:lnTo>
                  <a:pt x="1442" y="901"/>
                </a:lnTo>
                <a:lnTo>
                  <a:pt x="1442" y="902"/>
                </a:lnTo>
                <a:lnTo>
                  <a:pt x="1443" y="904"/>
                </a:lnTo>
                <a:lnTo>
                  <a:pt x="1444" y="904"/>
                </a:lnTo>
                <a:lnTo>
                  <a:pt x="1446" y="904"/>
                </a:lnTo>
                <a:lnTo>
                  <a:pt x="1447" y="904"/>
                </a:lnTo>
                <a:lnTo>
                  <a:pt x="1447" y="902"/>
                </a:lnTo>
                <a:lnTo>
                  <a:pt x="1447" y="901"/>
                </a:lnTo>
                <a:lnTo>
                  <a:pt x="1449" y="901"/>
                </a:lnTo>
                <a:lnTo>
                  <a:pt x="1450" y="901"/>
                </a:lnTo>
                <a:lnTo>
                  <a:pt x="1450" y="900"/>
                </a:lnTo>
                <a:lnTo>
                  <a:pt x="1451" y="900"/>
                </a:lnTo>
                <a:lnTo>
                  <a:pt x="1451" y="898"/>
                </a:lnTo>
                <a:lnTo>
                  <a:pt x="1451" y="900"/>
                </a:lnTo>
                <a:lnTo>
                  <a:pt x="1453" y="901"/>
                </a:lnTo>
                <a:lnTo>
                  <a:pt x="1454" y="901"/>
                </a:lnTo>
                <a:lnTo>
                  <a:pt x="1454" y="900"/>
                </a:lnTo>
                <a:lnTo>
                  <a:pt x="1455" y="901"/>
                </a:lnTo>
                <a:lnTo>
                  <a:pt x="1457" y="901"/>
                </a:lnTo>
                <a:lnTo>
                  <a:pt x="1457" y="902"/>
                </a:lnTo>
                <a:lnTo>
                  <a:pt x="1458" y="902"/>
                </a:lnTo>
                <a:lnTo>
                  <a:pt x="1458" y="901"/>
                </a:lnTo>
                <a:lnTo>
                  <a:pt x="1460" y="900"/>
                </a:lnTo>
                <a:lnTo>
                  <a:pt x="1460" y="901"/>
                </a:lnTo>
                <a:lnTo>
                  <a:pt x="1461" y="901"/>
                </a:lnTo>
                <a:lnTo>
                  <a:pt x="1461" y="902"/>
                </a:lnTo>
                <a:lnTo>
                  <a:pt x="1462" y="902"/>
                </a:lnTo>
                <a:lnTo>
                  <a:pt x="1464" y="901"/>
                </a:lnTo>
                <a:lnTo>
                  <a:pt x="1464" y="902"/>
                </a:lnTo>
                <a:lnTo>
                  <a:pt x="1464" y="904"/>
                </a:lnTo>
                <a:lnTo>
                  <a:pt x="1462" y="904"/>
                </a:lnTo>
                <a:lnTo>
                  <a:pt x="1462" y="905"/>
                </a:lnTo>
                <a:lnTo>
                  <a:pt x="1464" y="904"/>
                </a:lnTo>
                <a:lnTo>
                  <a:pt x="1464" y="905"/>
                </a:lnTo>
                <a:lnTo>
                  <a:pt x="1465" y="905"/>
                </a:lnTo>
                <a:lnTo>
                  <a:pt x="1466" y="905"/>
                </a:lnTo>
                <a:lnTo>
                  <a:pt x="1465" y="904"/>
                </a:lnTo>
                <a:lnTo>
                  <a:pt x="1465" y="902"/>
                </a:lnTo>
                <a:lnTo>
                  <a:pt x="1466" y="904"/>
                </a:lnTo>
                <a:lnTo>
                  <a:pt x="1466" y="902"/>
                </a:lnTo>
                <a:lnTo>
                  <a:pt x="1468" y="902"/>
                </a:lnTo>
                <a:lnTo>
                  <a:pt x="1469" y="902"/>
                </a:lnTo>
                <a:lnTo>
                  <a:pt x="1469" y="901"/>
                </a:lnTo>
                <a:lnTo>
                  <a:pt x="1471" y="902"/>
                </a:lnTo>
                <a:lnTo>
                  <a:pt x="1471" y="904"/>
                </a:lnTo>
                <a:lnTo>
                  <a:pt x="1471" y="904"/>
                </a:lnTo>
                <a:lnTo>
                  <a:pt x="1472" y="904"/>
                </a:lnTo>
                <a:lnTo>
                  <a:pt x="1471" y="904"/>
                </a:lnTo>
                <a:lnTo>
                  <a:pt x="1471" y="902"/>
                </a:lnTo>
                <a:lnTo>
                  <a:pt x="1471" y="902"/>
                </a:lnTo>
                <a:lnTo>
                  <a:pt x="1471" y="902"/>
                </a:lnTo>
                <a:lnTo>
                  <a:pt x="1472" y="901"/>
                </a:lnTo>
                <a:lnTo>
                  <a:pt x="1472" y="900"/>
                </a:lnTo>
                <a:lnTo>
                  <a:pt x="1473" y="900"/>
                </a:lnTo>
                <a:lnTo>
                  <a:pt x="1473" y="901"/>
                </a:lnTo>
                <a:lnTo>
                  <a:pt x="1473" y="902"/>
                </a:lnTo>
                <a:lnTo>
                  <a:pt x="1475" y="902"/>
                </a:lnTo>
                <a:lnTo>
                  <a:pt x="1473" y="904"/>
                </a:lnTo>
                <a:lnTo>
                  <a:pt x="1475" y="904"/>
                </a:lnTo>
                <a:lnTo>
                  <a:pt x="1476" y="905"/>
                </a:lnTo>
                <a:lnTo>
                  <a:pt x="1476" y="904"/>
                </a:lnTo>
                <a:lnTo>
                  <a:pt x="1477" y="902"/>
                </a:lnTo>
                <a:lnTo>
                  <a:pt x="1477" y="901"/>
                </a:lnTo>
                <a:lnTo>
                  <a:pt x="1479" y="902"/>
                </a:lnTo>
                <a:lnTo>
                  <a:pt x="1477" y="904"/>
                </a:lnTo>
                <a:lnTo>
                  <a:pt x="1477" y="905"/>
                </a:lnTo>
                <a:lnTo>
                  <a:pt x="1479" y="905"/>
                </a:lnTo>
                <a:lnTo>
                  <a:pt x="1479" y="907"/>
                </a:lnTo>
                <a:lnTo>
                  <a:pt x="1480" y="907"/>
                </a:lnTo>
                <a:lnTo>
                  <a:pt x="1480" y="907"/>
                </a:lnTo>
                <a:lnTo>
                  <a:pt x="1482" y="907"/>
                </a:lnTo>
                <a:lnTo>
                  <a:pt x="1482" y="907"/>
                </a:lnTo>
                <a:lnTo>
                  <a:pt x="1483" y="907"/>
                </a:lnTo>
                <a:lnTo>
                  <a:pt x="1484" y="907"/>
                </a:lnTo>
                <a:lnTo>
                  <a:pt x="1483" y="907"/>
                </a:lnTo>
                <a:lnTo>
                  <a:pt x="1483" y="908"/>
                </a:lnTo>
                <a:lnTo>
                  <a:pt x="1483" y="909"/>
                </a:lnTo>
                <a:lnTo>
                  <a:pt x="1484" y="911"/>
                </a:lnTo>
                <a:lnTo>
                  <a:pt x="1486" y="912"/>
                </a:lnTo>
                <a:lnTo>
                  <a:pt x="1487" y="912"/>
                </a:lnTo>
                <a:lnTo>
                  <a:pt x="1487" y="913"/>
                </a:lnTo>
                <a:lnTo>
                  <a:pt x="1488" y="912"/>
                </a:lnTo>
                <a:lnTo>
                  <a:pt x="1488" y="913"/>
                </a:lnTo>
                <a:lnTo>
                  <a:pt x="1488" y="915"/>
                </a:lnTo>
                <a:lnTo>
                  <a:pt x="1490" y="915"/>
                </a:lnTo>
                <a:lnTo>
                  <a:pt x="1490" y="913"/>
                </a:lnTo>
                <a:lnTo>
                  <a:pt x="1491" y="913"/>
                </a:lnTo>
                <a:lnTo>
                  <a:pt x="1490" y="915"/>
                </a:lnTo>
                <a:lnTo>
                  <a:pt x="1491" y="916"/>
                </a:lnTo>
                <a:lnTo>
                  <a:pt x="1493" y="916"/>
                </a:lnTo>
                <a:lnTo>
                  <a:pt x="1493" y="918"/>
                </a:lnTo>
                <a:lnTo>
                  <a:pt x="1494" y="918"/>
                </a:lnTo>
                <a:lnTo>
                  <a:pt x="1494" y="919"/>
                </a:lnTo>
                <a:lnTo>
                  <a:pt x="1493" y="919"/>
                </a:lnTo>
                <a:lnTo>
                  <a:pt x="1491" y="919"/>
                </a:lnTo>
                <a:lnTo>
                  <a:pt x="1493" y="920"/>
                </a:lnTo>
                <a:lnTo>
                  <a:pt x="1493" y="922"/>
                </a:lnTo>
                <a:lnTo>
                  <a:pt x="1493" y="923"/>
                </a:lnTo>
                <a:lnTo>
                  <a:pt x="1494" y="923"/>
                </a:lnTo>
                <a:lnTo>
                  <a:pt x="1495" y="922"/>
                </a:lnTo>
                <a:lnTo>
                  <a:pt x="1497" y="922"/>
                </a:lnTo>
                <a:lnTo>
                  <a:pt x="1498" y="923"/>
                </a:lnTo>
                <a:lnTo>
                  <a:pt x="1498" y="924"/>
                </a:lnTo>
                <a:lnTo>
                  <a:pt x="1499" y="924"/>
                </a:lnTo>
                <a:lnTo>
                  <a:pt x="1498" y="924"/>
                </a:lnTo>
                <a:lnTo>
                  <a:pt x="1498" y="926"/>
                </a:lnTo>
                <a:lnTo>
                  <a:pt x="1497" y="926"/>
                </a:lnTo>
                <a:lnTo>
                  <a:pt x="1497" y="927"/>
                </a:lnTo>
                <a:lnTo>
                  <a:pt x="1498" y="927"/>
                </a:lnTo>
                <a:lnTo>
                  <a:pt x="1498" y="929"/>
                </a:lnTo>
                <a:lnTo>
                  <a:pt x="1499" y="929"/>
                </a:lnTo>
                <a:lnTo>
                  <a:pt x="1501" y="930"/>
                </a:lnTo>
                <a:lnTo>
                  <a:pt x="1499" y="930"/>
                </a:lnTo>
                <a:lnTo>
                  <a:pt x="1499" y="931"/>
                </a:lnTo>
                <a:lnTo>
                  <a:pt x="1501" y="931"/>
                </a:lnTo>
                <a:lnTo>
                  <a:pt x="1499" y="933"/>
                </a:lnTo>
                <a:lnTo>
                  <a:pt x="1501" y="933"/>
                </a:lnTo>
                <a:lnTo>
                  <a:pt x="1502" y="933"/>
                </a:lnTo>
                <a:lnTo>
                  <a:pt x="1501" y="934"/>
                </a:lnTo>
                <a:lnTo>
                  <a:pt x="1501" y="935"/>
                </a:lnTo>
                <a:lnTo>
                  <a:pt x="1502" y="935"/>
                </a:lnTo>
                <a:lnTo>
                  <a:pt x="1504" y="937"/>
                </a:lnTo>
                <a:lnTo>
                  <a:pt x="1502" y="938"/>
                </a:lnTo>
                <a:lnTo>
                  <a:pt x="1501" y="938"/>
                </a:lnTo>
                <a:lnTo>
                  <a:pt x="1501" y="940"/>
                </a:lnTo>
                <a:lnTo>
                  <a:pt x="1502" y="940"/>
                </a:lnTo>
                <a:lnTo>
                  <a:pt x="1501" y="940"/>
                </a:lnTo>
                <a:lnTo>
                  <a:pt x="1501" y="941"/>
                </a:lnTo>
                <a:lnTo>
                  <a:pt x="1502" y="941"/>
                </a:lnTo>
                <a:lnTo>
                  <a:pt x="1504" y="941"/>
                </a:lnTo>
                <a:lnTo>
                  <a:pt x="1504" y="942"/>
                </a:lnTo>
                <a:lnTo>
                  <a:pt x="1502" y="942"/>
                </a:lnTo>
                <a:lnTo>
                  <a:pt x="1501" y="942"/>
                </a:lnTo>
                <a:lnTo>
                  <a:pt x="1499" y="944"/>
                </a:lnTo>
                <a:lnTo>
                  <a:pt x="1501" y="944"/>
                </a:lnTo>
                <a:lnTo>
                  <a:pt x="1501" y="945"/>
                </a:lnTo>
                <a:lnTo>
                  <a:pt x="1499" y="945"/>
                </a:lnTo>
                <a:lnTo>
                  <a:pt x="1499" y="946"/>
                </a:lnTo>
                <a:lnTo>
                  <a:pt x="1501" y="946"/>
                </a:lnTo>
                <a:lnTo>
                  <a:pt x="1499" y="948"/>
                </a:lnTo>
                <a:lnTo>
                  <a:pt x="1501" y="948"/>
                </a:lnTo>
                <a:lnTo>
                  <a:pt x="1502" y="948"/>
                </a:lnTo>
                <a:lnTo>
                  <a:pt x="1501" y="949"/>
                </a:lnTo>
                <a:lnTo>
                  <a:pt x="1499" y="949"/>
                </a:lnTo>
                <a:lnTo>
                  <a:pt x="1501" y="951"/>
                </a:lnTo>
                <a:lnTo>
                  <a:pt x="1501" y="952"/>
                </a:lnTo>
                <a:lnTo>
                  <a:pt x="1499" y="952"/>
                </a:lnTo>
                <a:lnTo>
                  <a:pt x="1501" y="953"/>
                </a:lnTo>
                <a:lnTo>
                  <a:pt x="1501" y="955"/>
                </a:lnTo>
                <a:lnTo>
                  <a:pt x="1501" y="956"/>
                </a:lnTo>
                <a:lnTo>
                  <a:pt x="1502" y="956"/>
                </a:lnTo>
                <a:lnTo>
                  <a:pt x="1502" y="957"/>
                </a:lnTo>
                <a:lnTo>
                  <a:pt x="1501" y="957"/>
                </a:lnTo>
                <a:lnTo>
                  <a:pt x="1499" y="957"/>
                </a:lnTo>
                <a:lnTo>
                  <a:pt x="1499" y="959"/>
                </a:lnTo>
                <a:lnTo>
                  <a:pt x="1499" y="960"/>
                </a:lnTo>
                <a:lnTo>
                  <a:pt x="1499" y="962"/>
                </a:lnTo>
                <a:lnTo>
                  <a:pt x="1501" y="960"/>
                </a:lnTo>
                <a:lnTo>
                  <a:pt x="1502" y="962"/>
                </a:lnTo>
                <a:lnTo>
                  <a:pt x="1502" y="960"/>
                </a:lnTo>
                <a:lnTo>
                  <a:pt x="1504" y="960"/>
                </a:lnTo>
                <a:lnTo>
                  <a:pt x="1504" y="960"/>
                </a:lnTo>
                <a:lnTo>
                  <a:pt x="1504" y="962"/>
                </a:lnTo>
                <a:lnTo>
                  <a:pt x="1504" y="963"/>
                </a:lnTo>
                <a:lnTo>
                  <a:pt x="1505" y="963"/>
                </a:lnTo>
                <a:lnTo>
                  <a:pt x="1505" y="964"/>
                </a:lnTo>
                <a:lnTo>
                  <a:pt x="1506" y="964"/>
                </a:lnTo>
                <a:lnTo>
                  <a:pt x="1508" y="966"/>
                </a:lnTo>
                <a:lnTo>
                  <a:pt x="1508" y="964"/>
                </a:lnTo>
                <a:lnTo>
                  <a:pt x="1509" y="964"/>
                </a:lnTo>
                <a:lnTo>
                  <a:pt x="1509" y="963"/>
                </a:lnTo>
                <a:lnTo>
                  <a:pt x="1510" y="963"/>
                </a:lnTo>
                <a:lnTo>
                  <a:pt x="1510" y="964"/>
                </a:lnTo>
                <a:lnTo>
                  <a:pt x="1510" y="966"/>
                </a:lnTo>
                <a:lnTo>
                  <a:pt x="1512" y="966"/>
                </a:lnTo>
                <a:lnTo>
                  <a:pt x="1513" y="964"/>
                </a:lnTo>
                <a:lnTo>
                  <a:pt x="1513" y="966"/>
                </a:lnTo>
                <a:lnTo>
                  <a:pt x="1515" y="966"/>
                </a:lnTo>
                <a:lnTo>
                  <a:pt x="1516" y="966"/>
                </a:lnTo>
                <a:lnTo>
                  <a:pt x="1517" y="967"/>
                </a:lnTo>
                <a:lnTo>
                  <a:pt x="1519" y="967"/>
                </a:lnTo>
                <a:lnTo>
                  <a:pt x="1520" y="967"/>
                </a:lnTo>
                <a:lnTo>
                  <a:pt x="1521" y="967"/>
                </a:lnTo>
                <a:lnTo>
                  <a:pt x="1523" y="967"/>
                </a:lnTo>
                <a:lnTo>
                  <a:pt x="1524" y="966"/>
                </a:lnTo>
                <a:lnTo>
                  <a:pt x="1526" y="966"/>
                </a:lnTo>
                <a:lnTo>
                  <a:pt x="1527" y="966"/>
                </a:lnTo>
                <a:lnTo>
                  <a:pt x="1527" y="967"/>
                </a:lnTo>
                <a:lnTo>
                  <a:pt x="1527" y="968"/>
                </a:lnTo>
                <a:lnTo>
                  <a:pt x="1528" y="970"/>
                </a:lnTo>
                <a:lnTo>
                  <a:pt x="1530" y="970"/>
                </a:lnTo>
                <a:lnTo>
                  <a:pt x="1531" y="968"/>
                </a:lnTo>
                <a:lnTo>
                  <a:pt x="1531" y="967"/>
                </a:lnTo>
                <a:lnTo>
                  <a:pt x="1531" y="966"/>
                </a:lnTo>
                <a:lnTo>
                  <a:pt x="1531" y="964"/>
                </a:lnTo>
                <a:lnTo>
                  <a:pt x="1531" y="963"/>
                </a:lnTo>
                <a:lnTo>
                  <a:pt x="1531" y="962"/>
                </a:lnTo>
                <a:lnTo>
                  <a:pt x="1534" y="962"/>
                </a:lnTo>
                <a:lnTo>
                  <a:pt x="1535" y="963"/>
                </a:lnTo>
                <a:lnTo>
                  <a:pt x="1537" y="963"/>
                </a:lnTo>
                <a:lnTo>
                  <a:pt x="1537" y="963"/>
                </a:lnTo>
                <a:lnTo>
                  <a:pt x="1537" y="964"/>
                </a:lnTo>
                <a:lnTo>
                  <a:pt x="1538" y="966"/>
                </a:lnTo>
                <a:lnTo>
                  <a:pt x="1539" y="966"/>
                </a:lnTo>
                <a:lnTo>
                  <a:pt x="1541" y="966"/>
                </a:lnTo>
                <a:lnTo>
                  <a:pt x="1541" y="967"/>
                </a:lnTo>
                <a:lnTo>
                  <a:pt x="1542" y="968"/>
                </a:lnTo>
                <a:lnTo>
                  <a:pt x="1542" y="970"/>
                </a:lnTo>
                <a:lnTo>
                  <a:pt x="1543" y="971"/>
                </a:lnTo>
                <a:lnTo>
                  <a:pt x="1543" y="973"/>
                </a:lnTo>
                <a:lnTo>
                  <a:pt x="1545" y="973"/>
                </a:lnTo>
                <a:lnTo>
                  <a:pt x="1546" y="973"/>
                </a:lnTo>
                <a:lnTo>
                  <a:pt x="1548" y="973"/>
                </a:lnTo>
                <a:lnTo>
                  <a:pt x="1548" y="973"/>
                </a:lnTo>
                <a:lnTo>
                  <a:pt x="1548" y="974"/>
                </a:lnTo>
                <a:lnTo>
                  <a:pt x="1549" y="977"/>
                </a:lnTo>
                <a:lnTo>
                  <a:pt x="1550" y="977"/>
                </a:lnTo>
                <a:lnTo>
                  <a:pt x="1552" y="977"/>
                </a:lnTo>
                <a:lnTo>
                  <a:pt x="1554" y="977"/>
                </a:lnTo>
                <a:lnTo>
                  <a:pt x="1554" y="978"/>
                </a:lnTo>
                <a:lnTo>
                  <a:pt x="1556" y="978"/>
                </a:lnTo>
                <a:lnTo>
                  <a:pt x="1557" y="979"/>
                </a:lnTo>
                <a:lnTo>
                  <a:pt x="1559" y="979"/>
                </a:lnTo>
                <a:lnTo>
                  <a:pt x="1560" y="979"/>
                </a:lnTo>
                <a:lnTo>
                  <a:pt x="1561" y="981"/>
                </a:lnTo>
                <a:lnTo>
                  <a:pt x="1561" y="982"/>
                </a:lnTo>
                <a:lnTo>
                  <a:pt x="1561" y="984"/>
                </a:lnTo>
                <a:lnTo>
                  <a:pt x="1561" y="985"/>
                </a:lnTo>
                <a:lnTo>
                  <a:pt x="1560" y="985"/>
                </a:lnTo>
                <a:lnTo>
                  <a:pt x="1561" y="986"/>
                </a:lnTo>
                <a:lnTo>
                  <a:pt x="1561" y="988"/>
                </a:lnTo>
                <a:lnTo>
                  <a:pt x="1561" y="989"/>
                </a:lnTo>
                <a:lnTo>
                  <a:pt x="1563" y="991"/>
                </a:lnTo>
                <a:lnTo>
                  <a:pt x="1564" y="991"/>
                </a:lnTo>
                <a:lnTo>
                  <a:pt x="1564" y="992"/>
                </a:lnTo>
                <a:lnTo>
                  <a:pt x="1563" y="992"/>
                </a:lnTo>
                <a:lnTo>
                  <a:pt x="1563" y="993"/>
                </a:lnTo>
                <a:lnTo>
                  <a:pt x="1564" y="993"/>
                </a:lnTo>
                <a:lnTo>
                  <a:pt x="1565" y="995"/>
                </a:lnTo>
                <a:lnTo>
                  <a:pt x="1567" y="996"/>
                </a:lnTo>
                <a:lnTo>
                  <a:pt x="1567" y="997"/>
                </a:lnTo>
                <a:lnTo>
                  <a:pt x="1568" y="997"/>
                </a:lnTo>
                <a:lnTo>
                  <a:pt x="1571" y="997"/>
                </a:lnTo>
                <a:lnTo>
                  <a:pt x="1571" y="999"/>
                </a:lnTo>
                <a:lnTo>
                  <a:pt x="1571" y="1000"/>
                </a:lnTo>
                <a:lnTo>
                  <a:pt x="1572" y="1002"/>
                </a:lnTo>
                <a:lnTo>
                  <a:pt x="1574" y="1003"/>
                </a:lnTo>
                <a:lnTo>
                  <a:pt x="1574" y="1004"/>
                </a:lnTo>
                <a:lnTo>
                  <a:pt x="1575" y="1006"/>
                </a:lnTo>
                <a:lnTo>
                  <a:pt x="1576" y="1006"/>
                </a:lnTo>
                <a:lnTo>
                  <a:pt x="1576" y="1006"/>
                </a:lnTo>
                <a:lnTo>
                  <a:pt x="1578" y="1006"/>
                </a:lnTo>
                <a:lnTo>
                  <a:pt x="1579" y="1006"/>
                </a:lnTo>
                <a:lnTo>
                  <a:pt x="1581" y="1007"/>
                </a:lnTo>
                <a:lnTo>
                  <a:pt x="1581" y="1008"/>
                </a:lnTo>
                <a:lnTo>
                  <a:pt x="1579" y="1010"/>
                </a:lnTo>
                <a:lnTo>
                  <a:pt x="1581" y="1011"/>
                </a:lnTo>
                <a:lnTo>
                  <a:pt x="1581" y="1013"/>
                </a:lnTo>
                <a:lnTo>
                  <a:pt x="1582" y="1013"/>
                </a:lnTo>
                <a:lnTo>
                  <a:pt x="1583" y="1013"/>
                </a:lnTo>
                <a:lnTo>
                  <a:pt x="1583" y="1011"/>
                </a:lnTo>
                <a:lnTo>
                  <a:pt x="1583" y="1010"/>
                </a:lnTo>
                <a:lnTo>
                  <a:pt x="1585" y="1010"/>
                </a:lnTo>
                <a:lnTo>
                  <a:pt x="1585" y="1011"/>
                </a:lnTo>
                <a:lnTo>
                  <a:pt x="1585" y="1013"/>
                </a:lnTo>
                <a:lnTo>
                  <a:pt x="1586" y="1013"/>
                </a:lnTo>
                <a:lnTo>
                  <a:pt x="1587" y="1014"/>
                </a:lnTo>
                <a:lnTo>
                  <a:pt x="1587" y="1015"/>
                </a:lnTo>
                <a:lnTo>
                  <a:pt x="1589" y="1015"/>
                </a:lnTo>
                <a:lnTo>
                  <a:pt x="1590" y="1015"/>
                </a:lnTo>
                <a:lnTo>
                  <a:pt x="1589" y="1014"/>
                </a:lnTo>
                <a:lnTo>
                  <a:pt x="1590" y="1013"/>
                </a:lnTo>
                <a:lnTo>
                  <a:pt x="1592" y="1011"/>
                </a:lnTo>
                <a:lnTo>
                  <a:pt x="1593" y="1011"/>
                </a:lnTo>
                <a:lnTo>
                  <a:pt x="1594" y="1010"/>
                </a:lnTo>
                <a:lnTo>
                  <a:pt x="1596" y="1010"/>
                </a:lnTo>
                <a:lnTo>
                  <a:pt x="1597" y="1010"/>
                </a:lnTo>
                <a:lnTo>
                  <a:pt x="1599" y="1008"/>
                </a:lnTo>
                <a:lnTo>
                  <a:pt x="1600" y="1010"/>
                </a:lnTo>
                <a:lnTo>
                  <a:pt x="1601" y="1010"/>
                </a:lnTo>
                <a:lnTo>
                  <a:pt x="1603" y="1010"/>
                </a:lnTo>
                <a:lnTo>
                  <a:pt x="1604" y="1010"/>
                </a:lnTo>
                <a:lnTo>
                  <a:pt x="1604" y="1010"/>
                </a:lnTo>
                <a:lnTo>
                  <a:pt x="1605" y="1010"/>
                </a:lnTo>
                <a:lnTo>
                  <a:pt x="1607" y="1010"/>
                </a:lnTo>
                <a:lnTo>
                  <a:pt x="1610" y="1008"/>
                </a:lnTo>
                <a:lnTo>
                  <a:pt x="1611" y="1008"/>
                </a:lnTo>
                <a:lnTo>
                  <a:pt x="1614" y="1008"/>
                </a:lnTo>
                <a:lnTo>
                  <a:pt x="1615" y="1007"/>
                </a:lnTo>
                <a:lnTo>
                  <a:pt x="1615" y="1008"/>
                </a:lnTo>
                <a:lnTo>
                  <a:pt x="1616" y="1010"/>
                </a:lnTo>
                <a:lnTo>
                  <a:pt x="1618" y="1008"/>
                </a:lnTo>
                <a:lnTo>
                  <a:pt x="1619" y="1010"/>
                </a:lnTo>
                <a:lnTo>
                  <a:pt x="1621" y="1010"/>
                </a:lnTo>
                <a:lnTo>
                  <a:pt x="1622" y="1011"/>
                </a:lnTo>
                <a:lnTo>
                  <a:pt x="1623" y="1011"/>
                </a:lnTo>
                <a:lnTo>
                  <a:pt x="1623" y="1013"/>
                </a:lnTo>
                <a:lnTo>
                  <a:pt x="1623" y="1014"/>
                </a:lnTo>
                <a:lnTo>
                  <a:pt x="1622" y="1015"/>
                </a:lnTo>
                <a:lnTo>
                  <a:pt x="1623" y="1017"/>
                </a:lnTo>
                <a:lnTo>
                  <a:pt x="1623" y="1018"/>
                </a:lnTo>
                <a:lnTo>
                  <a:pt x="1625" y="1018"/>
                </a:lnTo>
                <a:lnTo>
                  <a:pt x="1626" y="1019"/>
                </a:lnTo>
                <a:lnTo>
                  <a:pt x="1627" y="1019"/>
                </a:lnTo>
                <a:lnTo>
                  <a:pt x="1629" y="1019"/>
                </a:lnTo>
                <a:lnTo>
                  <a:pt x="1629" y="1018"/>
                </a:lnTo>
                <a:lnTo>
                  <a:pt x="1630" y="1018"/>
                </a:lnTo>
                <a:lnTo>
                  <a:pt x="1632" y="1018"/>
                </a:lnTo>
                <a:lnTo>
                  <a:pt x="1630" y="1019"/>
                </a:lnTo>
                <a:lnTo>
                  <a:pt x="1630" y="1021"/>
                </a:lnTo>
                <a:lnTo>
                  <a:pt x="1630" y="1022"/>
                </a:lnTo>
                <a:lnTo>
                  <a:pt x="1632" y="1024"/>
                </a:lnTo>
                <a:lnTo>
                  <a:pt x="1633" y="1024"/>
                </a:lnTo>
                <a:lnTo>
                  <a:pt x="1634" y="1025"/>
                </a:lnTo>
                <a:lnTo>
                  <a:pt x="1636" y="1025"/>
                </a:lnTo>
                <a:lnTo>
                  <a:pt x="1637" y="1026"/>
                </a:lnTo>
                <a:lnTo>
                  <a:pt x="1637" y="1026"/>
                </a:lnTo>
                <a:lnTo>
                  <a:pt x="1638" y="1026"/>
                </a:lnTo>
                <a:lnTo>
                  <a:pt x="1640" y="1026"/>
                </a:lnTo>
                <a:lnTo>
                  <a:pt x="1640" y="1028"/>
                </a:lnTo>
                <a:lnTo>
                  <a:pt x="1641" y="1028"/>
                </a:lnTo>
                <a:lnTo>
                  <a:pt x="1643" y="1029"/>
                </a:lnTo>
                <a:lnTo>
                  <a:pt x="1643" y="1030"/>
                </a:lnTo>
                <a:lnTo>
                  <a:pt x="1641" y="1032"/>
                </a:lnTo>
                <a:lnTo>
                  <a:pt x="1643" y="1033"/>
                </a:lnTo>
                <a:lnTo>
                  <a:pt x="1643" y="1035"/>
                </a:lnTo>
                <a:lnTo>
                  <a:pt x="1644" y="1035"/>
                </a:lnTo>
                <a:lnTo>
                  <a:pt x="1645" y="1035"/>
                </a:lnTo>
                <a:lnTo>
                  <a:pt x="1645" y="1036"/>
                </a:lnTo>
                <a:lnTo>
                  <a:pt x="1644" y="1037"/>
                </a:lnTo>
                <a:lnTo>
                  <a:pt x="1645" y="1037"/>
                </a:lnTo>
                <a:lnTo>
                  <a:pt x="1647" y="1039"/>
                </a:lnTo>
                <a:lnTo>
                  <a:pt x="1647" y="1039"/>
                </a:lnTo>
                <a:lnTo>
                  <a:pt x="1648" y="1039"/>
                </a:lnTo>
                <a:lnTo>
                  <a:pt x="1647" y="1040"/>
                </a:lnTo>
                <a:lnTo>
                  <a:pt x="1647" y="1041"/>
                </a:lnTo>
                <a:lnTo>
                  <a:pt x="1647" y="1043"/>
                </a:lnTo>
                <a:lnTo>
                  <a:pt x="1647" y="1044"/>
                </a:lnTo>
                <a:lnTo>
                  <a:pt x="1648" y="1044"/>
                </a:lnTo>
                <a:lnTo>
                  <a:pt x="1649" y="1043"/>
                </a:lnTo>
                <a:lnTo>
                  <a:pt x="1651" y="1043"/>
                </a:lnTo>
                <a:lnTo>
                  <a:pt x="1652" y="1043"/>
                </a:lnTo>
                <a:lnTo>
                  <a:pt x="1652" y="1044"/>
                </a:lnTo>
                <a:lnTo>
                  <a:pt x="1652" y="1046"/>
                </a:lnTo>
                <a:lnTo>
                  <a:pt x="1654" y="1046"/>
                </a:lnTo>
                <a:lnTo>
                  <a:pt x="1655" y="1047"/>
                </a:lnTo>
                <a:lnTo>
                  <a:pt x="1656" y="1048"/>
                </a:lnTo>
                <a:lnTo>
                  <a:pt x="1655" y="1048"/>
                </a:lnTo>
                <a:lnTo>
                  <a:pt x="1655" y="1050"/>
                </a:lnTo>
                <a:lnTo>
                  <a:pt x="1656" y="1051"/>
                </a:lnTo>
                <a:lnTo>
                  <a:pt x="1658" y="1051"/>
                </a:lnTo>
                <a:lnTo>
                  <a:pt x="1659" y="1051"/>
                </a:lnTo>
                <a:lnTo>
                  <a:pt x="1659" y="1052"/>
                </a:lnTo>
                <a:lnTo>
                  <a:pt x="1660" y="1052"/>
                </a:lnTo>
                <a:lnTo>
                  <a:pt x="1662" y="1054"/>
                </a:lnTo>
                <a:lnTo>
                  <a:pt x="1663" y="1055"/>
                </a:lnTo>
                <a:lnTo>
                  <a:pt x="1665" y="1057"/>
                </a:lnTo>
                <a:lnTo>
                  <a:pt x="1666" y="1057"/>
                </a:lnTo>
                <a:lnTo>
                  <a:pt x="1667" y="1057"/>
                </a:lnTo>
                <a:lnTo>
                  <a:pt x="1667" y="1058"/>
                </a:lnTo>
                <a:lnTo>
                  <a:pt x="1667" y="1059"/>
                </a:lnTo>
                <a:lnTo>
                  <a:pt x="1667" y="1061"/>
                </a:lnTo>
                <a:lnTo>
                  <a:pt x="1669" y="1062"/>
                </a:lnTo>
                <a:lnTo>
                  <a:pt x="1669" y="1063"/>
                </a:lnTo>
                <a:lnTo>
                  <a:pt x="1670" y="1065"/>
                </a:lnTo>
                <a:lnTo>
                  <a:pt x="1669" y="1065"/>
                </a:lnTo>
                <a:lnTo>
                  <a:pt x="1670" y="1066"/>
                </a:lnTo>
                <a:lnTo>
                  <a:pt x="1670" y="1068"/>
                </a:lnTo>
                <a:lnTo>
                  <a:pt x="1670" y="1069"/>
                </a:lnTo>
                <a:lnTo>
                  <a:pt x="1669" y="1069"/>
                </a:lnTo>
                <a:lnTo>
                  <a:pt x="1669" y="1070"/>
                </a:lnTo>
                <a:lnTo>
                  <a:pt x="1667" y="1070"/>
                </a:lnTo>
                <a:lnTo>
                  <a:pt x="1667" y="1072"/>
                </a:lnTo>
                <a:lnTo>
                  <a:pt x="1667" y="1072"/>
                </a:lnTo>
                <a:lnTo>
                  <a:pt x="1667" y="1073"/>
                </a:lnTo>
                <a:lnTo>
                  <a:pt x="1666" y="1073"/>
                </a:lnTo>
                <a:lnTo>
                  <a:pt x="1667" y="1073"/>
                </a:lnTo>
                <a:lnTo>
                  <a:pt x="1667" y="1074"/>
                </a:lnTo>
                <a:lnTo>
                  <a:pt x="1667" y="1076"/>
                </a:lnTo>
                <a:lnTo>
                  <a:pt x="1666" y="1076"/>
                </a:lnTo>
                <a:lnTo>
                  <a:pt x="1666" y="1077"/>
                </a:lnTo>
                <a:lnTo>
                  <a:pt x="1666" y="1079"/>
                </a:lnTo>
                <a:lnTo>
                  <a:pt x="1665" y="1080"/>
                </a:lnTo>
                <a:lnTo>
                  <a:pt x="1665" y="1081"/>
                </a:lnTo>
                <a:lnTo>
                  <a:pt x="1663" y="1081"/>
                </a:lnTo>
                <a:lnTo>
                  <a:pt x="1662" y="1081"/>
                </a:lnTo>
                <a:lnTo>
                  <a:pt x="1660" y="1081"/>
                </a:lnTo>
                <a:lnTo>
                  <a:pt x="1659" y="1083"/>
                </a:lnTo>
                <a:lnTo>
                  <a:pt x="1660" y="1084"/>
                </a:lnTo>
                <a:lnTo>
                  <a:pt x="1659" y="1084"/>
                </a:lnTo>
                <a:lnTo>
                  <a:pt x="1659" y="1085"/>
                </a:lnTo>
                <a:lnTo>
                  <a:pt x="1659" y="1087"/>
                </a:lnTo>
                <a:lnTo>
                  <a:pt x="1659" y="1088"/>
                </a:lnTo>
                <a:lnTo>
                  <a:pt x="1659" y="1090"/>
                </a:lnTo>
                <a:lnTo>
                  <a:pt x="1659" y="1091"/>
                </a:lnTo>
                <a:lnTo>
                  <a:pt x="1659" y="1092"/>
                </a:lnTo>
                <a:lnTo>
                  <a:pt x="1660" y="1094"/>
                </a:lnTo>
                <a:lnTo>
                  <a:pt x="1659" y="1094"/>
                </a:lnTo>
                <a:lnTo>
                  <a:pt x="1660" y="1095"/>
                </a:lnTo>
                <a:lnTo>
                  <a:pt x="1662" y="1095"/>
                </a:lnTo>
                <a:lnTo>
                  <a:pt x="1662" y="1096"/>
                </a:lnTo>
                <a:lnTo>
                  <a:pt x="1662" y="1099"/>
                </a:lnTo>
                <a:lnTo>
                  <a:pt x="1660" y="1101"/>
                </a:lnTo>
                <a:lnTo>
                  <a:pt x="1659" y="1101"/>
                </a:lnTo>
                <a:lnTo>
                  <a:pt x="1659" y="1102"/>
                </a:lnTo>
                <a:lnTo>
                  <a:pt x="1659" y="1103"/>
                </a:lnTo>
                <a:lnTo>
                  <a:pt x="1659" y="1105"/>
                </a:lnTo>
                <a:lnTo>
                  <a:pt x="1659" y="1105"/>
                </a:lnTo>
                <a:lnTo>
                  <a:pt x="1659" y="1106"/>
                </a:lnTo>
                <a:lnTo>
                  <a:pt x="1658" y="1106"/>
                </a:lnTo>
                <a:lnTo>
                  <a:pt x="1658" y="1107"/>
                </a:lnTo>
                <a:lnTo>
                  <a:pt x="1658" y="1109"/>
                </a:lnTo>
                <a:lnTo>
                  <a:pt x="1656" y="1110"/>
                </a:lnTo>
                <a:lnTo>
                  <a:pt x="1655" y="1112"/>
                </a:lnTo>
                <a:lnTo>
                  <a:pt x="1649" y="1117"/>
                </a:lnTo>
                <a:lnTo>
                  <a:pt x="1647" y="1136"/>
                </a:lnTo>
                <a:lnTo>
                  <a:pt x="1648" y="1138"/>
                </a:lnTo>
                <a:lnTo>
                  <a:pt x="1648" y="1138"/>
                </a:lnTo>
                <a:lnTo>
                  <a:pt x="1648" y="1139"/>
                </a:lnTo>
                <a:lnTo>
                  <a:pt x="1648" y="1140"/>
                </a:lnTo>
                <a:lnTo>
                  <a:pt x="1649" y="1142"/>
                </a:lnTo>
                <a:lnTo>
                  <a:pt x="1649" y="1143"/>
                </a:lnTo>
                <a:lnTo>
                  <a:pt x="1651" y="1145"/>
                </a:lnTo>
                <a:lnTo>
                  <a:pt x="1651" y="1146"/>
                </a:lnTo>
                <a:lnTo>
                  <a:pt x="1652" y="1146"/>
                </a:lnTo>
                <a:lnTo>
                  <a:pt x="1652" y="1147"/>
                </a:lnTo>
                <a:lnTo>
                  <a:pt x="1652" y="1149"/>
                </a:lnTo>
                <a:lnTo>
                  <a:pt x="1652" y="1150"/>
                </a:lnTo>
                <a:lnTo>
                  <a:pt x="1654" y="1151"/>
                </a:lnTo>
                <a:lnTo>
                  <a:pt x="1654" y="1153"/>
                </a:lnTo>
                <a:lnTo>
                  <a:pt x="1654" y="1154"/>
                </a:lnTo>
                <a:lnTo>
                  <a:pt x="1654" y="1156"/>
                </a:lnTo>
                <a:lnTo>
                  <a:pt x="1654" y="1157"/>
                </a:lnTo>
                <a:lnTo>
                  <a:pt x="1654" y="1158"/>
                </a:lnTo>
                <a:lnTo>
                  <a:pt x="1651" y="1160"/>
                </a:lnTo>
                <a:lnTo>
                  <a:pt x="1651" y="1161"/>
                </a:lnTo>
                <a:lnTo>
                  <a:pt x="1651" y="1162"/>
                </a:lnTo>
                <a:lnTo>
                  <a:pt x="1651" y="1164"/>
                </a:lnTo>
                <a:lnTo>
                  <a:pt x="1651" y="1165"/>
                </a:lnTo>
                <a:lnTo>
                  <a:pt x="1651" y="1167"/>
                </a:lnTo>
                <a:lnTo>
                  <a:pt x="1651" y="1168"/>
                </a:lnTo>
                <a:lnTo>
                  <a:pt x="1649" y="1169"/>
                </a:lnTo>
                <a:lnTo>
                  <a:pt x="1649" y="1171"/>
                </a:lnTo>
                <a:lnTo>
                  <a:pt x="1649" y="1171"/>
                </a:lnTo>
                <a:lnTo>
                  <a:pt x="1649" y="1172"/>
                </a:lnTo>
                <a:lnTo>
                  <a:pt x="1649" y="1175"/>
                </a:lnTo>
                <a:lnTo>
                  <a:pt x="1649" y="1176"/>
                </a:lnTo>
                <a:lnTo>
                  <a:pt x="1649" y="1178"/>
                </a:lnTo>
                <a:lnTo>
                  <a:pt x="1649" y="1179"/>
                </a:lnTo>
                <a:lnTo>
                  <a:pt x="1651" y="1180"/>
                </a:lnTo>
                <a:lnTo>
                  <a:pt x="1651" y="1182"/>
                </a:lnTo>
                <a:lnTo>
                  <a:pt x="1651" y="1183"/>
                </a:lnTo>
                <a:lnTo>
                  <a:pt x="1652" y="1184"/>
                </a:lnTo>
                <a:lnTo>
                  <a:pt x="1654" y="1186"/>
                </a:lnTo>
                <a:lnTo>
                  <a:pt x="1655" y="1186"/>
                </a:lnTo>
                <a:lnTo>
                  <a:pt x="1656" y="1187"/>
                </a:lnTo>
                <a:lnTo>
                  <a:pt x="1656" y="1189"/>
                </a:lnTo>
                <a:lnTo>
                  <a:pt x="1658" y="1190"/>
                </a:lnTo>
                <a:lnTo>
                  <a:pt x="1659" y="1191"/>
                </a:lnTo>
                <a:lnTo>
                  <a:pt x="1662" y="1191"/>
                </a:lnTo>
                <a:lnTo>
                  <a:pt x="1662" y="1193"/>
                </a:lnTo>
                <a:lnTo>
                  <a:pt x="1663" y="1193"/>
                </a:lnTo>
                <a:lnTo>
                  <a:pt x="1663" y="1194"/>
                </a:lnTo>
                <a:lnTo>
                  <a:pt x="1662" y="1195"/>
                </a:lnTo>
                <a:lnTo>
                  <a:pt x="1662" y="1197"/>
                </a:lnTo>
                <a:lnTo>
                  <a:pt x="1663" y="1197"/>
                </a:lnTo>
                <a:lnTo>
                  <a:pt x="1663" y="1198"/>
                </a:lnTo>
                <a:lnTo>
                  <a:pt x="1665" y="1200"/>
                </a:lnTo>
                <a:lnTo>
                  <a:pt x="1663" y="1200"/>
                </a:lnTo>
                <a:lnTo>
                  <a:pt x="1663" y="1201"/>
                </a:lnTo>
                <a:lnTo>
                  <a:pt x="1663" y="1202"/>
                </a:lnTo>
                <a:lnTo>
                  <a:pt x="1663" y="1204"/>
                </a:lnTo>
                <a:lnTo>
                  <a:pt x="1663" y="1204"/>
                </a:lnTo>
                <a:lnTo>
                  <a:pt x="1663" y="1205"/>
                </a:lnTo>
                <a:lnTo>
                  <a:pt x="1663" y="1206"/>
                </a:lnTo>
                <a:lnTo>
                  <a:pt x="1665" y="1208"/>
                </a:lnTo>
                <a:lnTo>
                  <a:pt x="1663" y="1209"/>
                </a:lnTo>
                <a:lnTo>
                  <a:pt x="1663" y="1211"/>
                </a:lnTo>
                <a:lnTo>
                  <a:pt x="1665" y="1212"/>
                </a:lnTo>
                <a:lnTo>
                  <a:pt x="1666" y="1213"/>
                </a:lnTo>
                <a:lnTo>
                  <a:pt x="1666" y="1215"/>
                </a:lnTo>
                <a:lnTo>
                  <a:pt x="1666" y="1216"/>
                </a:lnTo>
                <a:lnTo>
                  <a:pt x="1666" y="1217"/>
                </a:lnTo>
                <a:lnTo>
                  <a:pt x="1365" y="1316"/>
                </a:lnTo>
                <a:lnTo>
                  <a:pt x="1058" y="1272"/>
                </a:lnTo>
                <a:lnTo>
                  <a:pt x="662" y="1270"/>
                </a:lnTo>
                <a:lnTo>
                  <a:pt x="660" y="1271"/>
                </a:lnTo>
                <a:lnTo>
                  <a:pt x="516" y="1264"/>
                </a:lnTo>
                <a:lnTo>
                  <a:pt x="439" y="1099"/>
                </a:lnTo>
                <a:lnTo>
                  <a:pt x="341" y="940"/>
                </a:lnTo>
                <a:lnTo>
                  <a:pt x="174" y="799"/>
                </a:lnTo>
                <a:lnTo>
                  <a:pt x="160" y="743"/>
                </a:lnTo>
                <a:lnTo>
                  <a:pt x="105" y="645"/>
                </a:lnTo>
                <a:lnTo>
                  <a:pt x="117" y="579"/>
                </a:lnTo>
                <a:lnTo>
                  <a:pt x="61" y="487"/>
                </a:lnTo>
                <a:lnTo>
                  <a:pt x="43" y="487"/>
                </a:lnTo>
                <a:lnTo>
                  <a:pt x="43" y="443"/>
                </a:lnTo>
                <a:lnTo>
                  <a:pt x="57" y="366"/>
                </a:lnTo>
                <a:lnTo>
                  <a:pt x="26" y="333"/>
                </a:lnTo>
                <a:lnTo>
                  <a:pt x="40" y="308"/>
                </a:lnTo>
                <a:lnTo>
                  <a:pt x="10" y="281"/>
                </a:lnTo>
                <a:lnTo>
                  <a:pt x="18" y="270"/>
                </a:lnTo>
                <a:lnTo>
                  <a:pt x="0" y="191"/>
                </a:lnTo>
                <a:close/>
              </a:path>
            </a:pathLst>
          </a:custGeom>
          <a:noFill/>
          <a:ln w="19050" cmpd="sng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7" name="Freeform 176"/>
          <p:cNvSpPr>
            <a:spLocks/>
          </p:cNvSpPr>
          <p:nvPr>
            <p:custDataLst>
              <p:tags r:id="rId94"/>
            </p:custDataLst>
          </p:nvPr>
        </p:nvSpPr>
        <p:spPr bwMode="gray">
          <a:xfrm>
            <a:off x="4654145" y="2007905"/>
            <a:ext cx="494876" cy="297764"/>
          </a:xfrm>
          <a:custGeom>
            <a:avLst/>
            <a:gdLst>
              <a:gd name="T0" fmla="*/ 110 w 520"/>
              <a:gd name="T1" fmla="*/ 329 h 333"/>
              <a:gd name="T2" fmla="*/ 125 w 520"/>
              <a:gd name="T3" fmla="*/ 216 h 333"/>
              <a:gd name="T4" fmla="*/ 122 w 520"/>
              <a:gd name="T5" fmla="*/ 204 h 333"/>
              <a:gd name="T6" fmla="*/ 125 w 520"/>
              <a:gd name="T7" fmla="*/ 198 h 333"/>
              <a:gd name="T8" fmla="*/ 122 w 520"/>
              <a:gd name="T9" fmla="*/ 192 h 333"/>
              <a:gd name="T10" fmla="*/ 121 w 520"/>
              <a:gd name="T11" fmla="*/ 187 h 333"/>
              <a:gd name="T12" fmla="*/ 117 w 520"/>
              <a:gd name="T13" fmla="*/ 182 h 333"/>
              <a:gd name="T14" fmla="*/ 111 w 520"/>
              <a:gd name="T15" fmla="*/ 179 h 333"/>
              <a:gd name="T16" fmla="*/ 0 w 520"/>
              <a:gd name="T17" fmla="*/ 102 h 333"/>
              <a:gd name="T18" fmla="*/ 162 w 520"/>
              <a:gd name="T19" fmla="*/ 101 h 333"/>
              <a:gd name="T20" fmla="*/ 278 w 520"/>
              <a:gd name="T21" fmla="*/ 101 h 333"/>
              <a:gd name="T22" fmla="*/ 278 w 520"/>
              <a:gd name="T23" fmla="*/ 98 h 333"/>
              <a:gd name="T24" fmla="*/ 281 w 520"/>
              <a:gd name="T25" fmla="*/ 95 h 333"/>
              <a:gd name="T26" fmla="*/ 283 w 520"/>
              <a:gd name="T27" fmla="*/ 91 h 333"/>
              <a:gd name="T28" fmla="*/ 283 w 520"/>
              <a:gd name="T29" fmla="*/ 88 h 333"/>
              <a:gd name="T30" fmla="*/ 283 w 520"/>
              <a:gd name="T31" fmla="*/ 83 h 333"/>
              <a:gd name="T32" fmla="*/ 284 w 520"/>
              <a:gd name="T33" fmla="*/ 79 h 333"/>
              <a:gd name="T34" fmla="*/ 284 w 520"/>
              <a:gd name="T35" fmla="*/ 72 h 333"/>
              <a:gd name="T36" fmla="*/ 283 w 520"/>
              <a:gd name="T37" fmla="*/ 69 h 333"/>
              <a:gd name="T38" fmla="*/ 281 w 520"/>
              <a:gd name="T39" fmla="*/ 68 h 333"/>
              <a:gd name="T40" fmla="*/ 281 w 520"/>
              <a:gd name="T41" fmla="*/ 66 h 333"/>
              <a:gd name="T42" fmla="*/ 281 w 520"/>
              <a:gd name="T43" fmla="*/ 62 h 333"/>
              <a:gd name="T44" fmla="*/ 283 w 520"/>
              <a:gd name="T45" fmla="*/ 59 h 333"/>
              <a:gd name="T46" fmla="*/ 281 w 520"/>
              <a:gd name="T47" fmla="*/ 53 h 333"/>
              <a:gd name="T48" fmla="*/ 281 w 520"/>
              <a:gd name="T49" fmla="*/ 48 h 333"/>
              <a:gd name="T50" fmla="*/ 279 w 520"/>
              <a:gd name="T51" fmla="*/ 43 h 333"/>
              <a:gd name="T52" fmla="*/ 276 w 520"/>
              <a:gd name="T53" fmla="*/ 35 h 333"/>
              <a:gd name="T54" fmla="*/ 276 w 520"/>
              <a:gd name="T55" fmla="*/ 32 h 333"/>
              <a:gd name="T56" fmla="*/ 276 w 520"/>
              <a:gd name="T57" fmla="*/ 28 h 333"/>
              <a:gd name="T58" fmla="*/ 276 w 520"/>
              <a:gd name="T59" fmla="*/ 25 h 333"/>
              <a:gd name="T60" fmla="*/ 278 w 520"/>
              <a:gd name="T61" fmla="*/ 22 h 333"/>
              <a:gd name="T62" fmla="*/ 278 w 520"/>
              <a:gd name="T63" fmla="*/ 15 h 333"/>
              <a:gd name="T64" fmla="*/ 278 w 520"/>
              <a:gd name="T65" fmla="*/ 13 h 333"/>
              <a:gd name="T66" fmla="*/ 276 w 520"/>
              <a:gd name="T67" fmla="*/ 9 h 333"/>
              <a:gd name="T68" fmla="*/ 273 w 520"/>
              <a:gd name="T69" fmla="*/ 4 h 333"/>
              <a:gd name="T70" fmla="*/ 273 w 520"/>
              <a:gd name="T71" fmla="*/ 0 h 333"/>
              <a:gd name="T72" fmla="*/ 346 w 520"/>
              <a:gd name="T73" fmla="*/ 3 h 333"/>
              <a:gd name="T74" fmla="*/ 399 w 520"/>
              <a:gd name="T75" fmla="*/ 4 h 333"/>
              <a:gd name="T76" fmla="*/ 501 w 520"/>
              <a:gd name="T77" fmla="*/ 9 h 333"/>
              <a:gd name="T78" fmla="*/ 520 w 520"/>
              <a:gd name="T79" fmla="*/ 10 h 333"/>
              <a:gd name="T80" fmla="*/ 519 w 520"/>
              <a:gd name="T81" fmla="*/ 14 h 333"/>
              <a:gd name="T82" fmla="*/ 517 w 520"/>
              <a:gd name="T83" fmla="*/ 15 h 333"/>
              <a:gd name="T84" fmla="*/ 514 w 520"/>
              <a:gd name="T85" fmla="*/ 15 h 333"/>
              <a:gd name="T86" fmla="*/ 510 w 520"/>
              <a:gd name="T87" fmla="*/ 18 h 333"/>
              <a:gd name="T88" fmla="*/ 506 w 520"/>
              <a:gd name="T89" fmla="*/ 22 h 333"/>
              <a:gd name="T90" fmla="*/ 504 w 520"/>
              <a:gd name="T91" fmla="*/ 25 h 333"/>
              <a:gd name="T92" fmla="*/ 504 w 520"/>
              <a:gd name="T93" fmla="*/ 29 h 333"/>
              <a:gd name="T94" fmla="*/ 500 w 520"/>
              <a:gd name="T95" fmla="*/ 40 h 333"/>
              <a:gd name="T96" fmla="*/ 495 w 520"/>
              <a:gd name="T97" fmla="*/ 61 h 333"/>
              <a:gd name="T98" fmla="*/ 491 w 520"/>
              <a:gd name="T99" fmla="*/ 72 h 333"/>
              <a:gd name="T100" fmla="*/ 491 w 520"/>
              <a:gd name="T101" fmla="*/ 73 h 333"/>
              <a:gd name="T102" fmla="*/ 487 w 520"/>
              <a:gd name="T103" fmla="*/ 84 h 333"/>
              <a:gd name="T104" fmla="*/ 471 w 520"/>
              <a:gd name="T105" fmla="*/ 158 h 333"/>
              <a:gd name="T106" fmla="*/ 468 w 520"/>
              <a:gd name="T107" fmla="*/ 165 h 333"/>
              <a:gd name="T108" fmla="*/ 467 w 520"/>
              <a:gd name="T109" fmla="*/ 172 h 333"/>
              <a:gd name="T110" fmla="*/ 467 w 520"/>
              <a:gd name="T111" fmla="*/ 174 h 333"/>
              <a:gd name="T112" fmla="*/ 449 w 520"/>
              <a:gd name="T113" fmla="*/ 214 h 333"/>
              <a:gd name="T114" fmla="*/ 453 w 520"/>
              <a:gd name="T115" fmla="*/ 227 h 333"/>
              <a:gd name="T116" fmla="*/ 454 w 520"/>
              <a:gd name="T117" fmla="*/ 242 h 333"/>
              <a:gd name="T118" fmla="*/ 475 w 520"/>
              <a:gd name="T119" fmla="*/ 333 h 3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520" h="333">
                <a:moveTo>
                  <a:pt x="110" y="329"/>
                </a:moveTo>
                <a:lnTo>
                  <a:pt x="125" y="216"/>
                </a:lnTo>
                <a:lnTo>
                  <a:pt x="122" y="204"/>
                </a:lnTo>
                <a:lnTo>
                  <a:pt x="125" y="198"/>
                </a:lnTo>
                <a:lnTo>
                  <a:pt x="122" y="192"/>
                </a:lnTo>
                <a:lnTo>
                  <a:pt x="121" y="187"/>
                </a:lnTo>
                <a:lnTo>
                  <a:pt x="117" y="182"/>
                </a:lnTo>
                <a:lnTo>
                  <a:pt x="111" y="179"/>
                </a:lnTo>
                <a:lnTo>
                  <a:pt x="0" y="102"/>
                </a:lnTo>
                <a:lnTo>
                  <a:pt x="162" y="101"/>
                </a:lnTo>
                <a:lnTo>
                  <a:pt x="278" y="101"/>
                </a:lnTo>
                <a:lnTo>
                  <a:pt x="278" y="98"/>
                </a:lnTo>
                <a:lnTo>
                  <a:pt x="281" y="95"/>
                </a:lnTo>
                <a:lnTo>
                  <a:pt x="283" y="91"/>
                </a:lnTo>
                <a:lnTo>
                  <a:pt x="283" y="88"/>
                </a:lnTo>
                <a:lnTo>
                  <a:pt x="283" y="83"/>
                </a:lnTo>
                <a:lnTo>
                  <a:pt x="284" y="79"/>
                </a:lnTo>
                <a:lnTo>
                  <a:pt x="284" y="72"/>
                </a:lnTo>
                <a:lnTo>
                  <a:pt x="283" y="69"/>
                </a:lnTo>
                <a:lnTo>
                  <a:pt x="281" y="68"/>
                </a:lnTo>
                <a:lnTo>
                  <a:pt x="281" y="66"/>
                </a:lnTo>
                <a:lnTo>
                  <a:pt x="281" y="62"/>
                </a:lnTo>
                <a:lnTo>
                  <a:pt x="283" y="59"/>
                </a:lnTo>
                <a:lnTo>
                  <a:pt x="281" y="53"/>
                </a:lnTo>
                <a:lnTo>
                  <a:pt x="281" y="48"/>
                </a:lnTo>
                <a:lnTo>
                  <a:pt x="279" y="43"/>
                </a:lnTo>
                <a:lnTo>
                  <a:pt x="276" y="35"/>
                </a:lnTo>
                <a:lnTo>
                  <a:pt x="276" y="32"/>
                </a:lnTo>
                <a:lnTo>
                  <a:pt x="276" y="28"/>
                </a:lnTo>
                <a:lnTo>
                  <a:pt x="276" y="25"/>
                </a:lnTo>
                <a:lnTo>
                  <a:pt x="278" y="22"/>
                </a:lnTo>
                <a:lnTo>
                  <a:pt x="278" y="15"/>
                </a:lnTo>
                <a:lnTo>
                  <a:pt x="278" y="13"/>
                </a:lnTo>
                <a:lnTo>
                  <a:pt x="276" y="9"/>
                </a:lnTo>
                <a:lnTo>
                  <a:pt x="273" y="4"/>
                </a:lnTo>
                <a:lnTo>
                  <a:pt x="273" y="0"/>
                </a:lnTo>
                <a:lnTo>
                  <a:pt x="346" y="3"/>
                </a:lnTo>
                <a:lnTo>
                  <a:pt x="399" y="4"/>
                </a:lnTo>
                <a:lnTo>
                  <a:pt x="501" y="9"/>
                </a:lnTo>
                <a:lnTo>
                  <a:pt x="520" y="10"/>
                </a:lnTo>
                <a:lnTo>
                  <a:pt x="519" y="14"/>
                </a:lnTo>
                <a:lnTo>
                  <a:pt x="517" y="15"/>
                </a:lnTo>
                <a:lnTo>
                  <a:pt x="514" y="15"/>
                </a:lnTo>
                <a:lnTo>
                  <a:pt x="510" y="18"/>
                </a:lnTo>
                <a:lnTo>
                  <a:pt x="506" y="22"/>
                </a:lnTo>
                <a:lnTo>
                  <a:pt x="504" y="25"/>
                </a:lnTo>
                <a:lnTo>
                  <a:pt x="504" y="29"/>
                </a:lnTo>
                <a:lnTo>
                  <a:pt x="500" y="40"/>
                </a:lnTo>
                <a:lnTo>
                  <a:pt x="495" y="61"/>
                </a:lnTo>
                <a:lnTo>
                  <a:pt x="491" y="72"/>
                </a:lnTo>
                <a:lnTo>
                  <a:pt x="491" y="73"/>
                </a:lnTo>
                <a:lnTo>
                  <a:pt x="487" y="84"/>
                </a:lnTo>
                <a:lnTo>
                  <a:pt x="471" y="158"/>
                </a:lnTo>
                <a:lnTo>
                  <a:pt x="468" y="165"/>
                </a:lnTo>
                <a:lnTo>
                  <a:pt x="467" y="172"/>
                </a:lnTo>
                <a:lnTo>
                  <a:pt x="467" y="174"/>
                </a:lnTo>
                <a:lnTo>
                  <a:pt x="449" y="214"/>
                </a:lnTo>
                <a:lnTo>
                  <a:pt x="453" y="227"/>
                </a:lnTo>
                <a:lnTo>
                  <a:pt x="454" y="242"/>
                </a:lnTo>
                <a:lnTo>
                  <a:pt x="475" y="333"/>
                </a:lnTo>
              </a:path>
            </a:pathLst>
          </a:custGeom>
          <a:noFill/>
          <a:ln w="19050" cap="flat" cmpd="sng">
            <a:solidFill>
              <a:schemeClr val="folHlink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38" name="Freeform 177"/>
          <p:cNvSpPr>
            <a:spLocks/>
          </p:cNvSpPr>
          <p:nvPr>
            <p:custDataLst>
              <p:tags r:id="rId95"/>
            </p:custDataLst>
          </p:nvPr>
        </p:nvSpPr>
        <p:spPr bwMode="gray">
          <a:xfrm>
            <a:off x="4295360" y="2296727"/>
            <a:ext cx="1122036" cy="1220565"/>
          </a:xfrm>
          <a:custGeom>
            <a:avLst/>
            <a:gdLst>
              <a:gd name="T0" fmla="*/ 865 w 1179"/>
              <a:gd name="T1" fmla="*/ 341 h 1365"/>
              <a:gd name="T2" fmla="*/ 1077 w 1179"/>
              <a:gd name="T3" fmla="*/ 585 h 1365"/>
              <a:gd name="T4" fmla="*/ 1113 w 1179"/>
              <a:gd name="T5" fmla="*/ 613 h 1365"/>
              <a:gd name="T6" fmla="*/ 1124 w 1179"/>
              <a:gd name="T7" fmla="*/ 646 h 1365"/>
              <a:gd name="T8" fmla="*/ 1121 w 1179"/>
              <a:gd name="T9" fmla="*/ 680 h 1365"/>
              <a:gd name="T10" fmla="*/ 1119 w 1179"/>
              <a:gd name="T11" fmla="*/ 713 h 1365"/>
              <a:gd name="T12" fmla="*/ 1109 w 1179"/>
              <a:gd name="T13" fmla="*/ 743 h 1365"/>
              <a:gd name="T14" fmla="*/ 1095 w 1179"/>
              <a:gd name="T15" fmla="*/ 764 h 1365"/>
              <a:gd name="T16" fmla="*/ 1086 w 1179"/>
              <a:gd name="T17" fmla="*/ 805 h 1365"/>
              <a:gd name="T18" fmla="*/ 1170 w 1179"/>
              <a:gd name="T19" fmla="*/ 900 h 1365"/>
              <a:gd name="T20" fmla="*/ 1158 w 1179"/>
              <a:gd name="T21" fmla="*/ 1137 h 1365"/>
              <a:gd name="T22" fmla="*/ 1151 w 1179"/>
              <a:gd name="T23" fmla="*/ 1147 h 1365"/>
              <a:gd name="T24" fmla="*/ 1143 w 1179"/>
              <a:gd name="T25" fmla="*/ 1164 h 1365"/>
              <a:gd name="T26" fmla="*/ 1138 w 1179"/>
              <a:gd name="T27" fmla="*/ 1182 h 1365"/>
              <a:gd name="T28" fmla="*/ 1128 w 1179"/>
              <a:gd name="T29" fmla="*/ 1192 h 1365"/>
              <a:gd name="T30" fmla="*/ 1114 w 1179"/>
              <a:gd name="T31" fmla="*/ 1188 h 1365"/>
              <a:gd name="T32" fmla="*/ 1097 w 1179"/>
              <a:gd name="T33" fmla="*/ 1191 h 1365"/>
              <a:gd name="T34" fmla="*/ 1086 w 1179"/>
              <a:gd name="T35" fmla="*/ 1201 h 1365"/>
              <a:gd name="T36" fmla="*/ 1077 w 1179"/>
              <a:gd name="T37" fmla="*/ 1210 h 1365"/>
              <a:gd name="T38" fmla="*/ 1066 w 1179"/>
              <a:gd name="T39" fmla="*/ 1212 h 1365"/>
              <a:gd name="T40" fmla="*/ 1060 w 1179"/>
              <a:gd name="T41" fmla="*/ 1222 h 1365"/>
              <a:gd name="T42" fmla="*/ 1050 w 1179"/>
              <a:gd name="T43" fmla="*/ 1231 h 1365"/>
              <a:gd name="T44" fmla="*/ 1035 w 1179"/>
              <a:gd name="T45" fmla="*/ 1233 h 1365"/>
              <a:gd name="T46" fmla="*/ 1015 w 1179"/>
              <a:gd name="T47" fmla="*/ 1217 h 1365"/>
              <a:gd name="T48" fmla="*/ 999 w 1179"/>
              <a:gd name="T49" fmla="*/ 1198 h 1365"/>
              <a:gd name="T50" fmla="*/ 988 w 1179"/>
              <a:gd name="T51" fmla="*/ 1205 h 1365"/>
              <a:gd name="T52" fmla="*/ 977 w 1179"/>
              <a:gd name="T53" fmla="*/ 1201 h 1365"/>
              <a:gd name="T54" fmla="*/ 966 w 1179"/>
              <a:gd name="T55" fmla="*/ 1197 h 1365"/>
              <a:gd name="T56" fmla="*/ 953 w 1179"/>
              <a:gd name="T57" fmla="*/ 1196 h 1365"/>
              <a:gd name="T58" fmla="*/ 946 w 1179"/>
              <a:gd name="T59" fmla="*/ 1201 h 1365"/>
              <a:gd name="T60" fmla="*/ 934 w 1179"/>
              <a:gd name="T61" fmla="*/ 1206 h 1365"/>
              <a:gd name="T62" fmla="*/ 918 w 1179"/>
              <a:gd name="T63" fmla="*/ 1208 h 1365"/>
              <a:gd name="T64" fmla="*/ 907 w 1179"/>
              <a:gd name="T65" fmla="*/ 1208 h 1365"/>
              <a:gd name="T66" fmla="*/ 892 w 1179"/>
              <a:gd name="T67" fmla="*/ 1203 h 1365"/>
              <a:gd name="T68" fmla="*/ 883 w 1179"/>
              <a:gd name="T69" fmla="*/ 1206 h 1365"/>
              <a:gd name="T70" fmla="*/ 874 w 1179"/>
              <a:gd name="T71" fmla="*/ 1203 h 1365"/>
              <a:gd name="T72" fmla="*/ 865 w 1179"/>
              <a:gd name="T73" fmla="*/ 1208 h 1365"/>
              <a:gd name="T74" fmla="*/ 853 w 1179"/>
              <a:gd name="T75" fmla="*/ 1211 h 1365"/>
              <a:gd name="T76" fmla="*/ 849 w 1179"/>
              <a:gd name="T77" fmla="*/ 1217 h 1365"/>
              <a:gd name="T78" fmla="*/ 846 w 1179"/>
              <a:gd name="T79" fmla="*/ 1233 h 1365"/>
              <a:gd name="T80" fmla="*/ 853 w 1179"/>
              <a:gd name="T81" fmla="*/ 1240 h 1365"/>
              <a:gd name="T82" fmla="*/ 850 w 1179"/>
              <a:gd name="T83" fmla="*/ 1251 h 1365"/>
              <a:gd name="T84" fmla="*/ 839 w 1179"/>
              <a:gd name="T85" fmla="*/ 1258 h 1365"/>
              <a:gd name="T86" fmla="*/ 843 w 1179"/>
              <a:gd name="T87" fmla="*/ 1274 h 1365"/>
              <a:gd name="T88" fmla="*/ 846 w 1179"/>
              <a:gd name="T89" fmla="*/ 1287 h 1365"/>
              <a:gd name="T90" fmla="*/ 841 w 1179"/>
              <a:gd name="T91" fmla="*/ 1296 h 1365"/>
              <a:gd name="T92" fmla="*/ 845 w 1179"/>
              <a:gd name="T93" fmla="*/ 1310 h 1365"/>
              <a:gd name="T94" fmla="*/ 839 w 1179"/>
              <a:gd name="T95" fmla="*/ 1316 h 1365"/>
              <a:gd name="T96" fmla="*/ 826 w 1179"/>
              <a:gd name="T97" fmla="*/ 1320 h 1365"/>
              <a:gd name="T98" fmla="*/ 820 w 1179"/>
              <a:gd name="T99" fmla="*/ 1340 h 1365"/>
              <a:gd name="T100" fmla="*/ 810 w 1179"/>
              <a:gd name="T101" fmla="*/ 1340 h 1365"/>
              <a:gd name="T102" fmla="*/ 804 w 1179"/>
              <a:gd name="T103" fmla="*/ 1353 h 1365"/>
              <a:gd name="T104" fmla="*/ 792 w 1179"/>
              <a:gd name="T105" fmla="*/ 1362 h 1365"/>
              <a:gd name="T106" fmla="*/ 380 w 1179"/>
              <a:gd name="T107" fmla="*/ 1074 h 1365"/>
              <a:gd name="T108" fmla="*/ 32 w 1179"/>
              <a:gd name="T109" fmla="*/ 761 h 1365"/>
              <a:gd name="T110" fmla="*/ 192 w 1179"/>
              <a:gd name="T111" fmla="*/ 748 h 1365"/>
              <a:gd name="T112" fmla="*/ 339 w 1179"/>
              <a:gd name="T113" fmla="*/ 581 h 1365"/>
              <a:gd name="T114" fmla="*/ 423 w 1179"/>
              <a:gd name="T115" fmla="*/ 449 h 1365"/>
              <a:gd name="T116" fmla="*/ 592 w 1179"/>
              <a:gd name="T117" fmla="*/ 307 h 1365"/>
              <a:gd name="T118" fmla="*/ 569 w 1179"/>
              <a:gd name="T119" fmla="*/ 108 h 136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179" h="1365">
                <a:moveTo>
                  <a:pt x="853" y="6"/>
                </a:moveTo>
                <a:lnTo>
                  <a:pt x="843" y="50"/>
                </a:lnTo>
                <a:lnTo>
                  <a:pt x="841" y="56"/>
                </a:lnTo>
                <a:lnTo>
                  <a:pt x="840" y="63"/>
                </a:lnTo>
                <a:lnTo>
                  <a:pt x="840" y="64"/>
                </a:lnTo>
                <a:lnTo>
                  <a:pt x="827" y="104"/>
                </a:lnTo>
                <a:lnTo>
                  <a:pt x="829" y="117"/>
                </a:lnTo>
                <a:lnTo>
                  <a:pt x="831" y="133"/>
                </a:lnTo>
                <a:lnTo>
                  <a:pt x="833" y="151"/>
                </a:lnTo>
                <a:lnTo>
                  <a:pt x="849" y="235"/>
                </a:lnTo>
                <a:lnTo>
                  <a:pt x="850" y="247"/>
                </a:lnTo>
                <a:lnTo>
                  <a:pt x="861" y="321"/>
                </a:lnTo>
                <a:lnTo>
                  <a:pt x="865" y="341"/>
                </a:lnTo>
                <a:lnTo>
                  <a:pt x="871" y="380"/>
                </a:lnTo>
                <a:lnTo>
                  <a:pt x="862" y="396"/>
                </a:lnTo>
                <a:lnTo>
                  <a:pt x="856" y="414"/>
                </a:lnTo>
                <a:lnTo>
                  <a:pt x="903" y="426"/>
                </a:lnTo>
                <a:lnTo>
                  <a:pt x="936" y="437"/>
                </a:lnTo>
                <a:lnTo>
                  <a:pt x="947" y="439"/>
                </a:lnTo>
                <a:lnTo>
                  <a:pt x="965" y="461"/>
                </a:lnTo>
                <a:lnTo>
                  <a:pt x="1012" y="515"/>
                </a:lnTo>
                <a:lnTo>
                  <a:pt x="1031" y="532"/>
                </a:lnTo>
                <a:lnTo>
                  <a:pt x="1047" y="542"/>
                </a:lnTo>
                <a:lnTo>
                  <a:pt x="1054" y="548"/>
                </a:lnTo>
                <a:lnTo>
                  <a:pt x="1057" y="557"/>
                </a:lnTo>
                <a:lnTo>
                  <a:pt x="1077" y="585"/>
                </a:lnTo>
                <a:lnTo>
                  <a:pt x="1079" y="589"/>
                </a:lnTo>
                <a:lnTo>
                  <a:pt x="1085" y="601"/>
                </a:lnTo>
                <a:lnTo>
                  <a:pt x="1088" y="607"/>
                </a:lnTo>
                <a:lnTo>
                  <a:pt x="1090" y="608"/>
                </a:lnTo>
                <a:lnTo>
                  <a:pt x="1091" y="610"/>
                </a:lnTo>
                <a:lnTo>
                  <a:pt x="1092" y="612"/>
                </a:lnTo>
                <a:lnTo>
                  <a:pt x="1093" y="612"/>
                </a:lnTo>
                <a:lnTo>
                  <a:pt x="1096" y="612"/>
                </a:lnTo>
                <a:lnTo>
                  <a:pt x="1101" y="612"/>
                </a:lnTo>
                <a:lnTo>
                  <a:pt x="1103" y="612"/>
                </a:lnTo>
                <a:lnTo>
                  <a:pt x="1106" y="612"/>
                </a:lnTo>
                <a:lnTo>
                  <a:pt x="1110" y="612"/>
                </a:lnTo>
                <a:lnTo>
                  <a:pt x="1113" y="613"/>
                </a:lnTo>
                <a:lnTo>
                  <a:pt x="1115" y="614"/>
                </a:lnTo>
                <a:lnTo>
                  <a:pt x="1116" y="616"/>
                </a:lnTo>
                <a:lnTo>
                  <a:pt x="1116" y="618"/>
                </a:lnTo>
                <a:lnTo>
                  <a:pt x="1116" y="619"/>
                </a:lnTo>
                <a:lnTo>
                  <a:pt x="1115" y="623"/>
                </a:lnTo>
                <a:lnTo>
                  <a:pt x="1115" y="625"/>
                </a:lnTo>
                <a:lnTo>
                  <a:pt x="1116" y="628"/>
                </a:lnTo>
                <a:lnTo>
                  <a:pt x="1116" y="634"/>
                </a:lnTo>
                <a:lnTo>
                  <a:pt x="1116" y="635"/>
                </a:lnTo>
                <a:lnTo>
                  <a:pt x="1116" y="637"/>
                </a:lnTo>
                <a:lnTo>
                  <a:pt x="1120" y="641"/>
                </a:lnTo>
                <a:lnTo>
                  <a:pt x="1122" y="642"/>
                </a:lnTo>
                <a:lnTo>
                  <a:pt x="1124" y="646"/>
                </a:lnTo>
                <a:lnTo>
                  <a:pt x="1124" y="647"/>
                </a:lnTo>
                <a:lnTo>
                  <a:pt x="1124" y="650"/>
                </a:lnTo>
                <a:lnTo>
                  <a:pt x="1124" y="652"/>
                </a:lnTo>
                <a:lnTo>
                  <a:pt x="1124" y="655"/>
                </a:lnTo>
                <a:lnTo>
                  <a:pt x="1124" y="660"/>
                </a:lnTo>
                <a:lnTo>
                  <a:pt x="1125" y="665"/>
                </a:lnTo>
                <a:lnTo>
                  <a:pt x="1125" y="667"/>
                </a:lnTo>
                <a:lnTo>
                  <a:pt x="1125" y="669"/>
                </a:lnTo>
                <a:lnTo>
                  <a:pt x="1124" y="672"/>
                </a:lnTo>
                <a:lnTo>
                  <a:pt x="1122" y="676"/>
                </a:lnTo>
                <a:lnTo>
                  <a:pt x="1122" y="677"/>
                </a:lnTo>
                <a:lnTo>
                  <a:pt x="1122" y="680"/>
                </a:lnTo>
                <a:lnTo>
                  <a:pt x="1121" y="680"/>
                </a:lnTo>
                <a:lnTo>
                  <a:pt x="1122" y="682"/>
                </a:lnTo>
                <a:lnTo>
                  <a:pt x="1122" y="684"/>
                </a:lnTo>
                <a:lnTo>
                  <a:pt x="1122" y="686"/>
                </a:lnTo>
                <a:lnTo>
                  <a:pt x="1122" y="690"/>
                </a:lnTo>
                <a:lnTo>
                  <a:pt x="1124" y="691"/>
                </a:lnTo>
                <a:lnTo>
                  <a:pt x="1124" y="694"/>
                </a:lnTo>
                <a:lnTo>
                  <a:pt x="1124" y="698"/>
                </a:lnTo>
                <a:lnTo>
                  <a:pt x="1122" y="702"/>
                </a:lnTo>
                <a:lnTo>
                  <a:pt x="1120" y="707"/>
                </a:lnTo>
                <a:lnTo>
                  <a:pt x="1119" y="708"/>
                </a:lnTo>
                <a:lnTo>
                  <a:pt x="1119" y="709"/>
                </a:lnTo>
                <a:lnTo>
                  <a:pt x="1116" y="710"/>
                </a:lnTo>
                <a:lnTo>
                  <a:pt x="1119" y="713"/>
                </a:lnTo>
                <a:lnTo>
                  <a:pt x="1116" y="714"/>
                </a:lnTo>
                <a:lnTo>
                  <a:pt x="1116" y="718"/>
                </a:lnTo>
                <a:lnTo>
                  <a:pt x="1116" y="720"/>
                </a:lnTo>
                <a:lnTo>
                  <a:pt x="1115" y="722"/>
                </a:lnTo>
                <a:lnTo>
                  <a:pt x="1115" y="726"/>
                </a:lnTo>
                <a:lnTo>
                  <a:pt x="1115" y="728"/>
                </a:lnTo>
                <a:lnTo>
                  <a:pt x="1115" y="732"/>
                </a:lnTo>
                <a:lnTo>
                  <a:pt x="1115" y="733"/>
                </a:lnTo>
                <a:lnTo>
                  <a:pt x="1113" y="737"/>
                </a:lnTo>
                <a:lnTo>
                  <a:pt x="1111" y="739"/>
                </a:lnTo>
                <a:lnTo>
                  <a:pt x="1111" y="740"/>
                </a:lnTo>
                <a:lnTo>
                  <a:pt x="1110" y="742"/>
                </a:lnTo>
                <a:lnTo>
                  <a:pt x="1109" y="743"/>
                </a:lnTo>
                <a:lnTo>
                  <a:pt x="1107" y="746"/>
                </a:lnTo>
                <a:lnTo>
                  <a:pt x="1106" y="746"/>
                </a:lnTo>
                <a:lnTo>
                  <a:pt x="1103" y="748"/>
                </a:lnTo>
                <a:lnTo>
                  <a:pt x="1102" y="748"/>
                </a:lnTo>
                <a:lnTo>
                  <a:pt x="1101" y="748"/>
                </a:lnTo>
                <a:lnTo>
                  <a:pt x="1098" y="748"/>
                </a:lnTo>
                <a:lnTo>
                  <a:pt x="1098" y="749"/>
                </a:lnTo>
                <a:lnTo>
                  <a:pt x="1097" y="750"/>
                </a:lnTo>
                <a:lnTo>
                  <a:pt x="1097" y="754"/>
                </a:lnTo>
                <a:lnTo>
                  <a:pt x="1097" y="755"/>
                </a:lnTo>
                <a:lnTo>
                  <a:pt x="1096" y="757"/>
                </a:lnTo>
                <a:lnTo>
                  <a:pt x="1096" y="761"/>
                </a:lnTo>
                <a:lnTo>
                  <a:pt x="1095" y="764"/>
                </a:lnTo>
                <a:lnTo>
                  <a:pt x="1095" y="767"/>
                </a:lnTo>
                <a:lnTo>
                  <a:pt x="1093" y="769"/>
                </a:lnTo>
                <a:lnTo>
                  <a:pt x="1093" y="773"/>
                </a:lnTo>
                <a:lnTo>
                  <a:pt x="1091" y="776"/>
                </a:lnTo>
                <a:lnTo>
                  <a:pt x="1091" y="779"/>
                </a:lnTo>
                <a:lnTo>
                  <a:pt x="1091" y="780"/>
                </a:lnTo>
                <a:lnTo>
                  <a:pt x="1090" y="785"/>
                </a:lnTo>
                <a:lnTo>
                  <a:pt x="1090" y="790"/>
                </a:lnTo>
                <a:lnTo>
                  <a:pt x="1088" y="793"/>
                </a:lnTo>
                <a:lnTo>
                  <a:pt x="1088" y="796"/>
                </a:lnTo>
                <a:lnTo>
                  <a:pt x="1086" y="797"/>
                </a:lnTo>
                <a:lnTo>
                  <a:pt x="1086" y="802"/>
                </a:lnTo>
                <a:lnTo>
                  <a:pt x="1086" y="805"/>
                </a:lnTo>
                <a:lnTo>
                  <a:pt x="1086" y="806"/>
                </a:lnTo>
                <a:lnTo>
                  <a:pt x="1086" y="812"/>
                </a:lnTo>
                <a:lnTo>
                  <a:pt x="1086" y="815"/>
                </a:lnTo>
                <a:lnTo>
                  <a:pt x="1086" y="822"/>
                </a:lnTo>
                <a:lnTo>
                  <a:pt x="1086" y="824"/>
                </a:lnTo>
                <a:lnTo>
                  <a:pt x="1090" y="835"/>
                </a:lnTo>
                <a:lnTo>
                  <a:pt x="1091" y="840"/>
                </a:lnTo>
                <a:lnTo>
                  <a:pt x="1091" y="841"/>
                </a:lnTo>
                <a:lnTo>
                  <a:pt x="1097" y="841"/>
                </a:lnTo>
                <a:lnTo>
                  <a:pt x="1113" y="841"/>
                </a:lnTo>
                <a:lnTo>
                  <a:pt x="1132" y="841"/>
                </a:lnTo>
                <a:lnTo>
                  <a:pt x="1163" y="841"/>
                </a:lnTo>
                <a:lnTo>
                  <a:pt x="1170" y="900"/>
                </a:lnTo>
                <a:lnTo>
                  <a:pt x="1173" y="946"/>
                </a:lnTo>
                <a:lnTo>
                  <a:pt x="1177" y="1002"/>
                </a:lnTo>
                <a:lnTo>
                  <a:pt x="1177" y="1012"/>
                </a:lnTo>
                <a:lnTo>
                  <a:pt x="1179" y="1032"/>
                </a:lnTo>
                <a:lnTo>
                  <a:pt x="1179" y="1065"/>
                </a:lnTo>
                <a:lnTo>
                  <a:pt x="1177" y="1137"/>
                </a:lnTo>
                <a:lnTo>
                  <a:pt x="1167" y="1138"/>
                </a:lnTo>
                <a:lnTo>
                  <a:pt x="1164" y="1138"/>
                </a:lnTo>
                <a:lnTo>
                  <a:pt x="1163" y="1138"/>
                </a:lnTo>
                <a:lnTo>
                  <a:pt x="1162" y="1137"/>
                </a:lnTo>
                <a:lnTo>
                  <a:pt x="1161" y="1137"/>
                </a:lnTo>
                <a:lnTo>
                  <a:pt x="1159" y="1137"/>
                </a:lnTo>
                <a:lnTo>
                  <a:pt x="1158" y="1137"/>
                </a:lnTo>
                <a:lnTo>
                  <a:pt x="1157" y="1137"/>
                </a:lnTo>
                <a:lnTo>
                  <a:pt x="1157" y="1138"/>
                </a:lnTo>
                <a:lnTo>
                  <a:pt x="1157" y="1139"/>
                </a:lnTo>
                <a:lnTo>
                  <a:pt x="1156" y="1139"/>
                </a:lnTo>
                <a:lnTo>
                  <a:pt x="1156" y="1140"/>
                </a:lnTo>
                <a:lnTo>
                  <a:pt x="1154" y="1140"/>
                </a:lnTo>
                <a:lnTo>
                  <a:pt x="1152" y="1143"/>
                </a:lnTo>
                <a:lnTo>
                  <a:pt x="1152" y="1144"/>
                </a:lnTo>
                <a:lnTo>
                  <a:pt x="1151" y="1144"/>
                </a:lnTo>
                <a:lnTo>
                  <a:pt x="1151" y="1144"/>
                </a:lnTo>
                <a:lnTo>
                  <a:pt x="1151" y="1145"/>
                </a:lnTo>
                <a:lnTo>
                  <a:pt x="1151" y="1146"/>
                </a:lnTo>
                <a:lnTo>
                  <a:pt x="1151" y="1147"/>
                </a:lnTo>
                <a:lnTo>
                  <a:pt x="1150" y="1149"/>
                </a:lnTo>
                <a:lnTo>
                  <a:pt x="1150" y="1150"/>
                </a:lnTo>
                <a:lnTo>
                  <a:pt x="1150" y="1150"/>
                </a:lnTo>
                <a:lnTo>
                  <a:pt x="1150" y="1151"/>
                </a:lnTo>
                <a:lnTo>
                  <a:pt x="1149" y="1153"/>
                </a:lnTo>
                <a:lnTo>
                  <a:pt x="1147" y="1155"/>
                </a:lnTo>
                <a:lnTo>
                  <a:pt x="1147" y="1156"/>
                </a:lnTo>
                <a:lnTo>
                  <a:pt x="1145" y="1157"/>
                </a:lnTo>
                <a:lnTo>
                  <a:pt x="1145" y="1158"/>
                </a:lnTo>
                <a:lnTo>
                  <a:pt x="1144" y="1160"/>
                </a:lnTo>
                <a:lnTo>
                  <a:pt x="1144" y="1162"/>
                </a:lnTo>
                <a:lnTo>
                  <a:pt x="1144" y="1163"/>
                </a:lnTo>
                <a:lnTo>
                  <a:pt x="1143" y="1164"/>
                </a:lnTo>
                <a:lnTo>
                  <a:pt x="1143" y="1165"/>
                </a:lnTo>
                <a:lnTo>
                  <a:pt x="1142" y="1165"/>
                </a:lnTo>
                <a:lnTo>
                  <a:pt x="1142" y="1167"/>
                </a:lnTo>
                <a:lnTo>
                  <a:pt x="1143" y="1168"/>
                </a:lnTo>
                <a:lnTo>
                  <a:pt x="1143" y="1170"/>
                </a:lnTo>
                <a:lnTo>
                  <a:pt x="1143" y="1174"/>
                </a:lnTo>
                <a:lnTo>
                  <a:pt x="1142" y="1175"/>
                </a:lnTo>
                <a:lnTo>
                  <a:pt x="1142" y="1176"/>
                </a:lnTo>
                <a:lnTo>
                  <a:pt x="1140" y="1176"/>
                </a:lnTo>
                <a:lnTo>
                  <a:pt x="1140" y="1179"/>
                </a:lnTo>
                <a:lnTo>
                  <a:pt x="1139" y="1179"/>
                </a:lnTo>
                <a:lnTo>
                  <a:pt x="1139" y="1181"/>
                </a:lnTo>
                <a:lnTo>
                  <a:pt x="1138" y="1182"/>
                </a:lnTo>
                <a:lnTo>
                  <a:pt x="1138" y="1183"/>
                </a:lnTo>
                <a:lnTo>
                  <a:pt x="1138" y="1185"/>
                </a:lnTo>
                <a:lnTo>
                  <a:pt x="1138" y="1186"/>
                </a:lnTo>
                <a:lnTo>
                  <a:pt x="1138" y="1187"/>
                </a:lnTo>
                <a:lnTo>
                  <a:pt x="1136" y="1188"/>
                </a:lnTo>
                <a:lnTo>
                  <a:pt x="1134" y="1191"/>
                </a:lnTo>
                <a:lnTo>
                  <a:pt x="1132" y="1191"/>
                </a:lnTo>
                <a:lnTo>
                  <a:pt x="1131" y="1191"/>
                </a:lnTo>
                <a:lnTo>
                  <a:pt x="1131" y="1188"/>
                </a:lnTo>
                <a:lnTo>
                  <a:pt x="1129" y="1188"/>
                </a:lnTo>
                <a:lnTo>
                  <a:pt x="1128" y="1188"/>
                </a:lnTo>
                <a:lnTo>
                  <a:pt x="1128" y="1191"/>
                </a:lnTo>
                <a:lnTo>
                  <a:pt x="1128" y="1192"/>
                </a:lnTo>
                <a:lnTo>
                  <a:pt x="1126" y="1193"/>
                </a:lnTo>
                <a:lnTo>
                  <a:pt x="1125" y="1193"/>
                </a:lnTo>
                <a:lnTo>
                  <a:pt x="1124" y="1193"/>
                </a:lnTo>
                <a:lnTo>
                  <a:pt x="1122" y="1193"/>
                </a:lnTo>
                <a:lnTo>
                  <a:pt x="1122" y="1192"/>
                </a:lnTo>
                <a:lnTo>
                  <a:pt x="1121" y="1192"/>
                </a:lnTo>
                <a:lnTo>
                  <a:pt x="1120" y="1192"/>
                </a:lnTo>
                <a:lnTo>
                  <a:pt x="1119" y="1192"/>
                </a:lnTo>
                <a:lnTo>
                  <a:pt x="1119" y="1191"/>
                </a:lnTo>
                <a:lnTo>
                  <a:pt x="1116" y="1191"/>
                </a:lnTo>
                <a:lnTo>
                  <a:pt x="1116" y="1188"/>
                </a:lnTo>
                <a:lnTo>
                  <a:pt x="1115" y="1188"/>
                </a:lnTo>
                <a:lnTo>
                  <a:pt x="1114" y="1188"/>
                </a:lnTo>
                <a:lnTo>
                  <a:pt x="1113" y="1191"/>
                </a:lnTo>
                <a:lnTo>
                  <a:pt x="1113" y="1188"/>
                </a:lnTo>
                <a:lnTo>
                  <a:pt x="1111" y="1188"/>
                </a:lnTo>
                <a:lnTo>
                  <a:pt x="1110" y="1191"/>
                </a:lnTo>
                <a:lnTo>
                  <a:pt x="1109" y="1191"/>
                </a:lnTo>
                <a:lnTo>
                  <a:pt x="1107" y="1191"/>
                </a:lnTo>
                <a:lnTo>
                  <a:pt x="1106" y="1191"/>
                </a:lnTo>
                <a:lnTo>
                  <a:pt x="1104" y="1191"/>
                </a:lnTo>
                <a:lnTo>
                  <a:pt x="1103" y="1188"/>
                </a:lnTo>
                <a:lnTo>
                  <a:pt x="1102" y="1188"/>
                </a:lnTo>
                <a:lnTo>
                  <a:pt x="1101" y="1191"/>
                </a:lnTo>
                <a:lnTo>
                  <a:pt x="1098" y="1191"/>
                </a:lnTo>
                <a:lnTo>
                  <a:pt x="1097" y="1191"/>
                </a:lnTo>
                <a:lnTo>
                  <a:pt x="1096" y="1191"/>
                </a:lnTo>
                <a:lnTo>
                  <a:pt x="1095" y="1191"/>
                </a:lnTo>
                <a:lnTo>
                  <a:pt x="1093" y="1192"/>
                </a:lnTo>
                <a:lnTo>
                  <a:pt x="1091" y="1192"/>
                </a:lnTo>
                <a:lnTo>
                  <a:pt x="1090" y="1193"/>
                </a:lnTo>
                <a:lnTo>
                  <a:pt x="1090" y="1194"/>
                </a:lnTo>
                <a:lnTo>
                  <a:pt x="1090" y="1196"/>
                </a:lnTo>
                <a:lnTo>
                  <a:pt x="1088" y="1196"/>
                </a:lnTo>
                <a:lnTo>
                  <a:pt x="1088" y="1197"/>
                </a:lnTo>
                <a:lnTo>
                  <a:pt x="1088" y="1198"/>
                </a:lnTo>
                <a:lnTo>
                  <a:pt x="1086" y="1198"/>
                </a:lnTo>
                <a:lnTo>
                  <a:pt x="1086" y="1200"/>
                </a:lnTo>
                <a:lnTo>
                  <a:pt x="1086" y="1201"/>
                </a:lnTo>
                <a:lnTo>
                  <a:pt x="1085" y="1201"/>
                </a:lnTo>
                <a:lnTo>
                  <a:pt x="1084" y="1203"/>
                </a:lnTo>
                <a:lnTo>
                  <a:pt x="1084" y="1204"/>
                </a:lnTo>
                <a:lnTo>
                  <a:pt x="1084" y="1204"/>
                </a:lnTo>
                <a:lnTo>
                  <a:pt x="1084" y="1205"/>
                </a:lnTo>
                <a:lnTo>
                  <a:pt x="1084" y="1206"/>
                </a:lnTo>
                <a:lnTo>
                  <a:pt x="1084" y="1208"/>
                </a:lnTo>
                <a:lnTo>
                  <a:pt x="1084" y="1210"/>
                </a:lnTo>
                <a:lnTo>
                  <a:pt x="1083" y="1210"/>
                </a:lnTo>
                <a:lnTo>
                  <a:pt x="1081" y="1210"/>
                </a:lnTo>
                <a:lnTo>
                  <a:pt x="1079" y="1210"/>
                </a:lnTo>
                <a:lnTo>
                  <a:pt x="1078" y="1210"/>
                </a:lnTo>
                <a:lnTo>
                  <a:pt x="1077" y="1210"/>
                </a:lnTo>
                <a:lnTo>
                  <a:pt x="1075" y="1210"/>
                </a:lnTo>
                <a:lnTo>
                  <a:pt x="1074" y="1210"/>
                </a:lnTo>
                <a:lnTo>
                  <a:pt x="1074" y="1211"/>
                </a:lnTo>
                <a:lnTo>
                  <a:pt x="1073" y="1211"/>
                </a:lnTo>
                <a:lnTo>
                  <a:pt x="1073" y="1210"/>
                </a:lnTo>
                <a:lnTo>
                  <a:pt x="1072" y="1210"/>
                </a:lnTo>
                <a:lnTo>
                  <a:pt x="1072" y="1211"/>
                </a:lnTo>
                <a:lnTo>
                  <a:pt x="1070" y="1211"/>
                </a:lnTo>
                <a:lnTo>
                  <a:pt x="1070" y="1211"/>
                </a:lnTo>
                <a:lnTo>
                  <a:pt x="1068" y="1211"/>
                </a:lnTo>
                <a:lnTo>
                  <a:pt x="1068" y="1211"/>
                </a:lnTo>
                <a:lnTo>
                  <a:pt x="1067" y="1211"/>
                </a:lnTo>
                <a:lnTo>
                  <a:pt x="1066" y="1212"/>
                </a:lnTo>
                <a:lnTo>
                  <a:pt x="1067" y="1212"/>
                </a:lnTo>
                <a:lnTo>
                  <a:pt x="1067" y="1214"/>
                </a:lnTo>
                <a:lnTo>
                  <a:pt x="1068" y="1214"/>
                </a:lnTo>
                <a:lnTo>
                  <a:pt x="1068" y="1215"/>
                </a:lnTo>
                <a:lnTo>
                  <a:pt x="1067" y="1215"/>
                </a:lnTo>
                <a:lnTo>
                  <a:pt x="1067" y="1216"/>
                </a:lnTo>
                <a:lnTo>
                  <a:pt x="1066" y="1216"/>
                </a:lnTo>
                <a:lnTo>
                  <a:pt x="1065" y="1216"/>
                </a:lnTo>
                <a:lnTo>
                  <a:pt x="1063" y="1217"/>
                </a:lnTo>
                <a:lnTo>
                  <a:pt x="1063" y="1219"/>
                </a:lnTo>
                <a:lnTo>
                  <a:pt x="1062" y="1221"/>
                </a:lnTo>
                <a:lnTo>
                  <a:pt x="1060" y="1221"/>
                </a:lnTo>
                <a:lnTo>
                  <a:pt x="1060" y="1222"/>
                </a:lnTo>
                <a:lnTo>
                  <a:pt x="1059" y="1222"/>
                </a:lnTo>
                <a:lnTo>
                  <a:pt x="1057" y="1222"/>
                </a:lnTo>
                <a:lnTo>
                  <a:pt x="1056" y="1222"/>
                </a:lnTo>
                <a:lnTo>
                  <a:pt x="1056" y="1223"/>
                </a:lnTo>
                <a:lnTo>
                  <a:pt x="1055" y="1223"/>
                </a:lnTo>
                <a:lnTo>
                  <a:pt x="1054" y="1224"/>
                </a:lnTo>
                <a:lnTo>
                  <a:pt x="1054" y="1226"/>
                </a:lnTo>
                <a:lnTo>
                  <a:pt x="1053" y="1226"/>
                </a:lnTo>
                <a:lnTo>
                  <a:pt x="1054" y="1227"/>
                </a:lnTo>
                <a:lnTo>
                  <a:pt x="1053" y="1227"/>
                </a:lnTo>
                <a:lnTo>
                  <a:pt x="1053" y="1229"/>
                </a:lnTo>
                <a:lnTo>
                  <a:pt x="1053" y="1231"/>
                </a:lnTo>
                <a:lnTo>
                  <a:pt x="1050" y="1231"/>
                </a:lnTo>
                <a:lnTo>
                  <a:pt x="1050" y="1231"/>
                </a:lnTo>
                <a:lnTo>
                  <a:pt x="1050" y="1233"/>
                </a:lnTo>
                <a:lnTo>
                  <a:pt x="1049" y="1233"/>
                </a:lnTo>
                <a:lnTo>
                  <a:pt x="1049" y="1234"/>
                </a:lnTo>
                <a:lnTo>
                  <a:pt x="1048" y="1233"/>
                </a:lnTo>
                <a:lnTo>
                  <a:pt x="1047" y="1234"/>
                </a:lnTo>
                <a:lnTo>
                  <a:pt x="1044" y="1231"/>
                </a:lnTo>
                <a:lnTo>
                  <a:pt x="1041" y="1230"/>
                </a:lnTo>
                <a:lnTo>
                  <a:pt x="1039" y="1229"/>
                </a:lnTo>
                <a:lnTo>
                  <a:pt x="1038" y="1229"/>
                </a:lnTo>
                <a:lnTo>
                  <a:pt x="1037" y="1230"/>
                </a:lnTo>
                <a:lnTo>
                  <a:pt x="1036" y="1231"/>
                </a:lnTo>
                <a:lnTo>
                  <a:pt x="1035" y="1233"/>
                </a:lnTo>
                <a:lnTo>
                  <a:pt x="1032" y="1233"/>
                </a:lnTo>
                <a:lnTo>
                  <a:pt x="1029" y="1231"/>
                </a:lnTo>
                <a:lnTo>
                  <a:pt x="1027" y="1231"/>
                </a:lnTo>
                <a:lnTo>
                  <a:pt x="1026" y="1230"/>
                </a:lnTo>
                <a:lnTo>
                  <a:pt x="1025" y="1229"/>
                </a:lnTo>
                <a:lnTo>
                  <a:pt x="1022" y="1230"/>
                </a:lnTo>
                <a:lnTo>
                  <a:pt x="1022" y="1229"/>
                </a:lnTo>
                <a:lnTo>
                  <a:pt x="1020" y="1227"/>
                </a:lnTo>
                <a:lnTo>
                  <a:pt x="1018" y="1227"/>
                </a:lnTo>
                <a:lnTo>
                  <a:pt x="1018" y="1224"/>
                </a:lnTo>
                <a:lnTo>
                  <a:pt x="1018" y="1223"/>
                </a:lnTo>
                <a:lnTo>
                  <a:pt x="1018" y="1219"/>
                </a:lnTo>
                <a:lnTo>
                  <a:pt x="1015" y="1217"/>
                </a:lnTo>
                <a:lnTo>
                  <a:pt x="1015" y="1214"/>
                </a:lnTo>
                <a:lnTo>
                  <a:pt x="1013" y="1212"/>
                </a:lnTo>
                <a:lnTo>
                  <a:pt x="1013" y="1211"/>
                </a:lnTo>
                <a:lnTo>
                  <a:pt x="1015" y="1210"/>
                </a:lnTo>
                <a:lnTo>
                  <a:pt x="1015" y="1208"/>
                </a:lnTo>
                <a:lnTo>
                  <a:pt x="1015" y="1206"/>
                </a:lnTo>
                <a:lnTo>
                  <a:pt x="1009" y="1205"/>
                </a:lnTo>
                <a:lnTo>
                  <a:pt x="1008" y="1204"/>
                </a:lnTo>
                <a:lnTo>
                  <a:pt x="1008" y="1203"/>
                </a:lnTo>
                <a:lnTo>
                  <a:pt x="1002" y="1200"/>
                </a:lnTo>
                <a:lnTo>
                  <a:pt x="1001" y="1200"/>
                </a:lnTo>
                <a:lnTo>
                  <a:pt x="1000" y="1200"/>
                </a:lnTo>
                <a:lnTo>
                  <a:pt x="999" y="1198"/>
                </a:lnTo>
                <a:lnTo>
                  <a:pt x="999" y="1200"/>
                </a:lnTo>
                <a:lnTo>
                  <a:pt x="997" y="1200"/>
                </a:lnTo>
                <a:lnTo>
                  <a:pt x="996" y="1198"/>
                </a:lnTo>
                <a:lnTo>
                  <a:pt x="994" y="1197"/>
                </a:lnTo>
                <a:lnTo>
                  <a:pt x="993" y="1197"/>
                </a:lnTo>
                <a:lnTo>
                  <a:pt x="993" y="1198"/>
                </a:lnTo>
                <a:lnTo>
                  <a:pt x="991" y="1200"/>
                </a:lnTo>
                <a:lnTo>
                  <a:pt x="990" y="1200"/>
                </a:lnTo>
                <a:lnTo>
                  <a:pt x="989" y="1201"/>
                </a:lnTo>
                <a:lnTo>
                  <a:pt x="989" y="1203"/>
                </a:lnTo>
                <a:lnTo>
                  <a:pt x="988" y="1203"/>
                </a:lnTo>
                <a:lnTo>
                  <a:pt x="988" y="1204"/>
                </a:lnTo>
                <a:lnTo>
                  <a:pt x="988" y="1205"/>
                </a:lnTo>
                <a:lnTo>
                  <a:pt x="988" y="1206"/>
                </a:lnTo>
                <a:lnTo>
                  <a:pt x="987" y="1206"/>
                </a:lnTo>
                <a:lnTo>
                  <a:pt x="984" y="1206"/>
                </a:lnTo>
                <a:lnTo>
                  <a:pt x="984" y="1205"/>
                </a:lnTo>
                <a:lnTo>
                  <a:pt x="984" y="1205"/>
                </a:lnTo>
                <a:lnTo>
                  <a:pt x="983" y="1205"/>
                </a:lnTo>
                <a:lnTo>
                  <a:pt x="982" y="1205"/>
                </a:lnTo>
                <a:lnTo>
                  <a:pt x="981" y="1205"/>
                </a:lnTo>
                <a:lnTo>
                  <a:pt x="979" y="1205"/>
                </a:lnTo>
                <a:lnTo>
                  <a:pt x="978" y="1204"/>
                </a:lnTo>
                <a:lnTo>
                  <a:pt x="977" y="1204"/>
                </a:lnTo>
                <a:lnTo>
                  <a:pt x="977" y="1203"/>
                </a:lnTo>
                <a:lnTo>
                  <a:pt x="977" y="1201"/>
                </a:lnTo>
                <a:lnTo>
                  <a:pt x="977" y="1200"/>
                </a:lnTo>
                <a:lnTo>
                  <a:pt x="975" y="1200"/>
                </a:lnTo>
                <a:lnTo>
                  <a:pt x="973" y="1200"/>
                </a:lnTo>
                <a:lnTo>
                  <a:pt x="975" y="1198"/>
                </a:lnTo>
                <a:lnTo>
                  <a:pt x="975" y="1197"/>
                </a:lnTo>
                <a:lnTo>
                  <a:pt x="973" y="1196"/>
                </a:lnTo>
                <a:lnTo>
                  <a:pt x="972" y="1196"/>
                </a:lnTo>
                <a:lnTo>
                  <a:pt x="972" y="1197"/>
                </a:lnTo>
                <a:lnTo>
                  <a:pt x="971" y="1197"/>
                </a:lnTo>
                <a:lnTo>
                  <a:pt x="970" y="1198"/>
                </a:lnTo>
                <a:lnTo>
                  <a:pt x="969" y="1198"/>
                </a:lnTo>
                <a:lnTo>
                  <a:pt x="966" y="1198"/>
                </a:lnTo>
                <a:lnTo>
                  <a:pt x="966" y="1197"/>
                </a:lnTo>
                <a:lnTo>
                  <a:pt x="965" y="1197"/>
                </a:lnTo>
                <a:lnTo>
                  <a:pt x="964" y="1197"/>
                </a:lnTo>
                <a:lnTo>
                  <a:pt x="963" y="1197"/>
                </a:lnTo>
                <a:lnTo>
                  <a:pt x="961" y="1198"/>
                </a:lnTo>
                <a:lnTo>
                  <a:pt x="960" y="1198"/>
                </a:lnTo>
                <a:lnTo>
                  <a:pt x="959" y="1197"/>
                </a:lnTo>
                <a:lnTo>
                  <a:pt x="958" y="1197"/>
                </a:lnTo>
                <a:lnTo>
                  <a:pt x="958" y="1196"/>
                </a:lnTo>
                <a:lnTo>
                  <a:pt x="955" y="1196"/>
                </a:lnTo>
                <a:lnTo>
                  <a:pt x="955" y="1197"/>
                </a:lnTo>
                <a:lnTo>
                  <a:pt x="954" y="1197"/>
                </a:lnTo>
                <a:lnTo>
                  <a:pt x="954" y="1196"/>
                </a:lnTo>
                <a:lnTo>
                  <a:pt x="953" y="1196"/>
                </a:lnTo>
                <a:lnTo>
                  <a:pt x="952" y="1194"/>
                </a:lnTo>
                <a:lnTo>
                  <a:pt x="952" y="1193"/>
                </a:lnTo>
                <a:lnTo>
                  <a:pt x="952" y="1194"/>
                </a:lnTo>
                <a:lnTo>
                  <a:pt x="951" y="1194"/>
                </a:lnTo>
                <a:lnTo>
                  <a:pt x="949" y="1194"/>
                </a:lnTo>
                <a:lnTo>
                  <a:pt x="949" y="1196"/>
                </a:lnTo>
                <a:lnTo>
                  <a:pt x="951" y="1196"/>
                </a:lnTo>
                <a:lnTo>
                  <a:pt x="951" y="1197"/>
                </a:lnTo>
                <a:lnTo>
                  <a:pt x="951" y="1198"/>
                </a:lnTo>
                <a:lnTo>
                  <a:pt x="949" y="1198"/>
                </a:lnTo>
                <a:lnTo>
                  <a:pt x="949" y="1200"/>
                </a:lnTo>
                <a:lnTo>
                  <a:pt x="947" y="1201"/>
                </a:lnTo>
                <a:lnTo>
                  <a:pt x="946" y="1201"/>
                </a:lnTo>
                <a:lnTo>
                  <a:pt x="946" y="1203"/>
                </a:lnTo>
                <a:lnTo>
                  <a:pt x="945" y="1203"/>
                </a:lnTo>
                <a:lnTo>
                  <a:pt x="943" y="1203"/>
                </a:lnTo>
                <a:lnTo>
                  <a:pt x="943" y="1201"/>
                </a:lnTo>
                <a:lnTo>
                  <a:pt x="942" y="1201"/>
                </a:lnTo>
                <a:lnTo>
                  <a:pt x="942" y="1203"/>
                </a:lnTo>
                <a:lnTo>
                  <a:pt x="941" y="1203"/>
                </a:lnTo>
                <a:lnTo>
                  <a:pt x="940" y="1203"/>
                </a:lnTo>
                <a:lnTo>
                  <a:pt x="937" y="1204"/>
                </a:lnTo>
                <a:lnTo>
                  <a:pt x="936" y="1205"/>
                </a:lnTo>
                <a:lnTo>
                  <a:pt x="935" y="1205"/>
                </a:lnTo>
                <a:lnTo>
                  <a:pt x="935" y="1206"/>
                </a:lnTo>
                <a:lnTo>
                  <a:pt x="934" y="1206"/>
                </a:lnTo>
                <a:lnTo>
                  <a:pt x="933" y="1206"/>
                </a:lnTo>
                <a:lnTo>
                  <a:pt x="931" y="1206"/>
                </a:lnTo>
                <a:lnTo>
                  <a:pt x="930" y="1205"/>
                </a:lnTo>
                <a:lnTo>
                  <a:pt x="928" y="1205"/>
                </a:lnTo>
                <a:lnTo>
                  <a:pt x="928" y="1204"/>
                </a:lnTo>
                <a:lnTo>
                  <a:pt x="927" y="1204"/>
                </a:lnTo>
                <a:lnTo>
                  <a:pt x="925" y="1204"/>
                </a:lnTo>
                <a:lnTo>
                  <a:pt x="924" y="1205"/>
                </a:lnTo>
                <a:lnTo>
                  <a:pt x="923" y="1206"/>
                </a:lnTo>
                <a:lnTo>
                  <a:pt x="922" y="1206"/>
                </a:lnTo>
                <a:lnTo>
                  <a:pt x="919" y="1206"/>
                </a:lnTo>
                <a:lnTo>
                  <a:pt x="919" y="1208"/>
                </a:lnTo>
                <a:lnTo>
                  <a:pt x="918" y="1208"/>
                </a:lnTo>
                <a:lnTo>
                  <a:pt x="918" y="1210"/>
                </a:lnTo>
                <a:lnTo>
                  <a:pt x="918" y="1211"/>
                </a:lnTo>
                <a:lnTo>
                  <a:pt x="918" y="1211"/>
                </a:lnTo>
                <a:lnTo>
                  <a:pt x="918" y="1212"/>
                </a:lnTo>
                <a:lnTo>
                  <a:pt x="917" y="1212"/>
                </a:lnTo>
                <a:lnTo>
                  <a:pt x="916" y="1212"/>
                </a:lnTo>
                <a:lnTo>
                  <a:pt x="915" y="1211"/>
                </a:lnTo>
                <a:lnTo>
                  <a:pt x="913" y="1211"/>
                </a:lnTo>
                <a:lnTo>
                  <a:pt x="913" y="1211"/>
                </a:lnTo>
                <a:lnTo>
                  <a:pt x="912" y="1210"/>
                </a:lnTo>
                <a:lnTo>
                  <a:pt x="911" y="1210"/>
                </a:lnTo>
                <a:lnTo>
                  <a:pt x="909" y="1210"/>
                </a:lnTo>
                <a:lnTo>
                  <a:pt x="907" y="1208"/>
                </a:lnTo>
                <a:lnTo>
                  <a:pt x="907" y="1206"/>
                </a:lnTo>
                <a:lnTo>
                  <a:pt x="906" y="1205"/>
                </a:lnTo>
                <a:lnTo>
                  <a:pt x="905" y="1205"/>
                </a:lnTo>
                <a:lnTo>
                  <a:pt x="904" y="1205"/>
                </a:lnTo>
                <a:lnTo>
                  <a:pt x="903" y="1205"/>
                </a:lnTo>
                <a:lnTo>
                  <a:pt x="900" y="1205"/>
                </a:lnTo>
                <a:lnTo>
                  <a:pt x="899" y="1205"/>
                </a:lnTo>
                <a:lnTo>
                  <a:pt x="897" y="1205"/>
                </a:lnTo>
                <a:lnTo>
                  <a:pt x="895" y="1205"/>
                </a:lnTo>
                <a:lnTo>
                  <a:pt x="894" y="1205"/>
                </a:lnTo>
                <a:lnTo>
                  <a:pt x="894" y="1204"/>
                </a:lnTo>
                <a:lnTo>
                  <a:pt x="893" y="1204"/>
                </a:lnTo>
                <a:lnTo>
                  <a:pt x="892" y="1203"/>
                </a:lnTo>
                <a:lnTo>
                  <a:pt x="889" y="1203"/>
                </a:lnTo>
                <a:lnTo>
                  <a:pt x="889" y="1201"/>
                </a:lnTo>
                <a:lnTo>
                  <a:pt x="889" y="1200"/>
                </a:lnTo>
                <a:lnTo>
                  <a:pt x="888" y="1198"/>
                </a:lnTo>
                <a:lnTo>
                  <a:pt x="887" y="1198"/>
                </a:lnTo>
                <a:lnTo>
                  <a:pt x="886" y="1198"/>
                </a:lnTo>
                <a:lnTo>
                  <a:pt x="886" y="1200"/>
                </a:lnTo>
                <a:lnTo>
                  <a:pt x="886" y="1201"/>
                </a:lnTo>
                <a:lnTo>
                  <a:pt x="886" y="1203"/>
                </a:lnTo>
                <a:lnTo>
                  <a:pt x="885" y="1204"/>
                </a:lnTo>
                <a:lnTo>
                  <a:pt x="885" y="1205"/>
                </a:lnTo>
                <a:lnTo>
                  <a:pt x="885" y="1206"/>
                </a:lnTo>
                <a:lnTo>
                  <a:pt x="883" y="1206"/>
                </a:lnTo>
                <a:lnTo>
                  <a:pt x="883" y="1208"/>
                </a:lnTo>
                <a:lnTo>
                  <a:pt x="881" y="1208"/>
                </a:lnTo>
                <a:lnTo>
                  <a:pt x="880" y="1208"/>
                </a:lnTo>
                <a:lnTo>
                  <a:pt x="879" y="1208"/>
                </a:lnTo>
                <a:lnTo>
                  <a:pt x="879" y="1206"/>
                </a:lnTo>
                <a:lnTo>
                  <a:pt x="877" y="1205"/>
                </a:lnTo>
                <a:lnTo>
                  <a:pt x="877" y="1204"/>
                </a:lnTo>
                <a:lnTo>
                  <a:pt x="877" y="1203"/>
                </a:lnTo>
                <a:lnTo>
                  <a:pt x="876" y="1201"/>
                </a:lnTo>
                <a:lnTo>
                  <a:pt x="875" y="1200"/>
                </a:lnTo>
                <a:lnTo>
                  <a:pt x="874" y="1200"/>
                </a:lnTo>
                <a:lnTo>
                  <a:pt x="874" y="1201"/>
                </a:lnTo>
                <a:lnTo>
                  <a:pt x="874" y="1203"/>
                </a:lnTo>
                <a:lnTo>
                  <a:pt x="871" y="1203"/>
                </a:lnTo>
                <a:lnTo>
                  <a:pt x="870" y="1203"/>
                </a:lnTo>
                <a:lnTo>
                  <a:pt x="870" y="1204"/>
                </a:lnTo>
                <a:lnTo>
                  <a:pt x="869" y="1204"/>
                </a:lnTo>
                <a:lnTo>
                  <a:pt x="869" y="1205"/>
                </a:lnTo>
                <a:lnTo>
                  <a:pt x="868" y="1205"/>
                </a:lnTo>
                <a:lnTo>
                  <a:pt x="867" y="1205"/>
                </a:lnTo>
                <a:lnTo>
                  <a:pt x="865" y="1205"/>
                </a:lnTo>
                <a:lnTo>
                  <a:pt x="864" y="1205"/>
                </a:lnTo>
                <a:lnTo>
                  <a:pt x="864" y="1206"/>
                </a:lnTo>
                <a:lnTo>
                  <a:pt x="865" y="1208"/>
                </a:lnTo>
                <a:lnTo>
                  <a:pt x="867" y="1208"/>
                </a:lnTo>
                <a:lnTo>
                  <a:pt x="865" y="1208"/>
                </a:lnTo>
                <a:lnTo>
                  <a:pt x="865" y="1210"/>
                </a:lnTo>
                <a:lnTo>
                  <a:pt x="864" y="1210"/>
                </a:lnTo>
                <a:lnTo>
                  <a:pt x="862" y="1210"/>
                </a:lnTo>
                <a:lnTo>
                  <a:pt x="862" y="1211"/>
                </a:lnTo>
                <a:lnTo>
                  <a:pt x="862" y="1211"/>
                </a:lnTo>
                <a:lnTo>
                  <a:pt x="861" y="1211"/>
                </a:lnTo>
                <a:lnTo>
                  <a:pt x="861" y="1212"/>
                </a:lnTo>
                <a:lnTo>
                  <a:pt x="859" y="1212"/>
                </a:lnTo>
                <a:lnTo>
                  <a:pt x="858" y="1212"/>
                </a:lnTo>
                <a:lnTo>
                  <a:pt x="857" y="1211"/>
                </a:lnTo>
                <a:lnTo>
                  <a:pt x="857" y="1211"/>
                </a:lnTo>
                <a:lnTo>
                  <a:pt x="856" y="1210"/>
                </a:lnTo>
                <a:lnTo>
                  <a:pt x="853" y="1211"/>
                </a:lnTo>
                <a:lnTo>
                  <a:pt x="853" y="1211"/>
                </a:lnTo>
                <a:lnTo>
                  <a:pt x="852" y="1211"/>
                </a:lnTo>
                <a:lnTo>
                  <a:pt x="852" y="1212"/>
                </a:lnTo>
                <a:lnTo>
                  <a:pt x="853" y="1214"/>
                </a:lnTo>
                <a:lnTo>
                  <a:pt x="853" y="1215"/>
                </a:lnTo>
                <a:lnTo>
                  <a:pt x="853" y="1216"/>
                </a:lnTo>
                <a:lnTo>
                  <a:pt x="853" y="1217"/>
                </a:lnTo>
                <a:lnTo>
                  <a:pt x="853" y="1219"/>
                </a:lnTo>
                <a:lnTo>
                  <a:pt x="852" y="1219"/>
                </a:lnTo>
                <a:lnTo>
                  <a:pt x="852" y="1219"/>
                </a:lnTo>
                <a:lnTo>
                  <a:pt x="851" y="1219"/>
                </a:lnTo>
                <a:lnTo>
                  <a:pt x="850" y="1217"/>
                </a:lnTo>
                <a:lnTo>
                  <a:pt x="849" y="1217"/>
                </a:lnTo>
                <a:lnTo>
                  <a:pt x="847" y="1217"/>
                </a:lnTo>
                <a:lnTo>
                  <a:pt x="846" y="1219"/>
                </a:lnTo>
                <a:lnTo>
                  <a:pt x="846" y="1221"/>
                </a:lnTo>
                <a:lnTo>
                  <a:pt x="846" y="1222"/>
                </a:lnTo>
                <a:lnTo>
                  <a:pt x="847" y="1222"/>
                </a:lnTo>
                <a:lnTo>
                  <a:pt x="847" y="1223"/>
                </a:lnTo>
                <a:lnTo>
                  <a:pt x="846" y="1224"/>
                </a:lnTo>
                <a:lnTo>
                  <a:pt x="845" y="1226"/>
                </a:lnTo>
                <a:lnTo>
                  <a:pt x="845" y="1227"/>
                </a:lnTo>
                <a:lnTo>
                  <a:pt x="845" y="1229"/>
                </a:lnTo>
                <a:lnTo>
                  <a:pt x="846" y="1230"/>
                </a:lnTo>
                <a:lnTo>
                  <a:pt x="846" y="1231"/>
                </a:lnTo>
                <a:lnTo>
                  <a:pt x="846" y="1233"/>
                </a:lnTo>
                <a:lnTo>
                  <a:pt x="846" y="1234"/>
                </a:lnTo>
                <a:lnTo>
                  <a:pt x="846" y="1235"/>
                </a:lnTo>
                <a:lnTo>
                  <a:pt x="847" y="1236"/>
                </a:lnTo>
                <a:lnTo>
                  <a:pt x="847" y="1239"/>
                </a:lnTo>
                <a:lnTo>
                  <a:pt x="849" y="1239"/>
                </a:lnTo>
                <a:lnTo>
                  <a:pt x="850" y="1239"/>
                </a:lnTo>
                <a:lnTo>
                  <a:pt x="851" y="1236"/>
                </a:lnTo>
                <a:lnTo>
                  <a:pt x="852" y="1236"/>
                </a:lnTo>
                <a:lnTo>
                  <a:pt x="852" y="1235"/>
                </a:lnTo>
                <a:lnTo>
                  <a:pt x="853" y="1235"/>
                </a:lnTo>
                <a:lnTo>
                  <a:pt x="853" y="1236"/>
                </a:lnTo>
                <a:lnTo>
                  <a:pt x="853" y="1239"/>
                </a:lnTo>
                <a:lnTo>
                  <a:pt x="853" y="1240"/>
                </a:lnTo>
                <a:lnTo>
                  <a:pt x="853" y="1241"/>
                </a:lnTo>
                <a:lnTo>
                  <a:pt x="853" y="1242"/>
                </a:lnTo>
                <a:lnTo>
                  <a:pt x="852" y="1244"/>
                </a:lnTo>
                <a:lnTo>
                  <a:pt x="852" y="1244"/>
                </a:lnTo>
                <a:lnTo>
                  <a:pt x="851" y="1244"/>
                </a:lnTo>
                <a:lnTo>
                  <a:pt x="850" y="1245"/>
                </a:lnTo>
                <a:lnTo>
                  <a:pt x="850" y="1244"/>
                </a:lnTo>
                <a:lnTo>
                  <a:pt x="849" y="1244"/>
                </a:lnTo>
                <a:lnTo>
                  <a:pt x="847" y="1244"/>
                </a:lnTo>
                <a:lnTo>
                  <a:pt x="846" y="1244"/>
                </a:lnTo>
                <a:lnTo>
                  <a:pt x="846" y="1245"/>
                </a:lnTo>
                <a:lnTo>
                  <a:pt x="849" y="1248"/>
                </a:lnTo>
                <a:lnTo>
                  <a:pt x="850" y="1251"/>
                </a:lnTo>
                <a:lnTo>
                  <a:pt x="850" y="1252"/>
                </a:lnTo>
                <a:lnTo>
                  <a:pt x="850" y="1253"/>
                </a:lnTo>
                <a:lnTo>
                  <a:pt x="850" y="1254"/>
                </a:lnTo>
                <a:lnTo>
                  <a:pt x="849" y="1254"/>
                </a:lnTo>
                <a:lnTo>
                  <a:pt x="849" y="1257"/>
                </a:lnTo>
                <a:lnTo>
                  <a:pt x="847" y="1257"/>
                </a:lnTo>
                <a:lnTo>
                  <a:pt x="846" y="1257"/>
                </a:lnTo>
                <a:lnTo>
                  <a:pt x="845" y="1257"/>
                </a:lnTo>
                <a:lnTo>
                  <a:pt x="843" y="1257"/>
                </a:lnTo>
                <a:lnTo>
                  <a:pt x="841" y="1257"/>
                </a:lnTo>
                <a:lnTo>
                  <a:pt x="840" y="1257"/>
                </a:lnTo>
                <a:lnTo>
                  <a:pt x="839" y="1257"/>
                </a:lnTo>
                <a:lnTo>
                  <a:pt x="839" y="1258"/>
                </a:lnTo>
                <a:lnTo>
                  <a:pt x="839" y="1259"/>
                </a:lnTo>
                <a:lnTo>
                  <a:pt x="840" y="1259"/>
                </a:lnTo>
                <a:lnTo>
                  <a:pt x="840" y="1260"/>
                </a:lnTo>
                <a:lnTo>
                  <a:pt x="840" y="1262"/>
                </a:lnTo>
                <a:lnTo>
                  <a:pt x="840" y="1263"/>
                </a:lnTo>
                <a:lnTo>
                  <a:pt x="839" y="1264"/>
                </a:lnTo>
                <a:lnTo>
                  <a:pt x="839" y="1266"/>
                </a:lnTo>
                <a:lnTo>
                  <a:pt x="839" y="1267"/>
                </a:lnTo>
                <a:lnTo>
                  <a:pt x="839" y="1270"/>
                </a:lnTo>
                <a:lnTo>
                  <a:pt x="840" y="1271"/>
                </a:lnTo>
                <a:lnTo>
                  <a:pt x="841" y="1272"/>
                </a:lnTo>
                <a:lnTo>
                  <a:pt x="841" y="1274"/>
                </a:lnTo>
                <a:lnTo>
                  <a:pt x="843" y="1274"/>
                </a:lnTo>
                <a:lnTo>
                  <a:pt x="845" y="1274"/>
                </a:lnTo>
                <a:lnTo>
                  <a:pt x="846" y="1274"/>
                </a:lnTo>
                <a:lnTo>
                  <a:pt x="847" y="1274"/>
                </a:lnTo>
                <a:lnTo>
                  <a:pt x="849" y="1276"/>
                </a:lnTo>
                <a:lnTo>
                  <a:pt x="850" y="1276"/>
                </a:lnTo>
                <a:lnTo>
                  <a:pt x="851" y="1277"/>
                </a:lnTo>
                <a:lnTo>
                  <a:pt x="851" y="1278"/>
                </a:lnTo>
                <a:lnTo>
                  <a:pt x="851" y="1280"/>
                </a:lnTo>
                <a:lnTo>
                  <a:pt x="850" y="1281"/>
                </a:lnTo>
                <a:lnTo>
                  <a:pt x="850" y="1283"/>
                </a:lnTo>
                <a:lnTo>
                  <a:pt x="849" y="1285"/>
                </a:lnTo>
                <a:lnTo>
                  <a:pt x="847" y="1285"/>
                </a:lnTo>
                <a:lnTo>
                  <a:pt x="846" y="1287"/>
                </a:lnTo>
                <a:lnTo>
                  <a:pt x="845" y="1287"/>
                </a:lnTo>
                <a:lnTo>
                  <a:pt x="843" y="1288"/>
                </a:lnTo>
                <a:lnTo>
                  <a:pt x="841" y="1288"/>
                </a:lnTo>
                <a:lnTo>
                  <a:pt x="840" y="1289"/>
                </a:lnTo>
                <a:lnTo>
                  <a:pt x="839" y="1289"/>
                </a:lnTo>
                <a:lnTo>
                  <a:pt x="838" y="1290"/>
                </a:lnTo>
                <a:lnTo>
                  <a:pt x="838" y="1292"/>
                </a:lnTo>
                <a:lnTo>
                  <a:pt x="838" y="1293"/>
                </a:lnTo>
                <a:lnTo>
                  <a:pt x="839" y="1293"/>
                </a:lnTo>
                <a:lnTo>
                  <a:pt x="840" y="1293"/>
                </a:lnTo>
                <a:lnTo>
                  <a:pt x="840" y="1295"/>
                </a:lnTo>
                <a:lnTo>
                  <a:pt x="841" y="1295"/>
                </a:lnTo>
                <a:lnTo>
                  <a:pt x="841" y="1296"/>
                </a:lnTo>
                <a:lnTo>
                  <a:pt x="840" y="1298"/>
                </a:lnTo>
                <a:lnTo>
                  <a:pt x="840" y="1299"/>
                </a:lnTo>
                <a:lnTo>
                  <a:pt x="841" y="1300"/>
                </a:lnTo>
                <a:lnTo>
                  <a:pt x="843" y="1300"/>
                </a:lnTo>
                <a:lnTo>
                  <a:pt x="845" y="1301"/>
                </a:lnTo>
                <a:lnTo>
                  <a:pt x="846" y="1301"/>
                </a:lnTo>
                <a:lnTo>
                  <a:pt x="846" y="1302"/>
                </a:lnTo>
                <a:lnTo>
                  <a:pt x="845" y="1305"/>
                </a:lnTo>
                <a:lnTo>
                  <a:pt x="843" y="1305"/>
                </a:lnTo>
                <a:lnTo>
                  <a:pt x="843" y="1306"/>
                </a:lnTo>
                <a:lnTo>
                  <a:pt x="845" y="1307"/>
                </a:lnTo>
                <a:lnTo>
                  <a:pt x="845" y="1308"/>
                </a:lnTo>
                <a:lnTo>
                  <a:pt x="845" y="1310"/>
                </a:lnTo>
                <a:lnTo>
                  <a:pt x="845" y="1310"/>
                </a:lnTo>
                <a:lnTo>
                  <a:pt x="846" y="1310"/>
                </a:lnTo>
                <a:lnTo>
                  <a:pt x="846" y="1311"/>
                </a:lnTo>
                <a:lnTo>
                  <a:pt x="847" y="1311"/>
                </a:lnTo>
                <a:lnTo>
                  <a:pt x="847" y="1312"/>
                </a:lnTo>
                <a:lnTo>
                  <a:pt x="847" y="1314"/>
                </a:lnTo>
                <a:lnTo>
                  <a:pt x="846" y="1316"/>
                </a:lnTo>
                <a:lnTo>
                  <a:pt x="845" y="1316"/>
                </a:lnTo>
                <a:lnTo>
                  <a:pt x="845" y="1317"/>
                </a:lnTo>
                <a:lnTo>
                  <a:pt x="843" y="1316"/>
                </a:lnTo>
                <a:lnTo>
                  <a:pt x="840" y="1316"/>
                </a:lnTo>
                <a:lnTo>
                  <a:pt x="840" y="1314"/>
                </a:lnTo>
                <a:lnTo>
                  <a:pt x="839" y="1316"/>
                </a:lnTo>
                <a:lnTo>
                  <a:pt x="838" y="1316"/>
                </a:lnTo>
                <a:lnTo>
                  <a:pt x="838" y="1317"/>
                </a:lnTo>
                <a:lnTo>
                  <a:pt x="838" y="1318"/>
                </a:lnTo>
                <a:lnTo>
                  <a:pt x="838" y="1319"/>
                </a:lnTo>
                <a:lnTo>
                  <a:pt x="836" y="1320"/>
                </a:lnTo>
                <a:lnTo>
                  <a:pt x="834" y="1320"/>
                </a:lnTo>
                <a:lnTo>
                  <a:pt x="833" y="1320"/>
                </a:lnTo>
                <a:lnTo>
                  <a:pt x="832" y="1320"/>
                </a:lnTo>
                <a:lnTo>
                  <a:pt x="831" y="1319"/>
                </a:lnTo>
                <a:lnTo>
                  <a:pt x="829" y="1319"/>
                </a:lnTo>
                <a:lnTo>
                  <a:pt x="828" y="1320"/>
                </a:lnTo>
                <a:lnTo>
                  <a:pt x="827" y="1320"/>
                </a:lnTo>
                <a:lnTo>
                  <a:pt x="826" y="1320"/>
                </a:lnTo>
                <a:lnTo>
                  <a:pt x="822" y="1320"/>
                </a:lnTo>
                <a:lnTo>
                  <a:pt x="821" y="1320"/>
                </a:lnTo>
                <a:lnTo>
                  <a:pt x="820" y="1323"/>
                </a:lnTo>
                <a:lnTo>
                  <a:pt x="820" y="1324"/>
                </a:lnTo>
                <a:lnTo>
                  <a:pt x="820" y="1326"/>
                </a:lnTo>
                <a:lnTo>
                  <a:pt x="820" y="1328"/>
                </a:lnTo>
                <a:lnTo>
                  <a:pt x="821" y="1330"/>
                </a:lnTo>
                <a:lnTo>
                  <a:pt x="821" y="1331"/>
                </a:lnTo>
                <a:lnTo>
                  <a:pt x="821" y="1335"/>
                </a:lnTo>
                <a:lnTo>
                  <a:pt x="821" y="1336"/>
                </a:lnTo>
                <a:lnTo>
                  <a:pt x="821" y="1337"/>
                </a:lnTo>
                <a:lnTo>
                  <a:pt x="821" y="1338"/>
                </a:lnTo>
                <a:lnTo>
                  <a:pt x="820" y="1340"/>
                </a:lnTo>
                <a:lnTo>
                  <a:pt x="820" y="1338"/>
                </a:lnTo>
                <a:lnTo>
                  <a:pt x="818" y="1336"/>
                </a:lnTo>
                <a:lnTo>
                  <a:pt x="817" y="1335"/>
                </a:lnTo>
                <a:lnTo>
                  <a:pt x="815" y="1335"/>
                </a:lnTo>
                <a:lnTo>
                  <a:pt x="813" y="1335"/>
                </a:lnTo>
                <a:lnTo>
                  <a:pt x="811" y="1335"/>
                </a:lnTo>
                <a:lnTo>
                  <a:pt x="810" y="1335"/>
                </a:lnTo>
                <a:lnTo>
                  <a:pt x="809" y="1335"/>
                </a:lnTo>
                <a:lnTo>
                  <a:pt x="809" y="1336"/>
                </a:lnTo>
                <a:lnTo>
                  <a:pt x="809" y="1337"/>
                </a:lnTo>
                <a:lnTo>
                  <a:pt x="810" y="1337"/>
                </a:lnTo>
                <a:lnTo>
                  <a:pt x="810" y="1338"/>
                </a:lnTo>
                <a:lnTo>
                  <a:pt x="810" y="1340"/>
                </a:lnTo>
                <a:lnTo>
                  <a:pt x="810" y="1342"/>
                </a:lnTo>
                <a:lnTo>
                  <a:pt x="809" y="1342"/>
                </a:lnTo>
                <a:lnTo>
                  <a:pt x="808" y="1342"/>
                </a:lnTo>
                <a:lnTo>
                  <a:pt x="808" y="1343"/>
                </a:lnTo>
                <a:lnTo>
                  <a:pt x="808" y="1343"/>
                </a:lnTo>
                <a:lnTo>
                  <a:pt x="809" y="1344"/>
                </a:lnTo>
                <a:lnTo>
                  <a:pt x="808" y="1346"/>
                </a:lnTo>
                <a:lnTo>
                  <a:pt x="808" y="1347"/>
                </a:lnTo>
                <a:lnTo>
                  <a:pt x="808" y="1348"/>
                </a:lnTo>
                <a:lnTo>
                  <a:pt x="808" y="1349"/>
                </a:lnTo>
                <a:lnTo>
                  <a:pt x="808" y="1350"/>
                </a:lnTo>
                <a:lnTo>
                  <a:pt x="805" y="1353"/>
                </a:lnTo>
                <a:lnTo>
                  <a:pt x="804" y="1353"/>
                </a:lnTo>
                <a:lnTo>
                  <a:pt x="803" y="1353"/>
                </a:lnTo>
                <a:lnTo>
                  <a:pt x="802" y="1353"/>
                </a:lnTo>
                <a:lnTo>
                  <a:pt x="802" y="1354"/>
                </a:lnTo>
                <a:lnTo>
                  <a:pt x="800" y="1354"/>
                </a:lnTo>
                <a:lnTo>
                  <a:pt x="799" y="1354"/>
                </a:lnTo>
                <a:lnTo>
                  <a:pt x="796" y="1354"/>
                </a:lnTo>
                <a:lnTo>
                  <a:pt x="795" y="1355"/>
                </a:lnTo>
                <a:lnTo>
                  <a:pt x="793" y="1356"/>
                </a:lnTo>
                <a:lnTo>
                  <a:pt x="792" y="1356"/>
                </a:lnTo>
                <a:lnTo>
                  <a:pt x="792" y="1358"/>
                </a:lnTo>
                <a:lnTo>
                  <a:pt x="792" y="1359"/>
                </a:lnTo>
                <a:lnTo>
                  <a:pt x="792" y="1361"/>
                </a:lnTo>
                <a:lnTo>
                  <a:pt x="792" y="1362"/>
                </a:lnTo>
                <a:lnTo>
                  <a:pt x="791" y="1362"/>
                </a:lnTo>
                <a:lnTo>
                  <a:pt x="791" y="1365"/>
                </a:lnTo>
                <a:lnTo>
                  <a:pt x="720" y="1365"/>
                </a:lnTo>
                <a:lnTo>
                  <a:pt x="754" y="1264"/>
                </a:lnTo>
                <a:lnTo>
                  <a:pt x="655" y="1210"/>
                </a:lnTo>
                <a:lnTo>
                  <a:pt x="613" y="1048"/>
                </a:lnTo>
                <a:lnTo>
                  <a:pt x="575" y="1039"/>
                </a:lnTo>
                <a:lnTo>
                  <a:pt x="581" y="1006"/>
                </a:lnTo>
                <a:lnTo>
                  <a:pt x="568" y="979"/>
                </a:lnTo>
                <a:lnTo>
                  <a:pt x="522" y="1039"/>
                </a:lnTo>
                <a:lnTo>
                  <a:pt x="464" y="1072"/>
                </a:lnTo>
                <a:lnTo>
                  <a:pt x="425" y="1112"/>
                </a:lnTo>
                <a:lnTo>
                  <a:pt x="380" y="1074"/>
                </a:lnTo>
                <a:lnTo>
                  <a:pt x="349" y="984"/>
                </a:lnTo>
                <a:lnTo>
                  <a:pt x="368" y="964"/>
                </a:lnTo>
                <a:lnTo>
                  <a:pt x="357" y="918"/>
                </a:lnTo>
                <a:lnTo>
                  <a:pt x="301" y="912"/>
                </a:lnTo>
                <a:lnTo>
                  <a:pt x="275" y="880"/>
                </a:lnTo>
                <a:lnTo>
                  <a:pt x="245" y="895"/>
                </a:lnTo>
                <a:lnTo>
                  <a:pt x="63" y="842"/>
                </a:lnTo>
                <a:lnTo>
                  <a:pt x="0" y="850"/>
                </a:lnTo>
                <a:lnTo>
                  <a:pt x="2" y="803"/>
                </a:lnTo>
                <a:lnTo>
                  <a:pt x="31" y="787"/>
                </a:lnTo>
                <a:lnTo>
                  <a:pt x="27" y="764"/>
                </a:lnTo>
                <a:lnTo>
                  <a:pt x="28" y="762"/>
                </a:lnTo>
                <a:lnTo>
                  <a:pt x="32" y="761"/>
                </a:lnTo>
                <a:lnTo>
                  <a:pt x="37" y="760"/>
                </a:lnTo>
                <a:lnTo>
                  <a:pt x="44" y="757"/>
                </a:lnTo>
                <a:lnTo>
                  <a:pt x="46" y="756"/>
                </a:lnTo>
                <a:lnTo>
                  <a:pt x="49" y="755"/>
                </a:lnTo>
                <a:lnTo>
                  <a:pt x="129" y="754"/>
                </a:lnTo>
                <a:lnTo>
                  <a:pt x="149" y="754"/>
                </a:lnTo>
                <a:lnTo>
                  <a:pt x="157" y="754"/>
                </a:lnTo>
                <a:lnTo>
                  <a:pt x="162" y="751"/>
                </a:lnTo>
                <a:lnTo>
                  <a:pt x="169" y="751"/>
                </a:lnTo>
                <a:lnTo>
                  <a:pt x="176" y="751"/>
                </a:lnTo>
                <a:lnTo>
                  <a:pt x="181" y="750"/>
                </a:lnTo>
                <a:lnTo>
                  <a:pt x="187" y="749"/>
                </a:lnTo>
                <a:lnTo>
                  <a:pt x="192" y="748"/>
                </a:lnTo>
                <a:lnTo>
                  <a:pt x="194" y="746"/>
                </a:lnTo>
                <a:lnTo>
                  <a:pt x="198" y="745"/>
                </a:lnTo>
                <a:lnTo>
                  <a:pt x="204" y="739"/>
                </a:lnTo>
                <a:lnTo>
                  <a:pt x="207" y="736"/>
                </a:lnTo>
                <a:lnTo>
                  <a:pt x="215" y="728"/>
                </a:lnTo>
                <a:lnTo>
                  <a:pt x="221" y="719"/>
                </a:lnTo>
                <a:lnTo>
                  <a:pt x="225" y="712"/>
                </a:lnTo>
                <a:lnTo>
                  <a:pt x="233" y="703"/>
                </a:lnTo>
                <a:lnTo>
                  <a:pt x="240" y="692"/>
                </a:lnTo>
                <a:lnTo>
                  <a:pt x="263" y="666"/>
                </a:lnTo>
                <a:lnTo>
                  <a:pt x="276" y="652"/>
                </a:lnTo>
                <a:lnTo>
                  <a:pt x="329" y="590"/>
                </a:lnTo>
                <a:lnTo>
                  <a:pt x="339" y="581"/>
                </a:lnTo>
                <a:lnTo>
                  <a:pt x="342" y="578"/>
                </a:lnTo>
                <a:lnTo>
                  <a:pt x="348" y="575"/>
                </a:lnTo>
                <a:lnTo>
                  <a:pt x="355" y="567"/>
                </a:lnTo>
                <a:lnTo>
                  <a:pt x="359" y="562"/>
                </a:lnTo>
                <a:lnTo>
                  <a:pt x="365" y="553"/>
                </a:lnTo>
                <a:lnTo>
                  <a:pt x="371" y="546"/>
                </a:lnTo>
                <a:lnTo>
                  <a:pt x="384" y="524"/>
                </a:lnTo>
                <a:lnTo>
                  <a:pt x="390" y="512"/>
                </a:lnTo>
                <a:lnTo>
                  <a:pt x="402" y="492"/>
                </a:lnTo>
                <a:lnTo>
                  <a:pt x="414" y="468"/>
                </a:lnTo>
                <a:lnTo>
                  <a:pt x="418" y="461"/>
                </a:lnTo>
                <a:lnTo>
                  <a:pt x="421" y="455"/>
                </a:lnTo>
                <a:lnTo>
                  <a:pt x="423" y="449"/>
                </a:lnTo>
                <a:lnTo>
                  <a:pt x="426" y="446"/>
                </a:lnTo>
                <a:lnTo>
                  <a:pt x="431" y="441"/>
                </a:lnTo>
                <a:lnTo>
                  <a:pt x="436" y="437"/>
                </a:lnTo>
                <a:lnTo>
                  <a:pt x="456" y="427"/>
                </a:lnTo>
                <a:lnTo>
                  <a:pt x="470" y="417"/>
                </a:lnTo>
                <a:lnTo>
                  <a:pt x="484" y="413"/>
                </a:lnTo>
                <a:lnTo>
                  <a:pt x="491" y="404"/>
                </a:lnTo>
                <a:lnTo>
                  <a:pt x="492" y="402"/>
                </a:lnTo>
                <a:lnTo>
                  <a:pt x="527" y="368"/>
                </a:lnTo>
                <a:lnTo>
                  <a:pt x="563" y="332"/>
                </a:lnTo>
                <a:lnTo>
                  <a:pt x="577" y="319"/>
                </a:lnTo>
                <a:lnTo>
                  <a:pt x="586" y="312"/>
                </a:lnTo>
                <a:lnTo>
                  <a:pt x="592" y="307"/>
                </a:lnTo>
                <a:lnTo>
                  <a:pt x="595" y="306"/>
                </a:lnTo>
                <a:lnTo>
                  <a:pt x="588" y="291"/>
                </a:lnTo>
                <a:lnTo>
                  <a:pt x="584" y="285"/>
                </a:lnTo>
                <a:lnTo>
                  <a:pt x="582" y="280"/>
                </a:lnTo>
                <a:lnTo>
                  <a:pt x="577" y="272"/>
                </a:lnTo>
                <a:lnTo>
                  <a:pt x="575" y="265"/>
                </a:lnTo>
                <a:lnTo>
                  <a:pt x="572" y="259"/>
                </a:lnTo>
                <a:lnTo>
                  <a:pt x="570" y="252"/>
                </a:lnTo>
                <a:lnTo>
                  <a:pt x="569" y="244"/>
                </a:lnTo>
                <a:lnTo>
                  <a:pt x="568" y="235"/>
                </a:lnTo>
                <a:lnTo>
                  <a:pt x="568" y="224"/>
                </a:lnTo>
                <a:lnTo>
                  <a:pt x="569" y="122"/>
                </a:lnTo>
                <a:lnTo>
                  <a:pt x="569" y="108"/>
                </a:lnTo>
                <a:lnTo>
                  <a:pt x="568" y="94"/>
                </a:lnTo>
                <a:lnTo>
                  <a:pt x="568" y="89"/>
                </a:lnTo>
                <a:lnTo>
                  <a:pt x="566" y="84"/>
                </a:lnTo>
                <a:lnTo>
                  <a:pt x="565" y="79"/>
                </a:lnTo>
                <a:lnTo>
                  <a:pt x="563" y="74"/>
                </a:lnTo>
                <a:lnTo>
                  <a:pt x="489" y="0"/>
                </a:lnTo>
              </a:path>
            </a:pathLst>
          </a:custGeom>
          <a:noFill/>
          <a:ln w="19050" cmpd="sng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56" name="Rectangle 190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3268492" y="4356281"/>
            <a:ext cx="114270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zo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59" name="Rectangle 193"/>
          <p:cNvSpPr>
            <a:spLocks noChangeArrowheads="1"/>
          </p:cNvSpPr>
          <p:nvPr>
            <p:custDataLst>
              <p:tags r:id="rId97"/>
            </p:custDataLst>
          </p:nvPr>
        </p:nvSpPr>
        <p:spPr bwMode="gray">
          <a:xfrm>
            <a:off x="3393528" y="4496016"/>
            <a:ext cx="177600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Nzara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Rectangle 194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3986210" y="4253278"/>
            <a:ext cx="203757" cy="14901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undri</a:t>
            </a:r>
            <a:br>
              <a:rPr kumimoji="0" lang="en-US" sz="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</a:br>
            <a:r>
              <a:rPr kumimoji="0" lang="en-US" sz="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West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1" name="Rectangle 195"/>
          <p:cNvSpPr>
            <a:spLocks noChangeArrowheads="1"/>
          </p:cNvSpPr>
          <p:nvPr>
            <p:custDataLst>
              <p:tags r:id="rId99"/>
            </p:custDataLst>
          </p:nvPr>
        </p:nvSpPr>
        <p:spPr bwMode="gray">
          <a:xfrm>
            <a:off x="3872812" y="4436619"/>
            <a:ext cx="181730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aridi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2" name="Rectangle 196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3666553" y="4303112"/>
            <a:ext cx="129413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Ibba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Rectangle 197"/>
          <p:cNvSpPr>
            <a:spLocks noChangeArrowheads="1"/>
          </p:cNvSpPr>
          <p:nvPr>
            <p:custDataLst>
              <p:tags r:id="rId101"/>
            </p:custDataLst>
          </p:nvPr>
        </p:nvSpPr>
        <p:spPr bwMode="gray">
          <a:xfrm>
            <a:off x="3516369" y="4414371"/>
            <a:ext cx="225785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ambio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198"/>
          <p:cNvSpPr>
            <a:spLocks noChangeArrowheads="1"/>
          </p:cNvSpPr>
          <p:nvPr>
            <p:custDataLst>
              <p:tags r:id="rId102"/>
            </p:custDataLst>
          </p:nvPr>
        </p:nvSpPr>
        <p:spPr bwMode="gray">
          <a:xfrm>
            <a:off x="4219846" y="4311331"/>
            <a:ext cx="203757" cy="14901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undri</a:t>
            </a:r>
            <a:br>
              <a:rPr kumimoji="0" lang="en-US" sz="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</a:br>
            <a:r>
              <a:rPr kumimoji="0" lang="en-US" sz="600" b="0" i="0" u="none" strike="noStrike" cap="none" normalizeH="0" baseline="0" dirty="0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East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Rectangle 200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4845508" y="4596646"/>
            <a:ext cx="132167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Torit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8" name="Rectangle 202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4997960" y="4699237"/>
            <a:ext cx="176223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Ikotos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Rectangle 203"/>
          <p:cNvSpPr>
            <a:spLocks noChangeArrowheads="1"/>
          </p:cNvSpPr>
          <p:nvPr>
            <p:custDataLst>
              <p:tags r:id="rId105"/>
            </p:custDataLst>
          </p:nvPr>
        </p:nvSpPr>
        <p:spPr bwMode="gray">
          <a:xfrm>
            <a:off x="4690822" y="4746800"/>
            <a:ext cx="192743" cy="74509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Magwi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1" name="Rectangle 205"/>
          <p:cNvSpPr>
            <a:spLocks noChangeArrowheads="1"/>
          </p:cNvSpPr>
          <p:nvPr>
            <p:custDataLst>
              <p:tags r:id="rId106"/>
            </p:custDataLst>
          </p:nvPr>
        </p:nvSpPr>
        <p:spPr bwMode="gray">
          <a:xfrm>
            <a:off x="4054583" y="4606412"/>
            <a:ext cx="66618" cy="51863"/>
          </a:xfrm>
          <a:prstGeom prst="rect">
            <a:avLst/>
          </a:prstGeom>
          <a:noFill/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rgbClr val="000000"/>
                </a:solidFill>
                <a:effectLst/>
                <a:latin typeface="Arial" pitchFamily="34" charset="0"/>
                <a:cs typeface="Arial" pitchFamily="34" charset="0"/>
              </a:rPr>
              <a:t>Yei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2" name="Rectangle 206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4271568" y="4628767"/>
            <a:ext cx="136091" cy="51863"/>
          </a:xfrm>
          <a:prstGeom prst="rect">
            <a:avLst/>
          </a:prstGeom>
          <a:noFill/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Lainya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73" name="Rectangle 207"/>
          <p:cNvSpPr>
            <a:spLocks noChangeArrowheads="1"/>
          </p:cNvSpPr>
          <p:nvPr>
            <p:custDataLst>
              <p:tags r:id="rId108"/>
            </p:custDataLst>
          </p:nvPr>
        </p:nvSpPr>
        <p:spPr bwMode="gray">
          <a:xfrm>
            <a:off x="4188771" y="4942627"/>
            <a:ext cx="156077" cy="51863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Morobo</a:t>
            </a:r>
            <a:endParaRPr kumimoji="0" 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92" name="Rectangle 226"/>
          <p:cNvSpPr>
            <a:spLocks noChangeArrowheads="1"/>
          </p:cNvSpPr>
          <p:nvPr>
            <p:custDataLst>
              <p:tags r:id="rId109"/>
            </p:custDataLst>
          </p:nvPr>
        </p:nvSpPr>
        <p:spPr bwMode="gray">
          <a:xfrm>
            <a:off x="4912895" y="2281763"/>
            <a:ext cx="155572" cy="74509"/>
          </a:xfrm>
          <a:prstGeom prst="rect">
            <a:avLst/>
          </a:prstGeom>
          <a:solidFill>
            <a:schemeClr val="accent3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chemeClr val="bg1"/>
                </a:solidFill>
                <a:effectLst/>
                <a:latin typeface="Arial" pitchFamily="34" charset="0"/>
                <a:cs typeface="Arial" pitchFamily="34" charset="0"/>
              </a:rPr>
              <a:t>Renk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Line 259"/>
          <p:cNvSpPr>
            <a:spLocks noChangeShapeType="1"/>
          </p:cNvSpPr>
          <p:nvPr>
            <p:custDataLst>
              <p:tags r:id="rId110"/>
            </p:custDataLst>
          </p:nvPr>
        </p:nvSpPr>
        <p:spPr bwMode="gray">
          <a:xfrm>
            <a:off x="4260148" y="4850526"/>
            <a:ext cx="952" cy="91207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cxnSp>
        <p:nvCxnSpPr>
          <p:cNvPr id="6" name="Straight Connector 5"/>
          <p:cNvCxnSpPr/>
          <p:nvPr>
            <p:custDataLst>
              <p:tags r:id="rId111"/>
            </p:custDataLst>
          </p:nvPr>
        </p:nvCxnSpPr>
        <p:spPr bwMode="gray">
          <a:xfrm>
            <a:off x="3622982" y="2114138"/>
            <a:ext cx="362709" cy="0"/>
          </a:xfrm>
          <a:prstGeom prst="line">
            <a:avLst/>
          </a:prstGeom>
          <a:ln>
            <a:solidFill>
              <a:schemeClr val="accent6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9" name="Rectangle 219"/>
          <p:cNvSpPr txBox="1">
            <a:spLocks/>
          </p:cNvSpPr>
          <p:nvPr>
            <p:custDataLst>
              <p:tags r:id="rId112"/>
            </p:custDataLst>
          </p:nvPr>
        </p:nvSpPr>
        <p:spPr bwMode="gray">
          <a:xfrm>
            <a:off x="497369" y="1170920"/>
            <a:ext cx="3634199" cy="116955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400"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400"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Eastern Flood Plains – North (</a:t>
            </a:r>
            <a:r>
              <a:rPr lang="en-US" b="1" dirty="0" err="1"/>
              <a:t>Renk</a:t>
            </a:r>
            <a:r>
              <a:rPr lang="en-US" b="1" dirty="0"/>
              <a:t>)</a:t>
            </a:r>
          </a:p>
          <a:p>
            <a:pPr lvl="1"/>
            <a:r>
              <a:rPr lang="en-US" dirty="0"/>
              <a:t>1 Zonal Director</a:t>
            </a:r>
          </a:p>
          <a:p>
            <a:pPr lvl="1"/>
            <a:r>
              <a:rPr lang="en-US" dirty="0"/>
              <a:t>2 Data/</a:t>
            </a:r>
            <a:r>
              <a:rPr lang="en-US" dirty="0" err="1"/>
              <a:t>M&amp;E</a:t>
            </a:r>
            <a:r>
              <a:rPr lang="en-US" dirty="0"/>
              <a:t> Collection Agents</a:t>
            </a:r>
          </a:p>
          <a:p>
            <a:pPr lvl="1"/>
            <a:r>
              <a:rPr lang="en-US" dirty="0"/>
              <a:t>1 County Implementation leader </a:t>
            </a:r>
          </a:p>
        </p:txBody>
      </p:sp>
      <p:cxnSp>
        <p:nvCxnSpPr>
          <p:cNvPr id="9" name="Straight Connector 8"/>
          <p:cNvCxnSpPr/>
          <p:nvPr>
            <p:custDataLst>
              <p:tags r:id="rId113"/>
            </p:custDataLst>
          </p:nvPr>
        </p:nvCxnSpPr>
        <p:spPr bwMode="gray">
          <a:xfrm flipV="1">
            <a:off x="3263154" y="4705207"/>
            <a:ext cx="0" cy="829959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219"/>
          <p:cNvSpPr txBox="1">
            <a:spLocks/>
          </p:cNvSpPr>
          <p:nvPr>
            <p:custDataLst>
              <p:tags r:id="rId114"/>
            </p:custDataLst>
          </p:nvPr>
        </p:nvSpPr>
        <p:spPr bwMode="gray">
          <a:xfrm>
            <a:off x="551961" y="5145743"/>
            <a:ext cx="3634199" cy="116955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/>
              <a:t>Greenbelt Zone</a:t>
            </a:r>
          </a:p>
          <a:p>
            <a:pPr lvl="1"/>
            <a:r>
              <a:rPr lang="en-US" sz="1400" dirty="0"/>
              <a:t>1 Zonal Director</a:t>
            </a:r>
          </a:p>
          <a:p>
            <a:pPr lvl="1"/>
            <a:r>
              <a:rPr lang="en-US" sz="1400" dirty="0"/>
              <a:t>6 Data/</a:t>
            </a:r>
            <a:r>
              <a:rPr lang="en-US" sz="1400" dirty="0" err="1"/>
              <a:t>M&amp;E</a:t>
            </a:r>
            <a:r>
              <a:rPr lang="en-US" sz="1400" dirty="0"/>
              <a:t> Collection Agents</a:t>
            </a:r>
          </a:p>
          <a:p>
            <a:pPr lvl="1"/>
            <a:r>
              <a:rPr lang="en-US" sz="1400" dirty="0"/>
              <a:t>12 County Implementation Leaders</a:t>
            </a:r>
          </a:p>
        </p:txBody>
      </p:sp>
      <p:sp>
        <p:nvSpPr>
          <p:cNvPr id="4" name="Rectangle 4"/>
          <p:cNvSpPr txBox="1"/>
          <p:nvPr>
            <p:custDataLst>
              <p:tags r:id="rId115"/>
            </p:custDataLst>
          </p:nvPr>
        </p:nvSpPr>
        <p:spPr bwMode="gray">
          <a:xfrm>
            <a:off x="244559" y="800325"/>
            <a:ext cx="7628913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>
                <a:solidFill>
                  <a:schemeClr val="tx2"/>
                </a:solidFill>
              </a:rPr>
              <a:t>First phase implementation:</a:t>
            </a:r>
          </a:p>
        </p:txBody>
      </p:sp>
      <p:sp>
        <p:nvSpPr>
          <p:cNvPr id="224" name="McK 4. Footnote"/>
          <p:cNvSpPr txBox="1">
            <a:spLocks noChangeArrowheads="1"/>
          </p:cNvSpPr>
          <p:nvPr>
            <p:custDataLst>
              <p:tags r:id="rId116"/>
            </p:custDataLst>
          </p:nvPr>
        </p:nvSpPr>
        <p:spPr bwMode="auto">
          <a:xfrm>
            <a:off x="119063" y="6494477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latin typeface="+mn-lt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US" dirty="0"/>
              <a:t>1 Only includes new costs (i.e. salaries for staff who are already in the ministry are not counted)</a:t>
            </a:r>
          </a:p>
        </p:txBody>
      </p:sp>
      <p:sp>
        <p:nvSpPr>
          <p:cNvPr id="241" name="Rectangle 219"/>
          <p:cNvSpPr txBox="1"/>
          <p:nvPr>
            <p:custDataLst>
              <p:tags r:id="rId117"/>
            </p:custDataLst>
          </p:nvPr>
        </p:nvSpPr>
        <p:spPr bwMode="gray">
          <a:xfrm>
            <a:off x="4390117" y="5145743"/>
            <a:ext cx="3634199" cy="1169551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45720" tIns="45720" rIns="45720" bIns="4572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/>
              <a:t>Hills and Mountains</a:t>
            </a:r>
          </a:p>
          <a:p>
            <a:pPr lvl="1"/>
            <a:r>
              <a:rPr lang="en-US" sz="1400" dirty="0"/>
              <a:t>1 Zonal Director</a:t>
            </a:r>
          </a:p>
          <a:p>
            <a:pPr lvl="1"/>
            <a:r>
              <a:rPr lang="en-US" sz="1400" dirty="0"/>
              <a:t>5 County Implementation Leaders</a:t>
            </a:r>
          </a:p>
          <a:p>
            <a:pPr lvl="1"/>
            <a:r>
              <a:rPr lang="en-US" sz="1400" i="1" dirty="0"/>
              <a:t>Data collection shared with Greenbelt</a:t>
            </a:r>
          </a:p>
        </p:txBody>
      </p:sp>
      <p:sp>
        <p:nvSpPr>
          <p:cNvPr id="255" name="Rectangle 204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4476180" y="4719080"/>
            <a:ext cx="107540" cy="103725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Kajo</a:t>
            </a:r>
            <a:r>
              <a:rPr kumimoji="0" lang="en-US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-</a:t>
            </a:r>
            <a:br>
              <a:rPr kumimoji="0" lang="en-US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</a:br>
            <a:r>
              <a:rPr kumimoji="0" lang="en-US" sz="6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Keji</a:t>
            </a:r>
            <a:r>
              <a:rPr kumimoji="0" lang="en-US" sz="6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cs typeface="Arial" pitchFamily="34" charset="0"/>
              </a:rPr>
              <a:t> </a:t>
            </a: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256" name="Straight Connector 255"/>
          <p:cNvCxnSpPr/>
          <p:nvPr>
            <p:custDataLst>
              <p:tags r:id="rId119"/>
            </p:custDataLst>
          </p:nvPr>
        </p:nvCxnSpPr>
        <p:spPr bwMode="gray">
          <a:xfrm flipV="1">
            <a:off x="4662234" y="4927662"/>
            <a:ext cx="0" cy="227661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7" name="Straight Connector 256"/>
          <p:cNvCxnSpPr/>
          <p:nvPr/>
        </p:nvCxnSpPr>
        <p:spPr bwMode="gray">
          <a:xfrm>
            <a:off x="4130878" y="2007011"/>
            <a:ext cx="444437" cy="92101"/>
          </a:xfrm>
          <a:prstGeom prst="line">
            <a:avLst/>
          </a:prstGeom>
          <a:ln>
            <a:solidFill>
              <a:schemeClr val="accent6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9" name="Rectangle 6"/>
          <p:cNvSpPr txBox="1">
            <a:spLocks/>
          </p:cNvSpPr>
          <p:nvPr>
            <p:custDataLst>
              <p:tags r:id="rId120"/>
            </p:custDataLst>
          </p:nvPr>
        </p:nvSpPr>
        <p:spPr bwMode="gray">
          <a:xfrm>
            <a:off x="5863259" y="1450351"/>
            <a:ext cx="2010213" cy="224935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00" b="1" dirty="0"/>
              <a:t>A State Effort for Agricultural Transformation (SEAT) team will provide policy and implementation guidance in each state</a:t>
            </a:r>
          </a:p>
        </p:txBody>
      </p:sp>
    </p:spTree>
    <p:extLst>
      <p:ext uri="{BB962C8B-B14F-4D97-AF65-F5344CB8AC3E}">
        <p14:creationId xmlns:p14="http://schemas.microsoft.com/office/powerpoint/2010/main" val="42590027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0127" name="Object 1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90127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>
            <p:custDataLst>
              <p:tags r:id="rId2"/>
            </p:custDataLst>
          </p:nvPr>
        </p:nvSpPr>
        <p:spPr>
          <a:xfrm>
            <a:off x="288443" y="1127051"/>
            <a:ext cx="8508716" cy="4221126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0129" name="Title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gray">
          <a:xfrm>
            <a:off x="119063" y="135594"/>
            <a:ext cx="8618537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Successful programs outside the ZEAT should continue to receive support to promote household self-sufficiency</a:t>
            </a:r>
          </a:p>
        </p:txBody>
      </p:sp>
      <p:sp>
        <p:nvSpPr>
          <p:cNvPr id="90133" name="Rectangle 9"/>
          <p:cNvSpPr txBox="1">
            <a:spLocks/>
          </p:cNvSpPr>
          <p:nvPr>
            <p:custDataLst>
              <p:tags r:id="rId4"/>
            </p:custDataLst>
          </p:nvPr>
        </p:nvSpPr>
        <p:spPr bwMode="gray">
          <a:xfrm>
            <a:off x="1924792" y="1589835"/>
            <a:ext cx="2572081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National food security </a:t>
            </a:r>
          </a:p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dirty="0">
                <a:latin typeface="+mn-lt"/>
              </a:rPr>
              <a:t>Eliminate the country’s food deficit by </a:t>
            </a:r>
            <a:r>
              <a:rPr lang="en-US" b="1" dirty="0">
                <a:latin typeface="+mn-lt"/>
              </a:rPr>
              <a:t>aggregating and marketing smallholder production</a:t>
            </a:r>
            <a:r>
              <a:rPr lang="en-US" b="1" dirty="0">
                <a:solidFill>
                  <a:schemeClr val="tx2"/>
                </a:solidFill>
                <a:latin typeface="+mn-lt"/>
              </a:rPr>
              <a:t> </a:t>
            </a:r>
            <a:r>
              <a:rPr lang="en-US" dirty="0">
                <a:latin typeface="+mn-lt"/>
              </a:rPr>
              <a:t>and supporting commercial farming</a:t>
            </a:r>
          </a:p>
        </p:txBody>
      </p:sp>
      <p:sp>
        <p:nvSpPr>
          <p:cNvPr id="90137" name="Rectangle 9"/>
          <p:cNvSpPr txBox="1">
            <a:spLocks/>
          </p:cNvSpPr>
          <p:nvPr>
            <p:custDataLst>
              <p:tags r:id="rId5"/>
            </p:custDataLst>
          </p:nvPr>
        </p:nvSpPr>
        <p:spPr bwMode="gray">
          <a:xfrm>
            <a:off x="1924793" y="3620640"/>
            <a:ext cx="2762131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b="1" dirty="0">
                <a:solidFill>
                  <a:schemeClr val="tx2"/>
                </a:solidFill>
                <a:latin typeface="+mn-lt"/>
              </a:rPr>
              <a:t>Household self-sufficiency</a:t>
            </a:r>
          </a:p>
          <a:p>
            <a:pPr marL="0" lvl="1" defTabSz="895350">
              <a:buClr>
                <a:schemeClr val="tx2"/>
              </a:buClr>
              <a:buSzPct val="125000"/>
              <a:buFont typeface="Arial" charset="0"/>
              <a:buNone/>
            </a:pPr>
            <a:r>
              <a:rPr lang="en-US" b="1" dirty="0">
                <a:latin typeface="+mn-lt"/>
              </a:rPr>
              <a:t>Support households to grow enough food </a:t>
            </a:r>
            <a:r>
              <a:rPr lang="en-US" dirty="0">
                <a:latin typeface="+mn-lt"/>
              </a:rPr>
              <a:t>to meet basic needs and ultimately see farming as a business</a:t>
            </a:r>
          </a:p>
        </p:txBody>
      </p:sp>
      <p:sp>
        <p:nvSpPr>
          <p:cNvPr id="3" name="Rectangle 3"/>
          <p:cNvSpPr txBox="1">
            <a:spLocks/>
          </p:cNvSpPr>
          <p:nvPr>
            <p:custDataLst>
              <p:tags r:id="rId6"/>
            </p:custDataLst>
          </p:nvPr>
        </p:nvSpPr>
        <p:spPr bwMode="gray">
          <a:xfrm>
            <a:off x="5230487" y="1589835"/>
            <a:ext cx="3409918" cy="10095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b="1" dirty="0">
                <a:solidFill>
                  <a:schemeClr val="tx2"/>
                </a:solidFill>
                <a:ea typeface="MS PGothic"/>
                <a:cs typeface="+mn-cs"/>
              </a:rPr>
              <a:t>Immediate goal of the </a:t>
            </a:r>
            <a:r>
              <a:rPr lang="en-US" b="1" dirty="0" err="1">
                <a:solidFill>
                  <a:schemeClr val="tx2"/>
                </a:solidFill>
                <a:ea typeface="MS PGothic"/>
                <a:cs typeface="+mn-cs"/>
              </a:rPr>
              <a:t>ZEAT</a:t>
            </a:r>
            <a:endParaRPr lang="en-US" b="1" dirty="0">
              <a:solidFill>
                <a:schemeClr val="tx2"/>
              </a:solidFill>
              <a:ea typeface="MS PGothic"/>
              <a:cs typeface="+mn-cs"/>
            </a:endParaRPr>
          </a:p>
          <a:p>
            <a:pPr marL="1587" lvl="1" indent="0">
              <a:spcBef>
                <a:spcPct val="10000"/>
              </a:spcBef>
              <a:buNone/>
            </a:pPr>
            <a:r>
              <a:rPr lang="en-US" dirty="0">
                <a:ea typeface="MS PGothic"/>
                <a:cs typeface="+mn-cs"/>
              </a:rPr>
              <a:t>Take advantage of zones with a high number of market-ready farmers to quickly achieve increased production</a:t>
            </a:r>
          </a:p>
        </p:txBody>
      </p:sp>
      <p:sp>
        <p:nvSpPr>
          <p:cNvPr id="7" name="Rectangle 7"/>
          <p:cNvSpPr txBox="1">
            <a:spLocks/>
          </p:cNvSpPr>
          <p:nvPr>
            <p:custDataLst>
              <p:tags r:id="rId7"/>
            </p:custDataLst>
          </p:nvPr>
        </p:nvSpPr>
        <p:spPr bwMode="gray">
          <a:xfrm>
            <a:off x="5230487" y="3620640"/>
            <a:ext cx="3409918" cy="150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ct val="20000"/>
              </a:spcBef>
            </a:pPr>
            <a:r>
              <a:rPr lang="en-US" b="1" dirty="0">
                <a:solidFill>
                  <a:schemeClr val="tx2"/>
                </a:solidFill>
                <a:ea typeface="MS PGothic"/>
                <a:cs typeface="+mn-cs"/>
              </a:rPr>
              <a:t>Ongoing support for successful programs</a:t>
            </a:r>
          </a:p>
          <a:p>
            <a:pPr marL="1587" lvl="1" indent="0">
              <a:spcBef>
                <a:spcPct val="10000"/>
              </a:spcBef>
              <a:buNone/>
            </a:pPr>
            <a:r>
              <a:rPr lang="en-US" dirty="0">
                <a:ea typeface="MS PGothic"/>
                <a:cs typeface="+mn-cs"/>
              </a:rPr>
              <a:t>Coordinate support from government and development partners to provide basic training and inputs to households and farmer groups</a:t>
            </a:r>
          </a:p>
        </p:txBody>
      </p:sp>
      <p:pic>
        <p:nvPicPr>
          <p:cNvPr id="90186" name="Picture 74" descr="http://t3.gstatic.com/images?q=tbn:ANd9GcQBI7mShdUkrrOJdWfvVu7NYLbVImQ245TRhHTDiUknnrDYLPVv0a4_hvImkQ"/>
          <p:cNvPicPr>
            <a:picLocks noChangeArrowheads="1"/>
          </p:cNvPicPr>
          <p:nvPr>
            <p:custDataLst>
              <p:tags r:id="rId8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51884" y="1630745"/>
            <a:ext cx="1461150" cy="10092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9"/>
          <p:cNvPicPr>
            <a:picLocks noChangeArrowheads="1"/>
          </p:cNvPicPr>
          <p:nvPr>
            <p:custDataLst>
              <p:tags r:id="rId9"/>
            </p:custDataLst>
          </p:nvPr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351884" y="3661550"/>
            <a:ext cx="1461150" cy="100921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2" name="Rectangle 3"/>
          <p:cNvSpPr txBox="1"/>
          <p:nvPr>
            <p:custDataLst>
              <p:tags r:id="rId10"/>
            </p:custDataLst>
          </p:nvPr>
        </p:nvSpPr>
        <p:spPr>
          <a:xfrm>
            <a:off x="352408" y="1215223"/>
            <a:ext cx="8224933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/>
              <a:t>MAF promotes food security through two complementary and necessary approaches</a:t>
            </a:r>
          </a:p>
        </p:txBody>
      </p:sp>
      <p:sp>
        <p:nvSpPr>
          <p:cNvPr id="22" name="AutoShape 24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109215" y="5905657"/>
            <a:ext cx="4710418" cy="311438"/>
          </a:xfrm>
          <a:prstGeom prst="roundRect">
            <a:avLst>
              <a:gd name="adj" fmla="val 16667"/>
            </a:avLst>
          </a:prstGeom>
          <a:gradFill rotWithShape="0">
            <a:gsLst>
              <a:gs pos="0">
                <a:srgbClr val="808080"/>
              </a:gs>
              <a:gs pos="100000">
                <a:schemeClr val="bg1">
                  <a:alpha val="0"/>
                </a:schemeClr>
              </a:gs>
            </a:gsLst>
            <a:path path="shape">
              <a:fillToRect l="50000" t="50000" r="50000" b="50000"/>
            </a:path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</a:endParaRPr>
          </a:p>
        </p:txBody>
      </p:sp>
      <p:sp>
        <p:nvSpPr>
          <p:cNvPr id="23" name="Rectangle 3"/>
          <p:cNvSpPr txBox="1"/>
          <p:nvPr>
            <p:custDataLst>
              <p:tags r:id="rId12"/>
            </p:custDataLst>
          </p:nvPr>
        </p:nvSpPr>
        <p:spPr bwMode="gray">
          <a:xfrm>
            <a:off x="288443" y="5352295"/>
            <a:ext cx="8508716" cy="740980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4300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/>
            <a:lvl2pPr lvl="1"/>
            <a:lvl3pPr marL="247650" lvl="2" indent="-174625">
              <a:buClr>
                <a:schemeClr val="bg1"/>
              </a:buClr>
              <a:buSzPct val="125000"/>
              <a:buFont typeface="Arial" pitchFamily="34" charset="0"/>
              <a:buChar char="▪"/>
            </a:lvl3pPr>
            <a:lvl4pPr marL="541338" lvl="3" indent="-285750">
              <a:buClr>
                <a:schemeClr val="bg1"/>
              </a:buClr>
              <a:buSzPct val="125000"/>
              <a:buFont typeface="Arial" pitchFamily="34" charset="0"/>
              <a:buChar char="–"/>
            </a:lvl4pPr>
          </a:lstStyle>
          <a:p>
            <a:pPr marL="73025" lvl="2" indent="0">
              <a:spcBef>
                <a:spcPct val="5000"/>
              </a:spcBef>
              <a:buNone/>
            </a:pPr>
            <a:r>
              <a:rPr lang="en-US" b="1" dirty="0" err="1"/>
              <a:t>MAF</a:t>
            </a:r>
            <a:r>
              <a:rPr lang="en-US" b="1" dirty="0"/>
              <a:t> should catalog all ongoing government and development partner agriculture programs to balance resources against them</a:t>
            </a:r>
          </a:p>
        </p:txBody>
      </p:sp>
      <p:sp>
        <p:nvSpPr>
          <p:cNvPr id="29" name="McK DirArrow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 rot="5400000">
            <a:off x="4374911" y="2178526"/>
            <a:ext cx="1050111" cy="173831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0" name="McK DirArrow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 rot="5400000">
            <a:off x="4374911" y="4239775"/>
            <a:ext cx="1050111" cy="173831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485225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19063" y="81328"/>
            <a:ext cx="8842375" cy="584775"/>
          </a:xfrm>
        </p:spPr>
        <p:txBody>
          <a:bodyPr/>
          <a:lstStyle/>
          <a:p>
            <a:r>
              <a:rPr lang="en-US" dirty="0"/>
              <a:t>Documenting additional agricultural programs outside direct </a:t>
            </a:r>
            <a:r>
              <a:rPr lang="en-US" dirty="0" err="1"/>
              <a:t>ZEAT</a:t>
            </a:r>
            <a:r>
              <a:rPr lang="en-US" dirty="0"/>
              <a:t> strategy</a:t>
            </a:r>
            <a:br>
              <a:rPr lang="en-US" dirty="0"/>
            </a:br>
            <a:r>
              <a:rPr lang="en-US" i="1" dirty="0"/>
              <a:t>Name of donor/development partner:</a:t>
            </a:r>
          </a:p>
        </p:txBody>
      </p:sp>
      <p:sp>
        <p:nvSpPr>
          <p:cNvPr id="58" name="Rectangle 57"/>
          <p:cNvSpPr/>
          <p:nvPr>
            <p:custDataLst>
              <p:tags r:id="rId2"/>
            </p:custDataLst>
          </p:nvPr>
        </p:nvSpPr>
        <p:spPr>
          <a:xfrm>
            <a:off x="192161" y="760042"/>
            <a:ext cx="8612641" cy="567710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5" name="Rectangle 3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1412567" y="1309506"/>
            <a:ext cx="132316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Target population </a:t>
            </a:r>
            <a:r>
              <a:rPr lang="en-US" sz="1200" i="1" dirty="0"/>
              <a:t>(Market-driven or household food security)</a:t>
            </a:r>
          </a:p>
        </p:txBody>
      </p:sp>
      <p:sp>
        <p:nvSpPr>
          <p:cNvPr id="116" name="Rectangle 3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2839737" y="1309506"/>
            <a:ext cx="1323169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Target zone and specific state(s) </a:t>
            </a:r>
            <a:r>
              <a:rPr lang="en-US" sz="1200" i="1" dirty="0"/>
              <a:t>(e.g., W. Flood Plains / </a:t>
            </a:r>
            <a:r>
              <a:rPr lang="en-US" sz="1200" i="1" dirty="0" err="1"/>
              <a:t>NBEGS</a:t>
            </a:r>
            <a:r>
              <a:rPr lang="en-US" sz="1200" i="1" dirty="0"/>
              <a:t>)</a:t>
            </a:r>
            <a:endParaRPr lang="en-US" sz="1200" b="1" dirty="0"/>
          </a:p>
        </p:txBody>
      </p:sp>
      <p:sp>
        <p:nvSpPr>
          <p:cNvPr id="117" name="Rectangle 3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5419394" y="1494172"/>
            <a:ext cx="1393365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Value-chain focus </a:t>
            </a:r>
            <a:r>
              <a:rPr lang="en-US" sz="1200" i="1" dirty="0"/>
              <a:t>(e.g., inputs, post-harvest, marketing)</a:t>
            </a:r>
            <a:endParaRPr lang="en-US" sz="1200" b="1" dirty="0"/>
          </a:p>
        </p:txBody>
      </p:sp>
      <p:sp>
        <p:nvSpPr>
          <p:cNvPr id="118" name="Rectangle 3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6916760" y="1494172"/>
            <a:ext cx="858009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# small-holders reached</a:t>
            </a:r>
          </a:p>
        </p:txBody>
      </p:sp>
      <p:sp>
        <p:nvSpPr>
          <p:cNvPr id="119" name="Rectangle 3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7878768" y="1309506"/>
            <a:ext cx="881791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Total increased production (MT)</a:t>
            </a:r>
          </a:p>
        </p:txBody>
      </p:sp>
      <p:sp>
        <p:nvSpPr>
          <p:cNvPr id="176" name="Rectangle 3"/>
          <p:cNvSpPr txBox="1"/>
          <p:nvPr>
            <p:custDataLst>
              <p:tags r:id="rId8"/>
            </p:custDataLst>
          </p:nvPr>
        </p:nvSpPr>
        <p:spPr>
          <a:xfrm>
            <a:off x="290009" y="1863504"/>
            <a:ext cx="132316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Program</a:t>
            </a:r>
          </a:p>
        </p:txBody>
      </p:sp>
      <p:sp>
        <p:nvSpPr>
          <p:cNvPr id="31" name="Rectangle 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4266907" y="1309506"/>
            <a:ext cx="1048486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1200" b="1" dirty="0"/>
              <a:t>Commodity focus </a:t>
            </a:r>
            <a:r>
              <a:rPr lang="en-US" sz="1200" i="1" dirty="0"/>
              <a:t>(e.g., maize, livestock)</a:t>
            </a:r>
            <a:endParaRPr lang="en-US" sz="1200" b="1" dirty="0"/>
          </a:p>
        </p:txBody>
      </p:sp>
      <p:grpSp>
        <p:nvGrpSpPr>
          <p:cNvPr id="8" name="Group 7"/>
          <p:cNvGrpSpPr>
            <a:grpSpLocks/>
          </p:cNvGrpSpPr>
          <p:nvPr/>
        </p:nvGrpSpPr>
        <p:grpSpPr>
          <a:xfrm>
            <a:off x="275261" y="2072082"/>
            <a:ext cx="8485298" cy="813078"/>
            <a:chOff x="275261" y="1605657"/>
            <a:chExt cx="8485298" cy="813078"/>
          </a:xfrm>
        </p:grpSpPr>
        <p:sp>
          <p:nvSpPr>
            <p:cNvPr id="155" name="Rectangle 155"/>
            <p:cNvSpPr txBox="1">
              <a:spLocks/>
            </p:cNvSpPr>
            <p:nvPr/>
          </p:nvSpPr>
          <p:spPr>
            <a:xfrm>
              <a:off x="141256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/>
              <a:r>
                <a:rPr lang="en-US" sz="1200" i="1" dirty="0"/>
                <a:t>Both market-driven and household food security</a:t>
              </a:r>
            </a:p>
          </p:txBody>
        </p:sp>
        <p:sp>
          <p:nvSpPr>
            <p:cNvPr id="157" name="Rectangle 155"/>
            <p:cNvSpPr txBox="1">
              <a:spLocks/>
            </p:cNvSpPr>
            <p:nvPr/>
          </p:nvSpPr>
          <p:spPr>
            <a:xfrm>
              <a:off x="283973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en-US" i="1" dirty="0"/>
                <a:t>Greenbelt / WES, </a:t>
              </a:r>
              <a:r>
                <a:rPr lang="en-US" i="1" dirty="0" err="1"/>
                <a:t>CES</a:t>
              </a:r>
              <a:r>
                <a:rPr lang="en-US" i="1" dirty="0"/>
                <a:t>, </a:t>
              </a:r>
              <a:r>
                <a:rPr lang="en-US" i="1" dirty="0" err="1"/>
                <a:t>EES</a:t>
              </a:r>
              <a:endParaRPr lang="en-US" i="1" dirty="0"/>
            </a:p>
          </p:txBody>
        </p:sp>
        <p:cxnSp>
          <p:nvCxnSpPr>
            <p:cNvPr id="175" name="Straight Connector 174"/>
            <p:cNvCxnSpPr/>
            <p:nvPr/>
          </p:nvCxnSpPr>
          <p:spPr>
            <a:xfrm>
              <a:off x="275261" y="1605657"/>
              <a:ext cx="8447591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Rectangle 3"/>
            <p:cNvSpPr txBox="1"/>
            <p:nvPr>
              <p:custDataLst>
                <p:tags r:id="rId15"/>
              </p:custDataLst>
            </p:nvPr>
          </p:nvSpPr>
          <p:spPr>
            <a:xfrm>
              <a:off x="290010" y="1661971"/>
              <a:ext cx="11225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200" i="1" dirty="0"/>
                <a:t>Example: </a:t>
              </a:r>
            </a:p>
            <a:p>
              <a:pPr marL="1587" lvl="1" indent="0">
                <a:buNone/>
              </a:pPr>
              <a:r>
                <a:rPr lang="en-US" sz="1200" i="1" dirty="0"/>
                <a:t>On-Farm Demonstration Trials</a:t>
              </a:r>
            </a:p>
          </p:txBody>
        </p:sp>
        <p:sp>
          <p:nvSpPr>
            <p:cNvPr id="43" name="Rectangle 155"/>
            <p:cNvSpPr txBox="1">
              <a:spLocks/>
            </p:cNvSpPr>
            <p:nvPr/>
          </p:nvSpPr>
          <p:spPr>
            <a:xfrm>
              <a:off x="4266907" y="1661299"/>
              <a:ext cx="1048486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i="1" dirty="0"/>
                <a:t>Maize</a:t>
              </a:r>
            </a:p>
          </p:txBody>
        </p:sp>
        <p:sp>
          <p:nvSpPr>
            <p:cNvPr id="44" name="Rectangle 155"/>
            <p:cNvSpPr txBox="1">
              <a:spLocks/>
            </p:cNvSpPr>
            <p:nvPr/>
          </p:nvSpPr>
          <p:spPr>
            <a:xfrm>
              <a:off x="5419394" y="1661299"/>
              <a:ext cx="1393365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en-US" i="1" dirty="0"/>
                <a:t>Production (improved inputs and agronomic techniques)</a:t>
              </a:r>
            </a:p>
          </p:txBody>
        </p:sp>
        <p:sp>
          <p:nvSpPr>
            <p:cNvPr id="45" name="Rectangle 155"/>
            <p:cNvSpPr txBox="1">
              <a:spLocks/>
            </p:cNvSpPr>
            <p:nvPr/>
          </p:nvSpPr>
          <p:spPr>
            <a:xfrm>
              <a:off x="6916760" y="1661299"/>
              <a:ext cx="85800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en-US" i="1" dirty="0"/>
                <a:t>300 households</a:t>
              </a:r>
            </a:p>
          </p:txBody>
        </p:sp>
        <p:sp>
          <p:nvSpPr>
            <p:cNvPr id="46" name="Rectangle 155"/>
            <p:cNvSpPr txBox="1">
              <a:spLocks/>
            </p:cNvSpPr>
            <p:nvPr/>
          </p:nvSpPr>
          <p:spPr>
            <a:xfrm>
              <a:off x="7878768" y="1661299"/>
              <a:ext cx="881791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en-US" i="1" dirty="0"/>
                <a:t>660 MT (Yield from 800-3000 kg/ </a:t>
              </a:r>
              <a:r>
                <a:rPr lang="en-US" i="1" dirty="0" err="1"/>
                <a:t>HH</a:t>
              </a:r>
              <a:r>
                <a:rPr lang="en-US" i="1" dirty="0"/>
                <a:t> )</a:t>
              </a:r>
            </a:p>
          </p:txBody>
        </p:sp>
      </p:grpSp>
      <p:grpSp>
        <p:nvGrpSpPr>
          <p:cNvPr id="277" name="Group 276"/>
          <p:cNvGrpSpPr>
            <a:grpSpLocks/>
          </p:cNvGrpSpPr>
          <p:nvPr/>
        </p:nvGrpSpPr>
        <p:grpSpPr>
          <a:xfrm>
            <a:off x="275261" y="2931587"/>
            <a:ext cx="8485298" cy="813078"/>
            <a:chOff x="275261" y="1605657"/>
            <a:chExt cx="8485298" cy="813078"/>
          </a:xfrm>
        </p:grpSpPr>
        <p:sp>
          <p:nvSpPr>
            <p:cNvPr id="278" name="Rectangle 155"/>
            <p:cNvSpPr txBox="1">
              <a:spLocks/>
            </p:cNvSpPr>
            <p:nvPr/>
          </p:nvSpPr>
          <p:spPr>
            <a:xfrm>
              <a:off x="141256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 algn="ctr"/>
              <a:endParaRPr lang="en-US" sz="1200" dirty="0"/>
            </a:p>
          </p:txBody>
        </p:sp>
        <p:sp>
          <p:nvSpPr>
            <p:cNvPr id="279" name="Rectangle 155"/>
            <p:cNvSpPr txBox="1">
              <a:spLocks/>
            </p:cNvSpPr>
            <p:nvPr/>
          </p:nvSpPr>
          <p:spPr>
            <a:xfrm>
              <a:off x="283973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cxnSp>
          <p:nvCxnSpPr>
            <p:cNvPr id="280" name="Straight Connector 279"/>
            <p:cNvCxnSpPr/>
            <p:nvPr/>
          </p:nvCxnSpPr>
          <p:spPr>
            <a:xfrm>
              <a:off x="275261" y="1605657"/>
              <a:ext cx="8447591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1" name="Rectangle 3"/>
            <p:cNvSpPr txBox="1"/>
            <p:nvPr>
              <p:custDataLst>
                <p:tags r:id="rId14"/>
              </p:custDataLst>
            </p:nvPr>
          </p:nvSpPr>
          <p:spPr>
            <a:xfrm>
              <a:off x="290010" y="1661971"/>
              <a:ext cx="11225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200" dirty="0"/>
                <a:t>1)</a:t>
              </a:r>
            </a:p>
          </p:txBody>
        </p:sp>
        <p:sp>
          <p:nvSpPr>
            <p:cNvPr id="282" name="Rectangle 155"/>
            <p:cNvSpPr txBox="1">
              <a:spLocks/>
            </p:cNvSpPr>
            <p:nvPr/>
          </p:nvSpPr>
          <p:spPr>
            <a:xfrm>
              <a:off x="4266907" y="1661299"/>
              <a:ext cx="1048486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83" name="Rectangle 155"/>
            <p:cNvSpPr txBox="1">
              <a:spLocks/>
            </p:cNvSpPr>
            <p:nvPr/>
          </p:nvSpPr>
          <p:spPr>
            <a:xfrm>
              <a:off x="5419394" y="1661299"/>
              <a:ext cx="1393365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84" name="Rectangle 155"/>
            <p:cNvSpPr txBox="1">
              <a:spLocks/>
            </p:cNvSpPr>
            <p:nvPr/>
          </p:nvSpPr>
          <p:spPr>
            <a:xfrm>
              <a:off x="6916760" y="1661299"/>
              <a:ext cx="85800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85" name="Rectangle 155"/>
            <p:cNvSpPr txBox="1">
              <a:spLocks/>
            </p:cNvSpPr>
            <p:nvPr/>
          </p:nvSpPr>
          <p:spPr>
            <a:xfrm>
              <a:off x="7878768" y="1661299"/>
              <a:ext cx="881791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287" name="Group 286"/>
          <p:cNvGrpSpPr>
            <a:grpSpLocks/>
          </p:cNvGrpSpPr>
          <p:nvPr/>
        </p:nvGrpSpPr>
        <p:grpSpPr>
          <a:xfrm>
            <a:off x="275261" y="3791092"/>
            <a:ext cx="8485298" cy="813078"/>
            <a:chOff x="275261" y="1605657"/>
            <a:chExt cx="8485298" cy="813078"/>
          </a:xfrm>
        </p:grpSpPr>
        <p:sp>
          <p:nvSpPr>
            <p:cNvPr id="288" name="Rectangle 155"/>
            <p:cNvSpPr txBox="1">
              <a:spLocks/>
            </p:cNvSpPr>
            <p:nvPr/>
          </p:nvSpPr>
          <p:spPr>
            <a:xfrm>
              <a:off x="141256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 algn="ctr"/>
              <a:endParaRPr lang="en-US" sz="1200" dirty="0"/>
            </a:p>
          </p:txBody>
        </p:sp>
        <p:sp>
          <p:nvSpPr>
            <p:cNvPr id="289" name="Rectangle 155"/>
            <p:cNvSpPr txBox="1">
              <a:spLocks/>
            </p:cNvSpPr>
            <p:nvPr/>
          </p:nvSpPr>
          <p:spPr>
            <a:xfrm>
              <a:off x="283973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cxnSp>
          <p:nvCxnSpPr>
            <p:cNvPr id="290" name="Straight Connector 289"/>
            <p:cNvCxnSpPr/>
            <p:nvPr/>
          </p:nvCxnSpPr>
          <p:spPr>
            <a:xfrm>
              <a:off x="275261" y="1605657"/>
              <a:ext cx="8447591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1" name="Rectangle 3"/>
            <p:cNvSpPr txBox="1"/>
            <p:nvPr>
              <p:custDataLst>
                <p:tags r:id="rId13"/>
              </p:custDataLst>
            </p:nvPr>
          </p:nvSpPr>
          <p:spPr>
            <a:xfrm>
              <a:off x="290010" y="1661971"/>
              <a:ext cx="11225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200" dirty="0"/>
                <a:t>2)</a:t>
              </a:r>
            </a:p>
          </p:txBody>
        </p:sp>
        <p:sp>
          <p:nvSpPr>
            <p:cNvPr id="292" name="Rectangle 155"/>
            <p:cNvSpPr txBox="1">
              <a:spLocks/>
            </p:cNvSpPr>
            <p:nvPr/>
          </p:nvSpPr>
          <p:spPr>
            <a:xfrm>
              <a:off x="4266907" y="1661299"/>
              <a:ext cx="1048486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93" name="Rectangle 155"/>
            <p:cNvSpPr txBox="1">
              <a:spLocks/>
            </p:cNvSpPr>
            <p:nvPr/>
          </p:nvSpPr>
          <p:spPr>
            <a:xfrm>
              <a:off x="5419394" y="1661299"/>
              <a:ext cx="1393365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94" name="Rectangle 155"/>
            <p:cNvSpPr txBox="1">
              <a:spLocks/>
            </p:cNvSpPr>
            <p:nvPr/>
          </p:nvSpPr>
          <p:spPr>
            <a:xfrm>
              <a:off x="6916760" y="1661299"/>
              <a:ext cx="85800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295" name="Rectangle 155"/>
            <p:cNvSpPr txBox="1">
              <a:spLocks/>
            </p:cNvSpPr>
            <p:nvPr/>
          </p:nvSpPr>
          <p:spPr>
            <a:xfrm>
              <a:off x="7878768" y="1661299"/>
              <a:ext cx="881791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296" name="Group 295"/>
          <p:cNvGrpSpPr>
            <a:grpSpLocks/>
          </p:cNvGrpSpPr>
          <p:nvPr/>
        </p:nvGrpSpPr>
        <p:grpSpPr>
          <a:xfrm>
            <a:off x="275261" y="4650597"/>
            <a:ext cx="8485298" cy="813078"/>
            <a:chOff x="275261" y="1605657"/>
            <a:chExt cx="8485298" cy="813078"/>
          </a:xfrm>
        </p:grpSpPr>
        <p:sp>
          <p:nvSpPr>
            <p:cNvPr id="297" name="Rectangle 155"/>
            <p:cNvSpPr txBox="1">
              <a:spLocks/>
            </p:cNvSpPr>
            <p:nvPr/>
          </p:nvSpPr>
          <p:spPr>
            <a:xfrm>
              <a:off x="141256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 algn="ctr"/>
              <a:endParaRPr lang="en-US" sz="1200" dirty="0"/>
            </a:p>
          </p:txBody>
        </p:sp>
        <p:sp>
          <p:nvSpPr>
            <p:cNvPr id="298" name="Rectangle 155"/>
            <p:cNvSpPr txBox="1">
              <a:spLocks/>
            </p:cNvSpPr>
            <p:nvPr/>
          </p:nvSpPr>
          <p:spPr>
            <a:xfrm>
              <a:off x="283973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cxnSp>
          <p:nvCxnSpPr>
            <p:cNvPr id="299" name="Straight Connector 298"/>
            <p:cNvCxnSpPr/>
            <p:nvPr/>
          </p:nvCxnSpPr>
          <p:spPr>
            <a:xfrm>
              <a:off x="275261" y="1605657"/>
              <a:ext cx="8447591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0" name="Rectangle 3"/>
            <p:cNvSpPr txBox="1"/>
            <p:nvPr>
              <p:custDataLst>
                <p:tags r:id="rId12"/>
              </p:custDataLst>
            </p:nvPr>
          </p:nvSpPr>
          <p:spPr>
            <a:xfrm>
              <a:off x="290010" y="1661971"/>
              <a:ext cx="11225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200" dirty="0"/>
                <a:t>3)</a:t>
              </a:r>
            </a:p>
          </p:txBody>
        </p:sp>
        <p:sp>
          <p:nvSpPr>
            <p:cNvPr id="301" name="Rectangle 155"/>
            <p:cNvSpPr txBox="1">
              <a:spLocks/>
            </p:cNvSpPr>
            <p:nvPr/>
          </p:nvSpPr>
          <p:spPr>
            <a:xfrm>
              <a:off x="4266907" y="1661299"/>
              <a:ext cx="1048486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02" name="Rectangle 155"/>
            <p:cNvSpPr txBox="1">
              <a:spLocks/>
            </p:cNvSpPr>
            <p:nvPr/>
          </p:nvSpPr>
          <p:spPr>
            <a:xfrm>
              <a:off x="5419394" y="1661299"/>
              <a:ext cx="1393365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03" name="Rectangle 155"/>
            <p:cNvSpPr txBox="1">
              <a:spLocks/>
            </p:cNvSpPr>
            <p:nvPr/>
          </p:nvSpPr>
          <p:spPr>
            <a:xfrm>
              <a:off x="6916760" y="1661299"/>
              <a:ext cx="85800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04" name="Rectangle 155"/>
            <p:cNvSpPr txBox="1">
              <a:spLocks/>
            </p:cNvSpPr>
            <p:nvPr/>
          </p:nvSpPr>
          <p:spPr>
            <a:xfrm>
              <a:off x="7878768" y="1661299"/>
              <a:ext cx="881791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grpSp>
        <p:nvGrpSpPr>
          <p:cNvPr id="305" name="Group 304"/>
          <p:cNvGrpSpPr>
            <a:grpSpLocks/>
          </p:cNvGrpSpPr>
          <p:nvPr/>
        </p:nvGrpSpPr>
        <p:grpSpPr>
          <a:xfrm>
            <a:off x="275261" y="5510102"/>
            <a:ext cx="8485298" cy="813078"/>
            <a:chOff x="275261" y="1605657"/>
            <a:chExt cx="8485298" cy="813078"/>
          </a:xfrm>
        </p:grpSpPr>
        <p:sp>
          <p:nvSpPr>
            <p:cNvPr id="306" name="Rectangle 155"/>
            <p:cNvSpPr txBox="1">
              <a:spLocks/>
            </p:cNvSpPr>
            <p:nvPr/>
          </p:nvSpPr>
          <p:spPr>
            <a:xfrm>
              <a:off x="141256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indent="0" algn="ctr"/>
              <a:endParaRPr lang="en-US" sz="1200" dirty="0"/>
            </a:p>
          </p:txBody>
        </p:sp>
        <p:sp>
          <p:nvSpPr>
            <p:cNvPr id="307" name="Rectangle 155"/>
            <p:cNvSpPr txBox="1">
              <a:spLocks/>
            </p:cNvSpPr>
            <p:nvPr/>
          </p:nvSpPr>
          <p:spPr>
            <a:xfrm>
              <a:off x="2839737" y="1661299"/>
              <a:ext cx="132316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cxnSp>
          <p:nvCxnSpPr>
            <p:cNvPr id="308" name="Straight Connector 307"/>
            <p:cNvCxnSpPr/>
            <p:nvPr/>
          </p:nvCxnSpPr>
          <p:spPr>
            <a:xfrm>
              <a:off x="275261" y="1605657"/>
              <a:ext cx="8447591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9" name="Rectangle 3"/>
            <p:cNvSpPr txBox="1"/>
            <p:nvPr>
              <p:custDataLst>
                <p:tags r:id="rId11"/>
              </p:custDataLst>
            </p:nvPr>
          </p:nvSpPr>
          <p:spPr>
            <a:xfrm>
              <a:off x="290010" y="1661971"/>
              <a:ext cx="1122558" cy="36933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lvl1pPr marL="342870" lvl="0" indent="-342870" defTabSz="895272" eaLnBrk="0" hangingPunct="0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1587" lvl="1" indent="0">
                <a:buNone/>
              </a:pPr>
              <a:r>
                <a:rPr lang="en-US" sz="1200" dirty="0"/>
                <a:t>4)</a:t>
              </a:r>
            </a:p>
          </p:txBody>
        </p:sp>
        <p:sp>
          <p:nvSpPr>
            <p:cNvPr id="310" name="Rectangle 155"/>
            <p:cNvSpPr txBox="1">
              <a:spLocks/>
            </p:cNvSpPr>
            <p:nvPr/>
          </p:nvSpPr>
          <p:spPr>
            <a:xfrm>
              <a:off x="4266907" y="1661299"/>
              <a:ext cx="1048486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11" name="Rectangle 155"/>
            <p:cNvSpPr txBox="1">
              <a:spLocks/>
            </p:cNvSpPr>
            <p:nvPr/>
          </p:nvSpPr>
          <p:spPr>
            <a:xfrm>
              <a:off x="5419394" y="1661299"/>
              <a:ext cx="1393365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12" name="Rectangle 155"/>
            <p:cNvSpPr txBox="1">
              <a:spLocks/>
            </p:cNvSpPr>
            <p:nvPr/>
          </p:nvSpPr>
          <p:spPr>
            <a:xfrm>
              <a:off x="6916760" y="1661299"/>
              <a:ext cx="858009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  <p:sp>
          <p:nvSpPr>
            <p:cNvPr id="313" name="Rectangle 155"/>
            <p:cNvSpPr txBox="1">
              <a:spLocks/>
            </p:cNvSpPr>
            <p:nvPr/>
          </p:nvSpPr>
          <p:spPr>
            <a:xfrm>
              <a:off x="7878768" y="1661299"/>
              <a:ext cx="881791" cy="757436"/>
            </a:xfrm>
            <a:prstGeom prst="rect">
              <a:avLst/>
            </a:prstGeom>
            <a:noFill/>
            <a:ln w="952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0" lvl="0" indent="0" algn="ctr" defTabSz="895272" eaLnBrk="0" hangingPunct="0">
                <a:buClr>
                  <a:schemeClr val="tx2"/>
                </a:buClr>
                <a:defRPr sz="1200">
                  <a:latin typeface="+mn-lt"/>
                  <a:cs typeface="+mn-cs"/>
                </a:defRPr>
              </a:lvl1pPr>
              <a:lvl2pPr marL="193658" lvl="1" indent="-192071" defTabSz="895272" eaLnBrk="0" hangingPunct="0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160" lvl="2" indent="-261916" defTabSz="895272" eaLnBrk="0" hangingPunct="0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09" lvl="3" indent="-155561" defTabSz="895272" eaLnBrk="0" hangingPunct="0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234" lvl="4" indent="-130164" defTabSz="895272" eaLnBrk="0" hangingPunct="0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742" indent="-130164" defTabSz="895272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endParaRPr lang="en-US" dirty="0"/>
            </a:p>
          </p:txBody>
        </p:sp>
      </p:grpSp>
      <p:sp>
        <p:nvSpPr>
          <p:cNvPr id="65" name="Rectangle 3"/>
          <p:cNvSpPr txBox="1"/>
          <p:nvPr>
            <p:custDataLst>
              <p:tags r:id="rId10"/>
            </p:custDataLst>
          </p:nvPr>
        </p:nvSpPr>
        <p:spPr bwMode="gray">
          <a:xfrm>
            <a:off x="192161" y="760042"/>
            <a:ext cx="8604998" cy="246744"/>
          </a:xfrm>
          <a:prstGeom prst="rect">
            <a:avLst/>
          </a:prstGeom>
          <a:gradFill flip="none" rotWithShape="1">
            <a:gsLst>
              <a:gs pos="0">
                <a:schemeClr val="accent3"/>
              </a:gs>
              <a:gs pos="100000">
                <a:schemeClr val="accent3">
                  <a:lumMod val="43000"/>
                </a:schemeClr>
              </a:gs>
            </a:gsLst>
            <a:lin ang="5400000" scaled="1"/>
            <a:tileRect/>
          </a:gra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 rtlCol="0" anchor="ctr">
            <a:noAutofit/>
          </a:bodyPr>
          <a:lstStyle>
            <a:defPPr>
              <a:defRPr lang="en-US"/>
            </a:defPPr>
            <a:lvl1pPr algn="ctr"/>
            <a:lvl2pPr lvl="1"/>
            <a:lvl3pPr marL="247650" lvl="2" indent="-174625">
              <a:buClr>
                <a:schemeClr val="bg1"/>
              </a:buClr>
              <a:buSzPct val="125000"/>
              <a:buFont typeface="Arial" pitchFamily="34" charset="0"/>
              <a:buChar char="▪"/>
            </a:lvl3pPr>
            <a:lvl4pPr marL="541338" lvl="3" indent="-285750">
              <a:buClr>
                <a:schemeClr val="bg1"/>
              </a:buClr>
              <a:buSzPct val="125000"/>
              <a:buFont typeface="Arial" pitchFamily="34" charset="0"/>
              <a:buChar char="–"/>
            </a:lvl4pPr>
          </a:lstStyle>
          <a:p>
            <a:pPr marL="73025" lvl="2" indent="0">
              <a:spcBef>
                <a:spcPct val="5000"/>
              </a:spcBef>
              <a:buNone/>
            </a:pPr>
            <a:r>
              <a:rPr lang="en-US" sz="1200" b="1" dirty="0"/>
              <a:t>Government and development partners should describe programs outside of </a:t>
            </a:r>
            <a:r>
              <a:rPr lang="en-US" sz="1200" b="1" dirty="0" err="1"/>
              <a:t>ZEAT</a:t>
            </a:r>
            <a:r>
              <a:rPr lang="en-US" sz="1200" b="1" dirty="0"/>
              <a:t> on the worksheet below</a:t>
            </a:r>
          </a:p>
        </p:txBody>
      </p:sp>
    </p:spTree>
    <p:extLst>
      <p:ext uri="{BB962C8B-B14F-4D97-AF65-F5344CB8AC3E}">
        <p14:creationId xmlns:p14="http://schemas.microsoft.com/office/powerpoint/2010/main" val="4066592338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535BAB-B135-4CB4-195F-754EC11DDE0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3296" y="230189"/>
            <a:ext cx="5220182" cy="369332"/>
          </a:xfrm>
        </p:spPr>
        <p:txBody>
          <a:bodyPr/>
          <a:lstStyle/>
          <a:p>
            <a:r>
              <a:rPr lang="en-US" sz="2400" dirty="0"/>
              <a:t>Overcoming the constraint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CD947B38-DBC3-BD34-7E91-D978F604E2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7811" y="750093"/>
            <a:ext cx="8321040" cy="5221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352107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">
                  <p:embed/>
                </p:oleObj>
              </mc:Choice>
              <mc:Fallback>
                <p:oleObj name="think-cell Slide" r:id="rId3" imgW="360" imgH="360" progId="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319249CA-C59E-2486-1992-7E4FF9D9FEBF}"/>
              </a:ext>
            </a:extLst>
          </p:cNvPr>
          <p:cNvSpPr txBox="1"/>
          <p:nvPr/>
        </p:nvSpPr>
        <p:spPr>
          <a:xfrm>
            <a:off x="1327082" y="916609"/>
            <a:ext cx="662864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2000" b="1" dirty="0">
                <a:solidFill>
                  <a:schemeClr val="accent1">
                    <a:lumMod val="50000"/>
                  </a:schemeClr>
                </a:solidFill>
              </a:rPr>
              <a:t>DELIVERING THE STRATEGY REQUIRES: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A322401-5E18-6A64-4090-8F45884FD62A}"/>
              </a:ext>
            </a:extLst>
          </p:cNvPr>
          <p:cNvSpPr txBox="1"/>
          <p:nvPr/>
        </p:nvSpPr>
        <p:spPr>
          <a:xfrm>
            <a:off x="1327083" y="2920286"/>
            <a:ext cx="55844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</a:rPr>
              <a:t>PEACE AND SECURITY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7AD698-EF18-CD52-B2ED-08B0ABB0F8A7}"/>
              </a:ext>
            </a:extLst>
          </p:cNvPr>
          <p:cNvSpPr txBox="1"/>
          <p:nvPr/>
        </p:nvSpPr>
        <p:spPr>
          <a:xfrm>
            <a:off x="1327083" y="5057682"/>
            <a:ext cx="612864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/>
              <a:t>Further ZEAT details available upon reques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8142D92-E49D-4BC8-E358-801D565002E3}"/>
              </a:ext>
            </a:extLst>
          </p:cNvPr>
          <p:cNvSpPr txBox="1"/>
          <p:nvPr/>
        </p:nvSpPr>
        <p:spPr>
          <a:xfrm>
            <a:off x="1327082" y="1640540"/>
            <a:ext cx="55844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</a:rPr>
              <a:t>TRANSFORMATION ROADMAP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35C3FD-AE5E-92C3-386B-442B9A3F1054}"/>
              </a:ext>
            </a:extLst>
          </p:cNvPr>
          <p:cNvSpPr txBox="1"/>
          <p:nvPr/>
        </p:nvSpPr>
        <p:spPr>
          <a:xfrm>
            <a:off x="1327083" y="2334199"/>
            <a:ext cx="55844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</a:rPr>
              <a:t>MONITORING AND EVALUATION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57D08B-0B95-2584-0CEB-289BF3952993}"/>
              </a:ext>
            </a:extLst>
          </p:cNvPr>
          <p:cNvSpPr txBox="1"/>
          <p:nvPr/>
        </p:nvSpPr>
        <p:spPr>
          <a:xfrm>
            <a:off x="1327083" y="3577492"/>
            <a:ext cx="5584445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</a:rPr>
              <a:t>POLITICAL WILL &amp; COMMITMENT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D2094FC-396D-BE03-40AF-069194589FF0}"/>
              </a:ext>
            </a:extLst>
          </p:cNvPr>
          <p:cNvSpPr txBox="1"/>
          <p:nvPr/>
        </p:nvSpPr>
        <p:spPr>
          <a:xfrm>
            <a:off x="1327083" y="4287702"/>
            <a:ext cx="5584445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Wingdings" pitchFamily="2" charset="2"/>
              <a:buChar char="v"/>
            </a:pPr>
            <a:r>
              <a:rPr lang="en-GB" b="1" dirty="0">
                <a:solidFill>
                  <a:schemeClr val="accent1">
                    <a:lumMod val="50000"/>
                  </a:schemeClr>
                </a:solidFill>
              </a:rPr>
              <a:t>FINANCING AGRICULTURE BY 10% OF THE ANNUAL BUDGET</a:t>
            </a:r>
            <a:endParaRPr lang="en-US" b="1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4153672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" name="Object 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en-US" b="1" dirty="0" err="1">
              <a:solidFill>
                <a:schemeClr val="tx1"/>
              </a:solidFill>
              <a:latin typeface="Arial"/>
              <a:ea typeface="MS PGothic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843281" y="710078"/>
            <a:ext cx="5862320" cy="4632037"/>
          </a:xfrm>
        </p:spPr>
        <p:txBody>
          <a:bodyPr/>
          <a:lstStyle/>
          <a:p>
            <a:pPr algn="ctr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sz="4000" dirty="0">
                <a:solidFill>
                  <a:schemeClr val="tx1"/>
                </a:solidFill>
                <a:latin typeface="Arial" panose="020B0604020202020204" pitchFamily="34" charset="0"/>
                <a:ea typeface="Brush Script MT" panose="03060802040406070304" pitchFamily="66" charset="-122"/>
                <a:cs typeface="Arial" panose="020B0604020202020204" pitchFamily="34" charset="0"/>
              </a:rPr>
              <a:t>THANK YOU FOR LISTENING</a:t>
            </a:r>
            <a:br>
              <a:rPr lang="en-US" sz="4000" dirty="0">
                <a:latin typeface="Arial" panose="020B0604020202020204" pitchFamily="34" charset="0"/>
                <a:ea typeface="Brush Script MT" panose="03060802040406070304" pitchFamily="66" charset="-122"/>
                <a:cs typeface="Arial" panose="020B0604020202020204" pitchFamily="34" charset="0"/>
              </a:rPr>
            </a:br>
            <a:br>
              <a:rPr lang="en-US" sz="4000" dirty="0">
                <a:latin typeface="Arial" panose="020B0604020202020204" pitchFamily="34" charset="0"/>
                <a:ea typeface="Brush Script MT" panose="03060802040406070304" pitchFamily="66" charset="-122"/>
                <a:cs typeface="Arial" panose="020B0604020202020204" pitchFamily="34" charset="0"/>
              </a:rPr>
            </a:br>
            <a:br>
              <a:rPr lang="en-US" sz="4000" dirty="0">
                <a:latin typeface="Bradley Hand ITC" panose="020F0502020204030204" pitchFamily="34" charset="0"/>
                <a:cs typeface="Bradley Hand ITC" panose="020F0502020204030204" pitchFamily="34" charset="0"/>
              </a:rPr>
            </a:br>
            <a:br>
              <a:rPr lang="en-US" dirty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56021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FCF5E5-BA60-8168-67AD-1EE7DF5F0C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1450" y="0"/>
            <a:ext cx="8789988" cy="984885"/>
          </a:xfrm>
        </p:spPr>
        <p:txBody>
          <a:bodyPr/>
          <a:lstStyle/>
          <a:p>
            <a:r>
              <a:rPr lang="en-GB" sz="3200" b="1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Cambria" panose="02040503050406030204" pitchFamily="18" charset="0"/>
              </a:rPr>
              <a:t>The National Effort for Agricultural Transformation</a:t>
            </a:r>
            <a:endParaRPr lang="en-US" sz="32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895BBB-90F1-23C8-7BAA-C5244EEC10A5}"/>
              </a:ext>
            </a:extLst>
          </p:cNvPr>
          <p:cNvSpPr txBox="1"/>
          <p:nvPr/>
        </p:nvSpPr>
        <p:spPr>
          <a:xfrm>
            <a:off x="90329" y="1268042"/>
            <a:ext cx="8303956" cy="443198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spcBef>
                <a:spcPts val="1800"/>
              </a:spcBef>
              <a:spcAft>
                <a:spcPts val="1800"/>
              </a:spcAft>
              <a:tabLst>
                <a:tab pos="5941060" algn="ctr"/>
              </a:tabLst>
            </a:pPr>
            <a:r>
              <a:rPr lang="en-GB" sz="2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Cambria" panose="02040503050406030204" pitchFamily="18" charset="0"/>
              </a:rPr>
              <a:t>NEAT is an ambitious Government of South Sudan policy that articulates and shapes the agenda for investments in agricultural development in the country. The policy further provides a framework through which donors, the private sector and stakeholders can coordinate and work together to support agricultural transformation in South Sudan. </a:t>
            </a:r>
          </a:p>
          <a:p>
            <a:pPr algn="just">
              <a:spcBef>
                <a:spcPts val="1800"/>
              </a:spcBef>
              <a:spcAft>
                <a:spcPts val="1800"/>
              </a:spcAft>
              <a:tabLst>
                <a:tab pos="5941060" algn="ctr"/>
              </a:tabLst>
            </a:pPr>
            <a:r>
              <a:rPr lang="en-GB" sz="2800" b="1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Cambria" panose="02040503050406030204" pitchFamily="18" charset="0"/>
              </a:rPr>
              <a:t>NEAT</a:t>
            </a:r>
            <a:r>
              <a:rPr lang="en-GB" sz="2800" dirty="0">
                <a:effectLst/>
                <a:latin typeface="Cambria" panose="02040503050406030204" pitchFamily="18" charset="0"/>
                <a:ea typeface="Calibri" panose="020F0502020204030204" pitchFamily="34" charset="0"/>
                <a:cs typeface="Cambria" panose="02040503050406030204" pitchFamily="18" charset="0"/>
              </a:rPr>
              <a:t> is a 25 years plan based on CAMP: Revised every 5 years.  </a:t>
            </a:r>
          </a:p>
        </p:txBody>
      </p:sp>
    </p:spTree>
    <p:extLst>
      <p:ext uri="{BB962C8B-B14F-4D97-AF65-F5344CB8AC3E}">
        <p14:creationId xmlns:p14="http://schemas.microsoft.com/office/powerpoint/2010/main" val="24641726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955CD-2B30-6401-E4DA-34D0B81A92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" y="428766"/>
            <a:ext cx="7485436" cy="825943"/>
          </a:xfrm>
        </p:spPr>
        <p:txBody>
          <a:bodyPr/>
          <a:lstStyle/>
          <a:p>
            <a:r>
              <a:rPr lang="en-US" sz="2400" b="1" dirty="0">
                <a:solidFill>
                  <a:schemeClr val="tx2"/>
                </a:solidFill>
              </a:rPr>
              <a:t>The Agricultural Transformation will be achieved through two integrated components of NEAT</a:t>
            </a:r>
            <a:br>
              <a:rPr lang="en-US" sz="3200" b="1" dirty="0">
                <a:solidFill>
                  <a:schemeClr val="tx2"/>
                </a:solidFill>
              </a:rPr>
            </a:br>
            <a:br>
              <a:rPr lang="en-US" sz="2000" dirty="0"/>
            </a:br>
            <a:endParaRPr lang="en-GB" dirty="0"/>
          </a:p>
        </p:txBody>
      </p:sp>
      <p:sp>
        <p:nvSpPr>
          <p:cNvPr id="5" name="Rectangle 7">
            <a:extLst>
              <a:ext uri="{FF2B5EF4-FFF2-40B4-BE49-F238E27FC236}">
                <a16:creationId xmlns:a16="http://schemas.microsoft.com/office/drawing/2014/main" id="{1F67752B-B50E-2BC8-B7FA-E33A302BFA2B}"/>
              </a:ext>
            </a:extLst>
          </p:cNvPr>
          <p:cNvSpPr txBox="1">
            <a:spLocks noGrp="1"/>
          </p:cNvSpPr>
          <p:nvPr>
            <p:ph idx="1"/>
            <p:custDataLst>
              <p:tags r:id="rId1"/>
            </p:custDataLst>
          </p:nvPr>
        </p:nvSpPr>
        <p:spPr>
          <a:xfrm>
            <a:off x="-577970" y="1403704"/>
            <a:ext cx="8678173" cy="41421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446088" lvl="2" indent="-42863">
              <a:spcAft>
                <a:spcPts val="700"/>
              </a:spcAft>
              <a:buFont typeface="Wingdings" pitchFamily="2" charset="2"/>
              <a:buChar char="Ø"/>
            </a:pPr>
            <a:r>
              <a:rPr lang="en-US" sz="2400" dirty="0"/>
              <a:t>the </a:t>
            </a:r>
            <a:r>
              <a:rPr lang="en-US" sz="2400" b="1" dirty="0"/>
              <a:t>Comprehensive Agricultural Master Plan (CAMP).</a:t>
            </a:r>
          </a:p>
          <a:p>
            <a:pPr marL="622300" lvl="2" indent="0">
              <a:spcAft>
                <a:spcPts val="700"/>
              </a:spcAft>
              <a:buNone/>
            </a:pPr>
            <a:r>
              <a:rPr lang="en-US" sz="2000" dirty="0"/>
              <a:t>CAMP is a </a:t>
            </a:r>
            <a:r>
              <a:rPr lang="en-US" sz="2000" b="1" dirty="0">
                <a:solidFill>
                  <a:schemeClr val="tx2"/>
                </a:solidFill>
              </a:rPr>
              <a:t>complete</a:t>
            </a:r>
            <a:r>
              <a:rPr lang="en-US" sz="2000" dirty="0"/>
              <a:t> </a:t>
            </a:r>
            <a:r>
              <a:rPr lang="en-US" sz="2000" b="1" dirty="0">
                <a:solidFill>
                  <a:schemeClr val="tx2"/>
                </a:solidFill>
              </a:rPr>
              <a:t>strategy</a:t>
            </a:r>
            <a:r>
              <a:rPr lang="en-US" sz="2000" dirty="0"/>
              <a:t> covering agriculture and related sectors for </a:t>
            </a:r>
            <a:r>
              <a:rPr lang="en-US" sz="2000" b="1" dirty="0">
                <a:solidFill>
                  <a:schemeClr val="tx2"/>
                </a:solidFill>
              </a:rPr>
              <a:t>all states and communities, </a:t>
            </a:r>
            <a:r>
              <a:rPr lang="en-US" sz="2000" dirty="0"/>
              <a:t>to guide the country to full national and household food security.</a:t>
            </a:r>
            <a:endParaRPr lang="en-US" sz="2400" b="1" dirty="0"/>
          </a:p>
          <a:p>
            <a:pPr marL="360363" lvl="7" indent="0" algn="ctr">
              <a:spcAft>
                <a:spcPts val="700"/>
              </a:spcAft>
              <a:buNone/>
            </a:pPr>
            <a:r>
              <a:rPr lang="en-US" sz="2800" b="1" dirty="0"/>
              <a:t>	</a:t>
            </a:r>
            <a:r>
              <a:rPr lang="en-US" sz="2400" b="1" dirty="0"/>
              <a:t>and</a:t>
            </a:r>
          </a:p>
          <a:p>
            <a:pPr marL="360363" lvl="2" indent="0">
              <a:spcAft>
                <a:spcPts val="700"/>
              </a:spcAft>
              <a:buFont typeface="Wingdings" pitchFamily="2" charset="2"/>
              <a:buChar char="Ø"/>
            </a:pPr>
            <a:r>
              <a:rPr lang="en-US" sz="2400" dirty="0"/>
              <a:t>the </a:t>
            </a:r>
            <a:r>
              <a:rPr lang="en-US" sz="2400" b="1" dirty="0"/>
              <a:t>Zonal</a:t>
            </a:r>
            <a:r>
              <a:rPr lang="en-US" sz="2400" dirty="0"/>
              <a:t> </a:t>
            </a:r>
            <a:r>
              <a:rPr lang="en-US" sz="2400" b="1" dirty="0"/>
              <a:t>Effort</a:t>
            </a:r>
            <a:r>
              <a:rPr lang="en-US" sz="2400" dirty="0"/>
              <a:t> </a:t>
            </a:r>
            <a:r>
              <a:rPr lang="en-US" sz="2400" b="1" dirty="0"/>
              <a:t>for</a:t>
            </a:r>
            <a:r>
              <a:rPr lang="en-US" sz="2400" dirty="0"/>
              <a:t> </a:t>
            </a:r>
            <a:r>
              <a:rPr lang="en-US" sz="2400" b="1" dirty="0"/>
              <a:t>Agricultural</a:t>
            </a:r>
            <a:r>
              <a:rPr lang="en-US" sz="2400" dirty="0"/>
              <a:t> </a:t>
            </a:r>
            <a:r>
              <a:rPr lang="en-US" sz="2400" b="1" dirty="0"/>
              <a:t>Transformation</a:t>
            </a:r>
            <a:r>
              <a:rPr lang="en-US" sz="2400" dirty="0"/>
              <a:t> (</a:t>
            </a:r>
            <a:r>
              <a:rPr lang="en-US" sz="2400" b="1" dirty="0"/>
              <a:t>ZEAT)</a:t>
            </a:r>
          </a:p>
          <a:p>
            <a:pPr marL="582613" lvl="2" indent="0">
              <a:spcAft>
                <a:spcPts val="700"/>
              </a:spcAft>
              <a:buNone/>
            </a:pPr>
            <a:r>
              <a:rPr lang="en-US" sz="2000" dirty="0"/>
              <a:t>ZEAT is a </a:t>
            </a:r>
            <a:r>
              <a:rPr lang="en-US" sz="2000" b="1" dirty="0">
                <a:solidFill>
                  <a:schemeClr val="tx2"/>
                </a:solidFill>
              </a:rPr>
              <a:t>highly prioritized zonal approach</a:t>
            </a:r>
            <a:r>
              <a:rPr lang="en-US" sz="2000" dirty="0">
                <a:solidFill>
                  <a:schemeClr val="tx2"/>
                </a:solidFill>
              </a:rPr>
              <a:t> </a:t>
            </a:r>
            <a:r>
              <a:rPr lang="en-US" sz="2000" dirty="0"/>
              <a:t>ready for</a:t>
            </a:r>
            <a:r>
              <a:rPr lang="en-US" sz="2000" b="1" dirty="0">
                <a:solidFill>
                  <a:schemeClr val="tx2"/>
                </a:solidFill>
              </a:rPr>
              <a:t> rapid implementation.  It is managed through State effort for Agricultural transformation (SEAT) and Bahr-</a:t>
            </a:r>
            <a:r>
              <a:rPr lang="en-US" sz="2000" b="1" dirty="0" err="1">
                <a:solidFill>
                  <a:schemeClr val="tx2"/>
                </a:solidFill>
              </a:rPr>
              <a:t>el</a:t>
            </a:r>
            <a:r>
              <a:rPr lang="en-US" sz="2000" b="1" dirty="0">
                <a:solidFill>
                  <a:schemeClr val="tx2"/>
                </a:solidFill>
              </a:rPr>
              <a:t> </a:t>
            </a:r>
            <a:r>
              <a:rPr lang="en-US" sz="2000" b="1" dirty="0" err="1">
                <a:solidFill>
                  <a:schemeClr val="tx2"/>
                </a:solidFill>
              </a:rPr>
              <a:t>Gazal</a:t>
            </a:r>
            <a:r>
              <a:rPr lang="en-US" sz="2000" b="1" dirty="0">
                <a:solidFill>
                  <a:schemeClr val="tx2"/>
                </a:solidFill>
              </a:rPr>
              <a:t> effort for Agricultural Transformation (BEAT).</a:t>
            </a:r>
          </a:p>
          <a:p>
            <a:pPr marL="360363" lvl="2" indent="0">
              <a:spcAft>
                <a:spcPts val="700"/>
              </a:spcAft>
              <a:buFont typeface="Wingdings" pitchFamily="2" charset="2"/>
              <a:buChar char="Ø"/>
            </a:pP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164376376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15BA1F-F7B2-AB65-287F-ECDC21ACB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227" y="117548"/>
            <a:ext cx="4054731" cy="430887"/>
          </a:xfrm>
        </p:spPr>
        <p:txBody>
          <a:bodyPr/>
          <a:lstStyle/>
          <a:p>
            <a:r>
              <a:rPr lang="en-US" sz="2800" dirty="0" err="1"/>
              <a:t>Agro</a:t>
            </a:r>
            <a:r>
              <a:rPr lang="en-US" sz="2800" dirty="0"/>
              <a:t>-ecological zone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211BF2F-B9DD-7485-BA48-E6A2A3F8E6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226" y="548435"/>
            <a:ext cx="4054731" cy="27123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9C1461E-0A8D-2F02-8B0F-A263E2FFF1FA}"/>
              </a:ext>
            </a:extLst>
          </p:cNvPr>
          <p:cNvSpPr txBox="1"/>
          <p:nvPr/>
        </p:nvSpPr>
        <p:spPr>
          <a:xfrm>
            <a:off x="366328" y="3260785"/>
            <a:ext cx="8228781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Ironstone Plateau (lateritic soils). 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Central Hills, along the Nile to the north of the Green Belt. 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Green Belt. 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</a:t>
            </a:r>
            <a:r>
              <a:rPr lang="en-GB" sz="2000" dirty="0" err="1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Imatong</a:t>
            </a: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 mountains along the Uganda border.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Flood Plains including the Sudd a vast area of swamp. 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The Nile–</a:t>
            </a:r>
            <a:r>
              <a:rPr lang="en-GB" sz="2000" dirty="0" err="1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Sobat</a:t>
            </a: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 Corridor along the banks of the River </a:t>
            </a:r>
            <a:r>
              <a:rPr lang="en-GB" sz="2000" dirty="0" err="1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Sobat</a:t>
            </a: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 which flows from Ethiopia and receives numerous tributaries before draining into the Nile. </a:t>
            </a:r>
          </a:p>
          <a:p>
            <a:pPr marL="514350" indent="-514350">
              <a:buAutoNum type="romanLcParenBoth"/>
            </a:pPr>
            <a:r>
              <a:rPr lang="en-GB" sz="20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A semi desert area in the extreme southeast.</a:t>
            </a:r>
            <a:endParaRPr lang="en-US" sz="2000" dirty="0">
              <a:latin typeface="+mj-lt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CDAD49-0CF1-AE16-7689-DB384B5023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32505" y="383010"/>
            <a:ext cx="2969292" cy="2977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18437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60" imgH="360" progId="">
                  <p:embed/>
                </p:oleObj>
              </mc:Choice>
              <mc:Fallback>
                <p:oleObj name="think-cell Slide" r:id="rId14" imgW="360" imgH="360" progId="">
                  <p:embed/>
                  <p:pic>
                    <p:nvPicPr>
                      <p:cNvPr id="29" name="Object 2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465235" y="2194627"/>
            <a:ext cx="7921215" cy="1166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7" name="Rectangle 26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62092" y="3927029"/>
            <a:ext cx="6769049" cy="829449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519917" y="4712605"/>
            <a:ext cx="7921215" cy="1166110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8" name="Rectangle 7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439341" y="1059747"/>
            <a:ext cx="7921215" cy="116611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19050"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21" name="Rectangle 21"/>
          <p:cNvSpPr txBox="1"/>
          <p:nvPr>
            <p:custDataLst>
              <p:tags r:id="rId6"/>
            </p:custDataLst>
          </p:nvPr>
        </p:nvSpPr>
        <p:spPr>
          <a:xfrm>
            <a:off x="479629" y="980270"/>
            <a:ext cx="6379493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515937" lvl="1" indent="-514350">
              <a:buAutoNum type="arabicPeriod"/>
            </a:pPr>
            <a:r>
              <a:rPr lang="en-US" sz="2400" b="1" dirty="0">
                <a:solidFill>
                  <a:srgbClr val="C00000"/>
                </a:solidFill>
              </a:rPr>
              <a:t>Direct support to NEAT activities:</a:t>
            </a:r>
          </a:p>
          <a:p>
            <a:pPr marL="1587" lvl="1" indent="0">
              <a:buNone/>
            </a:pPr>
            <a:endParaRPr lang="en-US" sz="2400" b="1" dirty="0"/>
          </a:p>
        </p:txBody>
      </p:sp>
      <p:sp>
        <p:nvSpPr>
          <p:cNvPr id="23" name="Rectangle 21"/>
          <p:cNvSpPr txBox="1"/>
          <p:nvPr>
            <p:custDataLst>
              <p:tags r:id="rId7"/>
            </p:custDataLst>
          </p:nvPr>
        </p:nvSpPr>
        <p:spPr>
          <a:xfrm>
            <a:off x="591346" y="2242341"/>
            <a:ext cx="5839247" cy="8002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800" b="1" dirty="0"/>
              <a:t>2. </a:t>
            </a:r>
            <a:r>
              <a:rPr lang="en-US" sz="2400" b="1" dirty="0">
                <a:solidFill>
                  <a:srgbClr val="C00000"/>
                </a:solidFill>
              </a:rPr>
              <a:t>Programs supporting cross-cutting enabling activities</a:t>
            </a:r>
          </a:p>
        </p:txBody>
      </p:sp>
      <p:sp>
        <p:nvSpPr>
          <p:cNvPr id="24" name="Rectangle 21"/>
          <p:cNvSpPr txBox="1"/>
          <p:nvPr>
            <p:custDataLst>
              <p:tags r:id="rId8"/>
            </p:custDataLst>
          </p:nvPr>
        </p:nvSpPr>
        <p:spPr>
          <a:xfrm>
            <a:off x="465235" y="3436801"/>
            <a:ext cx="6091471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800" b="1" dirty="0"/>
              <a:t>3. </a:t>
            </a:r>
            <a:r>
              <a:rPr lang="en-US" sz="2400" b="1" dirty="0">
                <a:solidFill>
                  <a:srgbClr val="C00000"/>
                </a:solidFill>
              </a:rPr>
              <a:t>Support to NEAT implementation unit.  </a:t>
            </a:r>
            <a:endParaRPr lang="en-US" sz="2000" b="1" dirty="0"/>
          </a:p>
        </p:txBody>
      </p:sp>
      <p:sp>
        <p:nvSpPr>
          <p:cNvPr id="25" name="Rectangle 21"/>
          <p:cNvSpPr txBox="1"/>
          <p:nvPr>
            <p:custDataLst>
              <p:tags r:id="rId9"/>
            </p:custDataLst>
          </p:nvPr>
        </p:nvSpPr>
        <p:spPr>
          <a:xfrm>
            <a:off x="282923" y="4675396"/>
            <a:ext cx="6616487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342870" lvl="0" indent="-342870" defTabSz="895272" eaLnBrk="0" hangingPunct="0">
              <a:buClr>
                <a:schemeClr val="tx2"/>
              </a:buClr>
              <a:defRPr>
                <a:latin typeface="+mn-lt"/>
                <a:cs typeface="+mn-cs"/>
              </a:defRPr>
            </a:lvl1pPr>
            <a:lvl2pPr marL="193658" lvl="1" indent="-192071" defTabSz="895272" eaLnBrk="0" hangingPunct="0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160" lvl="2" indent="-261916" defTabSz="895272" eaLnBrk="0" hangingPunct="0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09" lvl="3" indent="-155561" defTabSz="895272" eaLnBrk="0" hangingPunct="0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234" lvl="4" indent="-130164" defTabSz="895272" eaLnBrk="0" hangingPunct="0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742" indent="-130164" defTabSz="895272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en-US" sz="2800" b="1" dirty="0"/>
              <a:t>4. </a:t>
            </a:r>
            <a:r>
              <a:rPr lang="en-US" sz="2400" b="1" dirty="0">
                <a:solidFill>
                  <a:srgbClr val="C00000"/>
                </a:solidFill>
              </a:rPr>
              <a:t>Additional agricultural programming</a:t>
            </a:r>
            <a:endParaRPr lang="en-US" sz="2800" b="1" i="1" dirty="0"/>
          </a:p>
        </p:txBody>
      </p:sp>
      <p:pic>
        <p:nvPicPr>
          <p:cNvPr id="44" name="Picture 74" descr="http://t3.gstatic.com/images?q=tbn:ANd9GcQBI7mShdUkrrOJdWfvVu7NYLbVImQ245TRhHTDiUknnrDYLPVv0a4_hvImkQ"/>
          <p:cNvPicPr>
            <a:picLocks noChangeArrowheads="1"/>
          </p:cNvPicPr>
          <p:nvPr>
            <p:custDataLst>
              <p:tags r:id="rId10"/>
            </p:custDataLst>
          </p:nvPr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899410" y="1000436"/>
            <a:ext cx="1541723" cy="1166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105" descr="C:\Users\Zach Marks\Pictures\Visit to Yambio\CIMG0256.JPG"/>
          <p:cNvPicPr>
            <a:picLocks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9411" y="3539883"/>
            <a:ext cx="1541723" cy="11661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9"/>
          <p:cNvPicPr>
            <a:picLocks noChangeArrowheads="1"/>
          </p:cNvPicPr>
          <p:nvPr>
            <p:custDataLst>
              <p:tags r:id="rId11"/>
            </p:custDataLst>
          </p:nvPr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gray">
          <a:xfrm>
            <a:off x="6899411" y="4806965"/>
            <a:ext cx="1541723" cy="1166110"/>
          </a:xfrm>
          <a:prstGeom prst="rect">
            <a:avLst/>
          </a:prstGeom>
          <a:noFill/>
          <a:ln w="9525">
            <a:solidFill>
              <a:schemeClr val="bg1">
                <a:lumMod val="85000"/>
              </a:schemeClr>
            </a:solidFill>
            <a:miter lim="800000"/>
            <a:headEnd/>
            <a:tailEnd/>
          </a:ln>
          <a:effectLst/>
        </p:spPr>
      </p:pic>
      <p:pic>
        <p:nvPicPr>
          <p:cNvPr id="51" name="Picture 8"/>
          <p:cNvPicPr>
            <a:picLocks noChangeArrowheads="1"/>
          </p:cNvPicPr>
          <p:nvPr>
            <p:custDataLst>
              <p:tags r:id="rId12"/>
            </p:custDataLst>
          </p:nvPr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99411" y="2276343"/>
            <a:ext cx="1541721" cy="11661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35E58186-D29F-6544-E096-AD4BDE292B4F}"/>
              </a:ext>
            </a:extLst>
          </p:cNvPr>
          <p:cNvSpPr txBox="1"/>
          <p:nvPr/>
        </p:nvSpPr>
        <p:spPr>
          <a:xfrm>
            <a:off x="448877" y="-57285"/>
            <a:ext cx="7653623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There are four types of agricultural programs that are part of this vision</a:t>
            </a:r>
          </a:p>
        </p:txBody>
      </p:sp>
    </p:spTree>
    <p:extLst>
      <p:ext uri="{BB962C8B-B14F-4D97-AF65-F5344CB8AC3E}">
        <p14:creationId xmlns:p14="http://schemas.microsoft.com/office/powerpoint/2010/main" val="42076916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Rectangle 89"/>
          <p:cNvSpPr/>
          <p:nvPr>
            <p:custDataLst>
              <p:tags r:id="rId2"/>
            </p:custDataLst>
          </p:nvPr>
        </p:nvSpPr>
        <p:spPr bwMode="gray">
          <a:xfrm>
            <a:off x="194713" y="594783"/>
            <a:ext cx="8416852" cy="5434575"/>
          </a:xfrm>
          <a:prstGeom prst="rect">
            <a:avLst/>
          </a:prstGeom>
          <a:solidFill>
            <a:schemeClr val="bg1"/>
          </a:solidFill>
          <a:ln w="19050" cap="rnd" cmpd="sng" algn="ctr">
            <a:solidFill>
              <a:schemeClr val="accent3"/>
            </a:solidFill>
            <a:prstDash val="solid"/>
            <a:round/>
            <a:headEnd type="none" w="sm" len="sm"/>
            <a:tailEnd type="none" w="sm" len="sm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50" name="Rectangle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260552" y="1552755"/>
            <a:ext cx="8205134" cy="438221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0" lvl="1" indent="-149225">
              <a:spcAft>
                <a:spcPts val="0"/>
              </a:spcAft>
              <a:buFont typeface="+mj-lt"/>
              <a:buAutoNum type="romanLcPeriod"/>
              <a:tabLst>
                <a:tab pos="5940425" algn="ctr"/>
              </a:tabLst>
            </a:pPr>
            <a:r>
              <a:rPr lang="en-GB" sz="1800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 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Increase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 small scale farmers’ productivity 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and value addition</a:t>
            </a:r>
          </a:p>
          <a:p>
            <a:pPr marL="0" lvl="1" indent="-149225">
              <a:spcAft>
                <a:spcPts val="0"/>
              </a:spcAft>
              <a:buFont typeface="+mj-lt"/>
              <a:buAutoNum type="romanLcPeriod"/>
              <a:tabLst>
                <a:tab pos="5940425" algn="ctr"/>
              </a:tabLst>
            </a:pPr>
            <a:endParaRPr lang="en-GB" sz="2000" b="1" dirty="0">
              <a:effectLst/>
              <a:latin typeface="+mj-lt"/>
              <a:ea typeface="Calibri" panose="020F0502020204030204" pitchFamily="34" charset="0"/>
              <a:cs typeface="Cambria" panose="02040503050406030204" pitchFamily="18" charset="0"/>
            </a:endParaRPr>
          </a:p>
          <a:p>
            <a:pPr marL="0" lvl="1" indent="0">
              <a:spcAft>
                <a:spcPts val="0"/>
              </a:spcAft>
              <a:buNone/>
              <a:tabLst>
                <a:tab pos="5940425" algn="ctr"/>
              </a:tabLst>
            </a:pP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ii. Secure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Land Tenure</a:t>
            </a:r>
          </a:p>
          <a:p>
            <a:pPr marL="0" lvl="1" indent="0">
              <a:spcAft>
                <a:spcPts val="0"/>
              </a:spcAft>
              <a:buNone/>
              <a:tabLst>
                <a:tab pos="5940425" algn="ctr"/>
              </a:tabLst>
            </a:pPr>
            <a:endParaRPr lang="en-GB" sz="2000" b="1" dirty="0">
              <a:solidFill>
                <a:srgbClr val="FF0000"/>
              </a:solidFill>
              <a:latin typeface="+mj-lt"/>
            </a:endParaRP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iii. 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Encourage Agriculture as a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business</a:t>
            </a: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solidFill>
                <a:srgbClr val="FF0000"/>
              </a:solidFill>
              <a:effectLst/>
              <a:latin typeface="+mj-lt"/>
              <a:ea typeface="Calibri" panose="020F0502020204030204" pitchFamily="34" charset="0"/>
              <a:cs typeface="Cambria" panose="02040503050406030204" pitchFamily="18" charset="0"/>
            </a:endParaRP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iv. </a:t>
            </a:r>
            <a:r>
              <a:rPr lang="en-GB" sz="2000" b="1" dirty="0">
                <a:effectLst/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Enhance the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Irrigation Sector</a:t>
            </a: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solidFill>
                <a:srgbClr val="FF0000"/>
              </a:solidFill>
              <a:effectLst/>
              <a:latin typeface="+mj-lt"/>
              <a:ea typeface="Times New Roman" panose="02020603050405020304" pitchFamily="18" charset="0"/>
              <a:cs typeface="Cambria" panose="02040503050406030204" pitchFamily="18" charset="0"/>
            </a:endParaRPr>
          </a:p>
          <a:p>
            <a:pPr marL="403225" indent="-39370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v. I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ntroduce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mechanized farming </a:t>
            </a:r>
            <a:r>
              <a:rPr lang="en-GB" sz="2000" b="1" dirty="0">
                <a:effectLst/>
                <a:latin typeface="+mj-lt"/>
              </a:rPr>
              <a:t>(animal traction and tractors)</a:t>
            </a:r>
          </a:p>
          <a:p>
            <a:pPr marL="9525" indent="0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effectLst/>
              <a:latin typeface="+mj-lt"/>
            </a:endParaRP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. </a:t>
            </a:r>
            <a:r>
              <a:rPr lang="en-GB" sz="2000" b="1" dirty="0">
                <a:effectLst/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Incorporate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Rural Development </a:t>
            </a:r>
            <a:r>
              <a:rPr lang="en-GB" sz="2000" b="1" dirty="0">
                <a:effectLst/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Strategies</a:t>
            </a: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effectLst/>
              <a:latin typeface="+mj-lt"/>
              <a:ea typeface="Times New Roman" panose="02020603050405020304" pitchFamily="18" charset="0"/>
            </a:endParaRPr>
          </a:p>
          <a:p>
            <a:pPr marL="0" indent="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ii. Encourage </a:t>
            </a:r>
            <a:r>
              <a:rPr lang="en-GB" sz="2000" b="1" dirty="0">
                <a:solidFill>
                  <a:srgbClr val="FF0000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Public-Private Partne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rship</a:t>
            </a:r>
            <a:r>
              <a:rPr lang="en-GB" sz="2000" b="1" dirty="0">
                <a:effectLst/>
                <a:latin typeface="+mj-lt"/>
              </a:rPr>
              <a:t> </a:t>
            </a:r>
          </a:p>
        </p:txBody>
      </p:sp>
      <p:sp>
        <p:nvSpPr>
          <p:cNvPr id="93" name="Rectangle 92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234733" y="786501"/>
            <a:ext cx="8376832" cy="517124"/>
          </a:xfrm>
          <a:prstGeom prst="rect">
            <a:avLst/>
          </a:prstGeom>
          <a:solidFill>
            <a:schemeClr val="accent1"/>
          </a:solidFill>
          <a:ln w="19050" cap="rnd" cmpd="sng" algn="ctr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r>
              <a:rPr lang="en-US" sz="2400" b="1" dirty="0"/>
              <a:t>The transformation approach and Key areas for success</a:t>
            </a:r>
          </a:p>
        </p:txBody>
      </p:sp>
    </p:spTree>
    <p:extLst>
      <p:ext uri="{BB962C8B-B14F-4D97-AF65-F5344CB8AC3E}">
        <p14:creationId xmlns:p14="http://schemas.microsoft.com/office/powerpoint/2010/main" val="26142512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 bwMode="gray">
          <a:xfrm>
            <a:off x="442111" y="4795300"/>
            <a:ext cx="7778863" cy="738664"/>
          </a:xfrm>
        </p:spPr>
        <p:txBody>
          <a:bodyPr/>
          <a:lstStyle/>
          <a:p>
            <a:r>
              <a:rPr lang="en-US" sz="2400" dirty="0"/>
              <a:t>Achieving this vision requires a comprehensive and coordinated response from all stakeholders </a:t>
            </a:r>
          </a:p>
        </p:txBody>
      </p:sp>
      <p:sp>
        <p:nvSpPr>
          <p:cNvPr id="50" name="Rectangle 6"/>
          <p:cNvSpPr txBox="1">
            <a:spLocks/>
          </p:cNvSpPr>
          <p:nvPr>
            <p:custDataLst>
              <p:tags r:id="rId3"/>
            </p:custDataLst>
          </p:nvPr>
        </p:nvSpPr>
        <p:spPr bwMode="gray">
          <a:xfrm>
            <a:off x="355846" y="550996"/>
            <a:ext cx="7778863" cy="424430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342900" lvl="0" indent="-342900" defTabSz="895350" eaLnBrk="0" hangingPunct="0">
              <a:buClr>
                <a:schemeClr val="tx2"/>
              </a:buClr>
              <a:defRPr kumimoji="1">
                <a:latin typeface="+mn-lt"/>
                <a:cs typeface="ＭＳ Ｐゴシック" charset="0"/>
              </a:defRPr>
            </a:lvl1pPr>
            <a:lvl2pPr marL="193675" lvl="1" indent="-192088" defTabSz="895350" eaLnBrk="0" hangingPunct="0">
              <a:buClr>
                <a:schemeClr val="tx2"/>
              </a:buClr>
              <a:buSzPct val="125000"/>
              <a:buFont typeface="Arial" pitchFamily="34" charset="0"/>
              <a:buChar char="▪"/>
              <a:defRPr kumimoji="1">
                <a:latin typeface="+mn-lt"/>
              </a:defRPr>
            </a:lvl2pPr>
            <a:lvl3pPr marL="457200" lvl="2" indent="-261938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–"/>
              <a:defRPr kumimoji="1">
                <a:latin typeface="+mn-lt"/>
              </a:defRPr>
            </a:lvl3pPr>
            <a:lvl4pPr marL="614363" lvl="3" indent="-155575" defTabSz="895350" eaLnBrk="0" hangingPunct="0">
              <a:buClr>
                <a:schemeClr val="tx2"/>
              </a:buClr>
              <a:buSzPct val="120000"/>
              <a:buFont typeface="Arial" pitchFamily="34" charset="0"/>
              <a:buChar char="▫"/>
              <a:defRPr kumimoji="1">
                <a:latin typeface="+mn-lt"/>
              </a:defRPr>
            </a:lvl4pPr>
            <a:lvl5pPr marL="746125" lvl="4" indent="-130175" defTabSz="895350" eaLnBrk="0" hangingPunct="0">
              <a:buClr>
                <a:schemeClr val="tx2"/>
              </a:buClr>
              <a:buSzPct val="89000"/>
              <a:buFont typeface="Arial" pitchFamily="34" charset="0"/>
              <a:buChar char="-"/>
              <a:defRPr kumimoji="1">
                <a:latin typeface="+mn-lt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71463" indent="-261938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viii. </a:t>
            </a:r>
            <a:r>
              <a:rPr lang="en-US" sz="2000" b="1" dirty="0"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A </a:t>
            </a:r>
            <a:r>
              <a:rPr lang="en-US" sz="2000" b="1" dirty="0">
                <a:latin typeface="+mj-lt"/>
              </a:rPr>
              <a:t>strong </a:t>
            </a:r>
            <a:r>
              <a:rPr lang="en-US" sz="2000" b="1" dirty="0">
                <a:solidFill>
                  <a:schemeClr val="accent5"/>
                </a:solidFill>
                <a:latin typeface="+mj-lt"/>
              </a:rPr>
              <a:t>enabling environment </a:t>
            </a:r>
            <a:r>
              <a:rPr lang="en-US" sz="2000" b="1" dirty="0">
                <a:latin typeface="+mj-lt"/>
              </a:rPr>
              <a:t>via research, and policies. </a:t>
            </a:r>
          </a:p>
          <a:p>
            <a:pPr marL="271463" indent="-261938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effectLst/>
              <a:latin typeface="+mj-lt"/>
            </a:endParaRPr>
          </a:p>
          <a:p>
            <a:pPr marL="0" indent="0" algn="just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</a:rPr>
              <a:t>ix. Enhance </a:t>
            </a:r>
            <a:r>
              <a:rPr lang="en-GB" sz="2000" b="1" dirty="0">
                <a:solidFill>
                  <a:schemeClr val="accent5"/>
                </a:solidFill>
                <a:latin typeface="+mj-lt"/>
              </a:rPr>
              <a:t>t</a:t>
            </a:r>
            <a:r>
              <a:rPr lang="en-GB" sz="2000" b="1" dirty="0">
                <a:solidFill>
                  <a:schemeClr val="accent5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rade</a:t>
            </a:r>
            <a:r>
              <a:rPr lang="en-GB" sz="2000" b="1" dirty="0">
                <a:solidFill>
                  <a:schemeClr val="accent5"/>
                </a:solidFill>
                <a:effectLst/>
                <a:latin typeface="+mj-lt"/>
              </a:rPr>
              <a:t> </a:t>
            </a:r>
          </a:p>
          <a:p>
            <a:pPr marL="0" indent="0" algn="just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effectLst/>
              <a:latin typeface="+mj-lt"/>
              <a:ea typeface="Calibri" panose="020F0502020204030204" pitchFamily="34" charset="0"/>
              <a:cs typeface="Cambria" panose="02040503050406030204" pitchFamily="18" charset="0"/>
            </a:endParaRPr>
          </a:p>
          <a:p>
            <a:pPr marL="231775" indent="-222250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x. </a:t>
            </a:r>
            <a:r>
              <a:rPr lang="en-GB" sz="2000" b="1" dirty="0"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Development of </a:t>
            </a:r>
            <a:r>
              <a:rPr lang="en-GB" sz="2000" b="1" dirty="0">
                <a:solidFill>
                  <a:schemeClr val="accent5"/>
                </a:solidFill>
                <a:effectLst/>
                <a:latin typeface="+mj-lt"/>
                <a:ea typeface="Calibri" panose="020F0502020204030204" pitchFamily="34" charset="0"/>
                <a:cs typeface="Cambria" panose="02040503050406030204" pitchFamily="18" charset="0"/>
              </a:rPr>
              <a:t>Rural Infrastructure</a:t>
            </a:r>
          </a:p>
          <a:p>
            <a:pPr marL="231775" indent="-222250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effectLst/>
              <a:latin typeface="+mj-lt"/>
              <a:ea typeface="Calibri" panose="020F0502020204030204" pitchFamily="34" charset="0"/>
              <a:cs typeface="Cambria" panose="02040503050406030204" pitchFamily="18" charset="0"/>
            </a:endParaRPr>
          </a:p>
          <a:p>
            <a:pPr marL="311150" indent="-301625" algn="just">
              <a:spcAft>
                <a:spcPts val="0"/>
              </a:spcAft>
              <a:tabLst>
                <a:tab pos="5940425" algn="ctr"/>
              </a:tabLst>
            </a:pPr>
            <a:r>
              <a:rPr lang="en-GB" sz="2000" b="1" dirty="0">
                <a:latin typeface="+mj-lt"/>
              </a:rPr>
              <a:t>xi. </a:t>
            </a:r>
            <a:r>
              <a:rPr lang="en-US" sz="2000" b="1" dirty="0">
                <a:solidFill>
                  <a:schemeClr val="accent5"/>
                </a:solidFill>
                <a:latin typeface="+mj-lt"/>
              </a:rPr>
              <a:t>Skills training </a:t>
            </a:r>
            <a:r>
              <a:rPr lang="en-US" sz="2000" b="1" dirty="0">
                <a:latin typeface="+mj-lt"/>
              </a:rPr>
              <a:t>programs for youth and women-led leaders, and extension agents</a:t>
            </a:r>
          </a:p>
          <a:p>
            <a:pPr marL="311150" indent="-301625" algn="just">
              <a:spcAft>
                <a:spcPts val="0"/>
              </a:spcAft>
              <a:tabLst>
                <a:tab pos="5940425" algn="ctr"/>
              </a:tabLst>
            </a:pPr>
            <a:endParaRPr lang="en-GB" sz="2000" b="1" dirty="0">
              <a:latin typeface="+mj-lt"/>
              <a:ea typeface="Times New Roman" panose="02020603050405020304" pitchFamily="18" charset="0"/>
              <a:cs typeface="Cambria" panose="02040503050406030204" pitchFamily="18" charset="0"/>
            </a:endParaRPr>
          </a:p>
          <a:p>
            <a:pPr marL="400050" indent="-400050" algn="just">
              <a:spcAft>
                <a:spcPts val="0"/>
              </a:spcAft>
              <a:buAutoNum type="romanLcPeriod" startAt="12"/>
              <a:tabLst>
                <a:tab pos="5940425" algn="ctr"/>
              </a:tabLst>
            </a:pPr>
            <a:r>
              <a:rPr lang="en-GB" sz="2000" b="1" dirty="0">
                <a:solidFill>
                  <a:schemeClr val="accent5"/>
                </a:solidFill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Manage shocks </a:t>
            </a:r>
            <a:r>
              <a:rPr lang="en-GB" sz="2000" b="1" dirty="0">
                <a:latin typeface="+mj-lt"/>
                <a:ea typeface="Times New Roman" panose="02020603050405020304" pitchFamily="18" charset="0"/>
                <a:cs typeface="Cambria" panose="02040503050406030204" pitchFamily="18" charset="0"/>
              </a:rPr>
              <a:t>(climatic change (flood, drought), disease and pests and weeds control</a:t>
            </a:r>
          </a:p>
        </p:txBody>
      </p:sp>
    </p:spTree>
    <p:extLst>
      <p:ext uri="{BB962C8B-B14F-4D97-AF65-F5344CB8AC3E}">
        <p14:creationId xmlns:p14="http://schemas.microsoft.com/office/powerpoint/2010/main" val="33784370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NP_IDX" val="41"/>
  <p:tag name="THINKCELLPRESENTATIONDONOTDELETE" val="&lt;?xml version=&quot;1.0&quot; encoding=&quot;UTF-16&quot; standalone=&quot;yes&quot;?&gt;&#10;&lt;root reqver=&quot;17839&quot;&gt;&lt;version val=&quot;2107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44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iBD.uUUkO7PWYZzYif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rD18q2BUyTeUpQqRXSj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r12QFhBTUKq6U4tfRvvv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LLL3z6L0.t9AcXfeTOh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Gk28dZAEywyndb_dOG5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LnYcZNo0uEgGd.lK5QC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JPBRWz7EmLdqHeVJ6Tl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KbiOpX1U2pVMMKyyyqi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lJGY97xEexkmnewEWx6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tSCfjuPUeyxFb44j1W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CdGZBdvE6UqXmVZwZuK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1WJCl_4w0qks9v2ReQPr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yLso3_bkqwXD729dD_8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9Q50Ns5d0._1d6pl_jfU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A8KzaTvdEqg2Cpm2IwDi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GDcJraykOWslrYQ.eMa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KYbokoWEyVH2eoL9iGI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ihZKmM9EKMopf06PaNC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9JwBN8OOEONeDw6VDvqu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N7soRjnWkGKEPd50MTZl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Q6pIwXnk.e4BAgE_uRK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J83KQ4skKCroK_VruWb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axfm4VokCCTONgV1mge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N1QKbg9Eiw47HnmF5qP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Oe3ZPfdUCCwKbnvI7AD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gWWpcqxEOMxQNGfrsKE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HojRpTI0.XIYrkBoJu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9XYtB2cE2zItwLP4jjM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Jd4YO1WBESgHUoiznUC4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T.ggKocEazTGtwApmVw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T.ggKocEazTGtwApmVw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T.ggKocEazTGtwApmV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7E3w2_cDEec1TPNoo8hw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T.ggKocEazTGtwApmVw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8Ul4tlOTUaDXMEwMc7N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d5B.rkGn5ECG9.p_Y1K7E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OOjZGo.0C9BXJT6.Bqv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RkzqG2IkuelPlNEgQ4o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U9rY8ySEOGXBwVbXLMK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92xEq7AUmrLjIS1pR6t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ZifD4NDUOQXAzjJ.TL0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FpFp0UU2Um3gna7aT5sv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ZAYcMLLwEiI9W2Ur9MF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.nTO6tw02ij44HbslUi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LPv72CmsKU2AdCJ42QvpF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ylLqbEKzkCjVnTNPhscI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6b2QndjU6GzHH.RpmPq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REDa4xZS0qDxUlrFOYYs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vDNHMopkCEBrG7JlQj2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JjcmQzlV70GCHw1OMpmQu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3OIUOwoUmrSSEWRhJz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uXxiPSupkK.7H3TrgjCK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x80CHAhUWMIG5oTHVo7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dZpv5aUaeonWCg62Wi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kRf95HG9ESIMVUwBLzFT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pqjtq_06Ef.fsy1Yzu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0mncpaakO_r0UZ1tO_u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lNYV2Y0m6LJjkWt95k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iuDfLdzUyKLr97J0DKK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8kTzLNFUaukiseuToiR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JhFjbAo0aYA59lMH65W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xB2oQchUu2wiqPAtHT1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2Tk1XeN0qT_KN08mCZ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pYKl1YxU62xm8.B8NtO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_1cWTu_0ag0NHd7KLWU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Jctome.0e_9VU3Ka.UP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0EzoTs4E23TbiKh5pJb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ypOpXUz027rQDoKgeaz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9qJfJ0pEK88D6sbUwUn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lNYV2Y0m6LJjkWt95k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tYwfL6T0KGO9iAo0w9y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asLYQYgBU.j640Gtjwtg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M.isOlkC.mw6HD.q3a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Ru8GKBaEGkTy.xBKPq4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PBSxTNEO8QEQIU6uge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OVian6sUKgt1I5z6nhP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tgCujP0C5OLgzlosq6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YIAsBZNky026LKBPpZf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GR.6L7hkadfK30zccPm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oFxFclF0aRVdqlIepPO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TqVnGpnx002apbsvofr0z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vg8DD5W0SjHaJao4nu5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IvAmqXo0qea8esHRGUt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nW7kjmcEW1Lmm002p2c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Hb3ijfn0SCGyRdUcsXq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b5PnPcgYUG243naMwlUx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5IHNquQkWKUn.vEfKNx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EbXCOedUWRMncdhPM50Q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2X.Oc08Wk6B60aUkIOT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KU3d5ZE2zT2VWMDvA8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k5qW3GGEam3tH2hTV63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oA.Sue3EiHUq6wOF9XS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QnjuXM8ki8RMgPbec3V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QwMXn3pkWy8PoWdo2gi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_fm49JSka1irEJi4qSh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hkH8cFMUmEccdgLePGOg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pvwi3czki3WU0iwpUpz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Y5nKfkxEaa_Tor3zCi9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utirtWEC.ihaOi7Yw9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XnsEnPw0CunSSv6wd8c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4C9JmEk.VOFD6vugDc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mfRNzXaUm.S_AzHoriA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csKKetIk.WItkNXPfMsg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EAcweXqky5SNQzb_0e6w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kwNQQ8Uex0ug5womNB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QnjuXM8ki8RMgPbec3Vg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yuLNrqh0K11nC1R69dI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qWvPasGUKh6lNC1q1.D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8qtIw_JEq0o2IbbaTiX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ItOEkQMEme_NSKTTNEW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yyQjoMQkSsd3qiXZvTc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.kOazT0WGr7lY12X1n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pryTJ71kOL37y4kv.WW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gzj_Si4EqJTsPI.8Ek1Q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kw0fNBS0e3H_KfYpP2o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_mg9epE28EavYCFdj3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i6FrL2kqo7iO8.pw3k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0AtHywUOUiZxUob.c_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_mg9epE28EavYCFdj3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i6FrL2kqo7iO8.pw3k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qvG4F4IkiLVez4aqZe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NCSf6A7kCgJcwB6KRE_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_mg9epE28EavYCFdj3g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i6FrL2kqo7iO8.pw3k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qvG4F4IkiLVez4aqZeA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imES4qu0moNPPplgzJ7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QV4F1v.4Eq6UeEkFtD8u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_mg9epE28EavYCFdj3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i6FrL2kqo7iO8.pw3k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zQUcagfkynTYtsFua.2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yYj_ROV0qCvp8vJcKeF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4tD2kZ8A5kqglFCgZEuw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3iDcpshU2KrVZ1LT.5e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ttik1NCGaU6RyxpqZlH6A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iRJPCE1suU.tf7nVtoGXG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OSYy5MUeAx_4.eqBCR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RCcJhqU0uzYJq8H9HA2w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0mncpaakO_r0UZ1tO_ug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xB2oQchUu2wiqPAtHT1g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2Tk1XeN0qT_KN08mCZk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_1cWTu_0ag0NHd7KLWU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Jctome.0e_9VU3Ka.U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19dnjlhq0e3QFFuHP8jj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ypOpXUz027rQDoKgeaz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iuDfLdzUyKLr97J0DKK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lNYV2Y0m6LJjkWt95k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tYwfL6T0KGO9iAo0w9y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M.isOlkC.mw6HD.q3a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Ru8GKBaEGkTy.xBKPq4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YIAsBZNky026LKBPpZf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7Gq7yavUaHlWsM96.NJ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GR.6L7hkadfK30zccPm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IvAmqXo0qea8esHRGUt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nW7kjmcEW1Lmm002p2c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OVian6sUKgt1I5z6nhP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IvAmqXo0qea8esHRGUt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tgCujP0C5OLgzlosq6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tgCujP0C5OLgzlosq6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NIT4F6MUSLMCS2uO.ff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PBSxTNEO8QEQIU6uge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oFxFclF0aRVdqlIepPO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TqVnGpnx002apbsvofr0z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OV47hQWNEKaJiJBZaBnN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kgdZiERu0.aYbPDnYhqn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9i.7dgZC0Gi4uRpWr41P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17cbhGQUUmXYnVJFV8lF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gmH0iwwUi2JR0XZYZmF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fw4i_uuUSWkSe7L7rrx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oTdaR4cyUespLQal6NY7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4oP_R4r0KUnuKr8AkMW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AGWEiovbUmyFFW2FDL4u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ZrR68I7USI7ZSzNRVim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mVJoGmU2OmPoktmtsE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_.QRwa30aZf0FHRioh.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cpxrcOT0unA1IXOrPPY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uq4EhriQ0eRw4oziaqAW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XQGooS7keKkfSLnN18a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yuTi8RbUyDbxuo9ujY_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5R_N5wXkuFEo1xUJaQi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OSYy5MUeAx_4.eqBCR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IsNJugoEquI6P.1Pm7Cg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RCcJhqU0uzYJq8H9HA2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4tD2kZ8A5kqglFCgZEuwK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ttik1NCGaU6RyxpqZlH6Aw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iRJPCE1suU.tf7nVtoGXG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Ckl1kN40SwIvQOk5KQow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JsgfllzkCW_mLmuwR8m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M9deZov0WXS0tj4esTC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OGll_hRT06jkhlkv.czE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TPCbkcCyEySNgPcC9V2k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IjT4OyGUiAmAgDhUJWw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Q.m6g8d0eRM8oLlKAiT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RRhXSSTUGgm2LveoyOS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sH_l.BtUuYc5tKJ2Lp3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LgDXA6zUm8A7mC9joNe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A5SpJErkGanorrkyqTbg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cNke1zQUu3NEV.kpG9a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t0L4UgV202H2U1vZ4tuu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eO5B7wVc0CGBH.p1CDru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YAYAcLMU2Ye.GdVLhZG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KZTAywdE2BvYmBnyB.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tHK7fQzUaaNRzKhgJIT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.96R1BW0i7B8gYJv4Dx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v9xVqek2alaSur6B5U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KSb_o2O0ybXobcaix..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yT8c9oUk6NsYcSr7y3J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IqGJ7aukKFD2ByEtwpI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uWGAkaekSa4Nwb4LG67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t5H_KsIEmJOn7SlgE0P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A6CmodAUOL5_OH_oxF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XWizhNmki.l0K1vvyTg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SjdGgUr06WSboLrEz.M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wG8lv5zEeTMMYFm.TMq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nadoQ1iEivM8otZ3mg1w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6rLVGGNU2zokdRTSIxq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dcQPvh92E2yLPwExQkm3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QRljHUrE2zNzvaM0osC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1hrNHmq0yOFcJ3kAgNB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t.Brmk1DEukSw.WpHwz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_RaIMT1jUOtM9z09dlF_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J2Bv1KB0O33S8jqke0m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hMhGlJMkCClWpojEE9Y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CRg4b0OESrPaUHI99R5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iQNX.T0kKLvNM8KcBdH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VqHwpTf0KbRHwvW74yQ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dYK42fiEyot.dsa2YDe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XnnsY16UGAp7Pt8l4il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r6rUAIR0m6IZ5JHQjC8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A6ZiSpZEuAjKroikSVz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KExZioWkaU5BqN0ceIa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Loae060kUGVTlyMnRyas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dCmBJ7Z0ucOlEhZVYUJ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ovz0Q4D0qXAIwcKkrhM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6fBH.dj0eWZW5nQLiF0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8vLRXoTUeiJxnw6HeBA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bw_q_WIEWJ_cxmXn38e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c9hNbTiEiKAeCv779f2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80mMfRrUCm327onSHMc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Qed_WYo0C9S7MGaL4.i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8TSwUIsU.vcneKIl_vm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ysuJ5RVkCTF8s9D365h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9gfiApik.VN0wMCrozwg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5QXLB6Eu4IW6q5JxRO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dKPDscCECYYdMoxj_YX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texXTn0GtK5ICvgc76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yrofhoQhk2aNljXc7PSX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Sawa2VEESaf4qehu5kn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yM0bbcvEuuDFcOgy92v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3dUyi9kUGHI0veQiktf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3X9sZ_wkKNpIPXGXBFtw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cOQ0V9B0OpW9BDWDhts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a8Lhab3HEqP_8Z6c3en9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KSOJ7.AUKbphH9jzNIMA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PxGTSCsU6MUHqTbk.Y4g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y5DmYJAE6Dp6i8WXsb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T.bJLcOEaIQA6ahB0d8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tbCyFdMEu57YwbFEtKQQ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FHLDiH0USlq2mViwnCe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X_a1hdkO6dTPNKe7eR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MnlIAIhMEqTH_2ItBP2R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1l9uRH.UWlq0YZ9kfnw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0mA6anHEGw79AXiqzbS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HMglMJSkiFa8nbItJwr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q.LZr_dUatlqEU.48OxA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U0m4obxHUGH8VyGANlUe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4vGDjcK0yRWcKOgttsT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dpgZwru0WwgaMFnhO4g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ki08nrhgEO5ld0AKlPv.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fvNDEVoE24hbe4mu3T7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SLiZdCOkSa5MOX2obTS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2IDHlfoEqs5xJ23UerX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SAOs3Ry8ES8YwT2om8H5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9YTi3OUkaWRUxOh0Ez9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v2ACc380KdPBHdk0mky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GBiSRLrUmrraWvFv80Y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_xtStHPkC2FeDotX6zK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XfYrlL3nUWrXpMUCDju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zyrN7D7EiuPj94bXy3TQ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ekUWXVZU.zvIVTM1BFYw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jP2ApWRE.2gp4by4iok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lh6OZrbEqpvmt2FeDD1Q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qKcG5lT0qz6x8KQPNgWA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uis1nJj3UqCeYTMsIGVZg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uiflPq4sESxxbrNtthfK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s96Awosi0ipwJz0r1j8g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wtgZZs2E.PoARgZPZQIA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S45fJULUWHYAsZQuwTs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A6m2afI0uNbNFSUn4e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vmJbFj_0ueFiMlrRHGj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j3y5aEj0aesAO1n76vs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BaifERck2EP0kTy0sTDA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aacYbJgkKee4eOZqEdyQ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nhllOCW0mOAmFSVm6OA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eVnrAu506XvHvG.wjtqQ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mpqjtq_06Ef.fsy1YzuQ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0mncpaakO_r0UZ1tO_ug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lNYV2Y0m6LJjkWt95k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iuDfLdzUyKLr97J0DKK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kiDxh3MEeilYCr55E7R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8kTzLNFUaukiseuToiR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JhFjbAo0aYA59lMH65W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1xB2oQchUu2wiqPAtHT1g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42Tk1XeN0qT_KN08mCZk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_1cWTu_0ag0NHd7KLWUQ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Jctome.0e_9VU3Ka.UPw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N0EzoTs4E23TbiKh5pJb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7lNYV2Y0m6LJjkWt95k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YTc.Gr6ECiffyP5MBfR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kiDxh3MEeilYCr55E7R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ypOpXUz027rQDoKgeaz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_tYwfL6T0KGO9iAo0w9yw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M.isOlkC.mw6HD.q3ag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nW7kjmcEW1Lmm002p2cA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Ru8GKBaEGkTy.xBKPq4w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9oFxFclF0aRVdqlIepPO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TqVnGpnx002apbsvofr0zg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pdfdDxFUiq2UPmgMagO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4xFPx9YUWghjkyxFz5vw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ER6dUEzIMU24WWX8Hz3pv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RF1XaC0kSK.2MzLGWMrA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OP" val=" 207"/>
  <p:tag name="LEFT" val=" 143.875"/>
  <p:tag name="THINKCELLSHAPEDONOTDELETE" val="pQnBqG_ADgU.__Kpf0XGdZQ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GPBSxTNEO8QEQIU6uge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OVian6sUKgt1I5z6nhPg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otgCujP0C5OLgzlosq6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YIAsBZNky026LKBPpZfQ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GR.6L7hkadfK30zccPmw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IvAmqXo0qea8esHRGUtw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HR6nCyMlg0.D7Xv8ewDrA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4tD2kZ8A5kqglFCgZEuwKQ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ttik1NCGaU6RyxpqZlH6Aw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THINKCELLSHAPEDONOTDELETE" val="piRJPCE1suU.tf7nVtoGXGg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Hb3ijfn0SCGyRdUcsXqw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MtsZBg7UOElzzrcI7Gsw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16fE_MF0yZWUri5ZYO3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.9Hbr9JUiRJdWHTlXQBA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XHempl8k2CtxjOW9xVJw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jKU3d5ZE2zT2VWMDvA8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k5qW3GGEam3tH2hTV63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HR6nCyMlg0.D7Xv8ewDrAA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oA.Sue3EiHUq6wOF9XSg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9XvqAFdEaTjs77Lxo2yw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bEAcweXqky5SNQzb_0e6w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VkwNQQ8Uex0ug5womNBQ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5jlr_s_kK.awwLbQtm.w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yYj_ROV0qCvp8vJcKeFA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qWvPasGUKh6lNC1q1.DQ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y4C9JmEk.VOFD6vugDcw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8qtIw_JEq0o2IbbaTiXQ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QnjuXM8ki8RMgPbec3V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4xFPx9YUWghjkyxFz5vw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P.kOazT0WGr7lY12X1nA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0C_mg9epE28EavYCFdj3g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uxvZrlzEu4HOQCW._mAA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Jvfi5t8Eme6nKoE26kHw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5i6FrL2kqo7iO8.pw3k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2fMsFZTEGhdSATHSrXzg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rBC1H06kyy4htE8Hunu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DoTEMV.EK7cWpu9UpWo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Q5BSoJFDkacEl_vDHjr9Q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iFMLqm60CQnLWILRQO2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HR6nCyMlg0.D7Xv8ewDrA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IutirtWEC.ihaOi7Yw9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pryTJ71kOL37y4kv.WWg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T2jLP4TUKN_VvNToWA1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mfRNzXaUm.S_AzHoriAA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csKKetIk.WItkNXPfMs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GOSYy5MUeAx_4.eqBCRw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RCcJhqU0uzYJq8H9HA2w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5bFQ_ildkqP6glJ3GPbPQ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sj2O6dVEW9OzkqD6hl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P4xFPx9YUWghjkyxFz5vw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neRMpQ3UuNMhzwrzuJs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rhsTVP.UKrL1SH4mdjQw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wmEJYl_0ayIuVglpgos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D_Rjyrw.EmtuM..Tk4xmw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1eiDU6RdEaurtpxs2juxg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nE3Qet5kitzjJ3gkUzng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6vGtagZUutZE2FQdU0ug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vHQIQiPkCaAuu2VC6Jg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a2GV3fRUq1Rtlc_X7Yn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rN9VgEermE2Q09x8C52Hh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zBScxjF5EmaUUvELpcL2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1qIK4wykIUCoAp938ExBHw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o0Nh5s7fVU.8xYPplcx2nw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mYIepssmdkyCLCY8MrOwS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Jwp_91582ku_EPaVyZjIJA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2W2ejW1Uu5NTH_pXNQ6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rNueGLUkKy_ZEQnzmHt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v9IfEgJEGfUnavyC.iGw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3dssT.gUu5DamyBkPxow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CfkE02E6Tchk9f.Upl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0v7La39U6z2_IS4CG_F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lKlEqW_Em0iZhP2VzVmQ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SAzUod_keyLXP4FLNqJw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IO0xALVEKaN0Bq8ZwD9w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kA5_U8wUGh4GpfL8va9w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CfkE02E6Tchk9f.UplQ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CfkE02E6Tchk9f.UplQ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CfkE02E6Tchk9f.UplQ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VCfkE02E6Tchk9f.UplQ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z7TtEEkOeGfBFBEAVc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  <p:tag name="THINKCELLSHAPEDONOTDELETE" val="pny_DuL13rkeEwu2T_aesWA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ZlYjgltu02fcZz6BLWFng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x9umG9A0GW1B1.r9x_O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.669IjW0mS8rOxVc4z7Q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C3HvF5vNWUeSlZhilSZ2yQ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fFiEq0p6Ui9M2JsLHPOGg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oYsFiyj0e_Qsq2TiHzdQ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D1XRRDz0igENI9IsaU4g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ULmP6IyiMkSp5eBXF63rhg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_1bGhWEIECOntRZwOxc8g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54p08ukKABg.LAtYp1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OH3vQ2VUi9YYCl85uBXg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27jCOG8UmTucCZA6haAw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IabDUDUk6q0f5jvMMQiw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20TdmdPUUU.GkRYU_VMh9g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4hbQsi.UGqrUg6eYUxuw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IWQO5nZEGLmKRjHIrcn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jq.ZTpSTki_cDv7DEBgow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4TOx_2d0unMbFSx2QpKg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2W2ejW1Uu5NTH_pXNQ6g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IO0xALVEKaN0Bq8ZwD9w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lKlEqW_Em0iZhP2VzVm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3iDcpshU2KrVZ1LT.5eg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lKlEqW_Em0iZhP2VzVm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bnenCFIUWlII83QcsmeA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DWGRq4CkKR4sBwNdhQm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f4rBVYaj0aB9ACvnebeFQ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1BTCjgwkee26yt3RtEK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vjmRGIHkaLnSOvNxskAg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5tKEa5nPEmkzLHj1wqeEg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f8cgKwukuQtMz7kJF9RA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V3w46cTWUmUyRt7v58n7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NIPm6YrEmB9.ekeXo_R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T_tIo9C0ehdH_fEOJTxA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.mpMqWH.U.A5ANIEdJnt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a_xM1C4Ee3DVFaNxPKP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uJT_DAh0eIcex8avhJL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95Bv9sFEaT05u5d9ZFMg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e.Qa4ZBWUaG0H1UzJYGO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41429HXkSJpz08QcqsD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OqiwE6.0OYGVGqjRnNqQ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nFTR9Gxkyd73nZAiqX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6Zq13ERfEeyRTSxhpWKEA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fwququ5mU6yQZyOlKvYfQ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aJ6kwXIkynWjRqXKCFfQ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IaP2gM.ECNNd.Tc0KME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mDa.8W8EyMZhAPwq6kX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1aISdjgUyiwz2aK0T8PA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i12ZNwWUahXTgAXWhhEA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os0d8cDwUOO5r4wWTKGLQ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  <p:tag name="THINKCELLSHAPEDONOTDELETE" val="p9EixUbS1NkW3SYJB8J7z.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h5EqGup0.pq8wBBbEZ9A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YROhHymkOh3V4l1iXfr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O80L6kPUqVDfcAIcaxD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CkdAJ.Z5k.X.SqT3agv2Q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0rpnp4lyk2DBZHWzPfdv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YvpV5okydYjjySWklTQ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zkZHxkg0KPliO6l7fUYA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pSom0yu0G9C1OENrxZDw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YiqnLNgEiLkyOFWwTkYg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qwckDTSRkuZZOi8UsNrX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LgEqbduEKahvbunOg_HA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ZWB_j2GEi1FPcADQAN9g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bc8vLg3UavkTUB2rnaOA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iTKzVtGzk.v5j8XSd9IlA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SVoDqULECfkBEP9zMLuA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_plX9nFEyqvjaRoauJj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99oy0Hw0.y1gzBeAcIeA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29.ja1U02rdBhH2jjGm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PFVy5jSxEu.WoAFmB3YyQ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FTETEeMEGjfraEmWTSqA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3SmQfOG0S3fxTEvwB6Rw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ePtjrb_UiC2k.utRRCf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E88qtRE6LyVLtHIs_Vw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2Gfiu5On0SEynKa5qja.w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OQOGhYrkGwgDrUftvGgQ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Swtndysy0eBhpXJl1f2Mg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XBj7Kr1UCo_lfMUVPUu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fXUso340iBTbFL0_.USw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QhGFQvt0y.z0GN_JAXlg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S.1KBsNnkm_gYemL8Hzyw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lhFIKba0Wejs_F0RdEug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S4W0qfxEGsoJrQHNCS9w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bgTC.WmUeGSc3rTtF3Bw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NvDhEsuUy.8a4Is8Moe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tGWxBxK0WYMbiClHEVTA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ZUXZHAik2g2iP.XlkNs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ZrIhrsAEiHTC3o7YjSU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XeBgYH8cEmOMdTtwX2nG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1YKAuJvxkCAfvGQUE1Gr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g.EVYGp0.AI_Lt5KYNKg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mhVBLV0S2.8xxT0yyLQ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gNGjO.uEKuyvL3YELMiQ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c6MllwbEGswhDaSXpj6g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vL0QXZYEGzFZLiP_8smg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H39HOUaU2K4n_uvHa4Tw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ZYQ4yrBwkCPO8nSBMA4aw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yua9a3mEuvFiw8lPEEfw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WbzkUKrUyKE.45SzBfB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e72G82v0uf8Ho8fsKg2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tFfPCND0qcxJMVJPTxVA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dsGlKgt0qmTyGmzd7vug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wyc_.CHEirepQurb9_uw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3ZNf._Sc0ygy2SSysJI8A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c9z7gIgEW22kO04s9gOQ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5IsHGtn1Em4r9YPu1Pnh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6mFefIAq0epFcsn4ldrl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tB9Psngk23mdcGvo_3JQ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HLaY4n0E2f19jWH5e9R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iL8ZUKEEGzPupHQhItTw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eSs2fZc0SA7RsNfzGRd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5ELL8BN0.LL2yXVtS0Zw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.IOnhs91E.xf3pqiK6XRw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KO2an0tE2g7Xmks8q04A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gInLqZa06zcDh_SRETxQ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TH7wWd8ky2dha006mErQ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zoXA0o1EyxhwdcnWbAjw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U15ZRrg0irlFPp3UWr.A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iZNx8i5U2u6t916EGd1g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w9OYC4SESdoeXyA75PEQ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k278Aypke4fcEGEwM8cg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ex3kHGPUKPTYycy1Hqt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GZAZsk20GxtXws_jiqvA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C2KLVb370ivrDccbNWpQ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H5WllH7k65tuEubpTBMg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0MqnfU2kCZqBVV.FVcJw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FbJLATnU.ypWIo1iv6jg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aIlPkAa0yuogZyxPdKTA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KIukP8TLkukz_WgH5NIjA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30n0KPe0mAO9DphS83Cg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2Y7cwDNyECbyaazjlX6lg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DlpR3n60mz4cKciJ2Dk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7LtH.P0CkhzjgjrhmE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V9._cv0Uq16nYb.gCPEw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rHbXQ_ESucSnAUM.VeQ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kAiPrCp0yyBbIEci.zLA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nQFpcMD0GWyXvdDYqoLQ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s4W0cOX0kC7omnwWF_Axw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aDs14zCO0up2b_ND4Fiiw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jRupjnV0CNYgITsyom_w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8pkCYFw06aKCtOOfhJC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j1D.o4kiOdDkCqq6AdQ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FDfetVV3kyKbwEIEtGt4Q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RUsIDsrk6v1D_NUsUbz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27jCOG8UmTucCZA6haAw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8hPiaEIka_rLxjU0qv0A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k.I1N58Uup5uQq602FTQ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W9kakBS0K6tYT1mI68cw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7MOUEgwk2JNic7quch5w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5KzR63z0eTSO_gd599x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jswHxKP06DUBSSbR2dKw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aAYHbFak6DTw6VruKDUg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rrczjOJkOzz7W3xyqR2w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.QbT1WIY0.jXJYLnD70Xw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KPOmL7PEiIRZHQB2L2X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jm_rZ5HUqGVyhEndARKQ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rt6Vvy6LEm4tJ6YuquR0g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G5IZ5m_kqtgyPYLf1WHA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aM.4C7ekuReP1oeaqHbg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bAgM6mj0Otsn.HrM60hQ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PODxw5tFEKFt79Qt4plIw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DLT0Kt.Eu_S2x48zNttw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GNiHSEoEGUZNGp08F3.Q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Oi2.M1gEOzefIcfLPMkg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S.CgfOy0u84YeuEhVk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.6fBH.dj0eWZW5nQLiF0w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3wkbt7vik.6slNUivxcZg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2Jw1MoJLUyfCokJ4PwTqQ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HmBGWe2keuSafwMACivA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tNSp4SBkShPWiQ4vCoZA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VvrY1qEkmAdY8tozKdHQ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wICy0N3oEax_iDrfxOodw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yQQhNyRk6Rj9T1I1.7Ew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mQxcF9qOkaK7..REqPZUQ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6RC5e4KKUePSStI198ebQ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AsPnoRD0uYIokr3vC9d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texXTn0GtK5ICvgc76Q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foY0XFb0mnyskR1pkl4Q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mtZyxeEkWHmlF82dRacg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letCFHAUqhMzfwWpt4rQ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CEP9lgLkq3KvhZKqrXnQ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sbmCCt7CU6ZQfMisFOydg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YVkr.0J0iPHu.RTG9h3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.1RxWM51EGygI.p2Nh3aA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19zU9_4Kk6pIyrHWhDmcg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WmAD4NPm06QWakpSTqBG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vmJbFj_0ueFiMlrRHGjQ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WuLFu3xGkq.RAJHsCQR2w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0ROUAWMcUGfF9NSn3ju3Q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GZAZsk20GxtXws_jiqvA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V9._cv0Uq16nYb.gCPEw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SqHqORkkiQs8k9jI5tYg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9xxpxQlOE2ntEAuixG8uw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u1JU2xESrAwq_fS10_A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  <p:tag name="THINKCELLSHAPEDONOTDELETE" val="put0qL.oKlkuvBIjP_kMy8A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  <p:tag name="THINKCELLSHAPEDONOTDELETE" val="pyGCv1si8V02K7bEAv3DSkw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PWGYeRPNECNNFZ5PsAJ5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voKW.FmUCqWbni8mTNtQ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Twc6HbfDkWSoC.zCkqy0g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SjdGgUr06WSboLrEz.M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yq_renEa.Ltpx4x.8wA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D0X_N4sEaAPxtC.kwSkg"/>
</p:tagLst>
</file>

<file path=ppt/tags/tag6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Mh1xmTuZ0e4ZpX__2hKX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texXTn0GtK5ICvgc76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LzYvpV5okydYjjySWklT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GZAZsk20GxtXws_jiq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5V9._cv0Uq16nYb.gCPE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27jCOG8UmTucCZA6ha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tFfPCND0qcxJMVJPTxV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5ELL8BN0.LL2yXVtS0Z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DNnqrf80mLLUayy9j0i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D.a.dTEmDqSUTRuPNp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RwWTAC3Em63_BgAz1x_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MhiUJHp30qM6I2KgspC8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wGucftpEuHHWqzup43GQ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U9QXl4wYE.voEY6Xf_wa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oTSBDNJske7Bb19.kqMD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3oeYZmd0qLcJw5M10cP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uINfTk9UaTfqoVQI5TE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uUqOfirUeBmMAFLSf6X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gPz5ZzSfkOg4N4sqx4.G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F5lw5kV0SokXQs6Ppdt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F5lw5kV0SokXQs6Ppd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OXWcRgUetUJRHpWM4b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hgOXWcRgUetUJRHpWM4b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ZiMyLu02xOfQpuiA5g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ZiMyLu02xOfQpuiA5g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nV2S_dk0264OQS0nVDZ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nV2S_dk0264OQS0nVDZw"/>
</p:tagLst>
</file>

<file path=ppt/theme/theme1.xml><?xml version="1.0" encoding="utf-8"?>
<a:theme xmlns:a="http://schemas.openxmlformats.org/drawingml/2006/main" name="Blank">
  <a:themeElements>
    <a:clrScheme name="Current">
      <a:dk1>
        <a:srgbClr val="000000"/>
      </a:dk1>
      <a:lt1>
        <a:srgbClr val="FFFFFF"/>
      </a:lt1>
      <a:dk2>
        <a:srgbClr val="006600"/>
      </a:dk2>
      <a:lt2>
        <a:srgbClr val="FFFFFF"/>
      </a:lt2>
      <a:accent1>
        <a:srgbClr val="C0D8B8"/>
      </a:accent1>
      <a:accent2>
        <a:srgbClr val="70A850"/>
      </a:accent2>
      <a:accent3>
        <a:srgbClr val="288000"/>
      </a:accent3>
      <a:accent4>
        <a:srgbClr val="103010"/>
      </a:accent4>
      <a:accent5>
        <a:srgbClr val="FF6600"/>
      </a:accent5>
      <a:accent6>
        <a:srgbClr val="808080"/>
      </a:accent6>
      <a:hlink>
        <a:srgbClr val="288000"/>
      </a:hlink>
      <a:folHlink>
        <a:srgbClr val="10301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6600"/>
        </a:dk2>
        <a:lt2>
          <a:srgbClr val="FFFFFF"/>
        </a:lt2>
        <a:accent1>
          <a:srgbClr val="C0D8B8"/>
        </a:accent1>
        <a:accent2>
          <a:srgbClr val="70A850"/>
        </a:accent2>
        <a:accent3>
          <a:srgbClr val="288000"/>
        </a:accent3>
        <a:accent4>
          <a:srgbClr val="103010"/>
        </a:accent4>
        <a:accent5>
          <a:srgbClr val="FF6600"/>
        </a:accent5>
        <a:accent6>
          <a:srgbClr val="808080"/>
        </a:accent6>
        <a:hlink>
          <a:srgbClr val="288000"/>
        </a:hlink>
        <a:folHlink>
          <a:srgbClr val="10301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47324</TotalTime>
  <Words>3844</Words>
  <Application>Microsoft Macintosh PowerPoint</Application>
  <PresentationFormat>Custom</PresentationFormat>
  <Paragraphs>586</Paragraphs>
  <Slides>3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7</vt:i4>
      </vt:variant>
    </vt:vector>
  </HeadingPairs>
  <TitlesOfParts>
    <vt:vector size="44" baseType="lpstr">
      <vt:lpstr>Arial</vt:lpstr>
      <vt:lpstr>Bradley Hand ITC</vt:lpstr>
      <vt:lpstr>Calibri</vt:lpstr>
      <vt:lpstr>Cambria</vt:lpstr>
      <vt:lpstr>Wingdings</vt:lpstr>
      <vt:lpstr>Blank</vt:lpstr>
      <vt:lpstr>think-cell Slide</vt:lpstr>
      <vt:lpstr>South Sudan’s National Effort for Agricultural Transformation (NEAT) and Strengthening Food Security </vt:lpstr>
      <vt:lpstr>The National Effort for Agricultural Transformation (NEAT) will drive South Sudan towards its 2040 Agricultural Vision A vibrant, commercial and modern agricultural sector that sustainably supports South Sudan’s development in the context of devolution, short-term national aspirations for 100% food security, and longer-term global CAADP and the SDG especially 2 commitments which calls for ending hunger, achieve food security and improved nutrition and promote sustainable agriculture. </vt:lpstr>
      <vt:lpstr>Achieving this vision requires a comprehensive and coordinated response from all stakeholders</vt:lpstr>
      <vt:lpstr>The National Effort for Agricultural Transformation</vt:lpstr>
      <vt:lpstr>The Agricultural Transformation will be achieved through two integrated components of NEAT  </vt:lpstr>
      <vt:lpstr>Agro-ecological zones</vt:lpstr>
      <vt:lpstr>PowerPoint Presentation</vt:lpstr>
      <vt:lpstr>PowerPoint Presentation</vt:lpstr>
      <vt:lpstr>Achieving this vision requires a comprehensive and coordinated response from all stakeholders </vt:lpstr>
      <vt:lpstr>Direct support to ZEAT activities cont…</vt:lpstr>
      <vt:lpstr>PowerPoint Presentation</vt:lpstr>
      <vt:lpstr>PowerPoint Presentation</vt:lpstr>
      <vt:lpstr>PowerPoint Presentation</vt:lpstr>
      <vt:lpstr>Guiding principles to help complete investment matrices</vt:lpstr>
      <vt:lpstr>A Completed ZEAT Investment plan</vt:lpstr>
      <vt:lpstr>Prioritize supporting cooperative associations and commercial farmers to buy and sell at scale</vt:lpstr>
      <vt:lpstr>Key success factors for strong, independent associations</vt:lpstr>
      <vt:lpstr>Access a range of inputs from multiple providersInvestment Plan</vt:lpstr>
      <vt:lpstr>Prioritize supporting agro-entrepreneurs and farmer associations to provide smallholder value-chain services</vt:lpstr>
      <vt:lpstr>Key success factors for private sector agro-entrepreneurs</vt:lpstr>
      <vt:lpstr>Increase agricultural output and value addition</vt:lpstr>
      <vt:lpstr>Year 1:Boost household food resilience through Public/Donor investments</vt:lpstr>
      <vt:lpstr>Prioritize establishing community block farms that clear new land and aggregate production</vt:lpstr>
      <vt:lpstr>Key success factors for self-sustaining block farms</vt:lpstr>
      <vt:lpstr>Summary: Block Farming Investment Plan</vt:lpstr>
      <vt:lpstr>Years 1-3 Road Investments</vt:lpstr>
      <vt:lpstr>Documenting financial institution contributions to ZEAT strategy</vt:lpstr>
      <vt:lpstr>Documenting other cross-cutting enablers for ZEAT strategy</vt:lpstr>
      <vt:lpstr>Documenting private sector investment in ZEAT strategy</vt:lpstr>
      <vt:lpstr>The success of the transformation will depend on a creating a dedicated implementation unit</vt:lpstr>
      <vt:lpstr>The unit will be responsible for the execution and management  of the ZEAT agenda in each zone</vt:lpstr>
      <vt:lpstr>In Year 1, the Implementation Unit would support the first 3 zones with ~30 field staff--mostly seconded from existing Ministry employees</vt:lpstr>
      <vt:lpstr>Successful programs outside the ZEAT should continue to receive support to promote household self-sufficiency</vt:lpstr>
      <vt:lpstr>Documenting additional agricultural programs outside direct ZEAT strategy Name of donor/development partner:</vt:lpstr>
      <vt:lpstr>Overcoming the constraints</vt:lpstr>
      <vt:lpstr>PowerPoint Presentation</vt:lpstr>
      <vt:lpstr>     THANK YOU FOR LISTENING  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Andrea Berchowitz;David Fiocco;Vilas Rao;Zach Marks</dc:creator>
  <cp:lastModifiedBy>Elisabeth Ogwaro</cp:lastModifiedBy>
  <cp:revision>3047</cp:revision>
  <cp:lastPrinted>2013-02-26T15:22:50Z</cp:lastPrinted>
  <dcterms:created xsi:type="dcterms:W3CDTF">2012-12-12T19:32:00Z</dcterms:created>
  <dcterms:modified xsi:type="dcterms:W3CDTF">2023-09-06T06:4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/>
  </property>
  <property fmtid="{D5CDD505-2E9C-101B-9397-08002B2CF9AE}" pid="6" name="docid">
    <vt:lpwstr/>
  </property>
  <property fmtid="{D5CDD505-2E9C-101B-9397-08002B2CF9AE}" pid="7" name="Office2010EditCount">
    <vt:lpwstr>3</vt:lpwstr>
  </property>
  <property fmtid="{D5CDD505-2E9C-101B-9397-08002B2CF9AE}" pid="8" name="Office2003EditCount">
    <vt:lpwstr>2</vt:lpwstr>
  </property>
  <property fmtid="{D5CDD505-2E9C-101B-9397-08002B2CF9AE}" pid="9" name="LastEditedOfficeVersion">
    <vt:lpwstr>Office2010</vt:lpwstr>
  </property>
  <property fmtid="{D5CDD505-2E9C-101B-9397-08002B2CF9AE}" pid="10" name="VGCompatibilityCheck Run By">
    <vt:lpwstr>Avinash S</vt:lpwstr>
  </property>
  <property fmtid="{D5CDD505-2E9C-101B-9397-08002B2CF9AE}" pid="11" name="VGCompatibilityCheck Run On ">
    <vt:lpwstr>12/13/2012 6:23:46 AM</vt:lpwstr>
  </property>
  <property fmtid="{D5CDD505-2E9C-101B-9397-08002B2CF9AE}" pid="12" name="PreparedIn2003For2010Conversion">
    <vt:lpwstr>1</vt:lpwstr>
  </property>
  <property fmtid="{D5CDD505-2E9C-101B-9397-08002B2CF9AE}" pid="13" name="PortedBy">
    <vt:lpwstr>suveetha selvam</vt:lpwstr>
  </property>
  <property fmtid="{D5CDD505-2E9C-101B-9397-08002B2CF9AE}" pid="14" name="DatePorted">
    <vt:lpwstr>12/15/2012 3:41:31 AM</vt:lpwstr>
  </property>
  <property fmtid="{D5CDD505-2E9C-101B-9397-08002B2CF9AE}" pid="15" name="Office2010WasSaved">
    <vt:lpwstr>1</vt:lpwstr>
  </property>
</Properties>
</file>